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gif" ContentType="image/gif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customXml/itemProps6.xml" ContentType="application/vnd.openxmlformats-officedocument.customXmlProperties+xml"/>
  <Override PartName="/customXml/itemProps7.xml" ContentType="application/vnd.openxmlformats-officedocument.customXmlProperties+xml"/>
  <Override PartName="/customXml/itemProps8.xml" ContentType="application/vnd.openxmlformats-officedocument.customXmlProperties+xml"/>
  <Override PartName="/customXml/itemProps9.xml" ContentType="application/vnd.openxmlformats-officedocument.customXmlProperties+xml"/>
  <Override PartName="/customXml/itemProps10.xml" ContentType="application/vnd.openxmlformats-officedocument.customXmlProperties+xml"/>
  <Override PartName="/customXml/itemProps11.xml" ContentType="application/vnd.openxmlformats-officedocument.customXmlProperties+xml"/>
  <Override PartName="/customXml/itemProps12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Masters/slideMaster15.xml" ContentType="application/vnd.openxmlformats-officedocument.presentationml.slideMaster+xml"/>
  <Override PartName="/ppt/slideMasters/slideMaster16.xml" ContentType="application/vnd.openxmlformats-officedocument.presentationml.slideMaster+xml"/>
  <Override PartName="/ppt/slideMasters/slideMaster17.xml" ContentType="application/vnd.openxmlformats-officedocument.presentationml.slideMaster+xml"/>
  <Override PartName="/ppt/slideMasters/slideMaster18.xml" ContentType="application/vnd.openxmlformats-officedocument.presentationml.slideMaster+xml"/>
  <Override PartName="/ppt/slideMasters/slideMaster19.xml" ContentType="application/vnd.openxmlformats-officedocument.presentationml.slideMaster+xml"/>
  <Override PartName="/ppt/slideMasters/slideMaster20.xml" ContentType="application/vnd.openxmlformats-officedocument.presentationml.slideMaster+xml"/>
  <Override PartName="/ppt/slideMasters/slideMaster21.xml" ContentType="application/vnd.openxmlformats-officedocument.presentationml.slideMaster+xml"/>
  <Override PartName="/ppt/slideMasters/slideMaster22.xml" ContentType="application/vnd.openxmlformats-officedocument.presentationml.slideMaster+xml"/>
  <Override PartName="/ppt/slideMasters/slideMaster23.xml" ContentType="application/vnd.openxmlformats-officedocument.presentationml.slideMaster+xml"/>
  <Override PartName="/ppt/slideMasters/slideMaster24.xml" ContentType="application/vnd.openxmlformats-officedocument.presentationml.slideMaster+xml"/>
  <Override PartName="/ppt/slideMasters/slideMaster25.xml" ContentType="application/vnd.openxmlformats-officedocument.presentationml.slideMaster+xml"/>
  <Override PartName="/ppt/slideMasters/slideMaster26.xml" ContentType="application/vnd.openxmlformats-officedocument.presentationml.slideMaster+xml"/>
  <Override PartName="/ppt/slideMasters/slideMaster27.xml" ContentType="application/vnd.openxmlformats-officedocument.presentationml.slideMaster+xml"/>
  <Override PartName="/ppt/slideMasters/slideMaster28.xml" ContentType="application/vnd.openxmlformats-officedocument.presentationml.slideMaster+xml"/>
  <Override PartName="/ppt/slideMasters/slideMaster29.xml" ContentType="application/vnd.openxmlformats-officedocument.presentationml.slideMaster+xml"/>
  <Override PartName="/ppt/slideMasters/slideMaster30.xml" ContentType="application/vnd.openxmlformats-officedocument.presentationml.slideMaster+xml"/>
  <Override PartName="/ppt/slideMasters/slideMaster3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heme/theme4.xml" ContentType="application/vnd.openxmlformats-officedocument.theme+xml"/>
  <Override PartName="/ppt/tags/tag4.xml" ContentType="application/vnd.openxmlformats-officedocument.presentationml.tags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theme/theme5.xml" ContentType="application/vnd.openxmlformats-officedocument.theme+xml"/>
  <Override PartName="/ppt/tags/tag5.xml" ContentType="application/vnd.openxmlformats-officedocument.presentationml.tags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theme/theme6.xml" ContentType="application/vnd.openxmlformats-officedocument.theme+xml"/>
  <Override PartName="/ppt/tags/tag6.xml" ContentType="application/vnd.openxmlformats-officedocument.presentationml.tags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theme/theme7.xml" ContentType="application/vnd.openxmlformats-officedocument.theme+xml"/>
  <Override PartName="/ppt/tags/tag7.xml" ContentType="application/vnd.openxmlformats-officedocument.presentationml.tags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theme/theme8.xml" ContentType="application/vnd.openxmlformats-officedocument.theme+xml"/>
  <Override PartName="/ppt/tags/tag8.xml" ContentType="application/vnd.openxmlformats-officedocument.presentationml.tags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theme/theme9.xml" ContentType="application/vnd.openxmlformats-officedocument.theme+xml"/>
  <Override PartName="/ppt/tags/tag9.xml" ContentType="application/vnd.openxmlformats-officedocument.presentationml.tags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theme/theme10.xml" ContentType="application/vnd.openxmlformats-officedocument.theme+xml"/>
  <Override PartName="/ppt/tags/tag10.xml" ContentType="application/vnd.openxmlformats-officedocument.presentationml.tags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theme/theme11.xml" ContentType="application/vnd.openxmlformats-officedocument.theme+xml"/>
  <Override PartName="/ppt/tags/tag11.xml" ContentType="application/vnd.openxmlformats-officedocument.presentationml.tags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theme/theme12.xml" ContentType="application/vnd.openxmlformats-officedocument.theme+xml"/>
  <Override PartName="/ppt/tags/tag12.xml" ContentType="application/vnd.openxmlformats-officedocument.presentationml.tags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theme/theme13.xml" ContentType="application/vnd.openxmlformats-officedocument.theme+xml"/>
  <Override PartName="/ppt/tags/tag13.xml" ContentType="application/vnd.openxmlformats-officedocument.presentationml.tags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theme/theme14.xml" ContentType="application/vnd.openxmlformats-officedocument.theme+xml"/>
  <Override PartName="/ppt/tags/tag14.xml" ContentType="application/vnd.openxmlformats-officedocument.presentationml.tags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theme/theme15.xml" ContentType="application/vnd.openxmlformats-officedocument.theme+xml"/>
  <Override PartName="/ppt/tags/tag15.xml" ContentType="application/vnd.openxmlformats-officedocument.presentationml.tags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theme/theme16.xml" ContentType="application/vnd.openxmlformats-officedocument.theme+xml"/>
  <Override PartName="/ppt/tags/tag16.xml" ContentType="application/vnd.openxmlformats-officedocument.presentationml.tags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theme/theme17.xml" ContentType="application/vnd.openxmlformats-officedocument.theme+xml"/>
  <Override PartName="/ppt/tags/tag17.xml" ContentType="application/vnd.openxmlformats-officedocument.presentationml.tags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theme/theme18.xml" ContentType="application/vnd.openxmlformats-officedocument.theme+xml"/>
  <Override PartName="/ppt/tags/tag18.xml" ContentType="application/vnd.openxmlformats-officedocument.presentationml.tags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theme/theme19.xml" ContentType="application/vnd.openxmlformats-officedocument.theme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theme/theme20.xml" ContentType="application/vnd.openxmlformats-officedocument.theme+xml"/>
  <Override PartName="/ppt/tags/tag22.xml" ContentType="application/vnd.openxmlformats-officedocument.presentationml.tags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theme/theme21.xml" ContentType="application/vnd.openxmlformats-officedocument.theme+xml"/>
  <Override PartName="/ppt/tags/tag23.xml" ContentType="application/vnd.openxmlformats-officedocument.presentationml.tags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theme/theme22.xml" ContentType="application/vnd.openxmlformats-officedocument.theme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theme/theme23.xml" ContentType="application/vnd.openxmlformats-officedocument.theme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theme/theme24.xml" ContentType="application/vnd.openxmlformats-officedocument.theme+xml"/>
  <Override PartName="/ppt/tags/tag30.xml" ContentType="application/vnd.openxmlformats-officedocument.presentationml.tags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theme/theme25.xml" ContentType="application/vnd.openxmlformats-officedocument.theme+xml"/>
  <Override PartName="/ppt/tags/tag31.xml" ContentType="application/vnd.openxmlformats-officedocument.presentationml.tags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theme/theme26.xml" ContentType="application/vnd.openxmlformats-officedocument.theme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slideLayouts/slideLayout208.xml" ContentType="application/vnd.openxmlformats-officedocument.presentationml.slideLayout+xml"/>
  <Override PartName="/ppt/slideLayouts/slideLayout20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slideLayouts/slideLayout214.xml" ContentType="application/vnd.openxmlformats-officedocument.presentationml.slideLayout+xml"/>
  <Override PartName="/ppt/theme/theme27.xml" ContentType="application/vnd.openxmlformats-officedocument.theme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slideLayouts/slideLayout21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slideLayouts/slideLayout217.xml" ContentType="application/vnd.openxmlformats-officedocument.presentationml.slideLayout+xml"/>
  <Override PartName="/ppt/slideLayouts/slideLayout218.xml" ContentType="application/vnd.openxmlformats-officedocument.presentationml.slideLayout+xml"/>
  <Override PartName="/ppt/slideLayouts/slideLayout219.xml" ContentType="application/vnd.openxmlformats-officedocument.presentationml.slideLayout+xml"/>
  <Override PartName="/ppt/slideLayouts/slideLayout220.xml" ContentType="application/vnd.openxmlformats-officedocument.presentationml.slideLayout+xml"/>
  <Override PartName="/ppt/slideLayouts/slideLayout221.xml" ContentType="application/vnd.openxmlformats-officedocument.presentationml.slideLayout+xml"/>
  <Override PartName="/ppt/slideLayouts/slideLayout222.xml" ContentType="application/vnd.openxmlformats-officedocument.presentationml.slideLayout+xml"/>
  <Override PartName="/ppt/theme/theme28.xml" ContentType="application/vnd.openxmlformats-officedocument.theme+xml"/>
  <Override PartName="/ppt/tags/tag38.xml" ContentType="application/vnd.openxmlformats-officedocument.presentationml.tags+xml"/>
  <Override PartName="/ppt/slideLayouts/slideLayout223.xml" ContentType="application/vnd.openxmlformats-officedocument.presentationml.slideLayout+xml"/>
  <Override PartName="/ppt/slideLayouts/slideLayout224.xml" ContentType="application/vnd.openxmlformats-officedocument.presentationml.slideLayout+xml"/>
  <Override PartName="/ppt/slideLayouts/slideLayout225.xml" ContentType="application/vnd.openxmlformats-officedocument.presentationml.slideLayout+xml"/>
  <Override PartName="/ppt/slideLayouts/slideLayout226.xml" ContentType="application/vnd.openxmlformats-officedocument.presentationml.slideLayout+xml"/>
  <Override PartName="/ppt/slideLayouts/slideLayout227.xml" ContentType="application/vnd.openxmlformats-officedocument.presentationml.slideLayout+xml"/>
  <Override PartName="/ppt/slideLayouts/slideLayout228.xml" ContentType="application/vnd.openxmlformats-officedocument.presentationml.slideLayout+xml"/>
  <Override PartName="/ppt/slideLayouts/slideLayout229.xml" ContentType="application/vnd.openxmlformats-officedocument.presentationml.slideLayout+xml"/>
  <Override PartName="/ppt/slideLayouts/slideLayout230.xml" ContentType="application/vnd.openxmlformats-officedocument.presentationml.slideLayout+xml"/>
  <Override PartName="/ppt/theme/theme29.xml" ContentType="application/vnd.openxmlformats-officedocument.theme+xml"/>
  <Override PartName="/ppt/tags/tag39.xml" ContentType="application/vnd.openxmlformats-officedocument.presentationml.tags+xml"/>
  <Override PartName="/ppt/slideLayouts/slideLayout231.xml" ContentType="application/vnd.openxmlformats-officedocument.presentationml.slideLayout+xml"/>
  <Override PartName="/ppt/slideLayouts/slideLayout232.xml" ContentType="application/vnd.openxmlformats-officedocument.presentationml.slideLayout+xml"/>
  <Override PartName="/ppt/slideLayouts/slideLayout233.xml" ContentType="application/vnd.openxmlformats-officedocument.presentationml.slideLayout+xml"/>
  <Override PartName="/ppt/slideLayouts/slideLayout234.xml" ContentType="application/vnd.openxmlformats-officedocument.presentationml.slideLayout+xml"/>
  <Override PartName="/ppt/slideLayouts/slideLayout235.xml" ContentType="application/vnd.openxmlformats-officedocument.presentationml.slideLayout+xml"/>
  <Override PartName="/ppt/slideLayouts/slideLayout236.xml" ContentType="application/vnd.openxmlformats-officedocument.presentationml.slideLayout+xml"/>
  <Override PartName="/ppt/slideLayouts/slideLayout237.xml" ContentType="application/vnd.openxmlformats-officedocument.presentationml.slideLayout+xml"/>
  <Override PartName="/ppt/slideLayouts/slideLayout238.xml" ContentType="application/vnd.openxmlformats-officedocument.presentationml.slideLayout+xml"/>
  <Override PartName="/ppt/theme/theme30.xml" ContentType="application/vnd.openxmlformats-officedocument.theme+xml"/>
  <Override PartName="/ppt/tags/tag40.xml" ContentType="application/vnd.openxmlformats-officedocument.presentationml.tags+xml"/>
  <Override PartName="/ppt/slideLayouts/slideLayout239.xml" ContentType="application/vnd.openxmlformats-officedocument.presentationml.slideLayout+xml"/>
  <Override PartName="/ppt/slideLayouts/slideLayout240.xml" ContentType="application/vnd.openxmlformats-officedocument.presentationml.slideLayout+xml"/>
  <Override PartName="/ppt/slideLayouts/slideLayout241.xml" ContentType="application/vnd.openxmlformats-officedocument.presentationml.slideLayout+xml"/>
  <Override PartName="/ppt/slideLayouts/slideLayout242.xml" ContentType="application/vnd.openxmlformats-officedocument.presentationml.slideLayout+xml"/>
  <Override PartName="/ppt/slideLayouts/slideLayout243.xml" ContentType="application/vnd.openxmlformats-officedocument.presentationml.slideLayout+xml"/>
  <Override PartName="/ppt/slideLayouts/slideLayout244.xml" ContentType="application/vnd.openxmlformats-officedocument.presentationml.slideLayout+xml"/>
  <Override PartName="/ppt/slideLayouts/slideLayout245.xml" ContentType="application/vnd.openxmlformats-officedocument.presentationml.slideLayout+xml"/>
  <Override PartName="/ppt/slideLayouts/slideLayout246.xml" ContentType="application/vnd.openxmlformats-officedocument.presentationml.slideLayout+xml"/>
  <Override PartName="/ppt/slideLayouts/slideLayout247.xml" ContentType="application/vnd.openxmlformats-officedocument.presentationml.slideLayout+xml"/>
  <Override PartName="/ppt/theme/theme31.xml" ContentType="application/vnd.openxmlformats-officedocument.theme+xml"/>
  <Override PartName="/ppt/tags/tag41.xml" ContentType="application/vnd.openxmlformats-officedocument.presentationml.tags+xml"/>
  <Override PartName="/ppt/theme/theme32.xml" ContentType="application/vnd.openxmlformats-officedocument.theme+xml"/>
  <Override PartName="/ppt/theme/theme3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tags/tag319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tags/tag322.xml" ContentType="application/vnd.openxmlformats-officedocument.presentationml.tags+xml"/>
  <Override PartName="/ppt/tags/tag323.xml" ContentType="application/vnd.openxmlformats-officedocument.presentationml.tags+xml"/>
  <Override PartName="/ppt/tags/tag324.xml" ContentType="application/vnd.openxmlformats-officedocument.presentationml.tags+xml"/>
  <Override PartName="/ppt/tags/tag325.xml" ContentType="application/vnd.openxmlformats-officedocument.presentationml.tags+xml"/>
  <Override PartName="/ppt/tags/tag326.xml" ContentType="application/vnd.openxmlformats-officedocument.presentationml.tags+xml"/>
  <Override PartName="/ppt/tags/tag327.xml" ContentType="application/vnd.openxmlformats-officedocument.presentationml.tags+xml"/>
  <Override PartName="/ppt/tags/tag328.xml" ContentType="application/vnd.openxmlformats-officedocument.presentationml.tags+xml"/>
  <Override PartName="/ppt/tags/tag329.xml" ContentType="application/vnd.openxmlformats-officedocument.presentationml.tags+xml"/>
  <Override PartName="/ppt/tags/tag330.xml" ContentType="application/vnd.openxmlformats-officedocument.presentationml.tags+xml"/>
  <Override PartName="/ppt/tags/tag331.xml" ContentType="application/vnd.openxmlformats-officedocument.presentationml.tags+xml"/>
  <Override PartName="/ppt/notesSlides/notesSlide3.xml" ContentType="application/vnd.openxmlformats-officedocument.presentationml.notesSlide+xml"/>
  <Override PartName="/ppt/charts/chart1.xml" ContentType="application/vnd.openxmlformats-officedocument.drawingml.chart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theme/themeOverride1.xml" ContentType="application/vnd.openxmlformats-officedocument.themeOverride+xml"/>
  <Override PartName="/ppt/tags/tag332.xml" ContentType="application/vnd.openxmlformats-officedocument.presentationml.tags+xml"/>
  <Override PartName="/ppt/tags/tag333.xml" ContentType="application/vnd.openxmlformats-officedocument.presentationml.tags+xml"/>
  <Override PartName="/ppt/tags/tag334.xml" ContentType="application/vnd.openxmlformats-officedocument.presentationml.tags+xml"/>
  <Override PartName="/ppt/tags/tag335.xml" ContentType="application/vnd.openxmlformats-officedocument.presentationml.tags+xml"/>
  <Override PartName="/ppt/tags/tag336.xml" ContentType="application/vnd.openxmlformats-officedocument.presentationml.tags+xml"/>
  <Override PartName="/ppt/tags/tag337.xml" ContentType="application/vnd.openxmlformats-officedocument.presentationml.tags+xml"/>
  <Override PartName="/ppt/tags/tag338.xml" ContentType="application/vnd.openxmlformats-officedocument.presentationml.tags+xml"/>
  <Override PartName="/ppt/tags/tag339.xml" ContentType="application/vnd.openxmlformats-officedocument.presentationml.tags+xml"/>
  <Override PartName="/ppt/tags/tag340.xml" ContentType="application/vnd.openxmlformats-officedocument.presentationml.tags+xml"/>
  <Override PartName="/ppt/tags/tag341.xml" ContentType="application/vnd.openxmlformats-officedocument.presentationml.tags+xml"/>
  <Override PartName="/ppt/tags/tag342.xml" ContentType="application/vnd.openxmlformats-officedocument.presentationml.tags+xml"/>
  <Override PartName="/ppt/tags/tag343.xml" ContentType="application/vnd.openxmlformats-officedocument.presentationml.tags+xml"/>
  <Override PartName="/ppt/notesSlides/notesSlide7.xml" ContentType="application/vnd.openxmlformats-officedocument.presentationml.notesSlide+xml"/>
  <Override PartName="/ppt/charts/chart4.xml" ContentType="application/vnd.openxmlformats-officedocument.drawingml.chart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tags/tag344.xml" ContentType="application/vnd.openxmlformats-officedocument.presentationml.tags+xml"/>
  <Override PartName="/ppt/tags/tag345.xml" ContentType="application/vnd.openxmlformats-officedocument.presentationml.tags+xml"/>
  <Override PartName="/ppt/tags/tag346.xml" ContentType="application/vnd.openxmlformats-officedocument.presentationml.tags+xml"/>
  <Override PartName="/ppt/notesSlides/notesSlide12.xml" ContentType="application/vnd.openxmlformats-officedocument.presentationml.notesSlide+xml"/>
  <Override PartName="/ppt/tags/tag347.xml" ContentType="application/vnd.openxmlformats-officedocument.presentationml.tags+xml"/>
  <Override PartName="/ppt/tags/tag348.xml" ContentType="application/vnd.openxmlformats-officedocument.presentationml.tags+xml"/>
  <Override PartName="/ppt/tags/tag349.xml" ContentType="application/vnd.openxmlformats-officedocument.presentationml.tags+xml"/>
  <Override PartName="/ppt/notesSlides/notesSlide13.xml" ContentType="application/vnd.openxmlformats-officedocument.presentationml.notesSlide+xml"/>
  <Override PartName="/ppt/tags/tag350.xml" ContentType="application/vnd.openxmlformats-officedocument.presentationml.tags+xml"/>
  <Override PartName="/ppt/tags/tag351.xml" ContentType="application/vnd.openxmlformats-officedocument.presentationml.tags+xml"/>
  <Override PartName="/ppt/notesSlides/notesSlide14.xml" ContentType="application/vnd.openxmlformats-officedocument.presentationml.notesSlide+xml"/>
  <Override PartName="/ppt/tags/tag352.xml" ContentType="application/vnd.openxmlformats-officedocument.presentationml.tags+xml"/>
  <Override PartName="/ppt/tags/tag353.xml" ContentType="application/vnd.openxmlformats-officedocument.presentationml.tags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bookmarkIdSeed="4">
  <p:sldMasterIdLst>
    <p:sldMasterId id="2147483714" r:id="rId13"/>
    <p:sldMasterId id="2147483723" r:id="rId14"/>
    <p:sldMasterId id="2147483732" r:id="rId15"/>
    <p:sldMasterId id="2147483741" r:id="rId16"/>
    <p:sldMasterId id="2147483750" r:id="rId17"/>
    <p:sldMasterId id="2147483758" r:id="rId18"/>
    <p:sldMasterId id="2147483767" r:id="rId19"/>
    <p:sldMasterId id="2147483775" r:id="rId20"/>
    <p:sldMasterId id="2147483783" r:id="rId21"/>
    <p:sldMasterId id="2147483792" r:id="rId22"/>
    <p:sldMasterId id="2147483800" r:id="rId23"/>
    <p:sldMasterId id="2147483809" r:id="rId24"/>
    <p:sldMasterId id="2147483819" r:id="rId25"/>
    <p:sldMasterId id="2147483829" r:id="rId26"/>
    <p:sldMasterId id="2147483843" r:id="rId27"/>
    <p:sldMasterId id="2147483861" r:id="rId28"/>
    <p:sldMasterId id="2147483870" r:id="rId29"/>
    <p:sldMasterId id="2147483879" r:id="rId30"/>
    <p:sldMasterId id="2147483890" r:id="rId31"/>
    <p:sldMasterId id="2147483898" r:id="rId32"/>
    <p:sldMasterId id="2147483908" r:id="rId33"/>
    <p:sldMasterId id="2147483918" r:id="rId34"/>
    <p:sldMasterId id="2147483934" r:id="rId35"/>
    <p:sldMasterId id="2147483942" r:id="rId36"/>
    <p:sldMasterId id="2147483967" r:id="rId37"/>
    <p:sldMasterId id="2147483977" r:id="rId38"/>
    <p:sldMasterId id="2147483992" r:id="rId39"/>
    <p:sldMasterId id="2147484000" r:id="rId40"/>
    <p:sldMasterId id="2147484009" r:id="rId41"/>
    <p:sldMasterId id="2147484018" r:id="rId42"/>
    <p:sldMasterId id="2147484027" r:id="rId43"/>
  </p:sldMasterIdLst>
  <p:notesMasterIdLst>
    <p:notesMasterId r:id="rId66"/>
  </p:notesMasterIdLst>
  <p:handoutMasterIdLst>
    <p:handoutMasterId r:id="rId67"/>
  </p:handoutMasterIdLst>
  <p:sldIdLst>
    <p:sldId id="907" r:id="rId44"/>
    <p:sldId id="916" r:id="rId45"/>
    <p:sldId id="953" r:id="rId46"/>
    <p:sldId id="954" r:id="rId47"/>
    <p:sldId id="955" r:id="rId48"/>
    <p:sldId id="956" r:id="rId49"/>
    <p:sldId id="920" r:id="rId50"/>
    <p:sldId id="945" r:id="rId51"/>
    <p:sldId id="922" r:id="rId52"/>
    <p:sldId id="957" r:id="rId53"/>
    <p:sldId id="947" r:id="rId54"/>
    <p:sldId id="962" r:id="rId55"/>
    <p:sldId id="963" r:id="rId56"/>
    <p:sldId id="959" r:id="rId57"/>
    <p:sldId id="951" r:id="rId58"/>
    <p:sldId id="934" r:id="rId59"/>
    <p:sldId id="937" r:id="rId60"/>
    <p:sldId id="939" r:id="rId61"/>
    <p:sldId id="940" r:id="rId62"/>
    <p:sldId id="941" r:id="rId63"/>
    <p:sldId id="942" r:id="rId64"/>
    <p:sldId id="952" r:id="rId65"/>
  </p:sldIdLst>
  <p:sldSz cx="9144000" cy="6858000" type="screen4x3"/>
  <p:notesSz cx="9926638" cy="6797675"/>
  <p:custDataLst>
    <p:tags r:id="rId68"/>
  </p:custDataLst>
  <p:defaultTextStyle>
    <a:defPPr>
      <a:defRPr lang="ru-RU"/>
    </a:defPPr>
    <a:lvl1pPr marL="0" algn="l" defTabSz="910874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5437" algn="l" defTabSz="910874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0874" algn="l" defTabSz="910874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66308" algn="l" defTabSz="910874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1747" algn="l" defTabSz="910874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77182" algn="l" defTabSz="910874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32611" algn="l" defTabSz="910874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188059" algn="l" defTabSz="910874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43497" algn="l" defTabSz="910874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Раздел по умолчанию" id="{8D94B672-2B39-4178-8A99-1AE0F896B39C}">
          <p14:sldIdLst>
            <p14:sldId id="907"/>
            <p14:sldId id="916"/>
            <p14:sldId id="953"/>
            <p14:sldId id="954"/>
            <p14:sldId id="955"/>
            <p14:sldId id="956"/>
            <p14:sldId id="920"/>
            <p14:sldId id="945"/>
            <p14:sldId id="922"/>
            <p14:sldId id="957"/>
            <p14:sldId id="947"/>
            <p14:sldId id="962"/>
            <p14:sldId id="963"/>
            <p14:sldId id="959"/>
            <p14:sldId id="951"/>
            <p14:sldId id="934"/>
          </p14:sldIdLst>
        </p14:section>
        <p14:section name="Приложения к докладу" id="{A7EC405A-E902-4ADD-9B3A-A6973D1D8CD0}">
          <p14:sldIdLst>
            <p14:sldId id="937"/>
            <p14:sldId id="939"/>
            <p14:sldId id="940"/>
            <p14:sldId id="941"/>
            <p14:sldId id="942"/>
            <p14:sldId id="952"/>
          </p14:sldIdLst>
        </p14:section>
      </p14:sectionLst>
    </p:ext>
    <p:ext uri="{EFAFB233-063F-42B5-8137-9DF3F51BA10A}">
      <p15:sldGuideLst xmlns=""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="" xmlns:p15="http://schemas.microsoft.com/office/powerpoint/2012/main">
        <p15:guide id="1" orient="horz" pos="2141" userDrawn="1">
          <p15:clr>
            <a:srgbClr val="A4A3A4"/>
          </p15:clr>
        </p15:guide>
        <p15:guide id="2" pos="3127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showAnimation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69ADDA"/>
    <a:srgbClr val="016EB3"/>
    <a:srgbClr val="0168A7"/>
    <a:srgbClr val="2D7EB5"/>
    <a:srgbClr val="1FE971"/>
    <a:srgbClr val="5CA602"/>
    <a:srgbClr val="6BC202"/>
    <a:srgbClr val="72CE02"/>
    <a:srgbClr val="2F85BF"/>
    <a:srgbClr val="DCDCD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CF1AB2-1976-4502-BF36-3FF5EA218861}" styleName="Средний стиль 4 - акцент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  <a:tblStyle styleId="{21E4AEA4-8DFA-4A89-87EB-49C32662AFE0}" styleName="Средний стиль 2 - акцент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F5AB1C69-6EDB-4FF4-983F-18BD219EF322}" styleName="Средний стиль 2 - акцент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3271" autoAdjust="0"/>
    <p:restoredTop sz="88571" autoAdjust="0"/>
  </p:normalViewPr>
  <p:slideViewPr>
    <p:cSldViewPr>
      <p:cViewPr>
        <p:scale>
          <a:sx n="93" d="100"/>
          <a:sy n="93" d="100"/>
        </p:scale>
        <p:origin x="-222" y="-258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2688"/>
    </p:cViewPr>
  </p:sorterViewPr>
  <p:notesViewPr>
    <p:cSldViewPr>
      <p:cViewPr varScale="1">
        <p:scale>
          <a:sx n="119" d="100"/>
          <a:sy n="119" d="100"/>
        </p:scale>
        <p:origin x="930" y="102"/>
      </p:cViewPr>
      <p:guideLst>
        <p:guide orient="horz" pos="2141"/>
        <p:guide pos="3127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Master" Target="slideMasters/slideMaster1.xml"/><Relationship Id="rId18" Type="http://schemas.openxmlformats.org/officeDocument/2006/relationships/slideMaster" Target="slideMasters/slideMaster6.xml"/><Relationship Id="rId26" Type="http://schemas.openxmlformats.org/officeDocument/2006/relationships/slideMaster" Target="slideMasters/slideMaster14.xml"/><Relationship Id="rId39" Type="http://schemas.openxmlformats.org/officeDocument/2006/relationships/slideMaster" Target="slideMasters/slideMaster27.xml"/><Relationship Id="rId21" Type="http://schemas.openxmlformats.org/officeDocument/2006/relationships/slideMaster" Target="slideMasters/slideMaster9.xml"/><Relationship Id="rId34" Type="http://schemas.openxmlformats.org/officeDocument/2006/relationships/slideMaster" Target="slideMasters/slideMaster22.xml"/><Relationship Id="rId42" Type="http://schemas.openxmlformats.org/officeDocument/2006/relationships/slideMaster" Target="slideMasters/slideMaster30.xml"/><Relationship Id="rId47" Type="http://schemas.openxmlformats.org/officeDocument/2006/relationships/slide" Target="slides/slide4.xml"/><Relationship Id="rId50" Type="http://schemas.openxmlformats.org/officeDocument/2006/relationships/slide" Target="slides/slide7.xml"/><Relationship Id="rId55" Type="http://schemas.openxmlformats.org/officeDocument/2006/relationships/slide" Target="slides/slide12.xml"/><Relationship Id="rId63" Type="http://schemas.openxmlformats.org/officeDocument/2006/relationships/slide" Target="slides/slide20.xml"/><Relationship Id="rId68" Type="http://schemas.openxmlformats.org/officeDocument/2006/relationships/tags" Target="tags/tag1.xml"/><Relationship Id="rId7" Type="http://schemas.openxmlformats.org/officeDocument/2006/relationships/customXml" Target="../customXml/item7.xml"/><Relationship Id="rId71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slideMaster" Target="slideMasters/slideMaster4.xml"/><Relationship Id="rId29" Type="http://schemas.openxmlformats.org/officeDocument/2006/relationships/slideMaster" Target="slideMasters/slideMaster17.xml"/><Relationship Id="rId1" Type="http://schemas.openxmlformats.org/officeDocument/2006/relationships/customXml" Target="../customXml/item1.xml"/><Relationship Id="rId6" Type="http://schemas.openxmlformats.org/officeDocument/2006/relationships/customXml" Target="../customXml/item6.xml"/><Relationship Id="rId11" Type="http://schemas.openxmlformats.org/officeDocument/2006/relationships/customXml" Target="../customXml/item11.xml"/><Relationship Id="rId24" Type="http://schemas.openxmlformats.org/officeDocument/2006/relationships/slideMaster" Target="slideMasters/slideMaster12.xml"/><Relationship Id="rId32" Type="http://schemas.openxmlformats.org/officeDocument/2006/relationships/slideMaster" Target="slideMasters/slideMaster20.xml"/><Relationship Id="rId37" Type="http://schemas.openxmlformats.org/officeDocument/2006/relationships/slideMaster" Target="slideMasters/slideMaster25.xml"/><Relationship Id="rId40" Type="http://schemas.openxmlformats.org/officeDocument/2006/relationships/slideMaster" Target="slideMasters/slideMaster28.xml"/><Relationship Id="rId45" Type="http://schemas.openxmlformats.org/officeDocument/2006/relationships/slide" Target="slides/slide2.xml"/><Relationship Id="rId53" Type="http://schemas.openxmlformats.org/officeDocument/2006/relationships/slide" Target="slides/slide10.xml"/><Relationship Id="rId58" Type="http://schemas.openxmlformats.org/officeDocument/2006/relationships/slide" Target="slides/slide15.xml"/><Relationship Id="rId66" Type="http://schemas.openxmlformats.org/officeDocument/2006/relationships/notesMaster" Target="notesMasters/notesMaster1.xml"/><Relationship Id="rId5" Type="http://schemas.openxmlformats.org/officeDocument/2006/relationships/customXml" Target="../customXml/item5.xml"/><Relationship Id="rId15" Type="http://schemas.openxmlformats.org/officeDocument/2006/relationships/slideMaster" Target="slideMasters/slideMaster3.xml"/><Relationship Id="rId23" Type="http://schemas.openxmlformats.org/officeDocument/2006/relationships/slideMaster" Target="slideMasters/slideMaster11.xml"/><Relationship Id="rId28" Type="http://schemas.openxmlformats.org/officeDocument/2006/relationships/slideMaster" Target="slideMasters/slideMaster16.xml"/><Relationship Id="rId36" Type="http://schemas.openxmlformats.org/officeDocument/2006/relationships/slideMaster" Target="slideMasters/slideMaster24.xml"/><Relationship Id="rId49" Type="http://schemas.openxmlformats.org/officeDocument/2006/relationships/slide" Target="slides/slide6.xml"/><Relationship Id="rId57" Type="http://schemas.openxmlformats.org/officeDocument/2006/relationships/slide" Target="slides/slide14.xml"/><Relationship Id="rId61" Type="http://schemas.openxmlformats.org/officeDocument/2006/relationships/slide" Target="slides/slide18.xml"/><Relationship Id="rId10" Type="http://schemas.openxmlformats.org/officeDocument/2006/relationships/customXml" Target="../customXml/item10.xml"/><Relationship Id="rId19" Type="http://schemas.openxmlformats.org/officeDocument/2006/relationships/slideMaster" Target="slideMasters/slideMaster7.xml"/><Relationship Id="rId31" Type="http://schemas.openxmlformats.org/officeDocument/2006/relationships/slideMaster" Target="slideMasters/slideMaster19.xml"/><Relationship Id="rId44" Type="http://schemas.openxmlformats.org/officeDocument/2006/relationships/slide" Target="slides/slide1.xml"/><Relationship Id="rId52" Type="http://schemas.openxmlformats.org/officeDocument/2006/relationships/slide" Target="slides/slide9.xml"/><Relationship Id="rId60" Type="http://schemas.openxmlformats.org/officeDocument/2006/relationships/slide" Target="slides/slide17.xml"/><Relationship Id="rId65" Type="http://schemas.openxmlformats.org/officeDocument/2006/relationships/slide" Target="slides/slide22.xml"/><Relationship Id="rId4" Type="http://schemas.openxmlformats.org/officeDocument/2006/relationships/customXml" Target="../customXml/item4.xml"/><Relationship Id="rId9" Type="http://schemas.openxmlformats.org/officeDocument/2006/relationships/customXml" Target="../customXml/item9.xml"/><Relationship Id="rId14" Type="http://schemas.openxmlformats.org/officeDocument/2006/relationships/slideMaster" Target="slideMasters/slideMaster2.xml"/><Relationship Id="rId22" Type="http://schemas.openxmlformats.org/officeDocument/2006/relationships/slideMaster" Target="slideMasters/slideMaster10.xml"/><Relationship Id="rId27" Type="http://schemas.openxmlformats.org/officeDocument/2006/relationships/slideMaster" Target="slideMasters/slideMaster15.xml"/><Relationship Id="rId30" Type="http://schemas.openxmlformats.org/officeDocument/2006/relationships/slideMaster" Target="slideMasters/slideMaster18.xml"/><Relationship Id="rId35" Type="http://schemas.openxmlformats.org/officeDocument/2006/relationships/slideMaster" Target="slideMasters/slideMaster23.xml"/><Relationship Id="rId43" Type="http://schemas.openxmlformats.org/officeDocument/2006/relationships/slideMaster" Target="slideMasters/slideMaster31.xml"/><Relationship Id="rId48" Type="http://schemas.openxmlformats.org/officeDocument/2006/relationships/slide" Target="slides/slide5.xml"/><Relationship Id="rId56" Type="http://schemas.openxmlformats.org/officeDocument/2006/relationships/slide" Target="slides/slide13.xml"/><Relationship Id="rId64" Type="http://schemas.openxmlformats.org/officeDocument/2006/relationships/slide" Target="slides/slide21.xml"/><Relationship Id="rId69" Type="http://schemas.openxmlformats.org/officeDocument/2006/relationships/presProps" Target="presProps.xml"/><Relationship Id="rId8" Type="http://schemas.openxmlformats.org/officeDocument/2006/relationships/customXml" Target="../customXml/item8.xml"/><Relationship Id="rId51" Type="http://schemas.openxmlformats.org/officeDocument/2006/relationships/slide" Target="slides/slide8.xml"/><Relationship Id="rId72" Type="http://schemas.openxmlformats.org/officeDocument/2006/relationships/tableStyles" Target="tableStyles.xml"/><Relationship Id="rId3" Type="http://schemas.openxmlformats.org/officeDocument/2006/relationships/customXml" Target="../customXml/item3.xml"/><Relationship Id="rId12" Type="http://schemas.openxmlformats.org/officeDocument/2006/relationships/customXml" Target="../customXml/item12.xml"/><Relationship Id="rId17" Type="http://schemas.openxmlformats.org/officeDocument/2006/relationships/slideMaster" Target="slideMasters/slideMaster5.xml"/><Relationship Id="rId25" Type="http://schemas.openxmlformats.org/officeDocument/2006/relationships/slideMaster" Target="slideMasters/slideMaster13.xml"/><Relationship Id="rId33" Type="http://schemas.openxmlformats.org/officeDocument/2006/relationships/slideMaster" Target="slideMasters/slideMaster21.xml"/><Relationship Id="rId38" Type="http://schemas.openxmlformats.org/officeDocument/2006/relationships/slideMaster" Target="slideMasters/slideMaster26.xml"/><Relationship Id="rId46" Type="http://schemas.openxmlformats.org/officeDocument/2006/relationships/slide" Target="slides/slide3.xml"/><Relationship Id="rId59" Type="http://schemas.openxmlformats.org/officeDocument/2006/relationships/slide" Target="slides/slide16.xml"/><Relationship Id="rId67" Type="http://schemas.openxmlformats.org/officeDocument/2006/relationships/handoutMaster" Target="handoutMasters/handoutMaster1.xml"/><Relationship Id="rId20" Type="http://schemas.openxmlformats.org/officeDocument/2006/relationships/slideMaster" Target="slideMasters/slideMaster8.xml"/><Relationship Id="rId41" Type="http://schemas.openxmlformats.org/officeDocument/2006/relationships/slideMaster" Target="slideMasters/slideMaster29.xml"/><Relationship Id="rId54" Type="http://schemas.openxmlformats.org/officeDocument/2006/relationships/slide" Target="slides/slide11.xml"/><Relationship Id="rId62" Type="http://schemas.openxmlformats.org/officeDocument/2006/relationships/slide" Target="slides/slide19.xml"/><Relationship Id="rId70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.xlsx"/></Relationships>
</file>

<file path=ppt/charts/_rels/chart3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3.xlsx"/><Relationship Id="rId1" Type="http://schemas.openxmlformats.org/officeDocument/2006/relationships/themeOverride" Target="../theme/themeOverride1.xml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4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0007983377077863E-2"/>
          <c:y val="6.7745190748639939E-2"/>
          <c:w val="0.2567676880064988"/>
          <c:h val="0.6740439890877673"/>
        </c:manualLayout>
      </c:layout>
      <c:pie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Столбец1</c:v>
                </c:pt>
              </c:strCache>
            </c:strRef>
          </c:tx>
          <c:spPr>
            <a:ln>
              <a:solidFill>
                <a:schemeClr val="bg1">
                  <a:lumMod val="65000"/>
                </a:schemeClr>
              </a:solidFill>
            </a:ln>
            <a:scene3d>
              <a:camera prst="orthographicFront"/>
              <a:lightRig rig="threePt" dir="t"/>
            </a:scene3d>
            <a:sp3d>
              <a:bevelT w="190500" h="38100"/>
            </a:sp3d>
          </c:spPr>
          <c:dPt>
            <c:idx val="3"/>
            <c:bubble3D val="0"/>
            <c:spPr>
              <a:solidFill>
                <a:schemeClr val="accent5">
                  <a:lumMod val="75000"/>
                </a:schemeClr>
              </a:solidFill>
              <a:ln>
                <a:solidFill>
                  <a:schemeClr val="bg1">
                    <a:lumMod val="65000"/>
                  </a:schemeClr>
                </a:solidFill>
              </a:ln>
              <a:scene3d>
                <a:camera prst="orthographicFront"/>
                <a:lightRig rig="threePt" dir="t"/>
              </a:scene3d>
              <a:sp3d>
                <a:bevelT w="190500" h="38100"/>
              </a:sp3d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E16B-4F73-9CEF-A25B1B6F2A4B}"/>
              </c:ext>
            </c:extLst>
          </c:dPt>
          <c:dLbls>
            <c:dLbl>
              <c:idx val="0"/>
              <c:layout>
                <c:manualLayout>
                  <c:x val="-9.656241566629549E-2"/>
                  <c:y val="-0.14304005007109294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0-E16B-4F73-9CEF-A25B1B6F2A4B}"/>
                </c:ext>
              </c:extLst>
            </c:dLbl>
            <c:dLbl>
              <c:idx val="2"/>
              <c:layout>
                <c:manualLayout>
                  <c:x val="-7.6540901137357826E-3"/>
                  <c:y val="-8.3034562206756556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3"/>
              <c:layout>
                <c:manualLayout>
                  <c:x val="3.9545603674540682E-3"/>
                  <c:y val="-8.6392137387096252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900" b="1"/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extLst xmlns:c16r2="http://schemas.microsoft.com/office/drawing/2015/06/chart">
              <c:ext xmlns:c15="http://schemas.microsoft.com/office/drawing/2012/chart" uri="{CE6537A1-D6FC-4f65-9D91-7224C49458BB}">
                <c15:layout/>
              </c:ext>
            </c:extLst>
          </c:dLbls>
          <c:cat>
            <c:strRef>
              <c:f>Лист1!$A$2:$A$5</c:f>
              <c:strCache>
                <c:ptCount val="4"/>
                <c:pt idx="0">
                  <c:v>АК "АЛРОСА" (ПАО)  -  65%</c:v>
                </c:pt>
                <c:pt idx="1">
                  <c:v>ПАО "АЛРОСА-Нюрба"  -  15%</c:v>
                </c:pt>
                <c:pt idx="2">
                  <c:v>АО "Алмазы Анабара"  -  3%</c:v>
                </c:pt>
                <c:pt idx="3">
                  <c:v>ПАО "Севералмаз"  -  17%</c:v>
                </c:pt>
              </c:strCache>
            </c:strRef>
          </c:cat>
          <c:val>
            <c:numRef>
              <c:f>Лист1!$B$2:$B$5</c:f>
              <c:numCache>
                <c:formatCode>0</c:formatCode>
                <c:ptCount val="4"/>
                <c:pt idx="0">
                  <c:v>770.18820000000005</c:v>
                </c:pt>
                <c:pt idx="1">
                  <c:v>172.41459999999998</c:v>
                </c:pt>
                <c:pt idx="2">
                  <c:v>36.710100000000011</c:v>
                </c:pt>
                <c:pt idx="3">
                  <c:v>202.73479999999998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3-E16B-4F73-9CEF-A25B1B6F2A4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legend>
      <c:legendPos val="b"/>
      <c:layout>
        <c:manualLayout>
          <c:xMode val="edge"/>
          <c:yMode val="edge"/>
          <c:x val="0.34840017385154742"/>
          <c:y val="5.77042131831201E-2"/>
          <c:w val="0.40383236541420592"/>
          <c:h val="0.64426121327156116"/>
        </c:manualLayout>
      </c:layout>
      <c:overlay val="0"/>
      <c:txPr>
        <a:bodyPr/>
        <a:lstStyle/>
        <a:p>
          <a:pPr>
            <a:defRPr sz="900" b="0"/>
          </a:pPr>
          <a:endParaRPr lang="ru-RU"/>
        </a:p>
      </c:txPr>
    </c:legend>
    <c:plotVisOnly val="1"/>
    <c:dispBlanksAs val="zero"/>
    <c:showDLblsOverMax val="0"/>
  </c:chart>
  <c:txPr>
    <a:bodyPr/>
    <a:lstStyle/>
    <a:p>
      <a:pPr>
        <a:defRPr sz="1800"/>
      </a:pPr>
      <a:endParaRPr lang="ru-RU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5.7926841183735367E-2"/>
          <c:y val="4.2398532854968085E-2"/>
          <c:w val="0.92501113855581785"/>
          <c:h val="0.72782515928197733"/>
        </c:manualLayout>
      </c:layout>
      <c:lineChart>
        <c:grouping val="standar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Фактическое состояние запасов с учетом приростов ( по форме 5- ГР)</c:v>
                </c:pt>
              </c:strCache>
            </c:strRef>
          </c:tx>
          <c:spPr>
            <a:ln>
              <a:solidFill>
                <a:srgbClr val="FF0000"/>
              </a:solidFill>
            </a:ln>
          </c:spPr>
          <c:marker>
            <c:spPr>
              <a:solidFill>
                <a:srgbClr val="FF0000"/>
              </a:solidFill>
            </c:spPr>
          </c:marker>
          <c:dLbls>
            <c:dLbl>
              <c:idx val="0"/>
              <c:layout/>
              <c:tx>
                <c:rich>
                  <a:bodyPr/>
                  <a:lstStyle/>
                  <a:p>
                    <a:r>
                      <a:rPr lang="en-US" sz="800"/>
                      <a:t>1 </a:t>
                    </a:r>
                    <a:r>
                      <a:rPr lang="en-US" sz="800" smtClean="0"/>
                      <a:t>163</a:t>
                    </a:r>
                    <a:endParaRPr lang="en-US"/>
                  </a:p>
                </c:rich>
              </c:tx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"/>
              <c:delete val="1"/>
              <c:extLst>
                <c:ext xmlns:c15="http://schemas.microsoft.com/office/drawing/2012/chart" uri="{CE6537A1-D6FC-4f65-9D91-7224C49458BB}"/>
              </c:extLst>
            </c:dLbl>
            <c:dLbl>
              <c:idx val="2"/>
              <c:delete val="1"/>
              <c:extLst>
                <c:ext xmlns:c15="http://schemas.microsoft.com/office/drawing/2012/chart" uri="{CE6537A1-D6FC-4f65-9D91-7224C49458BB}"/>
              </c:extLst>
            </c:dLbl>
            <c:dLbl>
              <c:idx val="3"/>
              <c:delete val="1"/>
              <c:extLst>
                <c:ext xmlns:c15="http://schemas.microsoft.com/office/drawing/2012/chart" uri="{CE6537A1-D6FC-4f65-9D91-7224C49458BB}"/>
              </c:extLst>
            </c:dLbl>
            <c:dLbl>
              <c:idx val="4"/>
              <c:delete val="1"/>
              <c:extLst>
                <c:ext xmlns:c15="http://schemas.microsoft.com/office/drawing/2012/chart" uri="{CE6537A1-D6FC-4f65-9D91-7224C49458BB}"/>
              </c:extLst>
            </c:dLbl>
            <c:dLbl>
              <c:idx val="5"/>
              <c:layout/>
              <c:tx>
                <c:rich>
                  <a:bodyPr/>
                  <a:lstStyle/>
                  <a:p>
                    <a:r>
                      <a:rPr lang="en-US" sz="800"/>
                      <a:t>1 </a:t>
                    </a:r>
                    <a:r>
                      <a:rPr lang="en-US" sz="800" smtClean="0"/>
                      <a:t>034</a:t>
                    </a:r>
                    <a:endParaRPr lang="en-US"/>
                  </a:p>
                </c:rich>
              </c:tx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6"/>
              <c:delete val="1"/>
              <c:extLst>
                <c:ext xmlns:c15="http://schemas.microsoft.com/office/drawing/2012/chart" uri="{CE6537A1-D6FC-4f65-9D91-7224C49458BB}"/>
              </c:extLst>
            </c:dLbl>
            <c:dLbl>
              <c:idx val="7"/>
              <c:delete val="1"/>
              <c:extLst>
                <c:ext xmlns:c15="http://schemas.microsoft.com/office/drawing/2012/chart" uri="{CE6537A1-D6FC-4f65-9D91-7224C49458BB}"/>
              </c:extLst>
            </c:dLbl>
            <c:dLbl>
              <c:idx val="8"/>
              <c:delete val="1"/>
              <c:extLst>
                <c:ext xmlns:c15="http://schemas.microsoft.com/office/drawing/2012/chart" uri="{CE6537A1-D6FC-4f65-9D91-7224C49458BB}"/>
              </c:extLst>
            </c:dLbl>
            <c:dLbl>
              <c:idx val="9"/>
              <c:delete val="1"/>
              <c:extLst>
                <c:ext xmlns:c15="http://schemas.microsoft.com/office/drawing/2012/chart" uri="{CE6537A1-D6FC-4f65-9D91-7224C49458BB}"/>
              </c:extLst>
            </c:dLbl>
            <c:dLbl>
              <c:idx val="10"/>
              <c:layout/>
              <c:tx>
                <c:rich>
                  <a:bodyPr/>
                  <a:lstStyle/>
                  <a:p>
                    <a:r>
                      <a:rPr lang="en-US" sz="800"/>
                      <a:t>1 </a:t>
                    </a:r>
                    <a:r>
                      <a:rPr lang="en-US" sz="800" smtClean="0"/>
                      <a:t>036</a:t>
                    </a:r>
                    <a:endParaRPr lang="en-US"/>
                  </a:p>
                </c:rich>
              </c:tx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1"/>
              <c:delete val="1"/>
              <c:extLst>
                <c:ext xmlns:c15="http://schemas.microsoft.com/office/drawing/2012/chart" uri="{CE6537A1-D6FC-4f65-9D91-7224C49458BB}"/>
              </c:extLst>
            </c:dLbl>
            <c:dLbl>
              <c:idx val="12"/>
              <c:delete val="1"/>
              <c:extLst>
                <c:ext xmlns:c15="http://schemas.microsoft.com/office/drawing/2012/chart" uri="{CE6537A1-D6FC-4f65-9D91-7224C49458BB}"/>
              </c:extLst>
            </c:dLbl>
            <c:dLbl>
              <c:idx val="13"/>
              <c:delete val="1"/>
              <c:extLst>
                <c:ext xmlns:c15="http://schemas.microsoft.com/office/drawing/2012/chart" uri="{CE6537A1-D6FC-4f65-9D91-7224C49458BB}"/>
              </c:extLst>
            </c:dLbl>
            <c:dLbl>
              <c:idx val="14"/>
              <c:layout>
                <c:manualLayout>
                  <c:x val="-3.2705921564270636E-2"/>
                  <c:y val="-4.9218749999999999E-2"/>
                </c:manualLayout>
              </c:layout>
              <c:tx>
                <c:rich>
                  <a:bodyPr/>
                  <a:lstStyle/>
                  <a:p>
                    <a:r>
                      <a:rPr lang="en-US" sz="800" dirty="0"/>
                      <a:t>1 </a:t>
                    </a:r>
                    <a:r>
                      <a:rPr lang="en-US" sz="800" dirty="0" smtClean="0"/>
                      <a:t>115</a:t>
                    </a:r>
                    <a:endParaRPr lang="en-US" dirty="0"/>
                  </a:p>
                </c:rich>
              </c:tx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5"/>
              <c:delete val="1"/>
              <c:extLst>
                <c:ext xmlns:c15="http://schemas.microsoft.com/office/drawing/2012/chart" uri="{CE6537A1-D6FC-4f65-9D91-7224C49458BB}"/>
              </c:extLst>
            </c:dLbl>
            <c:dLbl>
              <c:idx val="16"/>
              <c:delete val="1"/>
              <c:extLst>
                <c:ext xmlns:c15="http://schemas.microsoft.com/office/drawing/2012/chart" uri="{CE6537A1-D6FC-4f65-9D91-7224C49458BB}"/>
              </c:extLst>
            </c:dLbl>
            <c:dLbl>
              <c:idx val="17"/>
              <c:delete val="1"/>
              <c:extLst>
                <c:ext xmlns:c15="http://schemas.microsoft.com/office/drawing/2012/chart" uri="{CE6537A1-D6FC-4f65-9D91-7224C49458BB}"/>
              </c:extLst>
            </c:dLbl>
            <c:dLbl>
              <c:idx val="18"/>
              <c:layout/>
              <c:tx>
                <c:rich>
                  <a:bodyPr/>
                  <a:lstStyle/>
                  <a:p>
                    <a:r>
                      <a:rPr lang="en-US" sz="800"/>
                      <a:t>1 </a:t>
                    </a:r>
                    <a:r>
                      <a:rPr lang="en-US" sz="800" smtClean="0"/>
                      <a:t>101</a:t>
                    </a:r>
                    <a:endParaRPr lang="en-US"/>
                  </a:p>
                </c:rich>
              </c:tx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9"/>
              <c:delete val="1"/>
              <c:extLst>
                <c:ext xmlns:c15="http://schemas.microsoft.com/office/drawing/2012/chart" uri="{CE6537A1-D6FC-4f65-9D91-7224C49458BB}"/>
              </c:extLst>
            </c:dLbl>
            <c:dLbl>
              <c:idx val="20"/>
              <c:delete val="1"/>
              <c:extLst>
                <c:ext xmlns:c15="http://schemas.microsoft.com/office/drawing/2012/chart" uri="{CE6537A1-D6FC-4f65-9D91-7224C49458BB}"/>
              </c:extLst>
            </c:dLbl>
            <c:dLbl>
              <c:idx val="21"/>
              <c:delete val="1"/>
              <c:extLst>
                <c:ext xmlns:c15="http://schemas.microsoft.com/office/drawing/2012/chart" uri="{CE6537A1-D6FC-4f65-9D91-7224C49458BB}"/>
              </c:extLst>
            </c:dLbl>
            <c:dLbl>
              <c:idx val="22"/>
              <c:delete val="1"/>
              <c:extLst>
                <c:ext xmlns:c15="http://schemas.microsoft.com/office/drawing/2012/chart" uri="{CE6537A1-D6FC-4f65-9D91-7224C49458BB}"/>
              </c:extLst>
            </c:dLbl>
            <c:dLbl>
              <c:idx val="23"/>
              <c:layout/>
              <c:tx>
                <c:rich>
                  <a:bodyPr/>
                  <a:lstStyle/>
                  <a:p>
                    <a:r>
                      <a:rPr lang="en-US" sz="800"/>
                      <a:t>1 </a:t>
                    </a:r>
                    <a:r>
                      <a:rPr lang="en-US" sz="800" smtClean="0"/>
                      <a:t>105</a:t>
                    </a:r>
                    <a:endParaRPr lang="en-US"/>
                  </a:p>
                </c:rich>
              </c:tx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24"/>
              <c:layout/>
              <c:tx>
                <c:rich>
                  <a:bodyPr/>
                  <a:lstStyle/>
                  <a:p>
                    <a:r>
                      <a:rPr lang="en-US" sz="800"/>
                      <a:t>1 </a:t>
                    </a:r>
                    <a:r>
                      <a:rPr lang="en-US" sz="800" smtClean="0"/>
                      <a:t>159</a:t>
                    </a:r>
                    <a:endParaRPr lang="en-US"/>
                  </a:p>
                </c:rich>
              </c:tx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25"/>
              <c:layout>
                <c:manualLayout>
                  <c:x val="-6.1400067612986811E-3"/>
                  <c:y val="-6.4775536306201253E-2"/>
                </c:manualLayout>
              </c:layout>
              <c:tx>
                <c:rich>
                  <a:bodyPr/>
                  <a:lstStyle/>
                  <a:p>
                    <a:r>
                      <a:rPr lang="en-US" sz="800"/>
                      <a:t>1 </a:t>
                    </a:r>
                    <a:r>
                      <a:rPr lang="en-US" sz="800" smtClean="0"/>
                      <a:t>182</a:t>
                    </a:r>
                    <a:endParaRPr lang="en-US"/>
                  </a:p>
                </c:rich>
              </c:tx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</c:dLbl>
            <c:numFmt formatCode="#,##0.0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800" b="1"/>
                </a:pPr>
                <a:endParaRPr lang="ru-RU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Лист1!$A$2:$A$27</c:f>
              <c:numCache>
                <c:formatCode>General</c:formatCode>
                <c:ptCount val="26"/>
                <c:pt idx="0">
                  <c:v>1992</c:v>
                </c:pt>
                <c:pt idx="1">
                  <c:v>1993</c:v>
                </c:pt>
                <c:pt idx="2">
                  <c:v>1994</c:v>
                </c:pt>
                <c:pt idx="3">
                  <c:v>1995</c:v>
                </c:pt>
                <c:pt idx="4">
                  <c:v>1996</c:v>
                </c:pt>
                <c:pt idx="5">
                  <c:v>1997</c:v>
                </c:pt>
                <c:pt idx="6">
                  <c:v>1998</c:v>
                </c:pt>
                <c:pt idx="7">
                  <c:v>1999</c:v>
                </c:pt>
                <c:pt idx="8">
                  <c:v>2000</c:v>
                </c:pt>
                <c:pt idx="9">
                  <c:v>2001</c:v>
                </c:pt>
                <c:pt idx="10">
                  <c:v>2002</c:v>
                </c:pt>
                <c:pt idx="11">
                  <c:v>2003</c:v>
                </c:pt>
                <c:pt idx="12">
                  <c:v>2004</c:v>
                </c:pt>
                <c:pt idx="13">
                  <c:v>2005</c:v>
                </c:pt>
                <c:pt idx="14">
                  <c:v>2006</c:v>
                </c:pt>
                <c:pt idx="15">
                  <c:v>2007</c:v>
                </c:pt>
                <c:pt idx="16">
                  <c:v>2008</c:v>
                </c:pt>
                <c:pt idx="17">
                  <c:v>2009</c:v>
                </c:pt>
                <c:pt idx="18">
                  <c:v>2010</c:v>
                </c:pt>
                <c:pt idx="19">
                  <c:v>2011</c:v>
                </c:pt>
                <c:pt idx="20">
                  <c:v>2012</c:v>
                </c:pt>
                <c:pt idx="21">
                  <c:v>2013</c:v>
                </c:pt>
                <c:pt idx="22">
                  <c:v>2014</c:v>
                </c:pt>
                <c:pt idx="23">
                  <c:v>2015</c:v>
                </c:pt>
                <c:pt idx="24">
                  <c:v>2016</c:v>
                </c:pt>
                <c:pt idx="25">
                  <c:v>2017</c:v>
                </c:pt>
              </c:numCache>
            </c:numRef>
          </c:cat>
          <c:val>
            <c:numRef>
              <c:f>Лист1!$B$2:$B$27</c:f>
              <c:numCache>
                <c:formatCode>0</c:formatCode>
                <c:ptCount val="26"/>
                <c:pt idx="0">
                  <c:v>1163.3009999999999</c:v>
                </c:pt>
                <c:pt idx="1">
                  <c:v>1144.6657</c:v>
                </c:pt>
                <c:pt idx="2">
                  <c:v>1119.2001</c:v>
                </c:pt>
                <c:pt idx="3">
                  <c:v>1085.5</c:v>
                </c:pt>
                <c:pt idx="4">
                  <c:v>1065.0999999999999</c:v>
                </c:pt>
                <c:pt idx="5">
                  <c:v>1034.3818000000001</c:v>
                </c:pt>
                <c:pt idx="6">
                  <c:v>1004.075</c:v>
                </c:pt>
                <c:pt idx="7">
                  <c:v>982.18690000000004</c:v>
                </c:pt>
                <c:pt idx="8">
                  <c:v>947.14880000000005</c:v>
                </c:pt>
                <c:pt idx="9">
                  <c:v>900.63829999999996</c:v>
                </c:pt>
                <c:pt idx="10">
                  <c:v>1036.2608</c:v>
                </c:pt>
                <c:pt idx="11">
                  <c:v>1005.4107</c:v>
                </c:pt>
                <c:pt idx="12">
                  <c:v>979.60389999999995</c:v>
                </c:pt>
                <c:pt idx="13">
                  <c:v>1156.5999999999999</c:v>
                </c:pt>
                <c:pt idx="14">
                  <c:v>1115</c:v>
                </c:pt>
                <c:pt idx="15">
                  <c:v>1097</c:v>
                </c:pt>
                <c:pt idx="16">
                  <c:v>1128</c:v>
                </c:pt>
                <c:pt idx="17">
                  <c:v>1118.8</c:v>
                </c:pt>
                <c:pt idx="18">
                  <c:v>1101.0999999999999</c:v>
                </c:pt>
                <c:pt idx="19">
                  <c:v>1152.3</c:v>
                </c:pt>
                <c:pt idx="20">
                  <c:v>1148.9000000000001</c:v>
                </c:pt>
                <c:pt idx="21">
                  <c:v>1154.8</c:v>
                </c:pt>
                <c:pt idx="22">
                  <c:v>1120</c:v>
                </c:pt>
                <c:pt idx="23">
                  <c:v>1105.5102999999999</c:v>
                </c:pt>
                <c:pt idx="24">
                  <c:v>1159.9060999999999</c:v>
                </c:pt>
                <c:pt idx="25">
                  <c:v>1182</c:v>
                </c:pt>
              </c:numCache>
            </c:numRef>
          </c:val>
          <c:smooth val="0"/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Состояние запасов без учета приростов</c:v>
                </c:pt>
              </c:strCache>
            </c:strRef>
          </c:tx>
          <c:cat>
            <c:numRef>
              <c:f>Лист1!$A$2:$A$27</c:f>
              <c:numCache>
                <c:formatCode>General</c:formatCode>
                <c:ptCount val="26"/>
                <c:pt idx="0">
                  <c:v>1992</c:v>
                </c:pt>
                <c:pt idx="1">
                  <c:v>1993</c:v>
                </c:pt>
                <c:pt idx="2">
                  <c:v>1994</c:v>
                </c:pt>
                <c:pt idx="3">
                  <c:v>1995</c:v>
                </c:pt>
                <c:pt idx="4">
                  <c:v>1996</c:v>
                </c:pt>
                <c:pt idx="5">
                  <c:v>1997</c:v>
                </c:pt>
                <c:pt idx="6">
                  <c:v>1998</c:v>
                </c:pt>
                <c:pt idx="7">
                  <c:v>1999</c:v>
                </c:pt>
                <c:pt idx="8">
                  <c:v>2000</c:v>
                </c:pt>
                <c:pt idx="9">
                  <c:v>2001</c:v>
                </c:pt>
                <c:pt idx="10">
                  <c:v>2002</c:v>
                </c:pt>
                <c:pt idx="11">
                  <c:v>2003</c:v>
                </c:pt>
                <c:pt idx="12">
                  <c:v>2004</c:v>
                </c:pt>
                <c:pt idx="13">
                  <c:v>2005</c:v>
                </c:pt>
                <c:pt idx="14">
                  <c:v>2006</c:v>
                </c:pt>
                <c:pt idx="15">
                  <c:v>2007</c:v>
                </c:pt>
                <c:pt idx="16">
                  <c:v>2008</c:v>
                </c:pt>
                <c:pt idx="17">
                  <c:v>2009</c:v>
                </c:pt>
                <c:pt idx="18">
                  <c:v>2010</c:v>
                </c:pt>
                <c:pt idx="19">
                  <c:v>2011</c:v>
                </c:pt>
                <c:pt idx="20">
                  <c:v>2012</c:v>
                </c:pt>
                <c:pt idx="21">
                  <c:v>2013</c:v>
                </c:pt>
                <c:pt idx="22">
                  <c:v>2014</c:v>
                </c:pt>
                <c:pt idx="23">
                  <c:v>2015</c:v>
                </c:pt>
                <c:pt idx="24">
                  <c:v>2016</c:v>
                </c:pt>
                <c:pt idx="25">
                  <c:v>2017</c:v>
                </c:pt>
              </c:numCache>
            </c:numRef>
          </c:cat>
          <c:val>
            <c:numRef>
              <c:f>Лист1!$C$2:$C$27</c:f>
              <c:numCache>
                <c:formatCode>0</c:formatCode>
                <c:ptCount val="26"/>
                <c:pt idx="0">
                  <c:v>1137.145</c:v>
                </c:pt>
                <c:pt idx="1">
                  <c:v>1113.404</c:v>
                </c:pt>
                <c:pt idx="2">
                  <c:v>1087.8530000000001</c:v>
                </c:pt>
                <c:pt idx="3">
                  <c:v>1061.162</c:v>
                </c:pt>
                <c:pt idx="4">
                  <c:v>1033.2150000000001</c:v>
                </c:pt>
                <c:pt idx="5">
                  <c:v>1005.4560000000001</c:v>
                </c:pt>
                <c:pt idx="6">
                  <c:v>973.21900000000016</c:v>
                </c:pt>
                <c:pt idx="7">
                  <c:v>939.77200000000016</c:v>
                </c:pt>
                <c:pt idx="8">
                  <c:v>906.55200000000013</c:v>
                </c:pt>
                <c:pt idx="9">
                  <c:v>873.49500000000012</c:v>
                </c:pt>
                <c:pt idx="10">
                  <c:v>839.84140000000014</c:v>
                </c:pt>
                <c:pt idx="11">
                  <c:v>806.93460000000016</c:v>
                </c:pt>
                <c:pt idx="12">
                  <c:v>768.27380000000016</c:v>
                </c:pt>
                <c:pt idx="13">
                  <c:v>732.07840000000022</c:v>
                </c:pt>
                <c:pt idx="14">
                  <c:v>695.75340000000017</c:v>
                </c:pt>
                <c:pt idx="15">
                  <c:v>658.87850000000014</c:v>
                </c:pt>
                <c:pt idx="16">
                  <c:v>622.16270000000009</c:v>
                </c:pt>
                <c:pt idx="17">
                  <c:v>589.37120000000004</c:v>
                </c:pt>
                <c:pt idx="18">
                  <c:v>555.03980000000001</c:v>
                </c:pt>
                <c:pt idx="19">
                  <c:v>520.48829999999998</c:v>
                </c:pt>
                <c:pt idx="20">
                  <c:v>486.06799999999998</c:v>
                </c:pt>
                <c:pt idx="21">
                  <c:v>449.15409999999997</c:v>
                </c:pt>
                <c:pt idx="22">
                  <c:v>412.94194999999996</c:v>
                </c:pt>
                <c:pt idx="23">
                  <c:v>374.76594999999998</c:v>
                </c:pt>
                <c:pt idx="24">
                  <c:v>376.72979999999995</c:v>
                </c:pt>
                <c:pt idx="25">
                  <c:v>336.58994999999999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88750464"/>
        <c:axId val="188752256"/>
      </c:lineChart>
      <c:catAx>
        <c:axId val="18875046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1000"/>
            </a:pPr>
            <a:endParaRPr lang="ru-RU"/>
          </a:p>
        </c:txPr>
        <c:crossAx val="188752256"/>
        <c:crosses val="autoZero"/>
        <c:auto val="1"/>
        <c:lblAlgn val="ctr"/>
        <c:lblOffset val="100"/>
        <c:noMultiLvlLbl val="0"/>
      </c:catAx>
      <c:valAx>
        <c:axId val="188752256"/>
        <c:scaling>
          <c:orientation val="minMax"/>
        </c:scaling>
        <c:delete val="0"/>
        <c:axPos val="l"/>
        <c:majorGridlines>
          <c:spPr>
            <a:ln w="6350">
              <a:solidFill>
                <a:schemeClr val="bg1">
                  <a:lumMod val="85000"/>
                </a:schemeClr>
              </a:solidFill>
            </a:ln>
          </c:spPr>
        </c:majorGridlines>
        <c:numFmt formatCode="0" sourceLinked="1"/>
        <c:majorTickMark val="out"/>
        <c:minorTickMark val="none"/>
        <c:tickLblPos val="nextTo"/>
        <c:txPr>
          <a:bodyPr/>
          <a:lstStyle/>
          <a:p>
            <a:pPr>
              <a:defRPr sz="1000"/>
            </a:pPr>
            <a:endParaRPr lang="ru-RU"/>
          </a:p>
        </c:txPr>
        <c:crossAx val="188750464"/>
        <c:crosses val="autoZero"/>
        <c:crossBetween val="between"/>
      </c:valAx>
    </c:plotArea>
    <c:legend>
      <c:legendPos val="b"/>
      <c:layout/>
      <c:overlay val="0"/>
      <c:txPr>
        <a:bodyPr/>
        <a:lstStyle/>
        <a:p>
          <a:pPr>
            <a:defRPr sz="1000"/>
          </a:pPr>
          <a:endParaRPr lang="ru-RU"/>
        </a:p>
      </c:txPr>
    </c:legend>
    <c:plotVisOnly val="1"/>
    <c:dispBlanksAs val="gap"/>
    <c:showDLblsOverMax val="0"/>
  </c:chart>
  <c:txPr>
    <a:bodyPr/>
    <a:lstStyle/>
    <a:p>
      <a:pPr>
        <a:defRPr sz="1800"/>
      </a:pPr>
      <a:endParaRPr lang="ru-RU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areaChart>
        <c:grouping val="stacked"/>
        <c:varyColors val="0"/>
        <c:ser>
          <c:idx val="0"/>
          <c:order val="0"/>
          <c:tx>
            <c:strRef>
              <c:f>Лист3!$A$9</c:f>
              <c:strCache>
                <c:ptCount val="1"/>
                <c:pt idx="0">
                  <c:v>АК "АЛРОСА" (ПАО)</c:v>
                </c:pt>
              </c:strCache>
            </c:strRef>
          </c:tx>
          <c:spPr>
            <a:solidFill>
              <a:srgbClr val="0070C0"/>
            </a:solidFill>
          </c:spPr>
          <c:dLbls>
            <c:dLbl>
              <c:idx val="0"/>
              <c:delete val="1"/>
            </c:dLbl>
            <c:dLbl>
              <c:idx val="14"/>
              <c:delete val="1"/>
            </c:dLbl>
            <c:txPr>
              <a:bodyPr/>
              <a:lstStyle/>
              <a:p>
                <a:pPr>
                  <a:defRPr sz="700" b="1">
                    <a:solidFill>
                      <a:schemeClr val="bg1"/>
                    </a:solidFill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numRef>
              <c:f>Лист3!$B$2:$P$2</c:f>
              <c:numCache>
                <c:formatCode>General</c:formatCode>
                <c:ptCount val="15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  <c:pt idx="4">
                  <c:v>2020</c:v>
                </c:pt>
                <c:pt idx="5">
                  <c:v>2021</c:v>
                </c:pt>
                <c:pt idx="6">
                  <c:v>2022</c:v>
                </c:pt>
                <c:pt idx="7">
                  <c:v>2023</c:v>
                </c:pt>
                <c:pt idx="8">
                  <c:v>2024</c:v>
                </c:pt>
                <c:pt idx="9">
                  <c:v>2025</c:v>
                </c:pt>
                <c:pt idx="10">
                  <c:v>2026</c:v>
                </c:pt>
                <c:pt idx="11">
                  <c:v>2027</c:v>
                </c:pt>
                <c:pt idx="12">
                  <c:v>2028</c:v>
                </c:pt>
                <c:pt idx="13">
                  <c:v>2029</c:v>
                </c:pt>
                <c:pt idx="14">
                  <c:v>2030</c:v>
                </c:pt>
              </c:numCache>
            </c:numRef>
          </c:cat>
          <c:val>
            <c:numRef>
              <c:f>Лист3!$B$9:$P$9</c:f>
              <c:numCache>
                <c:formatCode>0</c:formatCode>
                <c:ptCount val="15"/>
                <c:pt idx="0">
                  <c:v>23.200959999999988</c:v>
                </c:pt>
                <c:pt idx="1">
                  <c:v>24.06247999999999</c:v>
                </c:pt>
                <c:pt idx="2">
                  <c:v>20.972999999999985</c:v>
                </c:pt>
                <c:pt idx="3">
                  <c:v>22.059523803512985</c:v>
                </c:pt>
                <c:pt idx="4">
                  <c:v>21.670356790783199</c:v>
                </c:pt>
                <c:pt idx="5">
                  <c:v>20.718719912659989</c:v>
                </c:pt>
                <c:pt idx="6">
                  <c:v>20.821367375006353</c:v>
                </c:pt>
                <c:pt idx="7">
                  <c:v>20.343297732493742</c:v>
                </c:pt>
                <c:pt idx="8">
                  <c:v>19.997733105957217</c:v>
                </c:pt>
                <c:pt idx="9">
                  <c:v>20.079850273927182</c:v>
                </c:pt>
                <c:pt idx="10">
                  <c:v>22.320657581264854</c:v>
                </c:pt>
                <c:pt idx="11">
                  <c:v>21.187520780699604</c:v>
                </c:pt>
                <c:pt idx="12">
                  <c:v>21.640315394248059</c:v>
                </c:pt>
                <c:pt idx="13">
                  <c:v>20.42907854977171</c:v>
                </c:pt>
                <c:pt idx="14">
                  <c:v>19.205958294842556</c:v>
                </c:pt>
              </c:numCache>
            </c:numRef>
          </c:val>
        </c:ser>
        <c:ser>
          <c:idx val="1"/>
          <c:order val="1"/>
          <c:tx>
            <c:strRef>
              <c:f>Лист3!$A$10</c:f>
              <c:strCache>
                <c:ptCount val="1"/>
                <c:pt idx="0">
                  <c:v>ПАО "АЛРОСА-Нюрба"</c:v>
                </c:pt>
              </c:strCache>
            </c:strRef>
          </c:tx>
          <c:spPr>
            <a:solidFill>
              <a:schemeClr val="tx2">
                <a:lumMod val="40000"/>
                <a:lumOff val="60000"/>
              </a:schemeClr>
            </a:solidFill>
          </c:spPr>
          <c:dLbls>
            <c:dLbl>
              <c:idx val="0"/>
              <c:delete val="1"/>
            </c:dLbl>
            <c:dLbl>
              <c:idx val="14"/>
              <c:delete val="1"/>
            </c:dLbl>
            <c:txPr>
              <a:bodyPr/>
              <a:lstStyle/>
              <a:p>
                <a:pPr>
                  <a:defRPr sz="800" b="1">
                    <a:solidFill>
                      <a:schemeClr val="tx1"/>
                    </a:solidFill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numRef>
              <c:f>Лист3!$B$2:$P$2</c:f>
              <c:numCache>
                <c:formatCode>General</c:formatCode>
                <c:ptCount val="15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  <c:pt idx="4">
                  <c:v>2020</c:v>
                </c:pt>
                <c:pt idx="5">
                  <c:v>2021</c:v>
                </c:pt>
                <c:pt idx="6">
                  <c:v>2022</c:v>
                </c:pt>
                <c:pt idx="7">
                  <c:v>2023</c:v>
                </c:pt>
                <c:pt idx="8">
                  <c:v>2024</c:v>
                </c:pt>
                <c:pt idx="9">
                  <c:v>2025</c:v>
                </c:pt>
                <c:pt idx="10">
                  <c:v>2026</c:v>
                </c:pt>
                <c:pt idx="11">
                  <c:v>2027</c:v>
                </c:pt>
                <c:pt idx="12">
                  <c:v>2028</c:v>
                </c:pt>
                <c:pt idx="13">
                  <c:v>2029</c:v>
                </c:pt>
                <c:pt idx="14">
                  <c:v>2030</c:v>
                </c:pt>
              </c:numCache>
            </c:numRef>
          </c:cat>
          <c:val>
            <c:numRef>
              <c:f>Лист3!$B$10:$P$10</c:f>
              <c:numCache>
                <c:formatCode>0</c:formatCode>
                <c:ptCount val="15"/>
                <c:pt idx="0">
                  <c:v>6.7932300000000003</c:v>
                </c:pt>
                <c:pt idx="1">
                  <c:v>7.7131400000000001</c:v>
                </c:pt>
                <c:pt idx="2">
                  <c:v>7.35</c:v>
                </c:pt>
                <c:pt idx="3">
                  <c:v>7.3211699130500012</c:v>
                </c:pt>
                <c:pt idx="4">
                  <c:v>7.3815142669999929</c:v>
                </c:pt>
                <c:pt idx="5">
                  <c:v>7.4750710472400002</c:v>
                </c:pt>
                <c:pt idx="6">
                  <c:v>7.5976016324999964</c:v>
                </c:pt>
                <c:pt idx="7">
                  <c:v>7.6208071199999967</c:v>
                </c:pt>
                <c:pt idx="8">
                  <c:v>7.6710603502499985</c:v>
                </c:pt>
                <c:pt idx="9">
                  <c:v>7.1445020549999967</c:v>
                </c:pt>
                <c:pt idx="10">
                  <c:v>6.2620290824999998</c:v>
                </c:pt>
                <c:pt idx="11">
                  <c:v>6.0078000750000005</c:v>
                </c:pt>
                <c:pt idx="12">
                  <c:v>6.0078000750000005</c:v>
                </c:pt>
                <c:pt idx="13">
                  <c:v>6.0078000750000005</c:v>
                </c:pt>
                <c:pt idx="14">
                  <c:v>6.559574999999997</c:v>
                </c:pt>
              </c:numCache>
            </c:numRef>
          </c:val>
        </c:ser>
        <c:ser>
          <c:idx val="2"/>
          <c:order val="2"/>
          <c:tx>
            <c:strRef>
              <c:f>Лист3!$A$11</c:f>
              <c:strCache>
                <c:ptCount val="1"/>
                <c:pt idx="0">
                  <c:v>АО "Алмазы Анабара"</c:v>
                </c:pt>
              </c:strCache>
            </c:strRef>
          </c:tx>
          <c:spPr>
            <a:solidFill>
              <a:schemeClr val="tx2">
                <a:lumMod val="20000"/>
                <a:lumOff val="80000"/>
              </a:schemeClr>
            </a:solidFill>
          </c:spPr>
          <c:dLbls>
            <c:dLbl>
              <c:idx val="0"/>
              <c:delete val="1"/>
            </c:dLbl>
            <c:dLbl>
              <c:idx val="14"/>
              <c:delete val="1"/>
            </c:dLbl>
            <c:txPr>
              <a:bodyPr/>
              <a:lstStyle/>
              <a:p>
                <a:pPr>
                  <a:defRPr sz="800" b="1"/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numRef>
              <c:f>Лист3!$B$2:$P$2</c:f>
              <c:numCache>
                <c:formatCode>General</c:formatCode>
                <c:ptCount val="15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  <c:pt idx="4">
                  <c:v>2020</c:v>
                </c:pt>
                <c:pt idx="5">
                  <c:v>2021</c:v>
                </c:pt>
                <c:pt idx="6">
                  <c:v>2022</c:v>
                </c:pt>
                <c:pt idx="7">
                  <c:v>2023</c:v>
                </c:pt>
                <c:pt idx="8">
                  <c:v>2024</c:v>
                </c:pt>
                <c:pt idx="9">
                  <c:v>2025</c:v>
                </c:pt>
                <c:pt idx="10">
                  <c:v>2026</c:v>
                </c:pt>
                <c:pt idx="11">
                  <c:v>2027</c:v>
                </c:pt>
                <c:pt idx="12">
                  <c:v>2028</c:v>
                </c:pt>
                <c:pt idx="13">
                  <c:v>2029</c:v>
                </c:pt>
                <c:pt idx="14">
                  <c:v>2030</c:v>
                </c:pt>
              </c:numCache>
            </c:numRef>
          </c:cat>
          <c:val>
            <c:numRef>
              <c:f>Лист3!$B$11:$P$11</c:f>
              <c:numCache>
                <c:formatCode>0</c:formatCode>
                <c:ptCount val="15"/>
                <c:pt idx="0">
                  <c:v>5.1460899999999965</c:v>
                </c:pt>
                <c:pt idx="1">
                  <c:v>5.1963900000000001</c:v>
                </c:pt>
                <c:pt idx="2">
                  <c:v>4.9769999999999994</c:v>
                </c:pt>
                <c:pt idx="3">
                  <c:v>5.0778795953733971</c:v>
                </c:pt>
                <c:pt idx="4">
                  <c:v>4.9917165816915334</c:v>
                </c:pt>
                <c:pt idx="5">
                  <c:v>4.9459675665126612</c:v>
                </c:pt>
                <c:pt idx="6">
                  <c:v>5.0241759726273036</c:v>
                </c:pt>
                <c:pt idx="7">
                  <c:v>5.0241759726273036</c:v>
                </c:pt>
                <c:pt idx="8">
                  <c:v>5.0442993454538083</c:v>
                </c:pt>
                <c:pt idx="9">
                  <c:v>5.0977425544108854</c:v>
                </c:pt>
                <c:pt idx="10">
                  <c:v>5.1005113025471145</c:v>
                </c:pt>
                <c:pt idx="11">
                  <c:v>5.0029882770951488</c:v>
                </c:pt>
                <c:pt idx="12">
                  <c:v>4.9938246240703323</c:v>
                </c:pt>
                <c:pt idx="13">
                  <c:v>4.4200231823242273</c:v>
                </c:pt>
                <c:pt idx="14">
                  <c:v>3.9517317127398952</c:v>
                </c:pt>
              </c:numCache>
            </c:numRef>
          </c:val>
        </c:ser>
        <c:ser>
          <c:idx val="3"/>
          <c:order val="3"/>
          <c:tx>
            <c:strRef>
              <c:f>Лист3!$A$12</c:f>
              <c:strCache>
                <c:ptCount val="1"/>
                <c:pt idx="0">
                  <c:v>ПАО "Севералмаз"</c:v>
                </c:pt>
              </c:strCache>
            </c:strRef>
          </c:tx>
          <c:spPr>
            <a:solidFill>
              <a:schemeClr val="accent5">
                <a:lumMod val="75000"/>
              </a:schemeClr>
            </a:solidFill>
          </c:spPr>
          <c:dLbls>
            <c:dLbl>
              <c:idx val="0"/>
              <c:delete val="1"/>
            </c:dLbl>
            <c:dLbl>
              <c:idx val="14"/>
              <c:delete val="1"/>
            </c:dLbl>
            <c:txPr>
              <a:bodyPr/>
              <a:lstStyle/>
              <a:p>
                <a:pPr>
                  <a:defRPr sz="800" b="1"/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numRef>
              <c:f>Лист3!$B$2:$P$2</c:f>
              <c:numCache>
                <c:formatCode>General</c:formatCode>
                <c:ptCount val="15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  <c:pt idx="4">
                  <c:v>2020</c:v>
                </c:pt>
                <c:pt idx="5">
                  <c:v>2021</c:v>
                </c:pt>
                <c:pt idx="6">
                  <c:v>2022</c:v>
                </c:pt>
                <c:pt idx="7">
                  <c:v>2023</c:v>
                </c:pt>
                <c:pt idx="8">
                  <c:v>2024</c:v>
                </c:pt>
                <c:pt idx="9">
                  <c:v>2025</c:v>
                </c:pt>
                <c:pt idx="10">
                  <c:v>2026</c:v>
                </c:pt>
                <c:pt idx="11">
                  <c:v>2027</c:v>
                </c:pt>
                <c:pt idx="12">
                  <c:v>2028</c:v>
                </c:pt>
                <c:pt idx="13">
                  <c:v>2029</c:v>
                </c:pt>
                <c:pt idx="14">
                  <c:v>2030</c:v>
                </c:pt>
              </c:numCache>
            </c:numRef>
          </c:cat>
          <c:val>
            <c:numRef>
              <c:f>Лист3!$B$12:$P$12</c:f>
              <c:numCache>
                <c:formatCode>0</c:formatCode>
                <c:ptCount val="15"/>
                <c:pt idx="0">
                  <c:v>2.2179899999999999</c:v>
                </c:pt>
                <c:pt idx="1">
                  <c:v>2.6420700000000004</c:v>
                </c:pt>
                <c:pt idx="2">
                  <c:v>3.32</c:v>
                </c:pt>
                <c:pt idx="3">
                  <c:v>3.823</c:v>
                </c:pt>
                <c:pt idx="4">
                  <c:v>4.1979999999999977</c:v>
                </c:pt>
                <c:pt idx="5">
                  <c:v>4.7736000000000027</c:v>
                </c:pt>
                <c:pt idx="6">
                  <c:v>5.1063999999999998</c:v>
                </c:pt>
                <c:pt idx="7">
                  <c:v>5.0127999999999995</c:v>
                </c:pt>
                <c:pt idx="8">
                  <c:v>4.9816000000000029</c:v>
                </c:pt>
                <c:pt idx="9">
                  <c:v>4.8879999999999972</c:v>
                </c:pt>
                <c:pt idx="10">
                  <c:v>4.6529599999999967</c:v>
                </c:pt>
                <c:pt idx="11">
                  <c:v>4.4564000000000004</c:v>
                </c:pt>
                <c:pt idx="12">
                  <c:v>4.3991999999999996</c:v>
                </c:pt>
                <c:pt idx="13">
                  <c:v>4.3679999999999968</c:v>
                </c:pt>
                <c:pt idx="14">
                  <c:v>4.4512000000000027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88903424"/>
        <c:axId val="188904960"/>
      </c:areaChart>
      <c:catAx>
        <c:axId val="18890342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800" b="1"/>
            </a:pPr>
            <a:endParaRPr lang="ru-RU"/>
          </a:p>
        </c:txPr>
        <c:crossAx val="188904960"/>
        <c:crosses val="autoZero"/>
        <c:auto val="1"/>
        <c:lblAlgn val="ctr"/>
        <c:lblOffset val="100"/>
        <c:noMultiLvlLbl val="0"/>
      </c:catAx>
      <c:valAx>
        <c:axId val="188904960"/>
        <c:scaling>
          <c:orientation val="minMax"/>
          <c:max val="40"/>
        </c:scaling>
        <c:delete val="0"/>
        <c:axPos val="l"/>
        <c:majorGridlines/>
        <c:numFmt formatCode="0" sourceLinked="1"/>
        <c:majorTickMark val="out"/>
        <c:minorTickMark val="none"/>
        <c:tickLblPos val="nextTo"/>
        <c:txPr>
          <a:bodyPr/>
          <a:lstStyle/>
          <a:p>
            <a:pPr>
              <a:defRPr sz="700" b="1"/>
            </a:pPr>
            <a:endParaRPr lang="ru-RU"/>
          </a:p>
        </c:txPr>
        <c:crossAx val="188903424"/>
        <c:crosses val="autoZero"/>
        <c:crossBetween val="midCat"/>
        <c:majorUnit val="10"/>
      </c:valAx>
    </c:plotArea>
    <c:legend>
      <c:legendPos val="r"/>
      <c:layout/>
      <c:overlay val="0"/>
      <c:txPr>
        <a:bodyPr/>
        <a:lstStyle/>
        <a:p>
          <a:pPr>
            <a:defRPr sz="700" b="1"/>
          </a:pPr>
          <a:endParaRPr lang="ru-RU"/>
        </a:p>
      </c:txPr>
    </c:legend>
    <c:plotVisOnly val="1"/>
    <c:dispBlanksAs val="zero"/>
    <c:showDLblsOverMax val="0"/>
  </c:chart>
  <c:externalData r:id="rId2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stack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1"/>
              </a:solidFill>
              <a:ln w="6350">
                <a:solidFill>
                  <a:srgbClr val="006393"/>
                </a:solidFill>
              </a:ln>
              <a:effectLst/>
            </c:spPr>
          </c:dPt>
          <c:cat>
            <c:strRef>
              <c:f>Лист1!$A$2:$A$5</c:f>
              <c:strCache>
                <c:ptCount val="4"/>
                <c:pt idx="0">
                  <c:v>BС1-2</c:v>
                </c:pt>
                <c:pt idx="1">
                  <c:v>Р1</c:v>
                </c:pt>
                <c:pt idx="2">
                  <c:v>Р2</c:v>
                </c:pt>
                <c:pt idx="3">
                  <c:v>Р3</c:v>
                </c:pt>
              </c:strCache>
            </c:strRef>
          </c:cat>
          <c:val>
            <c:numRef>
              <c:f>Лист1!$B$2:$B$5</c:f>
              <c:numCache>
                <c:formatCode>General</c:formatCode>
                <c:ptCount val="4"/>
                <c:pt idx="0">
                  <c:v>638</c:v>
                </c:pt>
                <c:pt idx="1">
                  <c:v>449</c:v>
                </c:pt>
                <c:pt idx="2">
                  <c:v>147</c:v>
                </c:pt>
                <c:pt idx="3">
                  <c:v>1242</c:v>
                </c:pt>
              </c:numCache>
            </c:numRef>
          </c:val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Ряд 2</c:v>
                </c:pt>
              </c:strCache>
            </c:strRef>
          </c:tx>
          <c:spPr>
            <a:pattFill prst="wdUpDiag">
              <a:fgClr>
                <a:schemeClr val="tx1">
                  <a:lumMod val="90000"/>
                  <a:lumOff val="10000"/>
                </a:schemeClr>
              </a:fgClr>
              <a:bgClr>
                <a:schemeClr val="bg1"/>
              </a:bgClr>
            </a:pattFill>
            <a:ln w="6350">
              <a:solidFill>
                <a:srgbClr val="006393"/>
              </a:solidFill>
            </a:ln>
            <a:effectLst/>
          </c:spPr>
          <c:invertIfNegative val="0"/>
          <c:cat>
            <c:strRef>
              <c:f>Лист1!$A$2:$A$5</c:f>
              <c:strCache>
                <c:ptCount val="4"/>
                <c:pt idx="0">
                  <c:v>BС1-2</c:v>
                </c:pt>
                <c:pt idx="1">
                  <c:v>Р1</c:v>
                </c:pt>
                <c:pt idx="2">
                  <c:v>Р2</c:v>
                </c:pt>
                <c:pt idx="3">
                  <c:v>Р3</c:v>
                </c:pt>
              </c:strCache>
            </c:strRef>
          </c:cat>
          <c:val>
            <c:numRef>
              <c:f>Лист1!$C$2:$C$5</c:f>
              <c:numCache>
                <c:formatCode>General</c:formatCode>
                <c:ptCount val="4"/>
                <c:pt idx="0">
                  <c:v>201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</c:numCache>
            </c:numRef>
          </c:val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Ряд 3</c:v>
                </c:pt>
              </c:strCache>
            </c:strRef>
          </c:tx>
          <c:spPr>
            <a:pattFill prst="pct10">
              <a:fgClr>
                <a:schemeClr val="accent1"/>
              </a:fgClr>
              <a:bgClr>
                <a:schemeClr val="bg1"/>
              </a:bgClr>
            </a:pattFill>
            <a:ln w="6350">
              <a:solidFill>
                <a:srgbClr val="006393"/>
              </a:solidFill>
              <a:prstDash val="solid"/>
            </a:ln>
            <a:effectLst/>
          </c:spPr>
          <c:invertIfNegative val="0"/>
          <c:cat>
            <c:strRef>
              <c:f>Лист1!$A$2:$A$5</c:f>
              <c:strCache>
                <c:ptCount val="4"/>
                <c:pt idx="0">
                  <c:v>BС1-2</c:v>
                </c:pt>
                <c:pt idx="1">
                  <c:v>Р1</c:v>
                </c:pt>
                <c:pt idx="2">
                  <c:v>Р2</c:v>
                </c:pt>
                <c:pt idx="3">
                  <c:v>Р3</c:v>
                </c:pt>
              </c:strCache>
            </c:strRef>
          </c:cat>
          <c:val>
            <c:numRef>
              <c:f>Лист1!$D$2:$D$5</c:f>
              <c:numCache>
                <c:formatCode>General</c:formatCode>
                <c:ptCount val="4"/>
                <c:pt idx="0">
                  <c:v>32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82"/>
        <c:overlap val="100"/>
        <c:axId val="189188736"/>
        <c:axId val="189194624"/>
      </c:barChart>
      <c:catAx>
        <c:axId val="189188736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189194624"/>
        <c:crosses val="autoZero"/>
        <c:auto val="1"/>
        <c:lblAlgn val="ctr"/>
        <c:lblOffset val="100"/>
        <c:noMultiLvlLbl val="0"/>
      </c:catAx>
      <c:valAx>
        <c:axId val="189194624"/>
        <c:scaling>
          <c:orientation val="minMax"/>
          <c:max val="1500"/>
          <c:min val="0"/>
        </c:scaling>
        <c:delete val="0"/>
        <c:axPos val="b"/>
        <c:majorGridlines>
          <c:spPr>
            <a:ln w="9525" cap="flat" cmpd="sng" algn="ctr">
              <a:solidFill>
                <a:srgbClr val="002060"/>
              </a:solidFill>
              <a:prstDash val="dash"/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5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189188736"/>
        <c:crosses val="autoZero"/>
        <c:crossBetween val="between"/>
        <c:majorUnit val="500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2" y="3"/>
            <a:ext cx="4302125" cy="3397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5622927" y="3"/>
            <a:ext cx="4302125" cy="3397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0BB76B3-575F-4424-8194-DA05BA2A9DEA}" type="datetimeFigureOut">
              <a:rPr lang="ru-RU" smtClean="0"/>
              <a:t>21.05.2018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2" y="6456368"/>
            <a:ext cx="4302125" cy="3397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3540390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4" y="0"/>
            <a:ext cx="4301543" cy="339884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5622802" y="0"/>
            <a:ext cx="4301543" cy="339884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B35AFE9-CBF1-4B1B-9C3B-FE07954C2397}" type="datetimeFigureOut">
              <a:rPr lang="ru-RU" smtClean="0"/>
              <a:t>21.05.2018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211138" y="519113"/>
            <a:ext cx="5184775" cy="38877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5611392" y="518517"/>
            <a:ext cx="4248472" cy="576064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4" y="6456611"/>
            <a:ext cx="4301543" cy="33988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5622802" y="6567189"/>
            <a:ext cx="4301543" cy="22930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F2AB1AE-D738-4E6B-B846-D79B9A7E7F16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2180656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0874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5437" algn="l" defTabSz="910874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0874" algn="l" defTabSz="910874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66308" algn="l" defTabSz="910874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1747" algn="l" defTabSz="910874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77182" algn="l" defTabSz="910874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32611" algn="l" defTabSz="910874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188059" algn="l" defTabSz="910874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43497" algn="l" defTabSz="910874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211138" y="519113"/>
            <a:ext cx="5184775" cy="3887787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2AB1AE-D738-4E6B-B846-D79B9A7E7F16}" type="slidenum">
              <a:rPr lang="ru-RU" smtClean="0"/>
              <a:t>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25460848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3263900" y="509588"/>
            <a:ext cx="3398838" cy="2549525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3400ABB-290D-4658-B0C7-2A371B572B4C}" type="slidenum">
              <a:rPr lang="en-US" smtClean="0">
                <a:solidFill>
                  <a:prstClr val="black"/>
                </a:solidFill>
              </a:rPr>
              <a:pPr/>
              <a:t>10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42332530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2AB1AE-D738-4E6B-B846-D79B9A7E7F16}" type="slidenum">
              <a:rPr lang="ru-RU" smtClean="0"/>
              <a:t>1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030228526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2AB1AE-D738-4E6B-B846-D79B9A7E7F16}" type="slidenum">
              <a:rPr lang="ru-RU" smtClean="0"/>
              <a:t>1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030228526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2AB1AE-D738-4E6B-B846-D79B9A7E7F16}" type="slidenum">
              <a:rPr lang="ru-RU" smtClean="0"/>
              <a:t>1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030228526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3263900" y="509588"/>
            <a:ext cx="3398838" cy="2549525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3400ABB-290D-4658-B0C7-2A371B572B4C}" type="slidenum">
              <a:rPr lang="en-US" smtClean="0">
                <a:solidFill>
                  <a:prstClr val="black"/>
                </a:solidFill>
              </a:rPr>
              <a:pPr/>
              <a:t>14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70568030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211138" y="519113"/>
            <a:ext cx="5184775" cy="3887787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3400ABB-290D-4658-B0C7-2A371B572B4C}" type="slidenum">
              <a:rPr lang="en-US" smtClean="0"/>
              <a:pPr/>
              <a:t>1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88208111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135313" y="509588"/>
            <a:ext cx="3656012" cy="254952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3400ABB-290D-4658-B0C7-2A371B572B4C}" type="slidenum">
              <a:rPr lang="en-US" smtClean="0">
                <a:solidFill>
                  <a:prstClr val="black"/>
                </a:solidFill>
              </a:rPr>
              <a:pPr/>
              <a:t>16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45776441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-1863725" y="758825"/>
            <a:ext cx="7567613" cy="56769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2AB1AE-D738-4E6B-B846-D79B9A7E7F16}" type="slidenum">
              <a:rPr lang="ru-RU" smtClean="0">
                <a:solidFill>
                  <a:prstClr val="black"/>
                </a:solidFill>
              </a:rPr>
              <a:pPr/>
              <a:t>17</a:t>
            </a:fld>
            <a:endParaRPr 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16318771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-1863725" y="758825"/>
            <a:ext cx="7567613" cy="56769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2AB1AE-D738-4E6B-B846-D79B9A7E7F16}" type="slidenum">
              <a:rPr lang="ru-RU" smtClean="0">
                <a:solidFill>
                  <a:prstClr val="black"/>
                </a:solidFill>
              </a:rPr>
              <a:pPr/>
              <a:t>18</a:t>
            </a:fld>
            <a:endParaRPr 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16318771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-1863725" y="758825"/>
            <a:ext cx="7567613" cy="56769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2AB1AE-D738-4E6B-B846-D79B9A7E7F16}" type="slidenum">
              <a:rPr lang="ru-RU" smtClean="0">
                <a:solidFill>
                  <a:prstClr val="black"/>
                </a:solidFill>
              </a:rPr>
              <a:pPr/>
              <a:t>19</a:t>
            </a:fld>
            <a:endParaRPr 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1631877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3263900" y="509588"/>
            <a:ext cx="3398838" cy="2549525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3400ABB-290D-4658-B0C7-2A371B572B4C}" type="slidenum">
              <a:rPr lang="en-US" smtClean="0">
                <a:solidFill>
                  <a:prstClr val="black"/>
                </a:solidFill>
              </a:rPr>
              <a:pPr/>
              <a:t>2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88208111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-1863725" y="758825"/>
            <a:ext cx="7567613" cy="56769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2AB1AE-D738-4E6B-B846-D79B9A7E7F16}" type="slidenum">
              <a:rPr lang="ru-RU" smtClean="0">
                <a:solidFill>
                  <a:prstClr val="black"/>
                </a:solidFill>
              </a:rPr>
              <a:pPr/>
              <a:t>20</a:t>
            </a:fld>
            <a:endParaRPr 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16318771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-1863725" y="758825"/>
            <a:ext cx="7567613" cy="56769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2AB1AE-D738-4E6B-B846-D79B9A7E7F16}" type="slidenum">
              <a:rPr lang="ru-RU" smtClean="0">
                <a:solidFill>
                  <a:prstClr val="black"/>
                </a:solidFill>
              </a:rPr>
              <a:pPr/>
              <a:t>21</a:t>
            </a:fld>
            <a:endParaRPr 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16318771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-1863725" y="758825"/>
            <a:ext cx="7567613" cy="56769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2AB1AE-D738-4E6B-B846-D79B9A7E7F16}" type="slidenum">
              <a:rPr lang="ru-RU" smtClean="0">
                <a:solidFill>
                  <a:prstClr val="black"/>
                </a:solidFill>
              </a:rPr>
              <a:pPr/>
              <a:t>22</a:t>
            </a:fld>
            <a:endParaRPr 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1631877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3263900" y="509588"/>
            <a:ext cx="3398838" cy="2549525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3400ABB-290D-4658-B0C7-2A371B572B4C}" type="slidenum">
              <a:rPr lang="en-US" smtClean="0">
                <a:solidFill>
                  <a:prstClr val="black"/>
                </a:solidFill>
              </a:rPr>
              <a:pPr/>
              <a:t>3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8820811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3263900" y="509588"/>
            <a:ext cx="3398838" cy="2549525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3400ABB-290D-4658-B0C7-2A371B572B4C}" type="slidenum">
              <a:rPr lang="en-US" smtClean="0">
                <a:solidFill>
                  <a:prstClr val="black"/>
                </a:solidFill>
              </a:rPr>
              <a:pPr/>
              <a:t>4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8820811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3263900" y="509588"/>
            <a:ext cx="3398838" cy="2549525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3400ABB-290D-4658-B0C7-2A371B572B4C}" type="slidenum">
              <a:rPr lang="en-US" smtClean="0">
                <a:solidFill>
                  <a:prstClr val="black"/>
                </a:solidFill>
              </a:rPr>
              <a:pPr/>
              <a:t>5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8820811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3263900" y="509588"/>
            <a:ext cx="3398838" cy="2549525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3400ABB-290D-4658-B0C7-2A371B572B4C}" type="slidenum">
              <a:rPr lang="en-US" smtClean="0">
                <a:solidFill>
                  <a:prstClr val="black"/>
                </a:solidFill>
              </a:rPr>
              <a:pPr/>
              <a:t>6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8820811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3263900" y="509588"/>
            <a:ext cx="3398838" cy="2549525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3400ABB-290D-4658-B0C7-2A371B572B4C}" type="slidenum">
              <a:rPr lang="en-US" smtClean="0">
                <a:solidFill>
                  <a:prstClr val="black"/>
                </a:solidFill>
              </a:rPr>
              <a:pPr/>
              <a:t>7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7056803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3263900" y="509588"/>
            <a:ext cx="3398838" cy="2549525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3400ABB-290D-4658-B0C7-2A371B572B4C}" type="slidenum">
              <a:rPr lang="en-US" smtClean="0">
                <a:solidFill>
                  <a:prstClr val="black"/>
                </a:solidFill>
              </a:rPr>
              <a:pPr/>
              <a:t>8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7056803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3263900" y="509588"/>
            <a:ext cx="3398838" cy="2549525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3400ABB-290D-4658-B0C7-2A371B572B4C}" type="slidenum">
              <a:rPr lang="en-US" smtClean="0">
                <a:solidFill>
                  <a:prstClr val="black"/>
                </a:solidFill>
              </a:rPr>
              <a:pPr/>
              <a:t>9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4233253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03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4.xml"/><Relationship Id="rId4" Type="http://schemas.openxmlformats.org/officeDocument/2006/relationships/image" Target="../media/image3.png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12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5.xml"/><Relationship Id="rId4" Type="http://schemas.openxmlformats.org/officeDocument/2006/relationships/image" Target="../media/image3.png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0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6.xml"/><Relationship Id="rId4" Type="http://schemas.openxmlformats.org/officeDocument/2006/relationships/image" Target="../media/image3.png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28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7.xml"/><Relationship Id="rId4" Type="http://schemas.openxmlformats.org/officeDocument/2006/relationships/image" Target="../media/image3.png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36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8.xml"/><Relationship Id="rId4" Type="http://schemas.openxmlformats.org/officeDocument/2006/relationships/image" Target="../media/image3.png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19.xml"/></Relationships>
</file>

<file path=ppt/slideLayouts/_rels/slideLayout1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gif"/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19.xml"/></Relationships>
</file>

<file path=ppt/slideLayouts/_rels/slideLayout1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gif"/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19.xml"/></Relationships>
</file>

<file path=ppt/slideLayouts/_rels/slideLayout1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gif"/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19.xml"/></Relationships>
</file>

<file path=ppt/slideLayouts/_rels/slideLayout1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9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51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0.xml"/><Relationship Id="rId4" Type="http://schemas.openxmlformats.org/officeDocument/2006/relationships/image" Target="../media/image3.png"/></Relationships>
</file>

<file path=ppt/slideLayouts/_rels/slideLayout1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0.xml"/></Relationships>
</file>

<file path=ppt/slideLayouts/_rels/slideLayout1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160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1.xml"/><Relationship Id="rId4" Type="http://schemas.openxmlformats.org/officeDocument/2006/relationships/image" Target="../media/image3.png"/></Relationships>
</file>

<file path=ppt/slideLayouts/_rels/slideLayout1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1.xml"/></Relationships>
</file>

<file path=ppt/slideLayouts/_rels/slideLayout1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2.xml"/></Relationships>
</file>

<file path=ppt/slideLayouts/_rels/slideLayout1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gif"/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2.xml"/></Relationships>
</file>

<file path=ppt/slideLayouts/_rels/slideLayout1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gif"/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2.xml"/></Relationships>
</file>

<file path=ppt/slideLayouts/_rels/slideLayout1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gif"/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2.xml"/></Relationships>
</file>

<file path=ppt/slideLayouts/_rels/slideLayout1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2.xml"/></Relationships>
</file>

<file path=ppt/slideLayouts/_rels/slideLayout1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1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1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3.xml"/></Relationships>
</file>

<file path=ppt/slideLayouts/_rels/slideLayout1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gif"/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3.xml"/></Relationships>
</file>

<file path=ppt/slideLayouts/_rels/slideLayout1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gif"/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3.xml"/></Relationships>
</file>

<file path=ppt/slideLayouts/_rels/slideLayout18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3.png"/></Relationships>
</file>

<file path=ppt/slideLayouts/_rels/slideLayout1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gif"/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3.xml"/></Relationships>
</file>

<file path=ppt/slideLayouts/_rels/slideLayout1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3.xml"/></Relationships>
</file>

<file path=ppt/slideLayouts/_rels/slideLayout1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183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4.xml"/><Relationship Id="rId4" Type="http://schemas.openxmlformats.org/officeDocument/2006/relationships/image" Target="../media/image3.png"/></Relationships>
</file>

<file path=ppt/slideLayouts/_rels/slideLayout1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1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1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1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1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1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4.xml"/></Relationships>
</file>

<file path=ppt/slideLayouts/_rels/slideLayout1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192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5.xml"/><Relationship Id="rId4" Type="http://schemas.openxmlformats.org/officeDocument/2006/relationships/image" Target="../media/image3.png"/></Relationships>
</file>

<file path=ppt/slideLayouts/_rels/slideLayout1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1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1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1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1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1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1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5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2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2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6.xml"/></Relationships>
</file>

<file path=ppt/slideLayouts/_rels/slideLayout20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gif"/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6.xml"/></Relationships>
</file>

<file path=ppt/slideLayouts/_rels/slideLayout20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gif"/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6.xml"/></Relationships>
</file>

<file path=ppt/slideLayouts/_rels/slideLayout20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gif"/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6.xml"/></Relationships>
</file>

<file path=ppt/slideLayouts/_rels/slideLayout20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6.xml"/></Relationships>
</file>

<file path=ppt/slideLayouts/_rels/slideLayout2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2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2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7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gif"/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7.xml"/></Relationships>
</file>

<file path=ppt/slideLayouts/_rels/slideLayout2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gif"/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7.xml"/></Relationships>
</file>

<file path=ppt/slideLayouts/_rels/slideLayout2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gif"/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7.xml"/></Relationships>
</file>

<file path=ppt/slideLayouts/_rels/slideLayout2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7.xml"/></Relationships>
</file>

<file path=ppt/slideLayouts/_rels/slideLayout2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215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8.xml"/><Relationship Id="rId4" Type="http://schemas.openxmlformats.org/officeDocument/2006/relationships/image" Target="../media/image3.png"/></Relationships>
</file>

<file path=ppt/slideLayouts/_rels/slideLayout2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2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2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2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2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2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223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9.xml"/><Relationship Id="rId4" Type="http://schemas.openxmlformats.org/officeDocument/2006/relationships/image" Target="../media/image3.png"/></Relationships>
</file>

<file path=ppt/slideLayouts/_rels/slideLayout2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2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2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2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2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2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231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0.xml"/><Relationship Id="rId4" Type="http://schemas.openxmlformats.org/officeDocument/2006/relationships/image" Target="../media/image3.png"/></Relationships>
</file>

<file path=ppt/slideLayouts/_rels/slideLayout2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2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2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2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2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2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2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239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1.xml"/><Relationship Id="rId4" Type="http://schemas.openxmlformats.org/officeDocument/2006/relationships/image" Target="../media/image3.png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2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2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2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2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2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2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1.xml"/></Relationships>
</file>

<file path=ppt/slideLayouts/_rels/slideLayout2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3.png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3.png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1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3.png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9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7.xml"/><Relationship Id="rId4" Type="http://schemas.openxmlformats.org/officeDocument/2006/relationships/image" Target="../media/image3.png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6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3.png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3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9.xml"/><Relationship Id="rId4" Type="http://schemas.openxmlformats.org/officeDocument/2006/relationships/image" Target="../media/image3.png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1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0.xml"/><Relationship Id="rId4" Type="http://schemas.openxmlformats.org/officeDocument/2006/relationships/image" Target="../media/image3.png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78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1.xml"/><Relationship Id="rId4" Type="http://schemas.openxmlformats.org/officeDocument/2006/relationships/image" Target="../media/image3.png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86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2.xml"/><Relationship Id="rId4" Type="http://schemas.openxmlformats.org/officeDocument/2006/relationships/image" Target="../media/image3.png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9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.png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94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3.xml"/><Relationship Id="rId4" Type="http://schemas.openxmlformats.org/officeDocument/2006/relationships/image" Target="../media/image3.png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Прямоугольник 14"/>
          <p:cNvSpPr/>
          <p:nvPr/>
        </p:nvSpPr>
        <p:spPr bwMode="auto">
          <a:xfrm>
            <a:off x="190502" y="76200"/>
            <a:ext cx="8782050" cy="1104900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243" tIns="45622" rIns="91243" bIns="45622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</a:pPr>
            <a:endParaRPr kumimoji="1" lang="ru-RU" sz="1000">
              <a:solidFill>
                <a:srgbClr val="00294F"/>
              </a:solidFill>
              <a:latin typeface="Tahoma" pitchFamily="34" charset="0"/>
              <a:ea typeface="PMingLiU" pitchFamily="18" charset="-120"/>
            </a:endParaRPr>
          </a:p>
        </p:txBody>
      </p:sp>
      <p:sp>
        <p:nvSpPr>
          <p:cNvPr id="907266" name="Rectangle 2"/>
          <p:cNvSpPr>
            <a:spLocks noGrp="1" noChangeArrowheads="1"/>
          </p:cNvSpPr>
          <p:nvPr>
            <p:ph type="subTitle" idx="1"/>
          </p:nvPr>
        </p:nvSpPr>
        <p:spPr>
          <a:xfrm>
            <a:off x="4581547" y="5692659"/>
            <a:ext cx="4206801" cy="219164"/>
          </a:xfrm>
          <a:effectLst>
            <a:outerShdw dist="17961" dir="2700000" algn="ctr" rotWithShape="0">
              <a:srgbClr val="FFFFFF"/>
            </a:outerShdw>
          </a:effectLst>
        </p:spPr>
        <p:txBody>
          <a:bodyPr wrap="square">
            <a:spAutoFit/>
          </a:bodyPr>
          <a:lstStyle>
            <a:lvl1pPr marL="0" indent="0" algn="r" defTabSz="819005">
              <a:spcBef>
                <a:spcPct val="0"/>
              </a:spcBef>
              <a:buClrTx/>
              <a:buFontTx/>
              <a:buNone/>
              <a:defRPr sz="1400">
                <a:solidFill>
                  <a:schemeClr val="tx2"/>
                </a:solidFill>
              </a:defRPr>
            </a:lvl1pPr>
          </a:lstStyle>
          <a:p>
            <a:r>
              <a:rPr lang="ru-RU" smtClean="0"/>
              <a:t>Образец подзаголовка</a:t>
            </a:r>
            <a:endParaRPr lang="en-US" dirty="0"/>
          </a:p>
        </p:txBody>
      </p:sp>
      <p:sp>
        <p:nvSpPr>
          <p:cNvPr id="907267" name="Rectangle 3"/>
          <p:cNvSpPr>
            <a:spLocks noGrp="1" noChangeArrowheads="1"/>
          </p:cNvSpPr>
          <p:nvPr>
            <p:ph type="ctrTitle" sz="quarter"/>
          </p:nvPr>
        </p:nvSpPr>
        <p:spPr>
          <a:xfrm>
            <a:off x="3361994" y="5256523"/>
            <a:ext cx="5522912" cy="452437"/>
          </a:xfrm>
          <a:prstGeom prst="rect">
            <a:avLst/>
          </a:prstGeom>
          <a:ln/>
          <a:effectLst>
            <a:outerShdw dist="17961" dir="2700000" algn="ctr" rotWithShape="0">
              <a:srgbClr val="FFFFFF"/>
            </a:outerShdw>
          </a:effectLst>
        </p:spPr>
        <p:txBody>
          <a:bodyPr lIns="91243" tIns="45622" rIns="91243" bIns="45622" anchor="b"/>
          <a:lstStyle>
            <a:lvl1pPr algn="r" defTabSz="819005">
              <a:defRPr sz="2400" b="0">
                <a:solidFill>
                  <a:schemeClr val="tx2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pic>
        <p:nvPicPr>
          <p:cNvPr id="8" name="Рисунок 7"/>
          <p:cNvPicPr>
            <a:picLocks noChangeAspect="1"/>
          </p:cNvPicPr>
          <p:nvPr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2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0710" y="505803"/>
            <a:ext cx="5230821" cy="3804234"/>
          </a:xfrm>
          <a:prstGeom prst="rect">
            <a:avLst/>
          </a:prstGeom>
        </p:spPr>
      </p:pic>
      <p:pic>
        <p:nvPicPr>
          <p:cNvPr id="1026" name="Picture 2"/>
          <p:cNvPicPr>
            <a:picLocks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41876" y="3151406"/>
            <a:ext cx="3564000" cy="2066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2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5762" y="0"/>
            <a:ext cx="2304497" cy="1626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flat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2187841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gallery dir="l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Основн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414000" y="1638000"/>
            <a:ext cx="8316000" cy="4467600"/>
          </a:xfrm>
        </p:spPr>
        <p:txBody>
          <a:bodyPr/>
          <a:lstStyle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de-DE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4"/>
          </p:nvPr>
        </p:nvSpPr>
        <p:spPr>
          <a:xfrm>
            <a:off x="8665706" y="6526188"/>
            <a:ext cx="402094" cy="217518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chemeClr val="bg1"/>
                </a:solidFill>
                <a:latin typeface="+mj-lt"/>
              </a:defRPr>
            </a:lvl1pPr>
          </a:lstStyle>
          <a:p>
            <a:fld id="{8E141AF1-466E-4D9F-B74C-45FFEB47CA13}" type="slidenum">
              <a:rPr lang="de-DE" smtClean="0">
                <a:solidFill>
                  <a:srgbClr val="FFFFFF"/>
                </a:solidFill>
              </a:rPr>
              <a:pPr/>
              <a:t>‹#›</a:t>
            </a:fld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1652954" y="1"/>
            <a:ext cx="7220702" cy="897162"/>
          </a:xfrm>
          <a:prstGeom prst="rect">
            <a:avLst/>
          </a:prstGeom>
          <a:ln/>
          <a:effectLst>
            <a:outerShdw dist="17961" dir="2700000" algn="ctr" rotWithShape="0">
              <a:srgbClr val="FFFFFF"/>
            </a:outerShdw>
          </a:effectLst>
        </p:spPr>
        <p:txBody>
          <a:bodyPr lIns="91243" tIns="45622" rIns="91243" bIns="45622" anchor="ctr"/>
          <a:lstStyle>
            <a:lvl1pPr>
              <a:defRPr kumimoji="1" lang="ru-RU" sz="1700" kern="1200">
                <a:solidFill>
                  <a:srgbClr val="016EB3"/>
                </a:solidFill>
              </a:defRPr>
            </a:lvl1pPr>
          </a:lstStyle>
          <a:p>
            <a:pPr lvl="0" defTabSz="819005"/>
            <a:r>
              <a:rPr lang="ru-RU" smtClean="0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1827166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gallery dir="l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31778" y="123825"/>
            <a:ext cx="6742113" cy="657225"/>
          </a:xfrm>
          <a:prstGeom prst="rect">
            <a:avLst/>
          </a:prstGeom>
        </p:spPr>
        <p:txBody>
          <a:bodyPr lIns="91243" tIns="45622" rIns="91243" bIns="45622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715E4BD-578A-4F4A-9E92-1B4DB10B5101}" type="slidenum">
              <a:rPr lang="en-US">
                <a:solidFill>
                  <a:srgbClr val="A0A1A6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A0A1A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15720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gallery dir="l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Основн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lide Number Placeholder 8"/>
          <p:cNvSpPr>
            <a:spLocks noGrp="1"/>
          </p:cNvSpPr>
          <p:nvPr>
            <p:ph type="sldNum" sz="quarter" idx="14"/>
          </p:nvPr>
        </p:nvSpPr>
        <p:spPr>
          <a:xfrm>
            <a:off x="8665706" y="6526188"/>
            <a:ext cx="402094" cy="217518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chemeClr val="bg1"/>
                </a:solidFill>
                <a:latin typeface="+mj-lt"/>
              </a:defRPr>
            </a:lvl1pPr>
          </a:lstStyle>
          <a:p>
            <a:fld id="{8E141AF1-466E-4D9F-B74C-45FFEB47CA13}" type="slidenum">
              <a:rPr lang="de-DE" smtClean="0">
                <a:solidFill>
                  <a:srgbClr val="FFFFFF"/>
                </a:solidFill>
              </a:rPr>
              <a:pPr/>
              <a:t>‹#›</a:t>
            </a:fld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261257" y="1"/>
            <a:ext cx="8612399" cy="897162"/>
          </a:xfrm>
          <a:prstGeom prst="rect">
            <a:avLst/>
          </a:prstGeom>
          <a:ln/>
          <a:effectLst>
            <a:outerShdw dist="17961" dir="2700000" algn="ctr" rotWithShape="0">
              <a:srgbClr val="FFFFFF"/>
            </a:outerShdw>
          </a:effectLst>
        </p:spPr>
        <p:txBody>
          <a:bodyPr lIns="91243" tIns="45622" rIns="91243" bIns="45622" anchor="ctr"/>
          <a:lstStyle>
            <a:lvl1pPr>
              <a:defRPr kumimoji="1" lang="ru-RU" sz="1800" kern="1200">
                <a:solidFill>
                  <a:srgbClr val="016EB3"/>
                </a:solidFill>
              </a:defRPr>
            </a:lvl1pPr>
          </a:lstStyle>
          <a:p>
            <a:pPr lvl="0" defTabSz="819005"/>
            <a:r>
              <a:rPr lang="ru-RU" dirty="0" smtClean="0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7520165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gallery dir="l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475200" y="1638000"/>
            <a:ext cx="8150400" cy="4467600"/>
          </a:xfrm>
        </p:spPr>
        <p:txBody>
          <a:bodyPr/>
          <a:lstStyle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de-DE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4"/>
          </p:nvPr>
        </p:nvSpPr>
        <p:spPr>
          <a:xfrm>
            <a:off x="8681892" y="6519691"/>
            <a:ext cx="402094" cy="217518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chemeClr val="bg1"/>
                </a:solidFill>
                <a:latin typeface="+mj-lt"/>
              </a:defRPr>
            </a:lvl1pPr>
          </a:lstStyle>
          <a:p>
            <a:fld id="{8E141AF1-466E-4D9F-B74C-45FFEB47CA13}" type="slidenum">
              <a:rPr lang="de-DE" smtClean="0">
                <a:solidFill>
                  <a:srgbClr val="FFFFFF"/>
                </a:solidFill>
              </a:rPr>
              <a:pPr/>
              <a:t>‹#›</a:t>
            </a:fld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254001" y="285772"/>
            <a:ext cx="8613774" cy="611413"/>
          </a:xfrm>
          <a:prstGeom prst="rect">
            <a:avLst/>
          </a:prstGeom>
          <a:ln/>
          <a:effectLst>
            <a:outerShdw dist="17961" dir="2700000" algn="ctr" rotWithShape="0">
              <a:srgbClr val="FFFFFF"/>
            </a:outerShdw>
          </a:effectLst>
        </p:spPr>
        <p:txBody>
          <a:bodyPr lIns="91243" tIns="45622" rIns="91243" bIns="45622" anchor="ctr"/>
          <a:lstStyle>
            <a:lvl1pPr>
              <a:defRPr kumimoji="1" lang="ru-RU" sz="1800" kern="1200">
                <a:solidFill>
                  <a:srgbClr val="016EB3"/>
                </a:solidFill>
              </a:defRPr>
            </a:lvl1pPr>
          </a:lstStyle>
          <a:p>
            <a:pPr lvl="0" defTabSz="819005"/>
            <a:r>
              <a:rPr lang="ru-RU" dirty="0" smtClean="0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3594297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gallery dir="l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07266" name="Rectangle 2"/>
          <p:cNvSpPr>
            <a:spLocks noGrp="1" noChangeArrowheads="1"/>
          </p:cNvSpPr>
          <p:nvPr>
            <p:ph type="subTitle" idx="1"/>
          </p:nvPr>
        </p:nvSpPr>
        <p:spPr>
          <a:xfrm>
            <a:off x="2935489" y="5737238"/>
            <a:ext cx="5522912" cy="270843"/>
          </a:xfrm>
          <a:effectLst>
            <a:outerShdw dist="17961" dir="2700000" algn="ctr" rotWithShape="0">
              <a:srgbClr val="FFFFFF"/>
            </a:outerShdw>
          </a:effectLst>
        </p:spPr>
        <p:txBody>
          <a:bodyPr>
            <a:spAutoFit/>
          </a:bodyPr>
          <a:lstStyle>
            <a:lvl1pPr marL="0" indent="0" algn="r" defTabSz="819005">
              <a:spcBef>
                <a:spcPct val="0"/>
              </a:spcBef>
              <a:buClrTx/>
              <a:buFontTx/>
              <a:buNone/>
              <a:defRPr sz="1600">
                <a:solidFill>
                  <a:schemeClr val="tx2"/>
                </a:solidFill>
              </a:defRPr>
            </a:lvl1pPr>
          </a:lstStyle>
          <a:p>
            <a:r>
              <a:rPr lang="ru-RU" smtClean="0"/>
              <a:t>Образец подзаголовка</a:t>
            </a:r>
            <a:endParaRPr lang="en-US" dirty="0"/>
          </a:p>
        </p:txBody>
      </p:sp>
      <p:sp>
        <p:nvSpPr>
          <p:cNvPr id="907267" name="Rectangle 3"/>
          <p:cNvSpPr>
            <a:spLocks noGrp="1" noChangeArrowheads="1"/>
          </p:cNvSpPr>
          <p:nvPr>
            <p:ph type="ctrTitle" sz="quarter"/>
          </p:nvPr>
        </p:nvSpPr>
        <p:spPr>
          <a:xfrm>
            <a:off x="3032589" y="5183211"/>
            <a:ext cx="5522912" cy="452437"/>
          </a:xfrm>
          <a:prstGeom prst="rect">
            <a:avLst/>
          </a:prstGeom>
          <a:ln/>
          <a:effectLst>
            <a:outerShdw dist="17961" dir="2700000" algn="ctr" rotWithShape="0">
              <a:srgbClr val="FFFFFF"/>
            </a:outerShdw>
          </a:effectLst>
        </p:spPr>
        <p:txBody>
          <a:bodyPr lIns="91243" tIns="45622" rIns="91243" bIns="45622" anchor="b"/>
          <a:lstStyle>
            <a:lvl1pPr algn="r" defTabSz="819005">
              <a:defRPr sz="2400">
                <a:solidFill>
                  <a:schemeClr val="tx2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en-US"/>
          </a:p>
        </p:txBody>
      </p:sp>
      <p:pic>
        <p:nvPicPr>
          <p:cNvPr id="2" name="Рисунок 1"/>
          <p:cNvPicPr>
            <a:picLocks noChangeAspect="1"/>
          </p:cNvPicPr>
          <p:nvPr userDrawn="1"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2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0710" y="505803"/>
            <a:ext cx="5230821" cy="3804234"/>
          </a:xfrm>
          <a:prstGeom prst="rect">
            <a:avLst/>
          </a:prstGeom>
        </p:spPr>
      </p:pic>
      <p:pic>
        <p:nvPicPr>
          <p:cNvPr id="7" name="Picture 2"/>
          <p:cNvPicPr>
            <a:picLocks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68002" y="3096000"/>
            <a:ext cx="3564000" cy="2066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8299262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gallery dir="l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Основн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414000" y="1638000"/>
            <a:ext cx="8316000" cy="4467600"/>
          </a:xfrm>
        </p:spPr>
        <p:txBody>
          <a:bodyPr/>
          <a:lstStyle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de-DE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4"/>
          </p:nvPr>
        </p:nvSpPr>
        <p:spPr>
          <a:xfrm>
            <a:off x="8665706" y="6526188"/>
            <a:ext cx="402094" cy="217518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chemeClr val="bg1"/>
                </a:solidFill>
                <a:latin typeface="+mj-lt"/>
              </a:defRPr>
            </a:lvl1pPr>
          </a:lstStyle>
          <a:p>
            <a:fld id="{8E141AF1-466E-4D9F-B74C-45FFEB47CA13}" type="slidenum">
              <a:rPr lang="de-DE" smtClean="0">
                <a:solidFill>
                  <a:srgbClr val="FFFFFF"/>
                </a:solidFill>
              </a:rPr>
              <a:pPr/>
              <a:t>‹#›</a:t>
            </a:fld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1652954" y="1"/>
            <a:ext cx="7220702" cy="897162"/>
          </a:xfrm>
          <a:prstGeom prst="rect">
            <a:avLst/>
          </a:prstGeom>
          <a:ln/>
          <a:effectLst>
            <a:outerShdw dist="17961" dir="2700000" algn="ctr" rotWithShape="0">
              <a:srgbClr val="FFFFFF"/>
            </a:outerShdw>
          </a:effectLst>
        </p:spPr>
        <p:txBody>
          <a:bodyPr lIns="91243" tIns="45622" rIns="91243" bIns="45622" anchor="ctr"/>
          <a:lstStyle>
            <a:lvl1pPr>
              <a:defRPr kumimoji="1" lang="ru-RU" sz="1700" kern="1200">
                <a:solidFill>
                  <a:srgbClr val="016EB3"/>
                </a:solidFill>
              </a:defRPr>
            </a:lvl1pPr>
          </a:lstStyle>
          <a:p>
            <a:pPr lvl="0" defTabSz="819005"/>
            <a:r>
              <a:rPr lang="ru-RU" smtClean="0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3234510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gallery dir="l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 userDrawn="1"/>
        </p:nvSpPr>
        <p:spPr bwMode="auto">
          <a:xfrm>
            <a:off x="8660610" y="6374606"/>
            <a:ext cx="478632" cy="389746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243" tIns="45622" rIns="91243" bIns="45622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</a:pPr>
            <a:endParaRPr kumimoji="1" lang="ru-RU" sz="1000" smtClean="0">
              <a:solidFill>
                <a:srgbClr val="00294F"/>
              </a:solidFill>
              <a:latin typeface="Tahoma" pitchFamily="34" charset="0"/>
              <a:ea typeface="PMingLiU" pitchFamily="18" charset="-120"/>
            </a:endParaRPr>
          </a:p>
        </p:txBody>
      </p:sp>
    </p:spTree>
    <p:extLst>
      <p:ext uri="{BB962C8B-B14F-4D97-AF65-F5344CB8AC3E}">
        <p14:creationId xmlns:p14="http://schemas.microsoft.com/office/powerpoint/2010/main" val="25805073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gallery dir="l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лайд &quot;Спасибо!&quot;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Line 27"/>
          <p:cNvSpPr>
            <a:spLocks noChangeShapeType="1"/>
          </p:cNvSpPr>
          <p:nvPr userDrawn="1"/>
        </p:nvSpPr>
        <p:spPr bwMode="auto">
          <a:xfrm>
            <a:off x="252000" y="5940000"/>
            <a:ext cx="8640000" cy="0"/>
          </a:xfrm>
          <a:prstGeom prst="line">
            <a:avLst/>
          </a:prstGeom>
          <a:noFill/>
          <a:ln w="28575">
            <a:solidFill>
              <a:srgbClr val="016EB3"/>
            </a:solidFill>
            <a:round/>
            <a:headEnd/>
            <a:tailEnd/>
          </a:ln>
          <a:effectLst/>
        </p:spPr>
        <p:txBody>
          <a:bodyPr wrap="none" lIns="91243" tIns="45622" rIns="91243" bIns="45622"/>
          <a:lstStyle/>
          <a:p>
            <a:pPr fontAlgn="base">
              <a:spcBef>
                <a:spcPct val="50000"/>
              </a:spcBef>
              <a:spcAft>
                <a:spcPct val="0"/>
              </a:spcAft>
              <a:defRPr/>
            </a:pPr>
            <a:endParaRPr kumimoji="1" lang="ru-RU" sz="1000" dirty="0">
              <a:solidFill>
                <a:srgbClr val="002766"/>
              </a:solidFill>
              <a:latin typeface="Tahoma" pitchFamily="34" charset="0"/>
              <a:ea typeface="PMingLiU" pitchFamily="18" charset="-120"/>
            </a:endParaRPr>
          </a:p>
        </p:txBody>
      </p:sp>
      <p:sp>
        <p:nvSpPr>
          <p:cNvPr id="9" name="Прямоугольник 8"/>
          <p:cNvSpPr/>
          <p:nvPr userDrawn="1"/>
        </p:nvSpPr>
        <p:spPr bwMode="auto">
          <a:xfrm>
            <a:off x="252000" y="190523"/>
            <a:ext cx="1623692" cy="606669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243" tIns="45622" rIns="91243" bIns="45622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</a:pPr>
            <a:endParaRPr kumimoji="1" lang="ru-RU" sz="1000" smtClean="0">
              <a:solidFill>
                <a:srgbClr val="00294F"/>
              </a:solidFill>
              <a:latin typeface="Tahoma" pitchFamily="34" charset="0"/>
              <a:ea typeface="PMingLiU" pitchFamily="18" charset="-120"/>
            </a:endParaRPr>
          </a:p>
        </p:txBody>
      </p:sp>
      <p:sp>
        <p:nvSpPr>
          <p:cNvPr id="10" name="Прямоугольник 9"/>
          <p:cNvSpPr/>
          <p:nvPr userDrawn="1"/>
        </p:nvSpPr>
        <p:spPr bwMode="auto">
          <a:xfrm>
            <a:off x="8429206" y="6327669"/>
            <a:ext cx="708444" cy="504825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243" tIns="45622" rIns="91243" bIns="45622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</a:pPr>
            <a:endParaRPr kumimoji="1" lang="ru-RU" sz="1000" smtClean="0">
              <a:solidFill>
                <a:srgbClr val="00294F"/>
              </a:solidFill>
              <a:latin typeface="Tahoma" pitchFamily="34" charset="0"/>
              <a:ea typeface="PMingLiU" pitchFamily="18" charset="-120"/>
            </a:endParaRPr>
          </a:p>
        </p:txBody>
      </p:sp>
      <p:sp>
        <p:nvSpPr>
          <p:cNvPr id="18" name="Текст 3"/>
          <p:cNvSpPr>
            <a:spLocks noGrp="1"/>
          </p:cNvSpPr>
          <p:nvPr>
            <p:ph type="body" sz="half" idx="10" hasCustomPrompt="1"/>
          </p:nvPr>
        </p:nvSpPr>
        <p:spPr>
          <a:xfrm>
            <a:off x="7200000" y="6210000"/>
            <a:ext cx="1656000" cy="396000"/>
          </a:xfrm>
        </p:spPr>
        <p:txBody>
          <a:bodyPr anchor="ctr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100">
                <a:solidFill>
                  <a:schemeClr val="tx2"/>
                </a:solidFill>
              </a:defRPr>
            </a:lvl1pPr>
            <a:lvl2pPr marL="456234" indent="0">
              <a:buNone/>
              <a:defRPr sz="1200"/>
            </a:lvl2pPr>
            <a:lvl3pPr marL="912468" indent="0">
              <a:buNone/>
              <a:defRPr sz="1000"/>
            </a:lvl3pPr>
            <a:lvl4pPr marL="1368700" indent="0">
              <a:buNone/>
              <a:defRPr sz="900"/>
            </a:lvl4pPr>
            <a:lvl5pPr marL="1824935" indent="0">
              <a:buNone/>
              <a:defRPr sz="900"/>
            </a:lvl5pPr>
            <a:lvl6pPr marL="2281167" indent="0">
              <a:buNone/>
              <a:defRPr sz="900"/>
            </a:lvl6pPr>
            <a:lvl7pPr marL="2737394" indent="0">
              <a:buNone/>
              <a:defRPr sz="900"/>
            </a:lvl7pPr>
            <a:lvl8pPr marL="3193635" indent="0">
              <a:buNone/>
              <a:defRPr sz="900"/>
            </a:lvl8pPr>
            <a:lvl9pPr marL="3649869" indent="0">
              <a:buNone/>
              <a:defRPr sz="900"/>
            </a:lvl9pPr>
          </a:lstStyle>
          <a:p>
            <a:pPr lvl="0"/>
            <a:r>
              <a:rPr lang="ru-RU" dirty="0" smtClean="0"/>
              <a:t>Телефон и </a:t>
            </a:r>
            <a:r>
              <a:rPr lang="en-US" dirty="0" smtClean="0"/>
              <a:t>e-mail</a:t>
            </a:r>
          </a:p>
        </p:txBody>
      </p:sp>
      <p:sp>
        <p:nvSpPr>
          <p:cNvPr id="21" name="Текст 3"/>
          <p:cNvSpPr>
            <a:spLocks noGrp="1"/>
          </p:cNvSpPr>
          <p:nvPr>
            <p:ph type="body" sz="half" idx="12" hasCustomPrompt="1"/>
          </p:nvPr>
        </p:nvSpPr>
        <p:spPr>
          <a:xfrm>
            <a:off x="2088000" y="3096000"/>
            <a:ext cx="4932000" cy="648000"/>
          </a:xfrm>
        </p:spPr>
        <p:txBody>
          <a:bodyPr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buNone/>
              <a:defRPr sz="3600">
                <a:solidFill>
                  <a:srgbClr val="016EB3"/>
                </a:solidFill>
              </a:defRPr>
            </a:lvl1pPr>
            <a:lvl2pPr marL="456234" indent="0">
              <a:buNone/>
              <a:defRPr sz="1200"/>
            </a:lvl2pPr>
            <a:lvl3pPr marL="912468" indent="0">
              <a:buNone/>
              <a:defRPr sz="1000"/>
            </a:lvl3pPr>
            <a:lvl4pPr marL="1368700" indent="0">
              <a:buNone/>
              <a:defRPr sz="900"/>
            </a:lvl4pPr>
            <a:lvl5pPr marL="1824935" indent="0">
              <a:buNone/>
              <a:defRPr sz="900"/>
            </a:lvl5pPr>
            <a:lvl6pPr marL="2281167" indent="0">
              <a:buNone/>
              <a:defRPr sz="900"/>
            </a:lvl6pPr>
            <a:lvl7pPr marL="2737394" indent="0">
              <a:buNone/>
              <a:defRPr sz="900"/>
            </a:lvl7pPr>
            <a:lvl8pPr marL="3193635" indent="0">
              <a:buNone/>
              <a:defRPr sz="900"/>
            </a:lvl8pPr>
            <a:lvl9pPr marL="3649869" indent="0">
              <a:buNone/>
              <a:defRPr sz="900"/>
            </a:lvl9pPr>
          </a:lstStyle>
          <a:p>
            <a:pPr lvl="0"/>
            <a:r>
              <a:rPr lang="ru-RU" dirty="0" smtClean="0"/>
              <a:t>Спасибо! / </a:t>
            </a:r>
            <a:r>
              <a:rPr lang="en-US" dirty="0" smtClean="0"/>
              <a:t>Thank you!</a:t>
            </a:r>
          </a:p>
        </p:txBody>
      </p:sp>
      <p:sp>
        <p:nvSpPr>
          <p:cNvPr id="28" name="Текст 27"/>
          <p:cNvSpPr>
            <a:spLocks noGrp="1"/>
          </p:cNvSpPr>
          <p:nvPr>
            <p:ph type="body" sz="quarter" idx="14" hasCustomPrompt="1"/>
          </p:nvPr>
        </p:nvSpPr>
        <p:spPr>
          <a:xfrm>
            <a:off x="5112000" y="6210000"/>
            <a:ext cx="2016000" cy="396000"/>
          </a:xfrm>
        </p:spPr>
        <p:txBody>
          <a:bodyPr anchor="ctr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10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ru-RU" dirty="0" smtClean="0"/>
              <a:t>Адрес компании</a:t>
            </a:r>
            <a:endParaRPr lang="ru-RU" dirty="0"/>
          </a:p>
        </p:txBody>
      </p:sp>
      <p:sp>
        <p:nvSpPr>
          <p:cNvPr id="30" name="Текст 29"/>
          <p:cNvSpPr>
            <a:spLocks noGrp="1"/>
          </p:cNvSpPr>
          <p:nvPr>
            <p:ph type="body" sz="quarter" idx="15" hasCustomPrompt="1"/>
          </p:nvPr>
        </p:nvSpPr>
        <p:spPr>
          <a:xfrm>
            <a:off x="2772000" y="6210000"/>
            <a:ext cx="2268000" cy="396000"/>
          </a:xfrm>
        </p:spPr>
        <p:txBody>
          <a:bodyPr anchor="ctr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10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ru-RU" dirty="0" smtClean="0"/>
              <a:t>Управление и Отдел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4810217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gallery dir="l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31778" y="306698"/>
            <a:ext cx="6742113" cy="739775"/>
          </a:xfrm>
          <a:prstGeom prst="rect">
            <a:avLst/>
          </a:prstGeom>
        </p:spPr>
        <p:txBody>
          <a:bodyPr lIns="91243" tIns="45622" rIns="91243" bIns="45622"/>
          <a:lstStyle>
            <a:lvl1pPr>
              <a:defRPr sz="2500"/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15" name="Rectangle 4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EFF660B-5916-42E2-9D88-953A3CB16BD3}" type="slidenum">
              <a:rPr lang="en-US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905436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gallery dir="l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Основн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414000" y="1638000"/>
            <a:ext cx="8316000" cy="4467600"/>
          </a:xfrm>
        </p:spPr>
        <p:txBody>
          <a:bodyPr/>
          <a:lstStyle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de-DE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4"/>
          </p:nvPr>
        </p:nvSpPr>
        <p:spPr>
          <a:xfrm>
            <a:off x="8665706" y="6526188"/>
            <a:ext cx="402094" cy="217518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chemeClr val="bg1"/>
                </a:solidFill>
                <a:latin typeface="+mj-lt"/>
              </a:defRPr>
            </a:lvl1pPr>
          </a:lstStyle>
          <a:p>
            <a:fld id="{8E141AF1-466E-4D9F-B74C-45FFEB47CA13}" type="slidenum">
              <a:rPr lang="de-DE" smtClean="0">
                <a:solidFill>
                  <a:srgbClr val="FFFFFF"/>
                </a:solidFill>
              </a:rPr>
              <a:pPr/>
              <a:t>‹#›</a:t>
            </a:fld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1652954" y="1"/>
            <a:ext cx="7220702" cy="897162"/>
          </a:xfrm>
          <a:prstGeom prst="rect">
            <a:avLst/>
          </a:prstGeom>
          <a:ln/>
          <a:effectLst>
            <a:outerShdw dist="17961" dir="2700000" algn="ctr" rotWithShape="0">
              <a:srgbClr val="FFFFFF"/>
            </a:outerShdw>
          </a:effectLst>
        </p:spPr>
        <p:txBody>
          <a:bodyPr lIns="91243" tIns="45622" rIns="91243" bIns="45622" anchor="ctr"/>
          <a:lstStyle>
            <a:lvl1pPr>
              <a:defRPr kumimoji="1" lang="ru-RU" sz="1700" kern="1200">
                <a:solidFill>
                  <a:srgbClr val="016EB3"/>
                </a:solidFill>
              </a:defRPr>
            </a:lvl1pPr>
          </a:lstStyle>
          <a:p>
            <a:pPr lvl="0" defTabSz="819005"/>
            <a:r>
              <a:rPr lang="ru-RU" smtClean="0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0102156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gallery dir="l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31778" y="123825"/>
            <a:ext cx="6742113" cy="657225"/>
          </a:xfrm>
          <a:prstGeom prst="rect">
            <a:avLst/>
          </a:prstGeom>
        </p:spPr>
        <p:txBody>
          <a:bodyPr lIns="91243" tIns="45622" rIns="91243" bIns="45622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715E4BD-578A-4F4A-9E92-1B4DB10B5101}" type="slidenum">
              <a:rPr lang="en-US">
                <a:solidFill>
                  <a:srgbClr val="A0A1A6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A0A1A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107216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gallery dir="l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 userDrawn="1"/>
        </p:nvSpPr>
        <p:spPr bwMode="auto">
          <a:xfrm>
            <a:off x="8660610" y="6374606"/>
            <a:ext cx="478632" cy="389746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243" tIns="45622" rIns="91243" bIns="45622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</a:pPr>
            <a:endParaRPr kumimoji="1" lang="ru-RU" sz="1000" smtClean="0">
              <a:solidFill>
                <a:srgbClr val="00294F"/>
              </a:solidFill>
              <a:latin typeface="Tahoma" pitchFamily="34" charset="0"/>
              <a:ea typeface="PMingLiU" pitchFamily="18" charset="-120"/>
            </a:endParaRPr>
          </a:p>
        </p:txBody>
      </p:sp>
    </p:spTree>
    <p:extLst>
      <p:ext uri="{BB962C8B-B14F-4D97-AF65-F5344CB8AC3E}">
        <p14:creationId xmlns:p14="http://schemas.microsoft.com/office/powerpoint/2010/main" val="27758269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gallery dir="l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Основн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lide Number Placeholder 8"/>
          <p:cNvSpPr>
            <a:spLocks noGrp="1"/>
          </p:cNvSpPr>
          <p:nvPr>
            <p:ph type="sldNum" sz="quarter" idx="14"/>
          </p:nvPr>
        </p:nvSpPr>
        <p:spPr>
          <a:xfrm>
            <a:off x="8665706" y="6526188"/>
            <a:ext cx="402094" cy="217518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chemeClr val="bg1"/>
                </a:solidFill>
                <a:latin typeface="+mj-lt"/>
              </a:defRPr>
            </a:lvl1pPr>
          </a:lstStyle>
          <a:p>
            <a:fld id="{8E141AF1-466E-4D9F-B74C-45FFEB47CA13}" type="slidenum">
              <a:rPr lang="de-DE" smtClean="0">
                <a:solidFill>
                  <a:srgbClr val="FFFFFF"/>
                </a:solidFill>
              </a:rPr>
              <a:pPr/>
              <a:t>‹#›</a:t>
            </a:fld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261257" y="1"/>
            <a:ext cx="8612399" cy="897162"/>
          </a:xfrm>
          <a:prstGeom prst="rect">
            <a:avLst/>
          </a:prstGeom>
          <a:ln/>
          <a:effectLst>
            <a:outerShdw dist="17961" dir="2700000" algn="ctr" rotWithShape="0">
              <a:srgbClr val="FFFFFF"/>
            </a:outerShdw>
          </a:effectLst>
        </p:spPr>
        <p:txBody>
          <a:bodyPr lIns="91243" tIns="45622" rIns="91243" bIns="45622" anchor="ctr"/>
          <a:lstStyle>
            <a:lvl1pPr>
              <a:defRPr kumimoji="1" lang="ru-RU" sz="1800" kern="1200">
                <a:solidFill>
                  <a:srgbClr val="016EB3"/>
                </a:solidFill>
              </a:defRPr>
            </a:lvl1pPr>
          </a:lstStyle>
          <a:p>
            <a:pPr lvl="0" defTabSz="819005"/>
            <a:r>
              <a:rPr lang="ru-RU" dirty="0" smtClean="0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7243956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gallery dir="l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475200" y="1638000"/>
            <a:ext cx="8150400" cy="4467600"/>
          </a:xfrm>
        </p:spPr>
        <p:txBody>
          <a:bodyPr/>
          <a:lstStyle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de-DE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4"/>
          </p:nvPr>
        </p:nvSpPr>
        <p:spPr>
          <a:xfrm>
            <a:off x="8681892" y="6519691"/>
            <a:ext cx="402094" cy="217518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chemeClr val="bg1"/>
                </a:solidFill>
                <a:latin typeface="+mj-lt"/>
              </a:defRPr>
            </a:lvl1pPr>
          </a:lstStyle>
          <a:p>
            <a:fld id="{8E141AF1-466E-4D9F-B74C-45FFEB47CA13}" type="slidenum">
              <a:rPr lang="de-DE" smtClean="0">
                <a:solidFill>
                  <a:srgbClr val="FFFFFF"/>
                </a:solidFill>
              </a:rPr>
              <a:pPr/>
              <a:t>‹#›</a:t>
            </a:fld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254001" y="285772"/>
            <a:ext cx="8613774" cy="611413"/>
          </a:xfrm>
          <a:prstGeom prst="rect">
            <a:avLst/>
          </a:prstGeom>
          <a:ln/>
          <a:effectLst>
            <a:outerShdw dist="17961" dir="2700000" algn="ctr" rotWithShape="0">
              <a:srgbClr val="FFFFFF"/>
            </a:outerShdw>
          </a:effectLst>
        </p:spPr>
        <p:txBody>
          <a:bodyPr lIns="91243" tIns="45622" rIns="91243" bIns="45622" anchor="ctr"/>
          <a:lstStyle>
            <a:lvl1pPr>
              <a:defRPr kumimoji="1" lang="ru-RU" sz="1800" kern="1200">
                <a:solidFill>
                  <a:srgbClr val="016EB3"/>
                </a:solidFill>
              </a:defRPr>
            </a:lvl1pPr>
          </a:lstStyle>
          <a:p>
            <a:pPr lvl="0" defTabSz="819005"/>
            <a:r>
              <a:rPr lang="ru-RU" dirty="0" smtClean="0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8929766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gallery dir="l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07266" name="Rectangle 2"/>
          <p:cNvSpPr>
            <a:spLocks noGrp="1" noChangeArrowheads="1"/>
          </p:cNvSpPr>
          <p:nvPr>
            <p:ph type="subTitle" idx="1"/>
          </p:nvPr>
        </p:nvSpPr>
        <p:spPr>
          <a:xfrm>
            <a:off x="2935489" y="5737238"/>
            <a:ext cx="5522912" cy="270843"/>
          </a:xfrm>
          <a:effectLst>
            <a:outerShdw dist="17961" dir="2700000" algn="ctr" rotWithShape="0">
              <a:srgbClr val="FFFFFF"/>
            </a:outerShdw>
          </a:effectLst>
        </p:spPr>
        <p:txBody>
          <a:bodyPr>
            <a:spAutoFit/>
          </a:bodyPr>
          <a:lstStyle>
            <a:lvl1pPr marL="0" indent="0" algn="r" defTabSz="819005">
              <a:spcBef>
                <a:spcPct val="0"/>
              </a:spcBef>
              <a:buClrTx/>
              <a:buFontTx/>
              <a:buNone/>
              <a:defRPr sz="1600">
                <a:solidFill>
                  <a:schemeClr val="tx2"/>
                </a:solidFill>
              </a:defRPr>
            </a:lvl1pPr>
          </a:lstStyle>
          <a:p>
            <a:r>
              <a:rPr lang="ru-RU" smtClean="0"/>
              <a:t>Образец подзаголовка</a:t>
            </a:r>
            <a:endParaRPr lang="en-US" dirty="0"/>
          </a:p>
        </p:txBody>
      </p:sp>
      <p:sp>
        <p:nvSpPr>
          <p:cNvPr id="907267" name="Rectangle 3"/>
          <p:cNvSpPr>
            <a:spLocks noGrp="1" noChangeArrowheads="1"/>
          </p:cNvSpPr>
          <p:nvPr>
            <p:ph type="ctrTitle" sz="quarter"/>
          </p:nvPr>
        </p:nvSpPr>
        <p:spPr>
          <a:xfrm>
            <a:off x="3032589" y="5183211"/>
            <a:ext cx="5522912" cy="452437"/>
          </a:xfrm>
          <a:prstGeom prst="rect">
            <a:avLst/>
          </a:prstGeom>
          <a:ln/>
          <a:effectLst>
            <a:outerShdw dist="17961" dir="2700000" algn="ctr" rotWithShape="0">
              <a:srgbClr val="FFFFFF"/>
            </a:outerShdw>
          </a:effectLst>
        </p:spPr>
        <p:txBody>
          <a:bodyPr lIns="91243" tIns="45622" rIns="91243" bIns="45622" anchor="b"/>
          <a:lstStyle>
            <a:lvl1pPr algn="r" defTabSz="819005">
              <a:defRPr sz="2400">
                <a:solidFill>
                  <a:schemeClr val="tx2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en-US"/>
          </a:p>
        </p:txBody>
      </p:sp>
      <p:pic>
        <p:nvPicPr>
          <p:cNvPr id="2" name="Рисунок 1"/>
          <p:cNvPicPr>
            <a:picLocks noChangeAspect="1"/>
          </p:cNvPicPr>
          <p:nvPr userDrawn="1"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2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0710" y="505803"/>
            <a:ext cx="5230821" cy="3804234"/>
          </a:xfrm>
          <a:prstGeom prst="rect">
            <a:avLst/>
          </a:prstGeom>
        </p:spPr>
      </p:pic>
      <p:pic>
        <p:nvPicPr>
          <p:cNvPr id="7" name="Picture 2"/>
          <p:cNvPicPr>
            <a:picLocks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68002" y="3096000"/>
            <a:ext cx="3564000" cy="2066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5215293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gallery dir="l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Основн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414000" y="1638000"/>
            <a:ext cx="8316000" cy="4467600"/>
          </a:xfrm>
        </p:spPr>
        <p:txBody>
          <a:bodyPr/>
          <a:lstStyle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de-DE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4"/>
          </p:nvPr>
        </p:nvSpPr>
        <p:spPr>
          <a:xfrm>
            <a:off x="8665706" y="6526188"/>
            <a:ext cx="402094" cy="217518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chemeClr val="bg1"/>
                </a:solidFill>
                <a:latin typeface="+mj-lt"/>
              </a:defRPr>
            </a:lvl1pPr>
          </a:lstStyle>
          <a:p>
            <a:fld id="{8E141AF1-466E-4D9F-B74C-45FFEB47CA13}" type="slidenum">
              <a:rPr lang="de-DE" smtClean="0">
                <a:solidFill>
                  <a:srgbClr val="FFFFFF"/>
                </a:solidFill>
              </a:rPr>
              <a:pPr/>
              <a:t>‹#›</a:t>
            </a:fld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1652954" y="1"/>
            <a:ext cx="7220702" cy="897162"/>
          </a:xfrm>
          <a:prstGeom prst="rect">
            <a:avLst/>
          </a:prstGeom>
          <a:ln/>
          <a:effectLst>
            <a:outerShdw dist="17961" dir="2700000" algn="ctr" rotWithShape="0">
              <a:srgbClr val="FFFFFF"/>
            </a:outerShdw>
          </a:effectLst>
        </p:spPr>
        <p:txBody>
          <a:bodyPr lIns="91243" tIns="45622" rIns="91243" bIns="45622" anchor="ctr"/>
          <a:lstStyle>
            <a:lvl1pPr>
              <a:defRPr kumimoji="1" lang="ru-RU" sz="1700" kern="1200">
                <a:solidFill>
                  <a:srgbClr val="016EB3"/>
                </a:solidFill>
              </a:defRPr>
            </a:lvl1pPr>
          </a:lstStyle>
          <a:p>
            <a:pPr lvl="0" defTabSz="819005"/>
            <a:r>
              <a:rPr lang="ru-RU" smtClean="0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927964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gallery dir="l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 userDrawn="1"/>
        </p:nvSpPr>
        <p:spPr bwMode="auto">
          <a:xfrm>
            <a:off x="8660610" y="6374606"/>
            <a:ext cx="478632" cy="389746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243" tIns="45622" rIns="91243" bIns="45622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</a:pPr>
            <a:endParaRPr kumimoji="1" lang="ru-RU" sz="1000" smtClean="0">
              <a:solidFill>
                <a:srgbClr val="00294F"/>
              </a:solidFill>
              <a:latin typeface="Tahoma" pitchFamily="34" charset="0"/>
              <a:ea typeface="PMingLiU" pitchFamily="18" charset="-120"/>
            </a:endParaRPr>
          </a:p>
        </p:txBody>
      </p:sp>
    </p:spTree>
    <p:extLst>
      <p:ext uri="{BB962C8B-B14F-4D97-AF65-F5344CB8AC3E}">
        <p14:creationId xmlns:p14="http://schemas.microsoft.com/office/powerpoint/2010/main" val="8063558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gallery dir="l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лайд &quot;Спасибо!&quot;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Line 27"/>
          <p:cNvSpPr>
            <a:spLocks noChangeShapeType="1"/>
          </p:cNvSpPr>
          <p:nvPr userDrawn="1"/>
        </p:nvSpPr>
        <p:spPr bwMode="auto">
          <a:xfrm>
            <a:off x="252000" y="5940000"/>
            <a:ext cx="8640000" cy="0"/>
          </a:xfrm>
          <a:prstGeom prst="line">
            <a:avLst/>
          </a:prstGeom>
          <a:noFill/>
          <a:ln w="28575">
            <a:solidFill>
              <a:srgbClr val="016EB3"/>
            </a:solidFill>
            <a:round/>
            <a:headEnd/>
            <a:tailEnd/>
          </a:ln>
          <a:effectLst/>
        </p:spPr>
        <p:txBody>
          <a:bodyPr wrap="none" lIns="91243" tIns="45622" rIns="91243" bIns="45622"/>
          <a:lstStyle/>
          <a:p>
            <a:pPr fontAlgn="base">
              <a:spcBef>
                <a:spcPct val="50000"/>
              </a:spcBef>
              <a:spcAft>
                <a:spcPct val="0"/>
              </a:spcAft>
              <a:defRPr/>
            </a:pPr>
            <a:endParaRPr kumimoji="1" lang="ru-RU" sz="1000" dirty="0">
              <a:solidFill>
                <a:srgbClr val="002766"/>
              </a:solidFill>
              <a:latin typeface="Tahoma" pitchFamily="34" charset="0"/>
              <a:ea typeface="PMingLiU" pitchFamily="18" charset="-120"/>
            </a:endParaRPr>
          </a:p>
        </p:txBody>
      </p:sp>
      <p:sp>
        <p:nvSpPr>
          <p:cNvPr id="9" name="Прямоугольник 8"/>
          <p:cNvSpPr/>
          <p:nvPr userDrawn="1"/>
        </p:nvSpPr>
        <p:spPr bwMode="auto">
          <a:xfrm>
            <a:off x="252000" y="190523"/>
            <a:ext cx="1623692" cy="606669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243" tIns="45622" rIns="91243" bIns="45622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</a:pPr>
            <a:endParaRPr kumimoji="1" lang="ru-RU" sz="1000" smtClean="0">
              <a:solidFill>
                <a:srgbClr val="00294F"/>
              </a:solidFill>
              <a:latin typeface="Tahoma" pitchFamily="34" charset="0"/>
              <a:ea typeface="PMingLiU" pitchFamily="18" charset="-120"/>
            </a:endParaRPr>
          </a:p>
        </p:txBody>
      </p:sp>
      <p:sp>
        <p:nvSpPr>
          <p:cNvPr id="10" name="Прямоугольник 9"/>
          <p:cNvSpPr/>
          <p:nvPr userDrawn="1"/>
        </p:nvSpPr>
        <p:spPr bwMode="auto">
          <a:xfrm>
            <a:off x="8429206" y="6327669"/>
            <a:ext cx="708444" cy="504825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243" tIns="45622" rIns="91243" bIns="45622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</a:pPr>
            <a:endParaRPr kumimoji="1" lang="ru-RU" sz="1000" smtClean="0">
              <a:solidFill>
                <a:srgbClr val="00294F"/>
              </a:solidFill>
              <a:latin typeface="Tahoma" pitchFamily="34" charset="0"/>
              <a:ea typeface="PMingLiU" pitchFamily="18" charset="-120"/>
            </a:endParaRPr>
          </a:p>
        </p:txBody>
      </p:sp>
      <p:sp>
        <p:nvSpPr>
          <p:cNvPr id="18" name="Текст 3"/>
          <p:cNvSpPr>
            <a:spLocks noGrp="1"/>
          </p:cNvSpPr>
          <p:nvPr>
            <p:ph type="body" sz="half" idx="10" hasCustomPrompt="1"/>
          </p:nvPr>
        </p:nvSpPr>
        <p:spPr>
          <a:xfrm>
            <a:off x="7200000" y="6210000"/>
            <a:ext cx="1656000" cy="396000"/>
          </a:xfrm>
        </p:spPr>
        <p:txBody>
          <a:bodyPr anchor="ctr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100">
                <a:solidFill>
                  <a:schemeClr val="tx2"/>
                </a:solidFill>
              </a:defRPr>
            </a:lvl1pPr>
            <a:lvl2pPr marL="456234" indent="0">
              <a:buNone/>
              <a:defRPr sz="1200"/>
            </a:lvl2pPr>
            <a:lvl3pPr marL="912468" indent="0">
              <a:buNone/>
              <a:defRPr sz="1000"/>
            </a:lvl3pPr>
            <a:lvl4pPr marL="1368700" indent="0">
              <a:buNone/>
              <a:defRPr sz="900"/>
            </a:lvl4pPr>
            <a:lvl5pPr marL="1824935" indent="0">
              <a:buNone/>
              <a:defRPr sz="900"/>
            </a:lvl5pPr>
            <a:lvl6pPr marL="2281167" indent="0">
              <a:buNone/>
              <a:defRPr sz="900"/>
            </a:lvl6pPr>
            <a:lvl7pPr marL="2737394" indent="0">
              <a:buNone/>
              <a:defRPr sz="900"/>
            </a:lvl7pPr>
            <a:lvl8pPr marL="3193635" indent="0">
              <a:buNone/>
              <a:defRPr sz="900"/>
            </a:lvl8pPr>
            <a:lvl9pPr marL="3649869" indent="0">
              <a:buNone/>
              <a:defRPr sz="900"/>
            </a:lvl9pPr>
          </a:lstStyle>
          <a:p>
            <a:pPr lvl="0"/>
            <a:r>
              <a:rPr lang="ru-RU" dirty="0" smtClean="0"/>
              <a:t>Телефон и </a:t>
            </a:r>
            <a:r>
              <a:rPr lang="en-US" dirty="0" smtClean="0"/>
              <a:t>e-mail</a:t>
            </a:r>
          </a:p>
        </p:txBody>
      </p:sp>
      <p:sp>
        <p:nvSpPr>
          <p:cNvPr id="21" name="Текст 3"/>
          <p:cNvSpPr>
            <a:spLocks noGrp="1"/>
          </p:cNvSpPr>
          <p:nvPr>
            <p:ph type="body" sz="half" idx="12" hasCustomPrompt="1"/>
          </p:nvPr>
        </p:nvSpPr>
        <p:spPr>
          <a:xfrm>
            <a:off x="2088000" y="3096000"/>
            <a:ext cx="4932000" cy="648000"/>
          </a:xfrm>
        </p:spPr>
        <p:txBody>
          <a:bodyPr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buNone/>
              <a:defRPr sz="3600">
                <a:solidFill>
                  <a:srgbClr val="016EB3"/>
                </a:solidFill>
              </a:defRPr>
            </a:lvl1pPr>
            <a:lvl2pPr marL="456234" indent="0">
              <a:buNone/>
              <a:defRPr sz="1200"/>
            </a:lvl2pPr>
            <a:lvl3pPr marL="912468" indent="0">
              <a:buNone/>
              <a:defRPr sz="1000"/>
            </a:lvl3pPr>
            <a:lvl4pPr marL="1368700" indent="0">
              <a:buNone/>
              <a:defRPr sz="900"/>
            </a:lvl4pPr>
            <a:lvl5pPr marL="1824935" indent="0">
              <a:buNone/>
              <a:defRPr sz="900"/>
            </a:lvl5pPr>
            <a:lvl6pPr marL="2281167" indent="0">
              <a:buNone/>
              <a:defRPr sz="900"/>
            </a:lvl6pPr>
            <a:lvl7pPr marL="2737394" indent="0">
              <a:buNone/>
              <a:defRPr sz="900"/>
            </a:lvl7pPr>
            <a:lvl8pPr marL="3193635" indent="0">
              <a:buNone/>
              <a:defRPr sz="900"/>
            </a:lvl8pPr>
            <a:lvl9pPr marL="3649869" indent="0">
              <a:buNone/>
              <a:defRPr sz="900"/>
            </a:lvl9pPr>
          </a:lstStyle>
          <a:p>
            <a:pPr lvl="0"/>
            <a:r>
              <a:rPr lang="ru-RU" dirty="0" smtClean="0"/>
              <a:t>Спасибо! / </a:t>
            </a:r>
            <a:r>
              <a:rPr lang="en-US" dirty="0" smtClean="0"/>
              <a:t>Thank you!</a:t>
            </a:r>
          </a:p>
        </p:txBody>
      </p:sp>
      <p:sp>
        <p:nvSpPr>
          <p:cNvPr id="28" name="Текст 27"/>
          <p:cNvSpPr>
            <a:spLocks noGrp="1"/>
          </p:cNvSpPr>
          <p:nvPr>
            <p:ph type="body" sz="quarter" idx="14" hasCustomPrompt="1"/>
          </p:nvPr>
        </p:nvSpPr>
        <p:spPr>
          <a:xfrm>
            <a:off x="5112000" y="6210000"/>
            <a:ext cx="2016000" cy="396000"/>
          </a:xfrm>
        </p:spPr>
        <p:txBody>
          <a:bodyPr anchor="ctr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10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ru-RU" dirty="0" smtClean="0"/>
              <a:t>Адрес компании</a:t>
            </a:r>
            <a:endParaRPr lang="ru-RU" dirty="0"/>
          </a:p>
        </p:txBody>
      </p:sp>
      <p:sp>
        <p:nvSpPr>
          <p:cNvPr id="30" name="Текст 29"/>
          <p:cNvSpPr>
            <a:spLocks noGrp="1"/>
          </p:cNvSpPr>
          <p:nvPr>
            <p:ph type="body" sz="quarter" idx="15" hasCustomPrompt="1"/>
          </p:nvPr>
        </p:nvSpPr>
        <p:spPr>
          <a:xfrm>
            <a:off x="2772000" y="6210000"/>
            <a:ext cx="2268000" cy="396000"/>
          </a:xfrm>
        </p:spPr>
        <p:txBody>
          <a:bodyPr anchor="ctr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10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ru-RU" dirty="0" smtClean="0"/>
              <a:t>Управление и Отдел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5731709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gallery dir="l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31778" y="306698"/>
            <a:ext cx="6742113" cy="739775"/>
          </a:xfrm>
          <a:prstGeom prst="rect">
            <a:avLst/>
          </a:prstGeom>
        </p:spPr>
        <p:txBody>
          <a:bodyPr lIns="91243" tIns="45622" rIns="91243" bIns="45622"/>
          <a:lstStyle>
            <a:lvl1pPr>
              <a:defRPr sz="2500"/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15" name="Rectangle 4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EFF660B-5916-42E2-9D88-953A3CB16BD3}" type="slidenum">
              <a:rPr lang="en-US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660397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gallery dir="l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Основн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414000" y="1638000"/>
            <a:ext cx="8316000" cy="4467600"/>
          </a:xfrm>
        </p:spPr>
        <p:txBody>
          <a:bodyPr/>
          <a:lstStyle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de-DE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4"/>
          </p:nvPr>
        </p:nvSpPr>
        <p:spPr>
          <a:xfrm>
            <a:off x="8665706" y="6526188"/>
            <a:ext cx="402094" cy="217518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chemeClr val="bg1"/>
                </a:solidFill>
                <a:latin typeface="+mj-lt"/>
              </a:defRPr>
            </a:lvl1pPr>
          </a:lstStyle>
          <a:p>
            <a:fld id="{8E141AF1-466E-4D9F-B74C-45FFEB47CA13}" type="slidenum">
              <a:rPr lang="de-DE" smtClean="0">
                <a:solidFill>
                  <a:srgbClr val="FFFFFF"/>
                </a:solidFill>
              </a:rPr>
              <a:pPr/>
              <a:t>‹#›</a:t>
            </a:fld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1652954" y="1"/>
            <a:ext cx="7220702" cy="897162"/>
          </a:xfrm>
          <a:prstGeom prst="rect">
            <a:avLst/>
          </a:prstGeom>
          <a:ln/>
          <a:effectLst>
            <a:outerShdw dist="17961" dir="2700000" algn="ctr" rotWithShape="0">
              <a:srgbClr val="FFFFFF"/>
            </a:outerShdw>
          </a:effectLst>
        </p:spPr>
        <p:txBody>
          <a:bodyPr lIns="91243" tIns="45622" rIns="91243" bIns="45622" anchor="ctr"/>
          <a:lstStyle>
            <a:lvl1pPr>
              <a:defRPr kumimoji="1" lang="ru-RU" sz="1700" kern="1200">
                <a:solidFill>
                  <a:srgbClr val="016EB3"/>
                </a:solidFill>
              </a:defRPr>
            </a:lvl1pPr>
          </a:lstStyle>
          <a:p>
            <a:pPr lvl="0" defTabSz="819005"/>
            <a:r>
              <a:rPr lang="ru-RU" smtClean="0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2726466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gallery dir="l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31778" y="123825"/>
            <a:ext cx="6742113" cy="657225"/>
          </a:xfrm>
          <a:prstGeom prst="rect">
            <a:avLst/>
          </a:prstGeom>
        </p:spPr>
        <p:txBody>
          <a:bodyPr lIns="91243" tIns="45622" rIns="91243" bIns="45622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715E4BD-578A-4F4A-9E92-1B4DB10B5101}" type="slidenum">
              <a:rPr lang="en-US">
                <a:solidFill>
                  <a:srgbClr val="A0A1A6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A0A1A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946063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gallery dir="l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Раздел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8"/>
          <p:cNvSpPr>
            <a:spLocks noGrp="1"/>
          </p:cNvSpPr>
          <p:nvPr>
            <p:ph type="sldNum" sz="quarter" idx="4"/>
          </p:nvPr>
        </p:nvSpPr>
        <p:spPr>
          <a:xfrm>
            <a:off x="8741906" y="6517642"/>
            <a:ext cx="402094" cy="217518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chemeClr val="bg1"/>
                </a:solidFill>
                <a:latin typeface="+mj-lt"/>
              </a:defRPr>
            </a:lvl1pPr>
          </a:lstStyle>
          <a:p>
            <a:fld id="{B19B0651-EE4F-4900-A07F-96A6BFA9D0F0}" type="slidenum">
              <a:rPr lang="ru-RU" smtClean="0">
                <a:solidFill>
                  <a:srgbClr val="FFFFFF"/>
                </a:solidFill>
              </a:rPr>
              <a:pPr/>
              <a:t>‹#›</a:t>
            </a:fld>
            <a:endParaRPr lang="ru-RU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1062491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лайд &quot;Спасибо!&quot;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Line 27"/>
          <p:cNvSpPr>
            <a:spLocks noChangeShapeType="1"/>
          </p:cNvSpPr>
          <p:nvPr userDrawn="1"/>
        </p:nvSpPr>
        <p:spPr bwMode="auto">
          <a:xfrm>
            <a:off x="252000" y="5940000"/>
            <a:ext cx="8640000" cy="0"/>
          </a:xfrm>
          <a:prstGeom prst="line">
            <a:avLst/>
          </a:prstGeom>
          <a:noFill/>
          <a:ln w="28575">
            <a:solidFill>
              <a:srgbClr val="016EB3"/>
            </a:solidFill>
            <a:round/>
            <a:headEnd/>
            <a:tailEnd/>
          </a:ln>
          <a:effectLst/>
        </p:spPr>
        <p:txBody>
          <a:bodyPr wrap="none" lIns="91243" tIns="45622" rIns="91243" bIns="45622"/>
          <a:lstStyle/>
          <a:p>
            <a:pPr fontAlgn="base">
              <a:spcBef>
                <a:spcPct val="50000"/>
              </a:spcBef>
              <a:spcAft>
                <a:spcPct val="0"/>
              </a:spcAft>
              <a:defRPr/>
            </a:pPr>
            <a:endParaRPr kumimoji="1" lang="ru-RU" sz="1000" dirty="0">
              <a:solidFill>
                <a:srgbClr val="002766"/>
              </a:solidFill>
              <a:latin typeface="Tahoma" pitchFamily="34" charset="0"/>
              <a:ea typeface="PMingLiU" pitchFamily="18" charset="-120"/>
            </a:endParaRPr>
          </a:p>
        </p:txBody>
      </p:sp>
      <p:sp>
        <p:nvSpPr>
          <p:cNvPr id="9" name="Прямоугольник 8"/>
          <p:cNvSpPr/>
          <p:nvPr userDrawn="1"/>
        </p:nvSpPr>
        <p:spPr bwMode="auto">
          <a:xfrm>
            <a:off x="252000" y="190523"/>
            <a:ext cx="1623692" cy="606669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243" tIns="45622" rIns="91243" bIns="45622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</a:pPr>
            <a:endParaRPr kumimoji="1" lang="ru-RU" sz="1000" smtClean="0">
              <a:solidFill>
                <a:srgbClr val="00294F"/>
              </a:solidFill>
              <a:latin typeface="Tahoma" pitchFamily="34" charset="0"/>
              <a:ea typeface="PMingLiU" pitchFamily="18" charset="-120"/>
            </a:endParaRPr>
          </a:p>
        </p:txBody>
      </p:sp>
      <p:sp>
        <p:nvSpPr>
          <p:cNvPr id="10" name="Прямоугольник 9"/>
          <p:cNvSpPr/>
          <p:nvPr userDrawn="1"/>
        </p:nvSpPr>
        <p:spPr bwMode="auto">
          <a:xfrm>
            <a:off x="8429206" y="6327669"/>
            <a:ext cx="708444" cy="504825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243" tIns="45622" rIns="91243" bIns="45622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</a:pPr>
            <a:endParaRPr kumimoji="1" lang="ru-RU" sz="1000" smtClean="0">
              <a:solidFill>
                <a:srgbClr val="00294F"/>
              </a:solidFill>
              <a:latin typeface="Tahoma" pitchFamily="34" charset="0"/>
              <a:ea typeface="PMingLiU" pitchFamily="18" charset="-120"/>
            </a:endParaRPr>
          </a:p>
        </p:txBody>
      </p:sp>
      <p:sp>
        <p:nvSpPr>
          <p:cNvPr id="18" name="Текст 3"/>
          <p:cNvSpPr>
            <a:spLocks noGrp="1"/>
          </p:cNvSpPr>
          <p:nvPr>
            <p:ph type="body" sz="half" idx="10" hasCustomPrompt="1"/>
          </p:nvPr>
        </p:nvSpPr>
        <p:spPr>
          <a:xfrm>
            <a:off x="7200000" y="6210000"/>
            <a:ext cx="1656000" cy="396000"/>
          </a:xfrm>
        </p:spPr>
        <p:txBody>
          <a:bodyPr anchor="ctr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100">
                <a:solidFill>
                  <a:schemeClr val="tx2"/>
                </a:solidFill>
              </a:defRPr>
            </a:lvl1pPr>
            <a:lvl2pPr marL="456234" indent="0">
              <a:buNone/>
              <a:defRPr sz="1200"/>
            </a:lvl2pPr>
            <a:lvl3pPr marL="912468" indent="0">
              <a:buNone/>
              <a:defRPr sz="1000"/>
            </a:lvl3pPr>
            <a:lvl4pPr marL="1368700" indent="0">
              <a:buNone/>
              <a:defRPr sz="900"/>
            </a:lvl4pPr>
            <a:lvl5pPr marL="1824935" indent="0">
              <a:buNone/>
              <a:defRPr sz="900"/>
            </a:lvl5pPr>
            <a:lvl6pPr marL="2281167" indent="0">
              <a:buNone/>
              <a:defRPr sz="900"/>
            </a:lvl6pPr>
            <a:lvl7pPr marL="2737394" indent="0">
              <a:buNone/>
              <a:defRPr sz="900"/>
            </a:lvl7pPr>
            <a:lvl8pPr marL="3193635" indent="0">
              <a:buNone/>
              <a:defRPr sz="900"/>
            </a:lvl8pPr>
            <a:lvl9pPr marL="3649869" indent="0">
              <a:buNone/>
              <a:defRPr sz="900"/>
            </a:lvl9pPr>
          </a:lstStyle>
          <a:p>
            <a:pPr lvl="0"/>
            <a:r>
              <a:rPr lang="ru-RU" dirty="0" smtClean="0"/>
              <a:t>Телефон и </a:t>
            </a:r>
            <a:r>
              <a:rPr lang="en-US" dirty="0" smtClean="0"/>
              <a:t>e-mail</a:t>
            </a:r>
          </a:p>
        </p:txBody>
      </p:sp>
      <p:sp>
        <p:nvSpPr>
          <p:cNvPr id="21" name="Текст 3"/>
          <p:cNvSpPr>
            <a:spLocks noGrp="1"/>
          </p:cNvSpPr>
          <p:nvPr>
            <p:ph type="body" sz="half" idx="12" hasCustomPrompt="1"/>
          </p:nvPr>
        </p:nvSpPr>
        <p:spPr>
          <a:xfrm>
            <a:off x="2088000" y="3096000"/>
            <a:ext cx="4932000" cy="648000"/>
          </a:xfrm>
        </p:spPr>
        <p:txBody>
          <a:bodyPr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buNone/>
              <a:defRPr sz="3600">
                <a:solidFill>
                  <a:srgbClr val="016EB3"/>
                </a:solidFill>
              </a:defRPr>
            </a:lvl1pPr>
            <a:lvl2pPr marL="456234" indent="0">
              <a:buNone/>
              <a:defRPr sz="1200"/>
            </a:lvl2pPr>
            <a:lvl3pPr marL="912468" indent="0">
              <a:buNone/>
              <a:defRPr sz="1000"/>
            </a:lvl3pPr>
            <a:lvl4pPr marL="1368700" indent="0">
              <a:buNone/>
              <a:defRPr sz="900"/>
            </a:lvl4pPr>
            <a:lvl5pPr marL="1824935" indent="0">
              <a:buNone/>
              <a:defRPr sz="900"/>
            </a:lvl5pPr>
            <a:lvl6pPr marL="2281167" indent="0">
              <a:buNone/>
              <a:defRPr sz="900"/>
            </a:lvl6pPr>
            <a:lvl7pPr marL="2737394" indent="0">
              <a:buNone/>
              <a:defRPr sz="900"/>
            </a:lvl7pPr>
            <a:lvl8pPr marL="3193635" indent="0">
              <a:buNone/>
              <a:defRPr sz="900"/>
            </a:lvl8pPr>
            <a:lvl9pPr marL="3649869" indent="0">
              <a:buNone/>
              <a:defRPr sz="900"/>
            </a:lvl9pPr>
          </a:lstStyle>
          <a:p>
            <a:pPr lvl="0"/>
            <a:r>
              <a:rPr lang="ru-RU" dirty="0" smtClean="0"/>
              <a:t>Спасибо! / </a:t>
            </a:r>
            <a:r>
              <a:rPr lang="en-US" dirty="0" smtClean="0"/>
              <a:t>Thank you!</a:t>
            </a:r>
          </a:p>
        </p:txBody>
      </p:sp>
      <p:sp>
        <p:nvSpPr>
          <p:cNvPr id="28" name="Текст 27"/>
          <p:cNvSpPr>
            <a:spLocks noGrp="1"/>
          </p:cNvSpPr>
          <p:nvPr>
            <p:ph type="body" sz="quarter" idx="14" hasCustomPrompt="1"/>
          </p:nvPr>
        </p:nvSpPr>
        <p:spPr>
          <a:xfrm>
            <a:off x="5112000" y="6210000"/>
            <a:ext cx="2016000" cy="396000"/>
          </a:xfrm>
        </p:spPr>
        <p:txBody>
          <a:bodyPr anchor="ctr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10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ru-RU" dirty="0" smtClean="0"/>
              <a:t>Адрес компании</a:t>
            </a:r>
            <a:endParaRPr lang="ru-RU" dirty="0"/>
          </a:p>
        </p:txBody>
      </p:sp>
      <p:sp>
        <p:nvSpPr>
          <p:cNvPr id="30" name="Текст 29"/>
          <p:cNvSpPr>
            <a:spLocks noGrp="1"/>
          </p:cNvSpPr>
          <p:nvPr>
            <p:ph type="body" sz="quarter" idx="15" hasCustomPrompt="1"/>
          </p:nvPr>
        </p:nvSpPr>
        <p:spPr>
          <a:xfrm>
            <a:off x="2772000" y="6210000"/>
            <a:ext cx="2268000" cy="396000"/>
          </a:xfrm>
        </p:spPr>
        <p:txBody>
          <a:bodyPr anchor="ctr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10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ru-RU" dirty="0" smtClean="0"/>
              <a:t>Управление и Отдел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5239204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gallery dir="l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07266" name="Rectangle 2"/>
          <p:cNvSpPr>
            <a:spLocks noGrp="1" noChangeArrowheads="1"/>
          </p:cNvSpPr>
          <p:nvPr>
            <p:ph type="subTitle" idx="1"/>
          </p:nvPr>
        </p:nvSpPr>
        <p:spPr>
          <a:xfrm>
            <a:off x="2935489" y="5737238"/>
            <a:ext cx="5522912" cy="270843"/>
          </a:xfrm>
          <a:effectLst>
            <a:outerShdw dist="17961" dir="2700000" algn="ctr" rotWithShape="0">
              <a:srgbClr val="FFFFFF"/>
            </a:outerShdw>
          </a:effectLst>
        </p:spPr>
        <p:txBody>
          <a:bodyPr>
            <a:spAutoFit/>
          </a:bodyPr>
          <a:lstStyle>
            <a:lvl1pPr marL="0" indent="0" algn="r" defTabSz="819005">
              <a:spcBef>
                <a:spcPct val="0"/>
              </a:spcBef>
              <a:buClrTx/>
              <a:buFontTx/>
              <a:buNone/>
              <a:defRPr sz="1600">
                <a:solidFill>
                  <a:schemeClr val="tx2"/>
                </a:solidFill>
              </a:defRPr>
            </a:lvl1pPr>
          </a:lstStyle>
          <a:p>
            <a:r>
              <a:rPr lang="ru-RU" smtClean="0"/>
              <a:t>Образец подзаголовка</a:t>
            </a:r>
            <a:endParaRPr lang="en-US" dirty="0"/>
          </a:p>
        </p:txBody>
      </p:sp>
      <p:sp>
        <p:nvSpPr>
          <p:cNvPr id="907267" name="Rectangle 3"/>
          <p:cNvSpPr>
            <a:spLocks noGrp="1" noChangeArrowheads="1"/>
          </p:cNvSpPr>
          <p:nvPr>
            <p:ph type="ctrTitle" sz="quarter"/>
          </p:nvPr>
        </p:nvSpPr>
        <p:spPr>
          <a:xfrm>
            <a:off x="3032589" y="5183211"/>
            <a:ext cx="5522912" cy="452437"/>
          </a:xfrm>
          <a:prstGeom prst="rect">
            <a:avLst/>
          </a:prstGeom>
          <a:ln/>
          <a:effectLst>
            <a:outerShdw dist="17961" dir="2700000" algn="ctr" rotWithShape="0">
              <a:srgbClr val="FFFFFF"/>
            </a:outerShdw>
          </a:effectLst>
        </p:spPr>
        <p:txBody>
          <a:bodyPr lIns="91243" tIns="45622" rIns="91243" bIns="45622" anchor="b"/>
          <a:lstStyle>
            <a:lvl1pPr algn="r" defTabSz="819005">
              <a:defRPr sz="2400">
                <a:solidFill>
                  <a:schemeClr val="tx2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en-US"/>
          </a:p>
        </p:txBody>
      </p:sp>
      <p:pic>
        <p:nvPicPr>
          <p:cNvPr id="2" name="Рисунок 1"/>
          <p:cNvPicPr>
            <a:picLocks noChangeAspect="1"/>
          </p:cNvPicPr>
          <p:nvPr userDrawn="1"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2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0710" y="505803"/>
            <a:ext cx="5230821" cy="3804234"/>
          </a:xfrm>
          <a:prstGeom prst="rect">
            <a:avLst/>
          </a:prstGeom>
        </p:spPr>
      </p:pic>
      <p:pic>
        <p:nvPicPr>
          <p:cNvPr id="7" name="Picture 2"/>
          <p:cNvPicPr>
            <a:picLocks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68002" y="3096000"/>
            <a:ext cx="3564000" cy="2066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5901239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gallery dir="l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Основн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414000" y="1638000"/>
            <a:ext cx="8316000" cy="4467600"/>
          </a:xfrm>
        </p:spPr>
        <p:txBody>
          <a:bodyPr/>
          <a:lstStyle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de-DE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4"/>
          </p:nvPr>
        </p:nvSpPr>
        <p:spPr>
          <a:xfrm>
            <a:off x="8665706" y="6526188"/>
            <a:ext cx="402094" cy="217518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chemeClr val="bg1"/>
                </a:solidFill>
                <a:latin typeface="+mj-lt"/>
              </a:defRPr>
            </a:lvl1pPr>
          </a:lstStyle>
          <a:p>
            <a:fld id="{8E141AF1-466E-4D9F-B74C-45FFEB47CA13}" type="slidenum">
              <a:rPr lang="de-DE" smtClean="0">
                <a:solidFill>
                  <a:srgbClr val="FFFFFF"/>
                </a:solidFill>
              </a:rPr>
              <a:pPr/>
              <a:t>‹#›</a:t>
            </a:fld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1652954" y="1"/>
            <a:ext cx="7220702" cy="897162"/>
          </a:xfrm>
          <a:prstGeom prst="rect">
            <a:avLst/>
          </a:prstGeom>
          <a:ln/>
          <a:effectLst>
            <a:outerShdw dist="17961" dir="2700000" algn="ctr" rotWithShape="0">
              <a:srgbClr val="FFFFFF"/>
            </a:outerShdw>
          </a:effectLst>
        </p:spPr>
        <p:txBody>
          <a:bodyPr lIns="91243" tIns="45622" rIns="91243" bIns="45622" anchor="ctr"/>
          <a:lstStyle>
            <a:lvl1pPr>
              <a:defRPr kumimoji="1" lang="ru-RU" sz="1700" kern="1200">
                <a:solidFill>
                  <a:srgbClr val="016EB3"/>
                </a:solidFill>
              </a:defRPr>
            </a:lvl1pPr>
          </a:lstStyle>
          <a:p>
            <a:pPr lvl="0" defTabSz="819005"/>
            <a:r>
              <a:rPr lang="ru-RU" smtClean="0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39118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gallery dir="l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 userDrawn="1"/>
        </p:nvSpPr>
        <p:spPr bwMode="auto">
          <a:xfrm>
            <a:off x="8660610" y="6374606"/>
            <a:ext cx="478632" cy="389746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243" tIns="45622" rIns="91243" bIns="45622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</a:pPr>
            <a:endParaRPr kumimoji="1" lang="ru-RU" sz="1000" smtClean="0">
              <a:solidFill>
                <a:srgbClr val="00294F"/>
              </a:solidFill>
              <a:latin typeface="Tahoma" pitchFamily="34" charset="0"/>
              <a:ea typeface="PMingLiU" pitchFamily="18" charset="-120"/>
            </a:endParaRPr>
          </a:p>
        </p:txBody>
      </p:sp>
    </p:spTree>
    <p:extLst>
      <p:ext uri="{BB962C8B-B14F-4D97-AF65-F5344CB8AC3E}">
        <p14:creationId xmlns:p14="http://schemas.microsoft.com/office/powerpoint/2010/main" val="25926532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gallery dir="l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лайд &quot;Спасибо!&quot;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Line 27"/>
          <p:cNvSpPr>
            <a:spLocks noChangeShapeType="1"/>
          </p:cNvSpPr>
          <p:nvPr userDrawn="1"/>
        </p:nvSpPr>
        <p:spPr bwMode="auto">
          <a:xfrm>
            <a:off x="252000" y="5940000"/>
            <a:ext cx="8640000" cy="0"/>
          </a:xfrm>
          <a:prstGeom prst="line">
            <a:avLst/>
          </a:prstGeom>
          <a:noFill/>
          <a:ln w="28575">
            <a:solidFill>
              <a:srgbClr val="016EB3"/>
            </a:solidFill>
            <a:round/>
            <a:headEnd/>
            <a:tailEnd/>
          </a:ln>
          <a:effectLst/>
        </p:spPr>
        <p:txBody>
          <a:bodyPr wrap="none" lIns="91243" tIns="45622" rIns="91243" bIns="45622"/>
          <a:lstStyle/>
          <a:p>
            <a:pPr fontAlgn="base">
              <a:spcBef>
                <a:spcPct val="50000"/>
              </a:spcBef>
              <a:spcAft>
                <a:spcPct val="0"/>
              </a:spcAft>
              <a:defRPr/>
            </a:pPr>
            <a:endParaRPr kumimoji="1" lang="ru-RU" sz="1000" dirty="0">
              <a:solidFill>
                <a:srgbClr val="002766"/>
              </a:solidFill>
              <a:latin typeface="Tahoma" pitchFamily="34" charset="0"/>
              <a:ea typeface="PMingLiU" pitchFamily="18" charset="-120"/>
            </a:endParaRPr>
          </a:p>
        </p:txBody>
      </p:sp>
      <p:sp>
        <p:nvSpPr>
          <p:cNvPr id="9" name="Прямоугольник 8"/>
          <p:cNvSpPr/>
          <p:nvPr userDrawn="1"/>
        </p:nvSpPr>
        <p:spPr bwMode="auto">
          <a:xfrm>
            <a:off x="252000" y="190523"/>
            <a:ext cx="1623692" cy="606669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243" tIns="45622" rIns="91243" bIns="45622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</a:pPr>
            <a:endParaRPr kumimoji="1" lang="ru-RU" sz="1000" smtClean="0">
              <a:solidFill>
                <a:srgbClr val="00294F"/>
              </a:solidFill>
              <a:latin typeface="Tahoma" pitchFamily="34" charset="0"/>
              <a:ea typeface="PMingLiU" pitchFamily="18" charset="-120"/>
            </a:endParaRPr>
          </a:p>
        </p:txBody>
      </p:sp>
      <p:sp>
        <p:nvSpPr>
          <p:cNvPr id="10" name="Прямоугольник 9"/>
          <p:cNvSpPr/>
          <p:nvPr userDrawn="1"/>
        </p:nvSpPr>
        <p:spPr bwMode="auto">
          <a:xfrm>
            <a:off x="8429206" y="6327669"/>
            <a:ext cx="708444" cy="504825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243" tIns="45622" rIns="91243" bIns="45622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</a:pPr>
            <a:endParaRPr kumimoji="1" lang="ru-RU" sz="1000" smtClean="0">
              <a:solidFill>
                <a:srgbClr val="00294F"/>
              </a:solidFill>
              <a:latin typeface="Tahoma" pitchFamily="34" charset="0"/>
              <a:ea typeface="PMingLiU" pitchFamily="18" charset="-120"/>
            </a:endParaRPr>
          </a:p>
        </p:txBody>
      </p:sp>
      <p:sp>
        <p:nvSpPr>
          <p:cNvPr id="18" name="Текст 3"/>
          <p:cNvSpPr>
            <a:spLocks noGrp="1"/>
          </p:cNvSpPr>
          <p:nvPr>
            <p:ph type="body" sz="half" idx="10" hasCustomPrompt="1"/>
          </p:nvPr>
        </p:nvSpPr>
        <p:spPr>
          <a:xfrm>
            <a:off x="7200000" y="6210000"/>
            <a:ext cx="1656000" cy="396000"/>
          </a:xfrm>
        </p:spPr>
        <p:txBody>
          <a:bodyPr anchor="ctr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100">
                <a:solidFill>
                  <a:schemeClr val="tx2"/>
                </a:solidFill>
              </a:defRPr>
            </a:lvl1pPr>
            <a:lvl2pPr marL="456234" indent="0">
              <a:buNone/>
              <a:defRPr sz="1200"/>
            </a:lvl2pPr>
            <a:lvl3pPr marL="912468" indent="0">
              <a:buNone/>
              <a:defRPr sz="1000"/>
            </a:lvl3pPr>
            <a:lvl4pPr marL="1368700" indent="0">
              <a:buNone/>
              <a:defRPr sz="900"/>
            </a:lvl4pPr>
            <a:lvl5pPr marL="1824935" indent="0">
              <a:buNone/>
              <a:defRPr sz="900"/>
            </a:lvl5pPr>
            <a:lvl6pPr marL="2281167" indent="0">
              <a:buNone/>
              <a:defRPr sz="900"/>
            </a:lvl6pPr>
            <a:lvl7pPr marL="2737394" indent="0">
              <a:buNone/>
              <a:defRPr sz="900"/>
            </a:lvl7pPr>
            <a:lvl8pPr marL="3193635" indent="0">
              <a:buNone/>
              <a:defRPr sz="900"/>
            </a:lvl8pPr>
            <a:lvl9pPr marL="3649869" indent="0">
              <a:buNone/>
              <a:defRPr sz="900"/>
            </a:lvl9pPr>
          </a:lstStyle>
          <a:p>
            <a:pPr lvl="0"/>
            <a:r>
              <a:rPr lang="ru-RU" dirty="0" smtClean="0"/>
              <a:t>Телефон и </a:t>
            </a:r>
            <a:r>
              <a:rPr lang="en-US" dirty="0" smtClean="0"/>
              <a:t>e-mail</a:t>
            </a:r>
          </a:p>
        </p:txBody>
      </p:sp>
      <p:sp>
        <p:nvSpPr>
          <p:cNvPr id="21" name="Текст 3"/>
          <p:cNvSpPr>
            <a:spLocks noGrp="1"/>
          </p:cNvSpPr>
          <p:nvPr>
            <p:ph type="body" sz="half" idx="12" hasCustomPrompt="1"/>
          </p:nvPr>
        </p:nvSpPr>
        <p:spPr>
          <a:xfrm>
            <a:off x="2088000" y="3096000"/>
            <a:ext cx="4932000" cy="648000"/>
          </a:xfrm>
        </p:spPr>
        <p:txBody>
          <a:bodyPr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buNone/>
              <a:defRPr sz="3600">
                <a:solidFill>
                  <a:srgbClr val="016EB3"/>
                </a:solidFill>
              </a:defRPr>
            </a:lvl1pPr>
            <a:lvl2pPr marL="456234" indent="0">
              <a:buNone/>
              <a:defRPr sz="1200"/>
            </a:lvl2pPr>
            <a:lvl3pPr marL="912468" indent="0">
              <a:buNone/>
              <a:defRPr sz="1000"/>
            </a:lvl3pPr>
            <a:lvl4pPr marL="1368700" indent="0">
              <a:buNone/>
              <a:defRPr sz="900"/>
            </a:lvl4pPr>
            <a:lvl5pPr marL="1824935" indent="0">
              <a:buNone/>
              <a:defRPr sz="900"/>
            </a:lvl5pPr>
            <a:lvl6pPr marL="2281167" indent="0">
              <a:buNone/>
              <a:defRPr sz="900"/>
            </a:lvl6pPr>
            <a:lvl7pPr marL="2737394" indent="0">
              <a:buNone/>
              <a:defRPr sz="900"/>
            </a:lvl7pPr>
            <a:lvl8pPr marL="3193635" indent="0">
              <a:buNone/>
              <a:defRPr sz="900"/>
            </a:lvl8pPr>
            <a:lvl9pPr marL="3649869" indent="0">
              <a:buNone/>
              <a:defRPr sz="900"/>
            </a:lvl9pPr>
          </a:lstStyle>
          <a:p>
            <a:pPr lvl="0"/>
            <a:r>
              <a:rPr lang="ru-RU" dirty="0" smtClean="0"/>
              <a:t>Спасибо! / </a:t>
            </a:r>
            <a:r>
              <a:rPr lang="en-US" dirty="0" smtClean="0"/>
              <a:t>Thank you!</a:t>
            </a:r>
          </a:p>
        </p:txBody>
      </p:sp>
      <p:sp>
        <p:nvSpPr>
          <p:cNvPr id="28" name="Текст 27"/>
          <p:cNvSpPr>
            <a:spLocks noGrp="1"/>
          </p:cNvSpPr>
          <p:nvPr>
            <p:ph type="body" sz="quarter" idx="14" hasCustomPrompt="1"/>
          </p:nvPr>
        </p:nvSpPr>
        <p:spPr>
          <a:xfrm>
            <a:off x="5112000" y="6210000"/>
            <a:ext cx="2016000" cy="396000"/>
          </a:xfrm>
        </p:spPr>
        <p:txBody>
          <a:bodyPr anchor="ctr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10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ru-RU" dirty="0" smtClean="0"/>
              <a:t>Адрес компании</a:t>
            </a:r>
            <a:endParaRPr lang="ru-RU" dirty="0"/>
          </a:p>
        </p:txBody>
      </p:sp>
      <p:sp>
        <p:nvSpPr>
          <p:cNvPr id="30" name="Текст 29"/>
          <p:cNvSpPr>
            <a:spLocks noGrp="1"/>
          </p:cNvSpPr>
          <p:nvPr>
            <p:ph type="body" sz="quarter" idx="15" hasCustomPrompt="1"/>
          </p:nvPr>
        </p:nvSpPr>
        <p:spPr>
          <a:xfrm>
            <a:off x="2772000" y="6210000"/>
            <a:ext cx="2268000" cy="396000"/>
          </a:xfrm>
        </p:spPr>
        <p:txBody>
          <a:bodyPr anchor="ctr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10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ru-RU" dirty="0" smtClean="0"/>
              <a:t>Управление и Отдел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0294934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gallery dir="l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31778" y="306698"/>
            <a:ext cx="6742113" cy="739775"/>
          </a:xfrm>
          <a:prstGeom prst="rect">
            <a:avLst/>
          </a:prstGeom>
        </p:spPr>
        <p:txBody>
          <a:bodyPr lIns="91243" tIns="45622" rIns="91243" bIns="45622"/>
          <a:lstStyle>
            <a:lvl1pPr>
              <a:defRPr sz="2500"/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15" name="Rectangle 4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EFF660B-5916-42E2-9D88-953A3CB16BD3}" type="slidenum">
              <a:rPr lang="en-US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976081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gallery dir="l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Основн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414000" y="1638000"/>
            <a:ext cx="8316000" cy="4467600"/>
          </a:xfrm>
        </p:spPr>
        <p:txBody>
          <a:bodyPr/>
          <a:lstStyle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de-DE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4"/>
          </p:nvPr>
        </p:nvSpPr>
        <p:spPr>
          <a:xfrm>
            <a:off x="8665706" y="6526188"/>
            <a:ext cx="402094" cy="217518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chemeClr val="bg1"/>
                </a:solidFill>
                <a:latin typeface="+mj-lt"/>
              </a:defRPr>
            </a:lvl1pPr>
          </a:lstStyle>
          <a:p>
            <a:fld id="{8E141AF1-466E-4D9F-B74C-45FFEB47CA13}" type="slidenum">
              <a:rPr lang="de-DE" smtClean="0">
                <a:solidFill>
                  <a:srgbClr val="FFFFFF"/>
                </a:solidFill>
              </a:rPr>
              <a:pPr/>
              <a:t>‹#›</a:t>
            </a:fld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1652954" y="1"/>
            <a:ext cx="7220702" cy="897162"/>
          </a:xfrm>
          <a:prstGeom prst="rect">
            <a:avLst/>
          </a:prstGeom>
          <a:ln/>
          <a:effectLst>
            <a:outerShdw dist="17961" dir="2700000" algn="ctr" rotWithShape="0">
              <a:srgbClr val="FFFFFF"/>
            </a:outerShdw>
          </a:effectLst>
        </p:spPr>
        <p:txBody>
          <a:bodyPr lIns="91243" tIns="45622" rIns="91243" bIns="45622" anchor="ctr"/>
          <a:lstStyle>
            <a:lvl1pPr>
              <a:defRPr kumimoji="1" lang="ru-RU" sz="1700" kern="1200">
                <a:solidFill>
                  <a:srgbClr val="016EB3"/>
                </a:solidFill>
              </a:defRPr>
            </a:lvl1pPr>
          </a:lstStyle>
          <a:p>
            <a:pPr lvl="0" defTabSz="819005"/>
            <a:r>
              <a:rPr lang="ru-RU" smtClean="0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2688375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gallery dir="l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31778" y="123825"/>
            <a:ext cx="6742113" cy="657225"/>
          </a:xfrm>
          <a:prstGeom prst="rect">
            <a:avLst/>
          </a:prstGeom>
        </p:spPr>
        <p:txBody>
          <a:bodyPr lIns="91243" tIns="45622" rIns="91243" bIns="45622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715E4BD-578A-4F4A-9E92-1B4DB10B5101}" type="slidenum">
              <a:rPr lang="en-US">
                <a:solidFill>
                  <a:srgbClr val="A0A1A6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A0A1A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52331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gallery dir="l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Раздел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8"/>
          <p:cNvSpPr>
            <a:spLocks noGrp="1"/>
          </p:cNvSpPr>
          <p:nvPr>
            <p:ph type="sldNum" sz="quarter" idx="4"/>
          </p:nvPr>
        </p:nvSpPr>
        <p:spPr>
          <a:xfrm>
            <a:off x="8741906" y="6517642"/>
            <a:ext cx="402094" cy="217518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chemeClr val="bg1"/>
                </a:solidFill>
                <a:latin typeface="+mj-lt"/>
              </a:defRPr>
            </a:lvl1pPr>
          </a:lstStyle>
          <a:p>
            <a:fld id="{B19B0651-EE4F-4900-A07F-96A6BFA9D0F0}" type="slidenum">
              <a:rPr lang="ru-RU" smtClean="0">
                <a:solidFill>
                  <a:srgbClr val="FFFFFF"/>
                </a:solidFill>
              </a:rPr>
              <a:pPr/>
              <a:t>‹#›</a:t>
            </a:fld>
            <a:endParaRPr lang="ru-RU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6460088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07266" name="Rectangle 2"/>
          <p:cNvSpPr>
            <a:spLocks noGrp="1" noChangeArrowheads="1"/>
          </p:cNvSpPr>
          <p:nvPr>
            <p:ph type="subTitle" idx="1"/>
          </p:nvPr>
        </p:nvSpPr>
        <p:spPr>
          <a:xfrm>
            <a:off x="2935489" y="5737238"/>
            <a:ext cx="5522912" cy="270843"/>
          </a:xfrm>
          <a:effectLst>
            <a:outerShdw dist="17961" dir="2700000" algn="ctr" rotWithShape="0">
              <a:srgbClr val="FFFFFF"/>
            </a:outerShdw>
          </a:effectLst>
        </p:spPr>
        <p:txBody>
          <a:bodyPr>
            <a:spAutoFit/>
          </a:bodyPr>
          <a:lstStyle>
            <a:lvl1pPr marL="0" indent="0" algn="r" defTabSz="819005">
              <a:spcBef>
                <a:spcPct val="0"/>
              </a:spcBef>
              <a:buClrTx/>
              <a:buFontTx/>
              <a:buNone/>
              <a:defRPr sz="1600">
                <a:solidFill>
                  <a:schemeClr val="tx2"/>
                </a:solidFill>
              </a:defRPr>
            </a:lvl1pPr>
          </a:lstStyle>
          <a:p>
            <a:r>
              <a:rPr lang="ru-RU" smtClean="0"/>
              <a:t>Образец подзаголовка</a:t>
            </a:r>
            <a:endParaRPr lang="en-US" dirty="0"/>
          </a:p>
        </p:txBody>
      </p:sp>
      <p:sp>
        <p:nvSpPr>
          <p:cNvPr id="907267" name="Rectangle 3"/>
          <p:cNvSpPr>
            <a:spLocks noGrp="1" noChangeArrowheads="1"/>
          </p:cNvSpPr>
          <p:nvPr>
            <p:ph type="ctrTitle" sz="quarter"/>
          </p:nvPr>
        </p:nvSpPr>
        <p:spPr>
          <a:xfrm>
            <a:off x="3032589" y="5183211"/>
            <a:ext cx="5522912" cy="452437"/>
          </a:xfrm>
          <a:prstGeom prst="rect">
            <a:avLst/>
          </a:prstGeom>
          <a:ln/>
          <a:effectLst>
            <a:outerShdw dist="17961" dir="2700000" algn="ctr" rotWithShape="0">
              <a:srgbClr val="FFFFFF"/>
            </a:outerShdw>
          </a:effectLst>
        </p:spPr>
        <p:txBody>
          <a:bodyPr lIns="91243" tIns="45622" rIns="91243" bIns="45622" anchor="b"/>
          <a:lstStyle>
            <a:lvl1pPr algn="r" defTabSz="819005">
              <a:defRPr sz="2400">
                <a:solidFill>
                  <a:schemeClr val="tx2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en-US"/>
          </a:p>
        </p:txBody>
      </p:sp>
      <p:pic>
        <p:nvPicPr>
          <p:cNvPr id="2" name="Рисунок 1"/>
          <p:cNvPicPr>
            <a:picLocks noChangeAspect="1"/>
          </p:cNvPicPr>
          <p:nvPr userDrawn="1"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2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0710" y="505803"/>
            <a:ext cx="5230821" cy="3804234"/>
          </a:xfrm>
          <a:prstGeom prst="rect">
            <a:avLst/>
          </a:prstGeom>
        </p:spPr>
      </p:pic>
      <p:pic>
        <p:nvPicPr>
          <p:cNvPr id="7" name="Picture 2"/>
          <p:cNvPicPr>
            <a:picLocks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68002" y="3096000"/>
            <a:ext cx="3564000" cy="2066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3027193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gallery dir="l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Основн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414000" y="1638000"/>
            <a:ext cx="8316000" cy="4467600"/>
          </a:xfrm>
        </p:spPr>
        <p:txBody>
          <a:bodyPr/>
          <a:lstStyle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de-DE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4"/>
          </p:nvPr>
        </p:nvSpPr>
        <p:spPr>
          <a:xfrm>
            <a:off x="8665706" y="6526188"/>
            <a:ext cx="402094" cy="217518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chemeClr val="bg1"/>
                </a:solidFill>
                <a:latin typeface="+mj-lt"/>
              </a:defRPr>
            </a:lvl1pPr>
          </a:lstStyle>
          <a:p>
            <a:fld id="{8E141AF1-466E-4D9F-B74C-45FFEB47CA13}" type="slidenum">
              <a:rPr lang="de-DE" smtClean="0">
                <a:solidFill>
                  <a:srgbClr val="FFFFFF"/>
                </a:solidFill>
              </a:rPr>
              <a:pPr/>
              <a:t>‹#›</a:t>
            </a:fld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1652954" y="1"/>
            <a:ext cx="7220702" cy="897162"/>
          </a:xfrm>
          <a:prstGeom prst="rect">
            <a:avLst/>
          </a:prstGeom>
          <a:ln/>
          <a:effectLst>
            <a:outerShdw dist="17961" dir="2700000" algn="ctr" rotWithShape="0">
              <a:srgbClr val="FFFFFF"/>
            </a:outerShdw>
          </a:effectLst>
        </p:spPr>
        <p:txBody>
          <a:bodyPr lIns="91243" tIns="45622" rIns="91243" bIns="45622" anchor="ctr"/>
          <a:lstStyle>
            <a:lvl1pPr>
              <a:defRPr kumimoji="1" lang="ru-RU" sz="1700" kern="1200">
                <a:solidFill>
                  <a:srgbClr val="016EB3"/>
                </a:solidFill>
              </a:defRPr>
            </a:lvl1pPr>
          </a:lstStyle>
          <a:p>
            <a:pPr lvl="0" defTabSz="819005"/>
            <a:r>
              <a:rPr lang="ru-RU" smtClean="0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0145683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gallery dir="l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31778" y="306698"/>
            <a:ext cx="6742113" cy="739775"/>
          </a:xfrm>
          <a:prstGeom prst="rect">
            <a:avLst/>
          </a:prstGeom>
        </p:spPr>
        <p:txBody>
          <a:bodyPr lIns="91243" tIns="45622" rIns="91243" bIns="45622"/>
          <a:lstStyle>
            <a:lvl1pPr>
              <a:defRPr sz="2500"/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15" name="Rectangle 4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EFF660B-5916-42E2-9D88-953A3CB16BD3}" type="slidenum">
              <a:rPr lang="en-US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025597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gallery dir="l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 userDrawn="1"/>
        </p:nvSpPr>
        <p:spPr bwMode="auto">
          <a:xfrm>
            <a:off x="8660610" y="6374606"/>
            <a:ext cx="478632" cy="389746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243" tIns="45622" rIns="91243" bIns="45622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</a:pPr>
            <a:endParaRPr kumimoji="1" lang="ru-RU" sz="1000" smtClean="0">
              <a:solidFill>
                <a:srgbClr val="00294F"/>
              </a:solidFill>
              <a:latin typeface="Tahoma" pitchFamily="34" charset="0"/>
              <a:ea typeface="PMingLiU" pitchFamily="18" charset="-120"/>
            </a:endParaRPr>
          </a:p>
        </p:txBody>
      </p:sp>
    </p:spTree>
    <p:extLst>
      <p:ext uri="{BB962C8B-B14F-4D97-AF65-F5344CB8AC3E}">
        <p14:creationId xmlns:p14="http://schemas.microsoft.com/office/powerpoint/2010/main" val="16139144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gallery dir="l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лайд &quot;Спасибо!&quot;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Line 27"/>
          <p:cNvSpPr>
            <a:spLocks noChangeShapeType="1"/>
          </p:cNvSpPr>
          <p:nvPr userDrawn="1"/>
        </p:nvSpPr>
        <p:spPr bwMode="auto">
          <a:xfrm>
            <a:off x="252000" y="5940000"/>
            <a:ext cx="8640000" cy="0"/>
          </a:xfrm>
          <a:prstGeom prst="line">
            <a:avLst/>
          </a:prstGeom>
          <a:noFill/>
          <a:ln w="28575">
            <a:solidFill>
              <a:srgbClr val="016EB3"/>
            </a:solidFill>
            <a:round/>
            <a:headEnd/>
            <a:tailEnd/>
          </a:ln>
          <a:effectLst/>
        </p:spPr>
        <p:txBody>
          <a:bodyPr wrap="none" lIns="91243" tIns="45622" rIns="91243" bIns="45622"/>
          <a:lstStyle/>
          <a:p>
            <a:pPr fontAlgn="base">
              <a:spcBef>
                <a:spcPct val="50000"/>
              </a:spcBef>
              <a:spcAft>
                <a:spcPct val="0"/>
              </a:spcAft>
              <a:defRPr/>
            </a:pPr>
            <a:endParaRPr kumimoji="1" lang="ru-RU" sz="1000" dirty="0">
              <a:solidFill>
                <a:srgbClr val="002766"/>
              </a:solidFill>
              <a:latin typeface="Tahoma" pitchFamily="34" charset="0"/>
              <a:ea typeface="PMingLiU" pitchFamily="18" charset="-120"/>
            </a:endParaRPr>
          </a:p>
        </p:txBody>
      </p:sp>
      <p:sp>
        <p:nvSpPr>
          <p:cNvPr id="9" name="Прямоугольник 8"/>
          <p:cNvSpPr/>
          <p:nvPr userDrawn="1"/>
        </p:nvSpPr>
        <p:spPr bwMode="auto">
          <a:xfrm>
            <a:off x="252000" y="190523"/>
            <a:ext cx="1623692" cy="606669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243" tIns="45622" rIns="91243" bIns="45622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</a:pPr>
            <a:endParaRPr kumimoji="1" lang="ru-RU" sz="1000" smtClean="0">
              <a:solidFill>
                <a:srgbClr val="00294F"/>
              </a:solidFill>
              <a:latin typeface="Tahoma" pitchFamily="34" charset="0"/>
              <a:ea typeface="PMingLiU" pitchFamily="18" charset="-120"/>
            </a:endParaRPr>
          </a:p>
        </p:txBody>
      </p:sp>
      <p:sp>
        <p:nvSpPr>
          <p:cNvPr id="10" name="Прямоугольник 9"/>
          <p:cNvSpPr/>
          <p:nvPr userDrawn="1"/>
        </p:nvSpPr>
        <p:spPr bwMode="auto">
          <a:xfrm>
            <a:off x="8429206" y="6327669"/>
            <a:ext cx="708444" cy="504825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243" tIns="45622" rIns="91243" bIns="45622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</a:pPr>
            <a:endParaRPr kumimoji="1" lang="ru-RU" sz="1000" smtClean="0">
              <a:solidFill>
                <a:srgbClr val="00294F"/>
              </a:solidFill>
              <a:latin typeface="Tahoma" pitchFamily="34" charset="0"/>
              <a:ea typeface="PMingLiU" pitchFamily="18" charset="-120"/>
            </a:endParaRPr>
          </a:p>
        </p:txBody>
      </p:sp>
      <p:sp>
        <p:nvSpPr>
          <p:cNvPr id="18" name="Текст 3"/>
          <p:cNvSpPr>
            <a:spLocks noGrp="1"/>
          </p:cNvSpPr>
          <p:nvPr>
            <p:ph type="body" sz="half" idx="10" hasCustomPrompt="1"/>
          </p:nvPr>
        </p:nvSpPr>
        <p:spPr>
          <a:xfrm>
            <a:off x="7200000" y="6210000"/>
            <a:ext cx="1656000" cy="396000"/>
          </a:xfrm>
        </p:spPr>
        <p:txBody>
          <a:bodyPr anchor="ctr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100">
                <a:solidFill>
                  <a:schemeClr val="tx2"/>
                </a:solidFill>
              </a:defRPr>
            </a:lvl1pPr>
            <a:lvl2pPr marL="456234" indent="0">
              <a:buNone/>
              <a:defRPr sz="1200"/>
            </a:lvl2pPr>
            <a:lvl3pPr marL="912468" indent="0">
              <a:buNone/>
              <a:defRPr sz="1000"/>
            </a:lvl3pPr>
            <a:lvl4pPr marL="1368700" indent="0">
              <a:buNone/>
              <a:defRPr sz="900"/>
            </a:lvl4pPr>
            <a:lvl5pPr marL="1824935" indent="0">
              <a:buNone/>
              <a:defRPr sz="900"/>
            </a:lvl5pPr>
            <a:lvl6pPr marL="2281167" indent="0">
              <a:buNone/>
              <a:defRPr sz="900"/>
            </a:lvl6pPr>
            <a:lvl7pPr marL="2737394" indent="0">
              <a:buNone/>
              <a:defRPr sz="900"/>
            </a:lvl7pPr>
            <a:lvl8pPr marL="3193635" indent="0">
              <a:buNone/>
              <a:defRPr sz="900"/>
            </a:lvl8pPr>
            <a:lvl9pPr marL="3649869" indent="0">
              <a:buNone/>
              <a:defRPr sz="900"/>
            </a:lvl9pPr>
          </a:lstStyle>
          <a:p>
            <a:pPr lvl="0"/>
            <a:r>
              <a:rPr lang="ru-RU" dirty="0" smtClean="0"/>
              <a:t>Телефон и </a:t>
            </a:r>
            <a:r>
              <a:rPr lang="en-US" dirty="0" smtClean="0"/>
              <a:t>e-mail</a:t>
            </a:r>
          </a:p>
        </p:txBody>
      </p:sp>
      <p:sp>
        <p:nvSpPr>
          <p:cNvPr id="21" name="Текст 3"/>
          <p:cNvSpPr>
            <a:spLocks noGrp="1"/>
          </p:cNvSpPr>
          <p:nvPr>
            <p:ph type="body" sz="half" idx="12" hasCustomPrompt="1"/>
          </p:nvPr>
        </p:nvSpPr>
        <p:spPr>
          <a:xfrm>
            <a:off x="2088000" y="3096000"/>
            <a:ext cx="4932000" cy="648000"/>
          </a:xfrm>
        </p:spPr>
        <p:txBody>
          <a:bodyPr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buNone/>
              <a:defRPr sz="3600">
                <a:solidFill>
                  <a:srgbClr val="016EB3"/>
                </a:solidFill>
              </a:defRPr>
            </a:lvl1pPr>
            <a:lvl2pPr marL="456234" indent="0">
              <a:buNone/>
              <a:defRPr sz="1200"/>
            </a:lvl2pPr>
            <a:lvl3pPr marL="912468" indent="0">
              <a:buNone/>
              <a:defRPr sz="1000"/>
            </a:lvl3pPr>
            <a:lvl4pPr marL="1368700" indent="0">
              <a:buNone/>
              <a:defRPr sz="900"/>
            </a:lvl4pPr>
            <a:lvl5pPr marL="1824935" indent="0">
              <a:buNone/>
              <a:defRPr sz="900"/>
            </a:lvl5pPr>
            <a:lvl6pPr marL="2281167" indent="0">
              <a:buNone/>
              <a:defRPr sz="900"/>
            </a:lvl6pPr>
            <a:lvl7pPr marL="2737394" indent="0">
              <a:buNone/>
              <a:defRPr sz="900"/>
            </a:lvl7pPr>
            <a:lvl8pPr marL="3193635" indent="0">
              <a:buNone/>
              <a:defRPr sz="900"/>
            </a:lvl8pPr>
            <a:lvl9pPr marL="3649869" indent="0">
              <a:buNone/>
              <a:defRPr sz="900"/>
            </a:lvl9pPr>
          </a:lstStyle>
          <a:p>
            <a:pPr lvl="0"/>
            <a:r>
              <a:rPr lang="ru-RU" dirty="0" smtClean="0"/>
              <a:t>Спасибо! / </a:t>
            </a:r>
            <a:r>
              <a:rPr lang="en-US" dirty="0" smtClean="0"/>
              <a:t>Thank you!</a:t>
            </a:r>
          </a:p>
        </p:txBody>
      </p:sp>
      <p:sp>
        <p:nvSpPr>
          <p:cNvPr id="28" name="Текст 27"/>
          <p:cNvSpPr>
            <a:spLocks noGrp="1"/>
          </p:cNvSpPr>
          <p:nvPr>
            <p:ph type="body" sz="quarter" idx="14" hasCustomPrompt="1"/>
          </p:nvPr>
        </p:nvSpPr>
        <p:spPr>
          <a:xfrm>
            <a:off x="5112000" y="6210000"/>
            <a:ext cx="2016000" cy="396000"/>
          </a:xfrm>
        </p:spPr>
        <p:txBody>
          <a:bodyPr anchor="ctr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10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ru-RU" dirty="0" smtClean="0"/>
              <a:t>Адрес компании</a:t>
            </a:r>
            <a:endParaRPr lang="ru-RU" dirty="0"/>
          </a:p>
        </p:txBody>
      </p:sp>
      <p:sp>
        <p:nvSpPr>
          <p:cNvPr id="30" name="Текст 29"/>
          <p:cNvSpPr>
            <a:spLocks noGrp="1"/>
          </p:cNvSpPr>
          <p:nvPr>
            <p:ph type="body" sz="quarter" idx="15" hasCustomPrompt="1"/>
          </p:nvPr>
        </p:nvSpPr>
        <p:spPr>
          <a:xfrm>
            <a:off x="2772000" y="6210000"/>
            <a:ext cx="2268000" cy="396000"/>
          </a:xfrm>
        </p:spPr>
        <p:txBody>
          <a:bodyPr anchor="ctr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10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ru-RU" dirty="0" smtClean="0"/>
              <a:t>Управление и Отдел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4547204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gallery dir="l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31778" y="306698"/>
            <a:ext cx="6742113" cy="739775"/>
          </a:xfrm>
          <a:prstGeom prst="rect">
            <a:avLst/>
          </a:prstGeom>
        </p:spPr>
        <p:txBody>
          <a:bodyPr lIns="91243" tIns="45622" rIns="91243" bIns="45622"/>
          <a:lstStyle>
            <a:lvl1pPr>
              <a:defRPr sz="2500"/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15" name="Rectangle 4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EFF660B-5916-42E2-9D88-953A3CB16BD3}" type="slidenum">
              <a:rPr lang="en-US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678743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gallery dir="l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Основн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414000" y="1638000"/>
            <a:ext cx="8316000" cy="4467600"/>
          </a:xfrm>
        </p:spPr>
        <p:txBody>
          <a:bodyPr/>
          <a:lstStyle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de-DE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4"/>
          </p:nvPr>
        </p:nvSpPr>
        <p:spPr>
          <a:xfrm>
            <a:off x="8665706" y="6526188"/>
            <a:ext cx="402094" cy="217518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chemeClr val="bg1"/>
                </a:solidFill>
                <a:latin typeface="+mj-lt"/>
              </a:defRPr>
            </a:lvl1pPr>
          </a:lstStyle>
          <a:p>
            <a:fld id="{8E141AF1-466E-4D9F-B74C-45FFEB47CA13}" type="slidenum">
              <a:rPr lang="de-DE" smtClean="0">
                <a:solidFill>
                  <a:srgbClr val="FFFFFF"/>
                </a:solidFill>
              </a:rPr>
              <a:pPr/>
              <a:t>‹#›</a:t>
            </a:fld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1652954" y="1"/>
            <a:ext cx="7220702" cy="897162"/>
          </a:xfrm>
          <a:prstGeom prst="rect">
            <a:avLst/>
          </a:prstGeom>
          <a:ln/>
          <a:effectLst>
            <a:outerShdw dist="17961" dir="2700000" algn="ctr" rotWithShape="0">
              <a:srgbClr val="FFFFFF"/>
            </a:outerShdw>
          </a:effectLst>
        </p:spPr>
        <p:txBody>
          <a:bodyPr lIns="91243" tIns="45622" rIns="91243" bIns="45622" anchor="ctr"/>
          <a:lstStyle>
            <a:lvl1pPr>
              <a:defRPr kumimoji="1" lang="ru-RU" sz="1700" kern="1200">
                <a:solidFill>
                  <a:srgbClr val="016EB3"/>
                </a:solidFill>
              </a:defRPr>
            </a:lvl1pPr>
          </a:lstStyle>
          <a:p>
            <a:pPr lvl="0" defTabSz="819005"/>
            <a:r>
              <a:rPr lang="ru-RU" smtClean="0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947192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gallery dir="l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31778" y="123825"/>
            <a:ext cx="6742113" cy="657225"/>
          </a:xfrm>
          <a:prstGeom prst="rect">
            <a:avLst/>
          </a:prstGeom>
        </p:spPr>
        <p:txBody>
          <a:bodyPr lIns="91243" tIns="45622" rIns="91243" bIns="45622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715E4BD-578A-4F4A-9E92-1B4DB10B5101}" type="slidenum">
              <a:rPr lang="en-US">
                <a:solidFill>
                  <a:srgbClr val="A0A1A6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A0A1A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533256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gallery dir="l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Раздел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8"/>
          <p:cNvSpPr>
            <a:spLocks noGrp="1"/>
          </p:cNvSpPr>
          <p:nvPr>
            <p:ph type="sldNum" sz="quarter" idx="4"/>
          </p:nvPr>
        </p:nvSpPr>
        <p:spPr>
          <a:xfrm>
            <a:off x="8741906" y="6517642"/>
            <a:ext cx="402094" cy="217518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chemeClr val="bg1"/>
                </a:solidFill>
                <a:latin typeface="+mj-lt"/>
              </a:defRPr>
            </a:lvl1pPr>
          </a:lstStyle>
          <a:p>
            <a:fld id="{B19B0651-EE4F-4900-A07F-96A6BFA9D0F0}" type="slidenum">
              <a:rPr lang="ru-RU" smtClean="0">
                <a:solidFill>
                  <a:srgbClr val="FFFFFF"/>
                </a:solidFill>
              </a:rPr>
              <a:pPr/>
              <a:t>‹#›</a:t>
            </a:fld>
            <a:endParaRPr lang="ru-RU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4455114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07266" name="Rectangle 2"/>
          <p:cNvSpPr>
            <a:spLocks noGrp="1" noChangeArrowheads="1"/>
          </p:cNvSpPr>
          <p:nvPr>
            <p:ph type="subTitle" idx="1"/>
          </p:nvPr>
        </p:nvSpPr>
        <p:spPr>
          <a:xfrm>
            <a:off x="2935489" y="5737238"/>
            <a:ext cx="5522912" cy="270843"/>
          </a:xfrm>
          <a:effectLst>
            <a:outerShdw dist="17961" dir="2700000" algn="ctr" rotWithShape="0">
              <a:srgbClr val="FFFFFF"/>
            </a:outerShdw>
          </a:effectLst>
        </p:spPr>
        <p:txBody>
          <a:bodyPr>
            <a:spAutoFit/>
          </a:bodyPr>
          <a:lstStyle>
            <a:lvl1pPr marL="0" indent="0" algn="r" defTabSz="819005">
              <a:spcBef>
                <a:spcPct val="0"/>
              </a:spcBef>
              <a:buClrTx/>
              <a:buFontTx/>
              <a:buNone/>
              <a:defRPr sz="1600">
                <a:solidFill>
                  <a:schemeClr val="tx2"/>
                </a:solidFill>
              </a:defRPr>
            </a:lvl1pPr>
          </a:lstStyle>
          <a:p>
            <a:r>
              <a:rPr lang="ru-RU" smtClean="0"/>
              <a:t>Образец подзаголовка</a:t>
            </a:r>
            <a:endParaRPr lang="en-US" dirty="0"/>
          </a:p>
        </p:txBody>
      </p:sp>
      <p:sp>
        <p:nvSpPr>
          <p:cNvPr id="907267" name="Rectangle 3"/>
          <p:cNvSpPr>
            <a:spLocks noGrp="1" noChangeArrowheads="1"/>
          </p:cNvSpPr>
          <p:nvPr>
            <p:ph type="ctrTitle" sz="quarter"/>
          </p:nvPr>
        </p:nvSpPr>
        <p:spPr>
          <a:xfrm>
            <a:off x="3032589" y="5183211"/>
            <a:ext cx="5522912" cy="452437"/>
          </a:xfrm>
          <a:prstGeom prst="rect">
            <a:avLst/>
          </a:prstGeom>
          <a:ln/>
          <a:effectLst>
            <a:outerShdw dist="17961" dir="2700000" algn="ctr" rotWithShape="0">
              <a:srgbClr val="FFFFFF"/>
            </a:outerShdw>
          </a:effectLst>
        </p:spPr>
        <p:txBody>
          <a:bodyPr lIns="91243" tIns="45622" rIns="91243" bIns="45622" anchor="b"/>
          <a:lstStyle>
            <a:lvl1pPr algn="r" defTabSz="819005">
              <a:defRPr sz="2400">
                <a:solidFill>
                  <a:schemeClr val="tx2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en-US"/>
          </a:p>
        </p:txBody>
      </p:sp>
      <p:pic>
        <p:nvPicPr>
          <p:cNvPr id="2" name="Рисунок 1"/>
          <p:cNvPicPr>
            <a:picLocks noChangeAspect="1"/>
          </p:cNvPicPr>
          <p:nvPr userDrawn="1"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2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0710" y="505803"/>
            <a:ext cx="5230821" cy="3804234"/>
          </a:xfrm>
          <a:prstGeom prst="rect">
            <a:avLst/>
          </a:prstGeom>
        </p:spPr>
      </p:pic>
      <p:pic>
        <p:nvPicPr>
          <p:cNvPr id="7" name="Picture 2"/>
          <p:cNvPicPr>
            <a:picLocks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68002" y="3096000"/>
            <a:ext cx="3564000" cy="2066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4526206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gallery dir="l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Основн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414000" y="1638000"/>
            <a:ext cx="8316000" cy="4467600"/>
          </a:xfrm>
        </p:spPr>
        <p:txBody>
          <a:bodyPr/>
          <a:lstStyle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de-DE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4"/>
          </p:nvPr>
        </p:nvSpPr>
        <p:spPr>
          <a:xfrm>
            <a:off x="8665706" y="6526188"/>
            <a:ext cx="402094" cy="217518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chemeClr val="bg1"/>
                </a:solidFill>
                <a:latin typeface="+mj-lt"/>
              </a:defRPr>
            </a:lvl1pPr>
          </a:lstStyle>
          <a:p>
            <a:fld id="{8E141AF1-466E-4D9F-B74C-45FFEB47CA13}" type="slidenum">
              <a:rPr lang="de-DE" smtClean="0">
                <a:solidFill>
                  <a:srgbClr val="FFFFFF"/>
                </a:solidFill>
              </a:rPr>
              <a:pPr/>
              <a:t>‹#›</a:t>
            </a:fld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1652954" y="1"/>
            <a:ext cx="7220702" cy="897162"/>
          </a:xfrm>
          <a:prstGeom prst="rect">
            <a:avLst/>
          </a:prstGeom>
          <a:ln/>
          <a:effectLst>
            <a:outerShdw dist="17961" dir="2700000" algn="ctr" rotWithShape="0">
              <a:srgbClr val="FFFFFF"/>
            </a:outerShdw>
          </a:effectLst>
        </p:spPr>
        <p:txBody>
          <a:bodyPr lIns="91243" tIns="45622" rIns="91243" bIns="45622" anchor="ctr"/>
          <a:lstStyle>
            <a:lvl1pPr>
              <a:defRPr kumimoji="1" lang="ru-RU" sz="1700" kern="1200">
                <a:solidFill>
                  <a:srgbClr val="016EB3"/>
                </a:solidFill>
              </a:defRPr>
            </a:lvl1pPr>
          </a:lstStyle>
          <a:p>
            <a:pPr lvl="0" defTabSz="819005"/>
            <a:r>
              <a:rPr lang="ru-RU" smtClean="0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9756851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gallery dir="l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 userDrawn="1"/>
        </p:nvSpPr>
        <p:spPr bwMode="auto">
          <a:xfrm>
            <a:off x="8660610" y="6374606"/>
            <a:ext cx="478632" cy="389746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243" tIns="45622" rIns="91243" bIns="45622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</a:pPr>
            <a:endParaRPr kumimoji="1" lang="ru-RU" sz="1000" smtClean="0">
              <a:solidFill>
                <a:srgbClr val="00294F"/>
              </a:solidFill>
              <a:latin typeface="Tahoma" pitchFamily="34" charset="0"/>
              <a:ea typeface="PMingLiU" pitchFamily="18" charset="-120"/>
            </a:endParaRPr>
          </a:p>
        </p:txBody>
      </p:sp>
    </p:spTree>
    <p:extLst>
      <p:ext uri="{BB962C8B-B14F-4D97-AF65-F5344CB8AC3E}">
        <p14:creationId xmlns:p14="http://schemas.microsoft.com/office/powerpoint/2010/main" val="29262152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gallery dir="l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лайд &quot;Спасибо!&quot;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Line 27"/>
          <p:cNvSpPr>
            <a:spLocks noChangeShapeType="1"/>
          </p:cNvSpPr>
          <p:nvPr userDrawn="1"/>
        </p:nvSpPr>
        <p:spPr bwMode="auto">
          <a:xfrm>
            <a:off x="252000" y="5940000"/>
            <a:ext cx="8640000" cy="0"/>
          </a:xfrm>
          <a:prstGeom prst="line">
            <a:avLst/>
          </a:prstGeom>
          <a:noFill/>
          <a:ln w="28575">
            <a:solidFill>
              <a:srgbClr val="016EB3"/>
            </a:solidFill>
            <a:round/>
            <a:headEnd/>
            <a:tailEnd/>
          </a:ln>
          <a:effectLst/>
        </p:spPr>
        <p:txBody>
          <a:bodyPr wrap="none" lIns="91243" tIns="45622" rIns="91243" bIns="45622"/>
          <a:lstStyle/>
          <a:p>
            <a:pPr fontAlgn="base">
              <a:spcBef>
                <a:spcPct val="50000"/>
              </a:spcBef>
              <a:spcAft>
                <a:spcPct val="0"/>
              </a:spcAft>
              <a:defRPr/>
            </a:pPr>
            <a:endParaRPr kumimoji="1" lang="ru-RU" sz="1000" dirty="0">
              <a:solidFill>
                <a:srgbClr val="002766"/>
              </a:solidFill>
              <a:latin typeface="Tahoma" pitchFamily="34" charset="0"/>
              <a:ea typeface="PMingLiU" pitchFamily="18" charset="-120"/>
            </a:endParaRPr>
          </a:p>
        </p:txBody>
      </p:sp>
      <p:sp>
        <p:nvSpPr>
          <p:cNvPr id="9" name="Прямоугольник 8"/>
          <p:cNvSpPr/>
          <p:nvPr userDrawn="1"/>
        </p:nvSpPr>
        <p:spPr bwMode="auto">
          <a:xfrm>
            <a:off x="252000" y="190523"/>
            <a:ext cx="1623692" cy="606669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243" tIns="45622" rIns="91243" bIns="45622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</a:pPr>
            <a:endParaRPr kumimoji="1" lang="ru-RU" sz="1000" smtClean="0">
              <a:solidFill>
                <a:srgbClr val="00294F"/>
              </a:solidFill>
              <a:latin typeface="Tahoma" pitchFamily="34" charset="0"/>
              <a:ea typeface="PMingLiU" pitchFamily="18" charset="-120"/>
            </a:endParaRPr>
          </a:p>
        </p:txBody>
      </p:sp>
      <p:sp>
        <p:nvSpPr>
          <p:cNvPr id="10" name="Прямоугольник 9"/>
          <p:cNvSpPr/>
          <p:nvPr userDrawn="1"/>
        </p:nvSpPr>
        <p:spPr bwMode="auto">
          <a:xfrm>
            <a:off x="8429206" y="6327669"/>
            <a:ext cx="708444" cy="504825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243" tIns="45622" rIns="91243" bIns="45622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</a:pPr>
            <a:endParaRPr kumimoji="1" lang="ru-RU" sz="1000" smtClean="0">
              <a:solidFill>
                <a:srgbClr val="00294F"/>
              </a:solidFill>
              <a:latin typeface="Tahoma" pitchFamily="34" charset="0"/>
              <a:ea typeface="PMingLiU" pitchFamily="18" charset="-120"/>
            </a:endParaRPr>
          </a:p>
        </p:txBody>
      </p:sp>
      <p:sp>
        <p:nvSpPr>
          <p:cNvPr id="18" name="Текст 3"/>
          <p:cNvSpPr>
            <a:spLocks noGrp="1"/>
          </p:cNvSpPr>
          <p:nvPr>
            <p:ph type="body" sz="half" idx="10" hasCustomPrompt="1"/>
          </p:nvPr>
        </p:nvSpPr>
        <p:spPr>
          <a:xfrm>
            <a:off x="7200000" y="6210000"/>
            <a:ext cx="1656000" cy="396000"/>
          </a:xfrm>
        </p:spPr>
        <p:txBody>
          <a:bodyPr anchor="ctr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100">
                <a:solidFill>
                  <a:schemeClr val="tx2"/>
                </a:solidFill>
              </a:defRPr>
            </a:lvl1pPr>
            <a:lvl2pPr marL="456234" indent="0">
              <a:buNone/>
              <a:defRPr sz="1200"/>
            </a:lvl2pPr>
            <a:lvl3pPr marL="912468" indent="0">
              <a:buNone/>
              <a:defRPr sz="1000"/>
            </a:lvl3pPr>
            <a:lvl4pPr marL="1368700" indent="0">
              <a:buNone/>
              <a:defRPr sz="900"/>
            </a:lvl4pPr>
            <a:lvl5pPr marL="1824935" indent="0">
              <a:buNone/>
              <a:defRPr sz="900"/>
            </a:lvl5pPr>
            <a:lvl6pPr marL="2281167" indent="0">
              <a:buNone/>
              <a:defRPr sz="900"/>
            </a:lvl6pPr>
            <a:lvl7pPr marL="2737394" indent="0">
              <a:buNone/>
              <a:defRPr sz="900"/>
            </a:lvl7pPr>
            <a:lvl8pPr marL="3193635" indent="0">
              <a:buNone/>
              <a:defRPr sz="900"/>
            </a:lvl8pPr>
            <a:lvl9pPr marL="3649869" indent="0">
              <a:buNone/>
              <a:defRPr sz="900"/>
            </a:lvl9pPr>
          </a:lstStyle>
          <a:p>
            <a:pPr lvl="0"/>
            <a:r>
              <a:rPr lang="ru-RU" dirty="0" smtClean="0"/>
              <a:t>Телефон и </a:t>
            </a:r>
            <a:r>
              <a:rPr lang="en-US" dirty="0" smtClean="0"/>
              <a:t>e-mail</a:t>
            </a:r>
          </a:p>
        </p:txBody>
      </p:sp>
      <p:sp>
        <p:nvSpPr>
          <p:cNvPr id="21" name="Текст 3"/>
          <p:cNvSpPr>
            <a:spLocks noGrp="1"/>
          </p:cNvSpPr>
          <p:nvPr>
            <p:ph type="body" sz="half" idx="12" hasCustomPrompt="1"/>
          </p:nvPr>
        </p:nvSpPr>
        <p:spPr>
          <a:xfrm>
            <a:off x="2088000" y="3096000"/>
            <a:ext cx="4932000" cy="648000"/>
          </a:xfrm>
        </p:spPr>
        <p:txBody>
          <a:bodyPr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buNone/>
              <a:defRPr sz="3600">
                <a:solidFill>
                  <a:srgbClr val="016EB3"/>
                </a:solidFill>
              </a:defRPr>
            </a:lvl1pPr>
            <a:lvl2pPr marL="456234" indent="0">
              <a:buNone/>
              <a:defRPr sz="1200"/>
            </a:lvl2pPr>
            <a:lvl3pPr marL="912468" indent="0">
              <a:buNone/>
              <a:defRPr sz="1000"/>
            </a:lvl3pPr>
            <a:lvl4pPr marL="1368700" indent="0">
              <a:buNone/>
              <a:defRPr sz="900"/>
            </a:lvl4pPr>
            <a:lvl5pPr marL="1824935" indent="0">
              <a:buNone/>
              <a:defRPr sz="900"/>
            </a:lvl5pPr>
            <a:lvl6pPr marL="2281167" indent="0">
              <a:buNone/>
              <a:defRPr sz="900"/>
            </a:lvl6pPr>
            <a:lvl7pPr marL="2737394" indent="0">
              <a:buNone/>
              <a:defRPr sz="900"/>
            </a:lvl7pPr>
            <a:lvl8pPr marL="3193635" indent="0">
              <a:buNone/>
              <a:defRPr sz="900"/>
            </a:lvl8pPr>
            <a:lvl9pPr marL="3649869" indent="0">
              <a:buNone/>
              <a:defRPr sz="900"/>
            </a:lvl9pPr>
          </a:lstStyle>
          <a:p>
            <a:pPr lvl="0"/>
            <a:r>
              <a:rPr lang="ru-RU" dirty="0" smtClean="0"/>
              <a:t>Спасибо! / </a:t>
            </a:r>
            <a:r>
              <a:rPr lang="en-US" dirty="0" smtClean="0"/>
              <a:t>Thank you!</a:t>
            </a:r>
          </a:p>
        </p:txBody>
      </p:sp>
      <p:sp>
        <p:nvSpPr>
          <p:cNvPr id="28" name="Текст 27"/>
          <p:cNvSpPr>
            <a:spLocks noGrp="1"/>
          </p:cNvSpPr>
          <p:nvPr>
            <p:ph type="body" sz="quarter" idx="14" hasCustomPrompt="1"/>
          </p:nvPr>
        </p:nvSpPr>
        <p:spPr>
          <a:xfrm>
            <a:off x="5112000" y="6210000"/>
            <a:ext cx="2016000" cy="396000"/>
          </a:xfrm>
        </p:spPr>
        <p:txBody>
          <a:bodyPr anchor="ctr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10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ru-RU" dirty="0" smtClean="0"/>
              <a:t>Адрес компании</a:t>
            </a:r>
            <a:endParaRPr lang="ru-RU" dirty="0"/>
          </a:p>
        </p:txBody>
      </p:sp>
      <p:sp>
        <p:nvSpPr>
          <p:cNvPr id="30" name="Текст 29"/>
          <p:cNvSpPr>
            <a:spLocks noGrp="1"/>
          </p:cNvSpPr>
          <p:nvPr>
            <p:ph type="body" sz="quarter" idx="15" hasCustomPrompt="1"/>
          </p:nvPr>
        </p:nvSpPr>
        <p:spPr>
          <a:xfrm>
            <a:off x="2772000" y="6210000"/>
            <a:ext cx="2268000" cy="396000"/>
          </a:xfrm>
        </p:spPr>
        <p:txBody>
          <a:bodyPr anchor="ctr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10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ru-RU" dirty="0" smtClean="0"/>
              <a:t>Управление и Отдел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1093415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gallery dir="l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Основн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414000" y="1638000"/>
            <a:ext cx="8316000" cy="4467600"/>
          </a:xfrm>
        </p:spPr>
        <p:txBody>
          <a:bodyPr/>
          <a:lstStyle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de-DE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4"/>
          </p:nvPr>
        </p:nvSpPr>
        <p:spPr>
          <a:xfrm>
            <a:off x="8665706" y="6526188"/>
            <a:ext cx="402094" cy="217518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chemeClr val="bg1"/>
                </a:solidFill>
                <a:latin typeface="+mj-lt"/>
              </a:defRPr>
            </a:lvl1pPr>
          </a:lstStyle>
          <a:p>
            <a:fld id="{8E141AF1-466E-4D9F-B74C-45FFEB47CA13}" type="slidenum">
              <a:rPr lang="de-DE" smtClean="0">
                <a:solidFill>
                  <a:srgbClr val="FFFFFF"/>
                </a:solidFill>
              </a:rPr>
              <a:pPr/>
              <a:t>‹#›</a:t>
            </a:fld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1652954" y="1"/>
            <a:ext cx="7220702" cy="897162"/>
          </a:xfrm>
          <a:prstGeom prst="rect">
            <a:avLst/>
          </a:prstGeom>
          <a:ln/>
          <a:effectLst>
            <a:outerShdw dist="17961" dir="2700000" algn="ctr" rotWithShape="0">
              <a:srgbClr val="FFFFFF"/>
            </a:outerShdw>
          </a:effectLst>
        </p:spPr>
        <p:txBody>
          <a:bodyPr lIns="91243" tIns="45622" rIns="91243" bIns="45622" anchor="ctr"/>
          <a:lstStyle>
            <a:lvl1pPr>
              <a:defRPr kumimoji="1" lang="ru-RU" sz="1700" kern="1200">
                <a:solidFill>
                  <a:srgbClr val="016EB3"/>
                </a:solidFill>
              </a:defRPr>
            </a:lvl1pPr>
          </a:lstStyle>
          <a:p>
            <a:pPr lvl="0" defTabSz="819005"/>
            <a:r>
              <a:rPr lang="ru-RU" smtClean="0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8779501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gallery dir="l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31778" y="306698"/>
            <a:ext cx="6742113" cy="739775"/>
          </a:xfrm>
          <a:prstGeom prst="rect">
            <a:avLst/>
          </a:prstGeom>
        </p:spPr>
        <p:txBody>
          <a:bodyPr lIns="91243" tIns="45622" rIns="91243" bIns="45622"/>
          <a:lstStyle>
            <a:lvl1pPr>
              <a:defRPr sz="2500"/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15" name="Rectangle 4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EFF660B-5916-42E2-9D88-953A3CB16BD3}" type="slidenum">
              <a:rPr lang="en-US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184084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gallery dir="l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Основн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414000" y="1638000"/>
            <a:ext cx="8316000" cy="4467600"/>
          </a:xfrm>
        </p:spPr>
        <p:txBody>
          <a:bodyPr/>
          <a:lstStyle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de-DE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4"/>
          </p:nvPr>
        </p:nvSpPr>
        <p:spPr>
          <a:xfrm>
            <a:off x="8665706" y="6526188"/>
            <a:ext cx="402094" cy="217518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chemeClr val="bg1"/>
                </a:solidFill>
                <a:latin typeface="+mj-lt"/>
              </a:defRPr>
            </a:lvl1pPr>
          </a:lstStyle>
          <a:p>
            <a:fld id="{8E141AF1-466E-4D9F-B74C-45FFEB47CA13}" type="slidenum">
              <a:rPr lang="de-DE" smtClean="0">
                <a:solidFill>
                  <a:srgbClr val="FFFFFF"/>
                </a:solidFill>
              </a:rPr>
              <a:pPr/>
              <a:t>‹#›</a:t>
            </a:fld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1652954" y="1"/>
            <a:ext cx="7220702" cy="897162"/>
          </a:xfrm>
          <a:prstGeom prst="rect">
            <a:avLst/>
          </a:prstGeom>
          <a:ln/>
          <a:effectLst>
            <a:outerShdw dist="17961" dir="2700000" algn="ctr" rotWithShape="0">
              <a:srgbClr val="FFFFFF"/>
            </a:outerShdw>
          </a:effectLst>
        </p:spPr>
        <p:txBody>
          <a:bodyPr lIns="91243" tIns="45622" rIns="91243" bIns="45622" anchor="ctr"/>
          <a:lstStyle>
            <a:lvl1pPr>
              <a:defRPr kumimoji="1" lang="ru-RU" sz="1700" kern="1200">
                <a:solidFill>
                  <a:srgbClr val="016EB3"/>
                </a:solidFill>
              </a:defRPr>
            </a:lvl1pPr>
          </a:lstStyle>
          <a:p>
            <a:pPr lvl="0" defTabSz="819005"/>
            <a:r>
              <a:rPr lang="ru-RU" smtClean="0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1451016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gallery dir="l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31778" y="123825"/>
            <a:ext cx="6742113" cy="657225"/>
          </a:xfrm>
          <a:prstGeom prst="rect">
            <a:avLst/>
          </a:prstGeom>
        </p:spPr>
        <p:txBody>
          <a:bodyPr lIns="91243" tIns="45622" rIns="91243" bIns="45622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715E4BD-578A-4F4A-9E92-1B4DB10B5101}" type="slidenum">
              <a:rPr lang="en-US">
                <a:solidFill>
                  <a:srgbClr val="A0A1A6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A0A1A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852628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gallery dir="l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Раздел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8"/>
          <p:cNvSpPr>
            <a:spLocks noGrp="1"/>
          </p:cNvSpPr>
          <p:nvPr>
            <p:ph type="sldNum" sz="quarter" idx="4"/>
          </p:nvPr>
        </p:nvSpPr>
        <p:spPr>
          <a:xfrm>
            <a:off x="8741906" y="6517642"/>
            <a:ext cx="402094" cy="217518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chemeClr val="bg1"/>
                </a:solidFill>
                <a:latin typeface="+mj-lt"/>
              </a:defRPr>
            </a:lvl1pPr>
          </a:lstStyle>
          <a:p>
            <a:fld id="{B19B0651-EE4F-4900-A07F-96A6BFA9D0F0}" type="slidenum">
              <a:rPr lang="ru-RU" smtClean="0">
                <a:solidFill>
                  <a:srgbClr val="FFFFFF"/>
                </a:solidFill>
              </a:rPr>
              <a:pPr/>
              <a:t>‹#›</a:t>
            </a:fld>
            <a:endParaRPr lang="ru-RU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8525681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500"/>
            </a:lvl1pPr>
          </a:lstStyle>
          <a:p>
            <a:r>
              <a:rPr lang="en-US" dirty="0"/>
              <a:t>Click to edit Master title style</a:t>
            </a:r>
            <a:endParaRPr lang="fr-FR" dirty="0"/>
          </a:p>
        </p:txBody>
      </p:sp>
      <p:sp>
        <p:nvSpPr>
          <p:cNvPr id="3" name="Rectangle 2"/>
          <p:cNvSpPr/>
          <p:nvPr/>
        </p:nvSpPr>
        <p:spPr>
          <a:xfrm>
            <a:off x="0" y="905107"/>
            <a:ext cx="9144000" cy="34180"/>
          </a:xfrm>
          <a:prstGeom prst="rect">
            <a:avLst/>
          </a:prstGeom>
          <a:solidFill>
            <a:schemeClr val="accent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891127"/>
            <a:endParaRPr lang="en-US" dirty="0">
              <a:solidFill>
                <a:srgbClr val="003149"/>
              </a:solidFill>
            </a:endParaRPr>
          </a:p>
        </p:txBody>
      </p:sp>
      <p:sp>
        <p:nvSpPr>
          <p:cNvPr id="4" name="SlideNumber"/>
          <p:cNvSpPr/>
          <p:nvPr/>
        </p:nvSpPr>
        <p:spPr>
          <a:xfrm>
            <a:off x="8216375" y="6668489"/>
            <a:ext cx="300772" cy="86818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 defTabSz="891127"/>
            <a:fld id="{BB69BBE8-4DB2-4642-B003-B220ACD5A2FD}" type="slidenum">
              <a:rPr lang="en-US" sz="900" b="1" smtClean="0">
                <a:solidFill>
                  <a:srgbClr val="080808"/>
                </a:solidFill>
                <a:latin typeface="Verdana" pitchFamily="34" charset="0"/>
              </a:rPr>
              <a:pPr algn="ctr" defTabSz="891127"/>
              <a:t>‹#›</a:t>
            </a:fld>
            <a:endParaRPr lang="fr-FR" sz="900" b="1" dirty="0">
              <a:solidFill>
                <a:srgbClr val="080808"/>
              </a:solidFill>
            </a:endParaRPr>
          </a:p>
        </p:txBody>
      </p:sp>
      <p:cxnSp>
        <p:nvCxnSpPr>
          <p:cNvPr id="5" name="Straight Connector 4"/>
          <p:cNvCxnSpPr/>
          <p:nvPr/>
        </p:nvCxnSpPr>
        <p:spPr>
          <a:xfrm>
            <a:off x="0" y="6555697"/>
            <a:ext cx="9144000" cy="0"/>
          </a:xfrm>
          <a:prstGeom prst="line">
            <a:avLst/>
          </a:prstGeom>
          <a:ln w="12700">
            <a:solidFill>
              <a:srgbClr val="999999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6" name="Group 5"/>
          <p:cNvGrpSpPr/>
          <p:nvPr/>
        </p:nvGrpSpPr>
        <p:grpSpPr>
          <a:xfrm>
            <a:off x="8574091" y="6591936"/>
            <a:ext cx="385992" cy="239924"/>
            <a:chOff x="7277614" y="2396353"/>
            <a:chExt cx="1054802" cy="609493"/>
          </a:xfrm>
        </p:grpSpPr>
        <p:sp>
          <p:nvSpPr>
            <p:cNvPr id="7" name="Freeform 7"/>
            <p:cNvSpPr>
              <a:spLocks/>
            </p:cNvSpPr>
            <p:nvPr/>
          </p:nvSpPr>
          <p:spPr bwMode="auto">
            <a:xfrm>
              <a:off x="7277614" y="2396353"/>
              <a:ext cx="527401" cy="154241"/>
            </a:xfrm>
            <a:custGeom>
              <a:avLst/>
              <a:gdLst>
                <a:gd name="T0" fmla="*/ 0 w 691"/>
                <a:gd name="T1" fmla="*/ 200 h 200"/>
                <a:gd name="T2" fmla="*/ 691 w 691"/>
                <a:gd name="T3" fmla="*/ 200 h 200"/>
                <a:gd name="T4" fmla="*/ 346 w 691"/>
                <a:gd name="T5" fmla="*/ 0 h 200"/>
                <a:gd name="T6" fmla="*/ 0 w 691"/>
                <a:gd name="T7" fmla="*/ 200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91" h="200">
                  <a:moveTo>
                    <a:pt x="0" y="200"/>
                  </a:moveTo>
                  <a:lnTo>
                    <a:pt x="691" y="200"/>
                  </a:lnTo>
                  <a:lnTo>
                    <a:pt x="346" y="0"/>
                  </a:lnTo>
                  <a:lnTo>
                    <a:pt x="0" y="200"/>
                  </a:lnTo>
                  <a:close/>
                </a:path>
              </a:pathLst>
            </a:custGeom>
            <a:solidFill>
              <a:srgbClr val="FF0505"/>
            </a:solidFill>
            <a:ln w="1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891127"/>
              <a:endParaRPr lang="en-US" sz="1700" dirty="0">
                <a:solidFill>
                  <a:srgbClr val="003149"/>
                </a:solidFill>
              </a:endParaRPr>
            </a:p>
          </p:txBody>
        </p:sp>
        <p:sp>
          <p:nvSpPr>
            <p:cNvPr id="8" name="Freeform 8"/>
            <p:cNvSpPr>
              <a:spLocks/>
            </p:cNvSpPr>
            <p:nvPr/>
          </p:nvSpPr>
          <p:spPr bwMode="auto">
            <a:xfrm>
              <a:off x="7277614" y="2550591"/>
              <a:ext cx="263702" cy="452770"/>
            </a:xfrm>
            <a:custGeom>
              <a:avLst/>
              <a:gdLst>
                <a:gd name="T0" fmla="*/ 0 w 346"/>
                <a:gd name="T1" fmla="*/ 0 h 598"/>
                <a:gd name="T2" fmla="*/ 0 w 346"/>
                <a:gd name="T3" fmla="*/ 399 h 598"/>
                <a:gd name="T4" fmla="*/ 346 w 346"/>
                <a:gd name="T5" fmla="*/ 598 h 598"/>
                <a:gd name="T6" fmla="*/ 0 w 346"/>
                <a:gd name="T7" fmla="*/ 0 h 5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46" h="598">
                  <a:moveTo>
                    <a:pt x="0" y="0"/>
                  </a:moveTo>
                  <a:lnTo>
                    <a:pt x="0" y="399"/>
                  </a:lnTo>
                  <a:lnTo>
                    <a:pt x="346" y="59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505"/>
            </a:solidFill>
            <a:ln w="2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891127"/>
              <a:endParaRPr lang="en-US" sz="1700" dirty="0">
                <a:solidFill>
                  <a:srgbClr val="003149"/>
                </a:solidFill>
              </a:endParaRPr>
            </a:p>
          </p:txBody>
        </p:sp>
        <p:sp>
          <p:nvSpPr>
            <p:cNvPr id="9" name="Freeform 9"/>
            <p:cNvSpPr>
              <a:spLocks/>
            </p:cNvSpPr>
            <p:nvPr/>
          </p:nvSpPr>
          <p:spPr bwMode="auto">
            <a:xfrm>
              <a:off x="7541313" y="2550591"/>
              <a:ext cx="263702" cy="452770"/>
            </a:xfrm>
            <a:custGeom>
              <a:avLst/>
              <a:gdLst>
                <a:gd name="T0" fmla="*/ 0 w 345"/>
                <a:gd name="T1" fmla="*/ 598 h 598"/>
                <a:gd name="T2" fmla="*/ 345 w 345"/>
                <a:gd name="T3" fmla="*/ 0 h 598"/>
                <a:gd name="T4" fmla="*/ 345 w 345"/>
                <a:gd name="T5" fmla="*/ 399 h 598"/>
                <a:gd name="T6" fmla="*/ 0 w 345"/>
                <a:gd name="T7" fmla="*/ 598 h 5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45" h="598">
                  <a:moveTo>
                    <a:pt x="0" y="598"/>
                  </a:moveTo>
                  <a:lnTo>
                    <a:pt x="345" y="0"/>
                  </a:lnTo>
                  <a:lnTo>
                    <a:pt x="345" y="399"/>
                  </a:lnTo>
                  <a:lnTo>
                    <a:pt x="0" y="598"/>
                  </a:lnTo>
                  <a:close/>
                </a:path>
              </a:pathLst>
            </a:custGeom>
            <a:solidFill>
              <a:srgbClr val="FF0505"/>
            </a:solidFill>
            <a:ln w="1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891127"/>
              <a:endParaRPr lang="en-US" sz="1700" dirty="0">
                <a:solidFill>
                  <a:srgbClr val="003149"/>
                </a:solidFill>
              </a:endParaRPr>
            </a:p>
          </p:txBody>
        </p:sp>
        <p:sp>
          <p:nvSpPr>
            <p:cNvPr id="10" name="Freeform 7"/>
            <p:cNvSpPr>
              <a:spLocks/>
            </p:cNvSpPr>
            <p:nvPr/>
          </p:nvSpPr>
          <p:spPr bwMode="auto">
            <a:xfrm rot="10800000">
              <a:off x="7805015" y="2851605"/>
              <a:ext cx="527401" cy="154241"/>
            </a:xfrm>
            <a:custGeom>
              <a:avLst/>
              <a:gdLst>
                <a:gd name="T0" fmla="*/ 0 w 691"/>
                <a:gd name="T1" fmla="*/ 200 h 200"/>
                <a:gd name="T2" fmla="*/ 691 w 691"/>
                <a:gd name="T3" fmla="*/ 200 h 200"/>
                <a:gd name="T4" fmla="*/ 346 w 691"/>
                <a:gd name="T5" fmla="*/ 0 h 200"/>
                <a:gd name="T6" fmla="*/ 0 w 691"/>
                <a:gd name="T7" fmla="*/ 200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91" h="200">
                  <a:moveTo>
                    <a:pt x="0" y="200"/>
                  </a:moveTo>
                  <a:lnTo>
                    <a:pt x="691" y="200"/>
                  </a:lnTo>
                  <a:lnTo>
                    <a:pt x="346" y="0"/>
                  </a:lnTo>
                  <a:lnTo>
                    <a:pt x="0" y="200"/>
                  </a:lnTo>
                  <a:close/>
                </a:path>
              </a:pathLst>
            </a:custGeom>
            <a:solidFill>
              <a:srgbClr val="058CEC"/>
            </a:solidFill>
            <a:ln w="1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891127"/>
              <a:endParaRPr lang="en-US" sz="1700" dirty="0">
                <a:solidFill>
                  <a:srgbClr val="003149"/>
                </a:solidFill>
              </a:endParaRPr>
            </a:p>
          </p:txBody>
        </p:sp>
        <p:sp>
          <p:nvSpPr>
            <p:cNvPr id="11" name="Freeform 8"/>
            <p:cNvSpPr>
              <a:spLocks/>
            </p:cNvSpPr>
            <p:nvPr/>
          </p:nvSpPr>
          <p:spPr bwMode="auto">
            <a:xfrm rot="10800000">
              <a:off x="8068714" y="2398838"/>
              <a:ext cx="263702" cy="452770"/>
            </a:xfrm>
            <a:custGeom>
              <a:avLst/>
              <a:gdLst>
                <a:gd name="T0" fmla="*/ 0 w 346"/>
                <a:gd name="T1" fmla="*/ 0 h 598"/>
                <a:gd name="T2" fmla="*/ 0 w 346"/>
                <a:gd name="T3" fmla="*/ 399 h 598"/>
                <a:gd name="T4" fmla="*/ 346 w 346"/>
                <a:gd name="T5" fmla="*/ 598 h 598"/>
                <a:gd name="T6" fmla="*/ 0 w 346"/>
                <a:gd name="T7" fmla="*/ 0 h 5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46" h="598">
                  <a:moveTo>
                    <a:pt x="0" y="0"/>
                  </a:moveTo>
                  <a:lnTo>
                    <a:pt x="0" y="399"/>
                  </a:lnTo>
                  <a:lnTo>
                    <a:pt x="346" y="59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58CEC"/>
            </a:solidFill>
            <a:ln w="2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891127"/>
              <a:endParaRPr lang="en-US" sz="1700" dirty="0">
                <a:solidFill>
                  <a:srgbClr val="003149"/>
                </a:solidFill>
              </a:endParaRPr>
            </a:p>
          </p:txBody>
        </p:sp>
        <p:sp>
          <p:nvSpPr>
            <p:cNvPr id="12" name="Freeform 9"/>
            <p:cNvSpPr>
              <a:spLocks/>
            </p:cNvSpPr>
            <p:nvPr/>
          </p:nvSpPr>
          <p:spPr bwMode="auto">
            <a:xfrm rot="10800000">
              <a:off x="7805015" y="2398838"/>
              <a:ext cx="263702" cy="452770"/>
            </a:xfrm>
            <a:custGeom>
              <a:avLst/>
              <a:gdLst>
                <a:gd name="T0" fmla="*/ 0 w 345"/>
                <a:gd name="T1" fmla="*/ 598 h 598"/>
                <a:gd name="T2" fmla="*/ 345 w 345"/>
                <a:gd name="T3" fmla="*/ 0 h 598"/>
                <a:gd name="T4" fmla="*/ 345 w 345"/>
                <a:gd name="T5" fmla="*/ 399 h 598"/>
                <a:gd name="T6" fmla="*/ 0 w 345"/>
                <a:gd name="T7" fmla="*/ 598 h 5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45" h="598">
                  <a:moveTo>
                    <a:pt x="0" y="598"/>
                  </a:moveTo>
                  <a:lnTo>
                    <a:pt x="345" y="0"/>
                  </a:lnTo>
                  <a:lnTo>
                    <a:pt x="345" y="399"/>
                  </a:lnTo>
                  <a:lnTo>
                    <a:pt x="0" y="598"/>
                  </a:lnTo>
                  <a:close/>
                </a:path>
              </a:pathLst>
            </a:custGeom>
            <a:solidFill>
              <a:srgbClr val="058CEC"/>
            </a:solidFill>
            <a:ln w="1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891127"/>
              <a:endParaRPr lang="en-US" sz="1700" dirty="0">
                <a:solidFill>
                  <a:srgbClr val="003149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327097004"/>
      </p:ext>
    </p:extLst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One Char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7"/>
          <p:cNvSpPr>
            <a:spLocks noGrp="1"/>
          </p:cNvSpPr>
          <p:nvPr>
            <p:ph type="pic" sz="quarter" idx="12" hasCustomPrompt="1"/>
          </p:nvPr>
        </p:nvSpPr>
        <p:spPr>
          <a:xfrm>
            <a:off x="353585" y="1292913"/>
            <a:ext cx="8438320" cy="5095600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>
            <a:normAutofit/>
          </a:bodyPr>
          <a:lstStyle>
            <a:lvl1pPr marL="246509" indent="-246509" algn="l" defTabSz="890891" rtl="0" eaLnBrk="1" fontAlgn="base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sz="2200" dirty="0">
                <a:solidFill>
                  <a:schemeClr val="accent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/>
              <a:t>Wizard Chart</a:t>
            </a:r>
          </a:p>
        </p:txBody>
      </p:sp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168404" y="53600"/>
            <a:ext cx="7835048" cy="834431"/>
          </a:xfrm>
        </p:spPr>
        <p:txBody>
          <a:bodyPr/>
          <a:lstStyle>
            <a:lvl1pPr>
              <a:defRPr sz="2500"/>
            </a:lvl1pPr>
          </a:lstStyle>
          <a:p>
            <a:r>
              <a:rPr lang="en-US" dirty="0"/>
              <a:t>Click to edit Master title style</a:t>
            </a:r>
            <a:endParaRPr lang="fr-FR" dirty="0"/>
          </a:p>
        </p:txBody>
      </p:sp>
      <p:sp>
        <p:nvSpPr>
          <p:cNvPr id="5" name="Rectangle 4"/>
          <p:cNvSpPr/>
          <p:nvPr/>
        </p:nvSpPr>
        <p:spPr>
          <a:xfrm>
            <a:off x="0" y="905107"/>
            <a:ext cx="9144000" cy="34180"/>
          </a:xfrm>
          <a:prstGeom prst="rect">
            <a:avLst/>
          </a:prstGeom>
          <a:solidFill>
            <a:schemeClr val="accent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891127"/>
            <a:endParaRPr lang="en-US" dirty="0">
              <a:solidFill>
                <a:srgbClr val="003149"/>
              </a:solidFill>
            </a:endParaRPr>
          </a:p>
        </p:txBody>
      </p:sp>
      <p:sp>
        <p:nvSpPr>
          <p:cNvPr id="6" name="SlideNumber"/>
          <p:cNvSpPr/>
          <p:nvPr/>
        </p:nvSpPr>
        <p:spPr>
          <a:xfrm>
            <a:off x="8216375" y="6668489"/>
            <a:ext cx="300772" cy="86818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 defTabSz="891127"/>
            <a:fld id="{BB69BBE8-4DB2-4642-B003-B220ACD5A2FD}" type="slidenum">
              <a:rPr lang="en-US" sz="900" b="1" smtClean="0">
                <a:solidFill>
                  <a:srgbClr val="080808"/>
                </a:solidFill>
                <a:latin typeface="Verdana" pitchFamily="34" charset="0"/>
              </a:rPr>
              <a:pPr algn="ctr" defTabSz="891127"/>
              <a:t>‹#›</a:t>
            </a:fld>
            <a:endParaRPr lang="fr-FR" sz="900" b="1" dirty="0">
              <a:solidFill>
                <a:srgbClr val="080808"/>
              </a:solidFill>
            </a:endParaRPr>
          </a:p>
        </p:txBody>
      </p:sp>
      <p:cxnSp>
        <p:nvCxnSpPr>
          <p:cNvPr id="7" name="Straight Connector 6"/>
          <p:cNvCxnSpPr/>
          <p:nvPr/>
        </p:nvCxnSpPr>
        <p:spPr>
          <a:xfrm>
            <a:off x="0" y="6555697"/>
            <a:ext cx="9144000" cy="0"/>
          </a:xfrm>
          <a:prstGeom prst="line">
            <a:avLst/>
          </a:prstGeom>
          <a:ln w="12700">
            <a:solidFill>
              <a:srgbClr val="999999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8" name="Group 7"/>
          <p:cNvGrpSpPr/>
          <p:nvPr/>
        </p:nvGrpSpPr>
        <p:grpSpPr>
          <a:xfrm>
            <a:off x="8574091" y="6591936"/>
            <a:ext cx="385992" cy="239924"/>
            <a:chOff x="7277614" y="2396353"/>
            <a:chExt cx="1054802" cy="609493"/>
          </a:xfrm>
        </p:grpSpPr>
        <p:sp>
          <p:nvSpPr>
            <p:cNvPr id="9" name="Freeform 7"/>
            <p:cNvSpPr>
              <a:spLocks/>
            </p:cNvSpPr>
            <p:nvPr/>
          </p:nvSpPr>
          <p:spPr bwMode="auto">
            <a:xfrm>
              <a:off x="7277614" y="2396353"/>
              <a:ext cx="527401" cy="154241"/>
            </a:xfrm>
            <a:custGeom>
              <a:avLst/>
              <a:gdLst>
                <a:gd name="T0" fmla="*/ 0 w 691"/>
                <a:gd name="T1" fmla="*/ 200 h 200"/>
                <a:gd name="T2" fmla="*/ 691 w 691"/>
                <a:gd name="T3" fmla="*/ 200 h 200"/>
                <a:gd name="T4" fmla="*/ 346 w 691"/>
                <a:gd name="T5" fmla="*/ 0 h 200"/>
                <a:gd name="T6" fmla="*/ 0 w 691"/>
                <a:gd name="T7" fmla="*/ 200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91" h="200">
                  <a:moveTo>
                    <a:pt x="0" y="200"/>
                  </a:moveTo>
                  <a:lnTo>
                    <a:pt x="691" y="200"/>
                  </a:lnTo>
                  <a:lnTo>
                    <a:pt x="346" y="0"/>
                  </a:lnTo>
                  <a:lnTo>
                    <a:pt x="0" y="200"/>
                  </a:lnTo>
                  <a:close/>
                </a:path>
              </a:pathLst>
            </a:custGeom>
            <a:solidFill>
              <a:srgbClr val="FF0505"/>
            </a:solidFill>
            <a:ln w="1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891127"/>
              <a:endParaRPr lang="en-US" sz="1700" dirty="0">
                <a:solidFill>
                  <a:srgbClr val="003149"/>
                </a:solidFill>
              </a:endParaRPr>
            </a:p>
          </p:txBody>
        </p:sp>
        <p:sp>
          <p:nvSpPr>
            <p:cNvPr id="10" name="Freeform 8"/>
            <p:cNvSpPr>
              <a:spLocks/>
            </p:cNvSpPr>
            <p:nvPr/>
          </p:nvSpPr>
          <p:spPr bwMode="auto">
            <a:xfrm>
              <a:off x="7277614" y="2550591"/>
              <a:ext cx="263702" cy="452770"/>
            </a:xfrm>
            <a:custGeom>
              <a:avLst/>
              <a:gdLst>
                <a:gd name="T0" fmla="*/ 0 w 346"/>
                <a:gd name="T1" fmla="*/ 0 h 598"/>
                <a:gd name="T2" fmla="*/ 0 w 346"/>
                <a:gd name="T3" fmla="*/ 399 h 598"/>
                <a:gd name="T4" fmla="*/ 346 w 346"/>
                <a:gd name="T5" fmla="*/ 598 h 598"/>
                <a:gd name="T6" fmla="*/ 0 w 346"/>
                <a:gd name="T7" fmla="*/ 0 h 5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46" h="598">
                  <a:moveTo>
                    <a:pt x="0" y="0"/>
                  </a:moveTo>
                  <a:lnTo>
                    <a:pt x="0" y="399"/>
                  </a:lnTo>
                  <a:lnTo>
                    <a:pt x="346" y="59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505"/>
            </a:solidFill>
            <a:ln w="2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891127"/>
              <a:endParaRPr lang="en-US" sz="1700" dirty="0">
                <a:solidFill>
                  <a:srgbClr val="003149"/>
                </a:solidFill>
              </a:endParaRPr>
            </a:p>
          </p:txBody>
        </p:sp>
        <p:sp>
          <p:nvSpPr>
            <p:cNvPr id="11" name="Freeform 9"/>
            <p:cNvSpPr>
              <a:spLocks/>
            </p:cNvSpPr>
            <p:nvPr/>
          </p:nvSpPr>
          <p:spPr bwMode="auto">
            <a:xfrm>
              <a:off x="7541313" y="2550591"/>
              <a:ext cx="263702" cy="452770"/>
            </a:xfrm>
            <a:custGeom>
              <a:avLst/>
              <a:gdLst>
                <a:gd name="T0" fmla="*/ 0 w 345"/>
                <a:gd name="T1" fmla="*/ 598 h 598"/>
                <a:gd name="T2" fmla="*/ 345 w 345"/>
                <a:gd name="T3" fmla="*/ 0 h 598"/>
                <a:gd name="T4" fmla="*/ 345 w 345"/>
                <a:gd name="T5" fmla="*/ 399 h 598"/>
                <a:gd name="T6" fmla="*/ 0 w 345"/>
                <a:gd name="T7" fmla="*/ 598 h 5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45" h="598">
                  <a:moveTo>
                    <a:pt x="0" y="598"/>
                  </a:moveTo>
                  <a:lnTo>
                    <a:pt x="345" y="0"/>
                  </a:lnTo>
                  <a:lnTo>
                    <a:pt x="345" y="399"/>
                  </a:lnTo>
                  <a:lnTo>
                    <a:pt x="0" y="598"/>
                  </a:lnTo>
                  <a:close/>
                </a:path>
              </a:pathLst>
            </a:custGeom>
            <a:solidFill>
              <a:srgbClr val="FF0505"/>
            </a:solidFill>
            <a:ln w="1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891127"/>
              <a:endParaRPr lang="en-US" sz="1700" dirty="0">
                <a:solidFill>
                  <a:srgbClr val="003149"/>
                </a:solidFill>
              </a:endParaRPr>
            </a:p>
          </p:txBody>
        </p:sp>
        <p:sp>
          <p:nvSpPr>
            <p:cNvPr id="12" name="Freeform 7"/>
            <p:cNvSpPr>
              <a:spLocks/>
            </p:cNvSpPr>
            <p:nvPr/>
          </p:nvSpPr>
          <p:spPr bwMode="auto">
            <a:xfrm rot="10800000">
              <a:off x="7805015" y="2851605"/>
              <a:ext cx="527401" cy="154241"/>
            </a:xfrm>
            <a:custGeom>
              <a:avLst/>
              <a:gdLst>
                <a:gd name="T0" fmla="*/ 0 w 691"/>
                <a:gd name="T1" fmla="*/ 200 h 200"/>
                <a:gd name="T2" fmla="*/ 691 w 691"/>
                <a:gd name="T3" fmla="*/ 200 h 200"/>
                <a:gd name="T4" fmla="*/ 346 w 691"/>
                <a:gd name="T5" fmla="*/ 0 h 200"/>
                <a:gd name="T6" fmla="*/ 0 w 691"/>
                <a:gd name="T7" fmla="*/ 200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91" h="200">
                  <a:moveTo>
                    <a:pt x="0" y="200"/>
                  </a:moveTo>
                  <a:lnTo>
                    <a:pt x="691" y="200"/>
                  </a:lnTo>
                  <a:lnTo>
                    <a:pt x="346" y="0"/>
                  </a:lnTo>
                  <a:lnTo>
                    <a:pt x="0" y="200"/>
                  </a:lnTo>
                  <a:close/>
                </a:path>
              </a:pathLst>
            </a:custGeom>
            <a:solidFill>
              <a:srgbClr val="058CEC"/>
            </a:solidFill>
            <a:ln w="1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891127"/>
              <a:endParaRPr lang="en-US" sz="1700" dirty="0">
                <a:solidFill>
                  <a:srgbClr val="003149"/>
                </a:solidFill>
              </a:endParaRPr>
            </a:p>
          </p:txBody>
        </p:sp>
        <p:sp>
          <p:nvSpPr>
            <p:cNvPr id="13" name="Freeform 8"/>
            <p:cNvSpPr>
              <a:spLocks/>
            </p:cNvSpPr>
            <p:nvPr/>
          </p:nvSpPr>
          <p:spPr bwMode="auto">
            <a:xfrm rot="10800000">
              <a:off x="8068714" y="2398838"/>
              <a:ext cx="263702" cy="452770"/>
            </a:xfrm>
            <a:custGeom>
              <a:avLst/>
              <a:gdLst>
                <a:gd name="T0" fmla="*/ 0 w 346"/>
                <a:gd name="T1" fmla="*/ 0 h 598"/>
                <a:gd name="T2" fmla="*/ 0 w 346"/>
                <a:gd name="T3" fmla="*/ 399 h 598"/>
                <a:gd name="T4" fmla="*/ 346 w 346"/>
                <a:gd name="T5" fmla="*/ 598 h 598"/>
                <a:gd name="T6" fmla="*/ 0 w 346"/>
                <a:gd name="T7" fmla="*/ 0 h 5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46" h="598">
                  <a:moveTo>
                    <a:pt x="0" y="0"/>
                  </a:moveTo>
                  <a:lnTo>
                    <a:pt x="0" y="399"/>
                  </a:lnTo>
                  <a:lnTo>
                    <a:pt x="346" y="59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58CEC"/>
            </a:solidFill>
            <a:ln w="2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891127"/>
              <a:endParaRPr lang="en-US" sz="1700" dirty="0">
                <a:solidFill>
                  <a:srgbClr val="003149"/>
                </a:solidFill>
              </a:endParaRPr>
            </a:p>
          </p:txBody>
        </p:sp>
        <p:sp>
          <p:nvSpPr>
            <p:cNvPr id="14" name="Freeform 9"/>
            <p:cNvSpPr>
              <a:spLocks/>
            </p:cNvSpPr>
            <p:nvPr/>
          </p:nvSpPr>
          <p:spPr bwMode="auto">
            <a:xfrm rot="10800000">
              <a:off x="7805015" y="2398838"/>
              <a:ext cx="263702" cy="452770"/>
            </a:xfrm>
            <a:custGeom>
              <a:avLst/>
              <a:gdLst>
                <a:gd name="T0" fmla="*/ 0 w 345"/>
                <a:gd name="T1" fmla="*/ 598 h 598"/>
                <a:gd name="T2" fmla="*/ 345 w 345"/>
                <a:gd name="T3" fmla="*/ 0 h 598"/>
                <a:gd name="T4" fmla="*/ 345 w 345"/>
                <a:gd name="T5" fmla="*/ 399 h 598"/>
                <a:gd name="T6" fmla="*/ 0 w 345"/>
                <a:gd name="T7" fmla="*/ 598 h 5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45" h="598">
                  <a:moveTo>
                    <a:pt x="0" y="598"/>
                  </a:moveTo>
                  <a:lnTo>
                    <a:pt x="345" y="0"/>
                  </a:lnTo>
                  <a:lnTo>
                    <a:pt x="345" y="399"/>
                  </a:lnTo>
                  <a:lnTo>
                    <a:pt x="0" y="598"/>
                  </a:lnTo>
                  <a:close/>
                </a:path>
              </a:pathLst>
            </a:custGeom>
            <a:solidFill>
              <a:srgbClr val="058CEC"/>
            </a:solidFill>
            <a:ln w="1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891127"/>
              <a:endParaRPr lang="en-US" sz="1700" dirty="0">
                <a:solidFill>
                  <a:srgbClr val="003149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126496598"/>
      </p:ext>
    </p:extLst>
  </p:cSld>
  <p:clrMapOvr>
    <a:masterClrMapping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wo Char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7"/>
          <p:cNvSpPr>
            <a:spLocks noGrp="1"/>
          </p:cNvSpPr>
          <p:nvPr>
            <p:ph type="pic" sz="quarter" idx="12" hasCustomPrompt="1"/>
          </p:nvPr>
        </p:nvSpPr>
        <p:spPr>
          <a:xfrm>
            <a:off x="353588" y="1406771"/>
            <a:ext cx="4004323" cy="5095600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>
            <a:normAutofit/>
          </a:bodyPr>
          <a:lstStyle>
            <a:lvl1pPr marL="246509" indent="-246509" algn="l" defTabSz="890891" rtl="0" eaLnBrk="1" fontAlgn="base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sz="2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/>
              <a:t>Wizard Chart</a:t>
            </a:r>
          </a:p>
        </p:txBody>
      </p:sp>
      <p:sp>
        <p:nvSpPr>
          <p:cNvPr id="5" name="Picture Placeholder 7"/>
          <p:cNvSpPr>
            <a:spLocks noGrp="1"/>
          </p:cNvSpPr>
          <p:nvPr>
            <p:ph type="pic" sz="quarter" idx="13" hasCustomPrompt="1"/>
          </p:nvPr>
        </p:nvSpPr>
        <p:spPr>
          <a:xfrm>
            <a:off x="4789076" y="1406771"/>
            <a:ext cx="4003071" cy="5095600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>
            <a:normAutofit/>
          </a:bodyPr>
          <a:lstStyle>
            <a:lvl1pPr marL="246509" indent="-246509" algn="l" defTabSz="890891" rtl="0" eaLnBrk="1" fontAlgn="base" latinLnBrk="0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altLang="zh-CN" sz="2200" kern="1200" noProof="1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/>
              <a:t>Wizard Chart</a:t>
            </a:r>
          </a:p>
        </p:txBody>
      </p:sp>
      <p:sp>
        <p:nvSpPr>
          <p:cNvPr id="6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355111" y="1206767"/>
            <a:ext cx="4003071" cy="419016"/>
          </a:xfrm>
          <a:blipFill dpi="0" rotWithShape="1">
            <a:blip r:embed="rId3" cstate="print"/>
            <a:srcRect/>
            <a:tile tx="0" ty="0" sx="100000" sy="100000" flip="none" algn="b"/>
          </a:blipFill>
        </p:spPr>
        <p:txBody>
          <a:bodyPr lIns="0" tIns="0" rIns="0" bIns="83032" anchor="b" anchorCtr="0">
            <a:normAutofit/>
          </a:bodyPr>
          <a:lstStyle>
            <a:lvl1pPr marL="0" indent="0" algn="ctr">
              <a:buNone/>
              <a:defRPr sz="1500" b="1" cap="all" baseline="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5"/>
          </p:nvPr>
        </p:nvSpPr>
        <p:spPr>
          <a:xfrm>
            <a:off x="4785930" y="1206767"/>
            <a:ext cx="4004406" cy="419016"/>
          </a:xfrm>
          <a:blipFill dpi="0" rotWithShape="1">
            <a:blip r:embed="rId3" cstate="print"/>
            <a:srcRect/>
            <a:tile tx="0" ty="0" sx="100000" sy="100000" flip="none" algn="b"/>
          </a:blipFill>
        </p:spPr>
        <p:txBody>
          <a:bodyPr lIns="0" tIns="0" rIns="0" bIns="83032" anchor="b" anchorCtr="0">
            <a:normAutofit/>
          </a:bodyPr>
          <a:lstStyle>
            <a:lvl1pPr marL="0" indent="0" algn="ctr">
              <a:buNone/>
              <a:defRPr sz="1500" b="1" cap="all" baseline="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168404" y="53600"/>
            <a:ext cx="7835048" cy="834431"/>
          </a:xfrm>
        </p:spPr>
        <p:txBody>
          <a:bodyPr/>
          <a:lstStyle>
            <a:lvl1pPr>
              <a:defRPr sz="2500"/>
            </a:lvl1pPr>
          </a:lstStyle>
          <a:p>
            <a:r>
              <a:rPr lang="en-US" dirty="0"/>
              <a:t>Click to edit Master title style</a:t>
            </a:r>
            <a:endParaRPr lang="fr-FR" dirty="0"/>
          </a:p>
        </p:txBody>
      </p:sp>
      <p:sp>
        <p:nvSpPr>
          <p:cNvPr id="9" name="Rectangle 8"/>
          <p:cNvSpPr/>
          <p:nvPr/>
        </p:nvSpPr>
        <p:spPr>
          <a:xfrm>
            <a:off x="0" y="905107"/>
            <a:ext cx="9144000" cy="34180"/>
          </a:xfrm>
          <a:prstGeom prst="rect">
            <a:avLst/>
          </a:prstGeom>
          <a:solidFill>
            <a:schemeClr val="accent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891127"/>
            <a:endParaRPr lang="en-US" dirty="0">
              <a:solidFill>
                <a:srgbClr val="003149"/>
              </a:solidFill>
            </a:endParaRPr>
          </a:p>
        </p:txBody>
      </p:sp>
      <p:sp>
        <p:nvSpPr>
          <p:cNvPr id="10" name="SlideNumber"/>
          <p:cNvSpPr/>
          <p:nvPr/>
        </p:nvSpPr>
        <p:spPr>
          <a:xfrm>
            <a:off x="8216375" y="6668489"/>
            <a:ext cx="300772" cy="86818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 defTabSz="891127"/>
            <a:fld id="{BB69BBE8-4DB2-4642-B003-B220ACD5A2FD}" type="slidenum">
              <a:rPr lang="en-US" sz="900" b="1" smtClean="0">
                <a:solidFill>
                  <a:srgbClr val="080808"/>
                </a:solidFill>
                <a:latin typeface="Verdana" pitchFamily="34" charset="0"/>
              </a:rPr>
              <a:pPr algn="ctr" defTabSz="891127"/>
              <a:t>‹#›</a:t>
            </a:fld>
            <a:endParaRPr lang="fr-FR" sz="900" b="1" dirty="0">
              <a:solidFill>
                <a:srgbClr val="080808"/>
              </a:solidFill>
            </a:endParaRPr>
          </a:p>
        </p:txBody>
      </p:sp>
      <p:cxnSp>
        <p:nvCxnSpPr>
          <p:cNvPr id="11" name="Straight Connector 10"/>
          <p:cNvCxnSpPr/>
          <p:nvPr/>
        </p:nvCxnSpPr>
        <p:spPr>
          <a:xfrm>
            <a:off x="0" y="6555697"/>
            <a:ext cx="9144000" cy="0"/>
          </a:xfrm>
          <a:prstGeom prst="line">
            <a:avLst/>
          </a:prstGeom>
          <a:ln w="12700">
            <a:solidFill>
              <a:srgbClr val="999999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12" name="Group 11"/>
          <p:cNvGrpSpPr/>
          <p:nvPr/>
        </p:nvGrpSpPr>
        <p:grpSpPr>
          <a:xfrm>
            <a:off x="8574091" y="6591936"/>
            <a:ext cx="385992" cy="239924"/>
            <a:chOff x="7277614" y="2396353"/>
            <a:chExt cx="1054802" cy="609493"/>
          </a:xfrm>
        </p:grpSpPr>
        <p:sp>
          <p:nvSpPr>
            <p:cNvPr id="13" name="Freeform 7"/>
            <p:cNvSpPr>
              <a:spLocks/>
            </p:cNvSpPr>
            <p:nvPr/>
          </p:nvSpPr>
          <p:spPr bwMode="auto">
            <a:xfrm>
              <a:off x="7277614" y="2396353"/>
              <a:ext cx="527401" cy="154241"/>
            </a:xfrm>
            <a:custGeom>
              <a:avLst/>
              <a:gdLst>
                <a:gd name="T0" fmla="*/ 0 w 691"/>
                <a:gd name="T1" fmla="*/ 200 h 200"/>
                <a:gd name="T2" fmla="*/ 691 w 691"/>
                <a:gd name="T3" fmla="*/ 200 h 200"/>
                <a:gd name="T4" fmla="*/ 346 w 691"/>
                <a:gd name="T5" fmla="*/ 0 h 200"/>
                <a:gd name="T6" fmla="*/ 0 w 691"/>
                <a:gd name="T7" fmla="*/ 200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91" h="200">
                  <a:moveTo>
                    <a:pt x="0" y="200"/>
                  </a:moveTo>
                  <a:lnTo>
                    <a:pt x="691" y="200"/>
                  </a:lnTo>
                  <a:lnTo>
                    <a:pt x="346" y="0"/>
                  </a:lnTo>
                  <a:lnTo>
                    <a:pt x="0" y="200"/>
                  </a:lnTo>
                  <a:close/>
                </a:path>
              </a:pathLst>
            </a:custGeom>
            <a:solidFill>
              <a:srgbClr val="FF0505"/>
            </a:solidFill>
            <a:ln w="1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891127"/>
              <a:endParaRPr lang="en-US" sz="1700" dirty="0">
                <a:solidFill>
                  <a:srgbClr val="003149"/>
                </a:solidFill>
              </a:endParaRPr>
            </a:p>
          </p:txBody>
        </p:sp>
        <p:sp>
          <p:nvSpPr>
            <p:cNvPr id="14" name="Freeform 8"/>
            <p:cNvSpPr>
              <a:spLocks/>
            </p:cNvSpPr>
            <p:nvPr/>
          </p:nvSpPr>
          <p:spPr bwMode="auto">
            <a:xfrm>
              <a:off x="7277614" y="2550591"/>
              <a:ext cx="263702" cy="452770"/>
            </a:xfrm>
            <a:custGeom>
              <a:avLst/>
              <a:gdLst>
                <a:gd name="T0" fmla="*/ 0 w 346"/>
                <a:gd name="T1" fmla="*/ 0 h 598"/>
                <a:gd name="T2" fmla="*/ 0 w 346"/>
                <a:gd name="T3" fmla="*/ 399 h 598"/>
                <a:gd name="T4" fmla="*/ 346 w 346"/>
                <a:gd name="T5" fmla="*/ 598 h 598"/>
                <a:gd name="T6" fmla="*/ 0 w 346"/>
                <a:gd name="T7" fmla="*/ 0 h 5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46" h="598">
                  <a:moveTo>
                    <a:pt x="0" y="0"/>
                  </a:moveTo>
                  <a:lnTo>
                    <a:pt x="0" y="399"/>
                  </a:lnTo>
                  <a:lnTo>
                    <a:pt x="346" y="59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505"/>
            </a:solidFill>
            <a:ln w="2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891127"/>
              <a:endParaRPr lang="en-US" sz="1700" dirty="0">
                <a:solidFill>
                  <a:srgbClr val="003149"/>
                </a:solidFill>
              </a:endParaRPr>
            </a:p>
          </p:txBody>
        </p:sp>
        <p:sp>
          <p:nvSpPr>
            <p:cNvPr id="15" name="Freeform 9"/>
            <p:cNvSpPr>
              <a:spLocks/>
            </p:cNvSpPr>
            <p:nvPr/>
          </p:nvSpPr>
          <p:spPr bwMode="auto">
            <a:xfrm>
              <a:off x="7541313" y="2550591"/>
              <a:ext cx="263702" cy="452770"/>
            </a:xfrm>
            <a:custGeom>
              <a:avLst/>
              <a:gdLst>
                <a:gd name="T0" fmla="*/ 0 w 345"/>
                <a:gd name="T1" fmla="*/ 598 h 598"/>
                <a:gd name="T2" fmla="*/ 345 w 345"/>
                <a:gd name="T3" fmla="*/ 0 h 598"/>
                <a:gd name="T4" fmla="*/ 345 w 345"/>
                <a:gd name="T5" fmla="*/ 399 h 598"/>
                <a:gd name="T6" fmla="*/ 0 w 345"/>
                <a:gd name="T7" fmla="*/ 598 h 5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45" h="598">
                  <a:moveTo>
                    <a:pt x="0" y="598"/>
                  </a:moveTo>
                  <a:lnTo>
                    <a:pt x="345" y="0"/>
                  </a:lnTo>
                  <a:lnTo>
                    <a:pt x="345" y="399"/>
                  </a:lnTo>
                  <a:lnTo>
                    <a:pt x="0" y="598"/>
                  </a:lnTo>
                  <a:close/>
                </a:path>
              </a:pathLst>
            </a:custGeom>
            <a:solidFill>
              <a:srgbClr val="FF0505"/>
            </a:solidFill>
            <a:ln w="1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891127"/>
              <a:endParaRPr lang="en-US" sz="1700" dirty="0">
                <a:solidFill>
                  <a:srgbClr val="003149"/>
                </a:solidFill>
              </a:endParaRPr>
            </a:p>
          </p:txBody>
        </p:sp>
        <p:sp>
          <p:nvSpPr>
            <p:cNvPr id="16" name="Freeform 7"/>
            <p:cNvSpPr>
              <a:spLocks/>
            </p:cNvSpPr>
            <p:nvPr/>
          </p:nvSpPr>
          <p:spPr bwMode="auto">
            <a:xfrm rot="10800000">
              <a:off x="7805015" y="2851605"/>
              <a:ext cx="527401" cy="154241"/>
            </a:xfrm>
            <a:custGeom>
              <a:avLst/>
              <a:gdLst>
                <a:gd name="T0" fmla="*/ 0 w 691"/>
                <a:gd name="T1" fmla="*/ 200 h 200"/>
                <a:gd name="T2" fmla="*/ 691 w 691"/>
                <a:gd name="T3" fmla="*/ 200 h 200"/>
                <a:gd name="T4" fmla="*/ 346 w 691"/>
                <a:gd name="T5" fmla="*/ 0 h 200"/>
                <a:gd name="T6" fmla="*/ 0 w 691"/>
                <a:gd name="T7" fmla="*/ 200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91" h="200">
                  <a:moveTo>
                    <a:pt x="0" y="200"/>
                  </a:moveTo>
                  <a:lnTo>
                    <a:pt x="691" y="200"/>
                  </a:lnTo>
                  <a:lnTo>
                    <a:pt x="346" y="0"/>
                  </a:lnTo>
                  <a:lnTo>
                    <a:pt x="0" y="200"/>
                  </a:lnTo>
                  <a:close/>
                </a:path>
              </a:pathLst>
            </a:custGeom>
            <a:solidFill>
              <a:srgbClr val="058CEC"/>
            </a:solidFill>
            <a:ln w="1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891127"/>
              <a:endParaRPr lang="en-US" sz="1700" dirty="0">
                <a:solidFill>
                  <a:srgbClr val="003149"/>
                </a:solidFill>
              </a:endParaRPr>
            </a:p>
          </p:txBody>
        </p:sp>
        <p:sp>
          <p:nvSpPr>
            <p:cNvPr id="17" name="Freeform 8"/>
            <p:cNvSpPr>
              <a:spLocks/>
            </p:cNvSpPr>
            <p:nvPr/>
          </p:nvSpPr>
          <p:spPr bwMode="auto">
            <a:xfrm rot="10800000">
              <a:off x="8068714" y="2398838"/>
              <a:ext cx="263702" cy="452770"/>
            </a:xfrm>
            <a:custGeom>
              <a:avLst/>
              <a:gdLst>
                <a:gd name="T0" fmla="*/ 0 w 346"/>
                <a:gd name="T1" fmla="*/ 0 h 598"/>
                <a:gd name="T2" fmla="*/ 0 w 346"/>
                <a:gd name="T3" fmla="*/ 399 h 598"/>
                <a:gd name="T4" fmla="*/ 346 w 346"/>
                <a:gd name="T5" fmla="*/ 598 h 598"/>
                <a:gd name="T6" fmla="*/ 0 w 346"/>
                <a:gd name="T7" fmla="*/ 0 h 5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46" h="598">
                  <a:moveTo>
                    <a:pt x="0" y="0"/>
                  </a:moveTo>
                  <a:lnTo>
                    <a:pt x="0" y="399"/>
                  </a:lnTo>
                  <a:lnTo>
                    <a:pt x="346" y="59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58CEC"/>
            </a:solidFill>
            <a:ln w="2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891127"/>
              <a:endParaRPr lang="en-US" sz="1700" dirty="0">
                <a:solidFill>
                  <a:srgbClr val="003149"/>
                </a:solidFill>
              </a:endParaRPr>
            </a:p>
          </p:txBody>
        </p:sp>
        <p:sp>
          <p:nvSpPr>
            <p:cNvPr id="18" name="Freeform 9"/>
            <p:cNvSpPr>
              <a:spLocks/>
            </p:cNvSpPr>
            <p:nvPr/>
          </p:nvSpPr>
          <p:spPr bwMode="auto">
            <a:xfrm rot="10800000">
              <a:off x="7805015" y="2398838"/>
              <a:ext cx="263702" cy="452770"/>
            </a:xfrm>
            <a:custGeom>
              <a:avLst/>
              <a:gdLst>
                <a:gd name="T0" fmla="*/ 0 w 345"/>
                <a:gd name="T1" fmla="*/ 598 h 598"/>
                <a:gd name="T2" fmla="*/ 345 w 345"/>
                <a:gd name="T3" fmla="*/ 0 h 598"/>
                <a:gd name="T4" fmla="*/ 345 w 345"/>
                <a:gd name="T5" fmla="*/ 399 h 598"/>
                <a:gd name="T6" fmla="*/ 0 w 345"/>
                <a:gd name="T7" fmla="*/ 598 h 5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45" h="598">
                  <a:moveTo>
                    <a:pt x="0" y="598"/>
                  </a:moveTo>
                  <a:lnTo>
                    <a:pt x="345" y="0"/>
                  </a:lnTo>
                  <a:lnTo>
                    <a:pt x="345" y="399"/>
                  </a:lnTo>
                  <a:lnTo>
                    <a:pt x="0" y="598"/>
                  </a:lnTo>
                  <a:close/>
                </a:path>
              </a:pathLst>
            </a:custGeom>
            <a:solidFill>
              <a:srgbClr val="058CEC"/>
            </a:solidFill>
            <a:ln w="1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891127"/>
              <a:endParaRPr lang="en-US" sz="1700" dirty="0">
                <a:solidFill>
                  <a:srgbClr val="003149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986440198"/>
      </p:ext>
    </p:extLst>
  </p:cSld>
  <p:clrMapOvr>
    <a:masterClrMapping/>
  </p:clrMapOvr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hree Char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7"/>
          <p:cNvSpPr>
            <a:spLocks noGrp="1"/>
          </p:cNvSpPr>
          <p:nvPr>
            <p:ph type="pic" sz="quarter" idx="12" hasCustomPrompt="1"/>
          </p:nvPr>
        </p:nvSpPr>
        <p:spPr>
          <a:xfrm>
            <a:off x="353588" y="1408225"/>
            <a:ext cx="2744041" cy="5095600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>
            <a:normAutofit/>
          </a:bodyPr>
          <a:lstStyle>
            <a:lvl1pPr marL="246509" indent="-246509" algn="l" defTabSz="890891" rtl="0" eaLnBrk="1" fontAlgn="base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sz="2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/>
              <a:t>Wizard Chart</a:t>
            </a:r>
          </a:p>
        </p:txBody>
      </p:sp>
      <p:sp>
        <p:nvSpPr>
          <p:cNvPr id="5" name="Picture Placeholder 7"/>
          <p:cNvSpPr>
            <a:spLocks noGrp="1"/>
          </p:cNvSpPr>
          <p:nvPr>
            <p:ph type="pic" sz="quarter" idx="13" hasCustomPrompt="1"/>
          </p:nvPr>
        </p:nvSpPr>
        <p:spPr>
          <a:xfrm>
            <a:off x="6064239" y="1408225"/>
            <a:ext cx="2744041" cy="5095600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>
            <a:normAutofit/>
          </a:bodyPr>
          <a:lstStyle>
            <a:lvl1pPr marL="246509" indent="-246509" algn="l" defTabSz="890891" rtl="0" eaLnBrk="1" fontAlgn="base" latinLnBrk="0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altLang="zh-CN" sz="2200" kern="1200" noProof="1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/>
              <a:t>Wizard Chart</a:t>
            </a:r>
          </a:p>
        </p:txBody>
      </p:sp>
      <p:sp>
        <p:nvSpPr>
          <p:cNvPr id="6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355115" y="1206767"/>
            <a:ext cx="2744041" cy="419016"/>
          </a:xfrm>
          <a:blipFill dpi="0" rotWithShape="1">
            <a:blip r:embed="rId3" cstate="print"/>
            <a:srcRect/>
            <a:tile tx="0" ty="0" sx="100000" sy="100000" flip="none" algn="b"/>
          </a:blipFill>
        </p:spPr>
        <p:txBody>
          <a:bodyPr lIns="0" tIns="0" rIns="0" bIns="83032" anchor="b" anchorCtr="0">
            <a:normAutofit/>
          </a:bodyPr>
          <a:lstStyle>
            <a:lvl1pPr marL="0" indent="0" algn="ctr">
              <a:buNone/>
              <a:defRPr sz="1500" b="1" cap="all" baseline="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5"/>
          </p:nvPr>
        </p:nvSpPr>
        <p:spPr>
          <a:xfrm>
            <a:off x="6061102" y="1206767"/>
            <a:ext cx="2744041" cy="419016"/>
          </a:xfrm>
          <a:blipFill dpi="0" rotWithShape="1">
            <a:blip r:embed="rId3" cstate="print"/>
            <a:srcRect/>
            <a:tile tx="0" ty="0" sx="100000" sy="100000" flip="none" algn="b"/>
          </a:blipFill>
        </p:spPr>
        <p:txBody>
          <a:bodyPr lIns="0" tIns="0" rIns="0" bIns="83032" anchor="b" anchorCtr="0">
            <a:normAutofit/>
          </a:bodyPr>
          <a:lstStyle>
            <a:lvl1pPr marL="0" indent="0" algn="ctr">
              <a:buNone/>
              <a:defRPr sz="1500" b="1" cap="all" baseline="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6" hasCustomPrompt="1"/>
          </p:nvPr>
        </p:nvSpPr>
        <p:spPr>
          <a:xfrm>
            <a:off x="3208912" y="1408225"/>
            <a:ext cx="2744041" cy="5095600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>
            <a:normAutofit/>
          </a:bodyPr>
          <a:lstStyle>
            <a:lvl1pPr marL="246509" indent="-246509" algn="l" defTabSz="890891" rtl="0" eaLnBrk="1" fontAlgn="base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sz="2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/>
              <a:t>Wizard Chart</a:t>
            </a:r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7"/>
          </p:nvPr>
        </p:nvSpPr>
        <p:spPr>
          <a:xfrm>
            <a:off x="3212142" y="1206767"/>
            <a:ext cx="2744041" cy="419016"/>
          </a:xfrm>
          <a:blipFill dpi="0" rotWithShape="1">
            <a:blip r:embed="rId3" cstate="print"/>
            <a:srcRect/>
            <a:tile tx="0" ty="0" sx="100000" sy="100000" flip="none" algn="b"/>
          </a:blipFill>
        </p:spPr>
        <p:txBody>
          <a:bodyPr lIns="0" tIns="0" rIns="0" bIns="83032" anchor="b" anchorCtr="0">
            <a:normAutofit/>
          </a:bodyPr>
          <a:lstStyle>
            <a:lvl1pPr marL="0" indent="0" algn="ctr">
              <a:buNone/>
              <a:defRPr sz="1500" b="1" cap="all" baseline="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168404" y="53600"/>
            <a:ext cx="7835048" cy="834431"/>
          </a:xfrm>
        </p:spPr>
        <p:txBody>
          <a:bodyPr/>
          <a:lstStyle>
            <a:lvl1pPr>
              <a:defRPr sz="2500"/>
            </a:lvl1pPr>
          </a:lstStyle>
          <a:p>
            <a:r>
              <a:rPr lang="en-US" dirty="0"/>
              <a:t>Click to edit Master title style</a:t>
            </a:r>
            <a:endParaRPr lang="fr-FR" dirty="0"/>
          </a:p>
        </p:txBody>
      </p:sp>
      <p:sp>
        <p:nvSpPr>
          <p:cNvPr id="11" name="Rectangle 10"/>
          <p:cNvSpPr/>
          <p:nvPr/>
        </p:nvSpPr>
        <p:spPr>
          <a:xfrm>
            <a:off x="0" y="905107"/>
            <a:ext cx="9144000" cy="34180"/>
          </a:xfrm>
          <a:prstGeom prst="rect">
            <a:avLst/>
          </a:prstGeom>
          <a:solidFill>
            <a:schemeClr val="accent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891127"/>
            <a:endParaRPr lang="en-US" dirty="0">
              <a:solidFill>
                <a:srgbClr val="003149"/>
              </a:solidFill>
            </a:endParaRPr>
          </a:p>
        </p:txBody>
      </p:sp>
      <p:sp>
        <p:nvSpPr>
          <p:cNvPr id="12" name="SlideNumber"/>
          <p:cNvSpPr/>
          <p:nvPr/>
        </p:nvSpPr>
        <p:spPr>
          <a:xfrm>
            <a:off x="8216375" y="6668489"/>
            <a:ext cx="300772" cy="86818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 defTabSz="891127"/>
            <a:fld id="{BB69BBE8-4DB2-4642-B003-B220ACD5A2FD}" type="slidenum">
              <a:rPr lang="en-US" sz="900" b="1" smtClean="0">
                <a:solidFill>
                  <a:srgbClr val="080808"/>
                </a:solidFill>
                <a:latin typeface="Verdana" pitchFamily="34" charset="0"/>
              </a:rPr>
              <a:pPr algn="ctr" defTabSz="891127"/>
              <a:t>‹#›</a:t>
            </a:fld>
            <a:endParaRPr lang="fr-FR" sz="900" b="1" dirty="0">
              <a:solidFill>
                <a:srgbClr val="080808"/>
              </a:solidFill>
            </a:endParaRPr>
          </a:p>
        </p:txBody>
      </p:sp>
      <p:cxnSp>
        <p:nvCxnSpPr>
          <p:cNvPr id="13" name="Straight Connector 12"/>
          <p:cNvCxnSpPr/>
          <p:nvPr/>
        </p:nvCxnSpPr>
        <p:spPr>
          <a:xfrm>
            <a:off x="0" y="6555697"/>
            <a:ext cx="9144000" cy="0"/>
          </a:xfrm>
          <a:prstGeom prst="line">
            <a:avLst/>
          </a:prstGeom>
          <a:ln w="12700">
            <a:solidFill>
              <a:srgbClr val="999999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14" name="Group 13"/>
          <p:cNvGrpSpPr/>
          <p:nvPr/>
        </p:nvGrpSpPr>
        <p:grpSpPr>
          <a:xfrm>
            <a:off x="8574091" y="6591936"/>
            <a:ext cx="385992" cy="239924"/>
            <a:chOff x="7277614" y="2396353"/>
            <a:chExt cx="1054802" cy="609493"/>
          </a:xfrm>
        </p:grpSpPr>
        <p:sp>
          <p:nvSpPr>
            <p:cNvPr id="15" name="Freeform 7"/>
            <p:cNvSpPr>
              <a:spLocks/>
            </p:cNvSpPr>
            <p:nvPr/>
          </p:nvSpPr>
          <p:spPr bwMode="auto">
            <a:xfrm>
              <a:off x="7277614" y="2396353"/>
              <a:ext cx="527401" cy="154241"/>
            </a:xfrm>
            <a:custGeom>
              <a:avLst/>
              <a:gdLst>
                <a:gd name="T0" fmla="*/ 0 w 691"/>
                <a:gd name="T1" fmla="*/ 200 h 200"/>
                <a:gd name="T2" fmla="*/ 691 w 691"/>
                <a:gd name="T3" fmla="*/ 200 h 200"/>
                <a:gd name="T4" fmla="*/ 346 w 691"/>
                <a:gd name="T5" fmla="*/ 0 h 200"/>
                <a:gd name="T6" fmla="*/ 0 w 691"/>
                <a:gd name="T7" fmla="*/ 200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91" h="200">
                  <a:moveTo>
                    <a:pt x="0" y="200"/>
                  </a:moveTo>
                  <a:lnTo>
                    <a:pt x="691" y="200"/>
                  </a:lnTo>
                  <a:lnTo>
                    <a:pt x="346" y="0"/>
                  </a:lnTo>
                  <a:lnTo>
                    <a:pt x="0" y="200"/>
                  </a:lnTo>
                  <a:close/>
                </a:path>
              </a:pathLst>
            </a:custGeom>
            <a:solidFill>
              <a:srgbClr val="FF0505"/>
            </a:solidFill>
            <a:ln w="1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891127"/>
              <a:endParaRPr lang="en-US" sz="1700" dirty="0">
                <a:solidFill>
                  <a:srgbClr val="003149"/>
                </a:solidFill>
              </a:endParaRPr>
            </a:p>
          </p:txBody>
        </p:sp>
        <p:sp>
          <p:nvSpPr>
            <p:cNvPr id="16" name="Freeform 8"/>
            <p:cNvSpPr>
              <a:spLocks/>
            </p:cNvSpPr>
            <p:nvPr/>
          </p:nvSpPr>
          <p:spPr bwMode="auto">
            <a:xfrm>
              <a:off x="7277614" y="2550591"/>
              <a:ext cx="263702" cy="452770"/>
            </a:xfrm>
            <a:custGeom>
              <a:avLst/>
              <a:gdLst>
                <a:gd name="T0" fmla="*/ 0 w 346"/>
                <a:gd name="T1" fmla="*/ 0 h 598"/>
                <a:gd name="T2" fmla="*/ 0 w 346"/>
                <a:gd name="T3" fmla="*/ 399 h 598"/>
                <a:gd name="T4" fmla="*/ 346 w 346"/>
                <a:gd name="T5" fmla="*/ 598 h 598"/>
                <a:gd name="T6" fmla="*/ 0 w 346"/>
                <a:gd name="T7" fmla="*/ 0 h 5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46" h="598">
                  <a:moveTo>
                    <a:pt x="0" y="0"/>
                  </a:moveTo>
                  <a:lnTo>
                    <a:pt x="0" y="399"/>
                  </a:lnTo>
                  <a:lnTo>
                    <a:pt x="346" y="59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505"/>
            </a:solidFill>
            <a:ln w="2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891127"/>
              <a:endParaRPr lang="en-US" sz="1700" dirty="0">
                <a:solidFill>
                  <a:srgbClr val="003149"/>
                </a:solidFill>
              </a:endParaRPr>
            </a:p>
          </p:txBody>
        </p:sp>
        <p:sp>
          <p:nvSpPr>
            <p:cNvPr id="17" name="Freeform 9"/>
            <p:cNvSpPr>
              <a:spLocks/>
            </p:cNvSpPr>
            <p:nvPr/>
          </p:nvSpPr>
          <p:spPr bwMode="auto">
            <a:xfrm>
              <a:off x="7541313" y="2550591"/>
              <a:ext cx="263702" cy="452770"/>
            </a:xfrm>
            <a:custGeom>
              <a:avLst/>
              <a:gdLst>
                <a:gd name="T0" fmla="*/ 0 w 345"/>
                <a:gd name="T1" fmla="*/ 598 h 598"/>
                <a:gd name="T2" fmla="*/ 345 w 345"/>
                <a:gd name="T3" fmla="*/ 0 h 598"/>
                <a:gd name="T4" fmla="*/ 345 w 345"/>
                <a:gd name="T5" fmla="*/ 399 h 598"/>
                <a:gd name="T6" fmla="*/ 0 w 345"/>
                <a:gd name="T7" fmla="*/ 598 h 5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45" h="598">
                  <a:moveTo>
                    <a:pt x="0" y="598"/>
                  </a:moveTo>
                  <a:lnTo>
                    <a:pt x="345" y="0"/>
                  </a:lnTo>
                  <a:lnTo>
                    <a:pt x="345" y="399"/>
                  </a:lnTo>
                  <a:lnTo>
                    <a:pt x="0" y="598"/>
                  </a:lnTo>
                  <a:close/>
                </a:path>
              </a:pathLst>
            </a:custGeom>
            <a:solidFill>
              <a:srgbClr val="FF0505"/>
            </a:solidFill>
            <a:ln w="1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891127"/>
              <a:endParaRPr lang="en-US" sz="1700" dirty="0">
                <a:solidFill>
                  <a:srgbClr val="003149"/>
                </a:solidFill>
              </a:endParaRPr>
            </a:p>
          </p:txBody>
        </p:sp>
        <p:sp>
          <p:nvSpPr>
            <p:cNvPr id="18" name="Freeform 7"/>
            <p:cNvSpPr>
              <a:spLocks/>
            </p:cNvSpPr>
            <p:nvPr/>
          </p:nvSpPr>
          <p:spPr bwMode="auto">
            <a:xfrm rot="10800000">
              <a:off x="7805015" y="2851605"/>
              <a:ext cx="527401" cy="154241"/>
            </a:xfrm>
            <a:custGeom>
              <a:avLst/>
              <a:gdLst>
                <a:gd name="T0" fmla="*/ 0 w 691"/>
                <a:gd name="T1" fmla="*/ 200 h 200"/>
                <a:gd name="T2" fmla="*/ 691 w 691"/>
                <a:gd name="T3" fmla="*/ 200 h 200"/>
                <a:gd name="T4" fmla="*/ 346 w 691"/>
                <a:gd name="T5" fmla="*/ 0 h 200"/>
                <a:gd name="T6" fmla="*/ 0 w 691"/>
                <a:gd name="T7" fmla="*/ 200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91" h="200">
                  <a:moveTo>
                    <a:pt x="0" y="200"/>
                  </a:moveTo>
                  <a:lnTo>
                    <a:pt x="691" y="200"/>
                  </a:lnTo>
                  <a:lnTo>
                    <a:pt x="346" y="0"/>
                  </a:lnTo>
                  <a:lnTo>
                    <a:pt x="0" y="200"/>
                  </a:lnTo>
                  <a:close/>
                </a:path>
              </a:pathLst>
            </a:custGeom>
            <a:solidFill>
              <a:srgbClr val="058CEC"/>
            </a:solidFill>
            <a:ln w="1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891127"/>
              <a:endParaRPr lang="en-US" sz="1700" dirty="0">
                <a:solidFill>
                  <a:srgbClr val="003149"/>
                </a:solidFill>
              </a:endParaRPr>
            </a:p>
          </p:txBody>
        </p:sp>
        <p:sp>
          <p:nvSpPr>
            <p:cNvPr id="19" name="Freeform 8"/>
            <p:cNvSpPr>
              <a:spLocks/>
            </p:cNvSpPr>
            <p:nvPr/>
          </p:nvSpPr>
          <p:spPr bwMode="auto">
            <a:xfrm rot="10800000">
              <a:off x="8068714" y="2398838"/>
              <a:ext cx="263702" cy="452770"/>
            </a:xfrm>
            <a:custGeom>
              <a:avLst/>
              <a:gdLst>
                <a:gd name="T0" fmla="*/ 0 w 346"/>
                <a:gd name="T1" fmla="*/ 0 h 598"/>
                <a:gd name="T2" fmla="*/ 0 w 346"/>
                <a:gd name="T3" fmla="*/ 399 h 598"/>
                <a:gd name="T4" fmla="*/ 346 w 346"/>
                <a:gd name="T5" fmla="*/ 598 h 598"/>
                <a:gd name="T6" fmla="*/ 0 w 346"/>
                <a:gd name="T7" fmla="*/ 0 h 5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46" h="598">
                  <a:moveTo>
                    <a:pt x="0" y="0"/>
                  </a:moveTo>
                  <a:lnTo>
                    <a:pt x="0" y="399"/>
                  </a:lnTo>
                  <a:lnTo>
                    <a:pt x="346" y="59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58CEC"/>
            </a:solidFill>
            <a:ln w="2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891127"/>
              <a:endParaRPr lang="en-US" sz="1700" dirty="0">
                <a:solidFill>
                  <a:srgbClr val="003149"/>
                </a:solidFill>
              </a:endParaRPr>
            </a:p>
          </p:txBody>
        </p:sp>
        <p:sp>
          <p:nvSpPr>
            <p:cNvPr id="20" name="Freeform 9"/>
            <p:cNvSpPr>
              <a:spLocks/>
            </p:cNvSpPr>
            <p:nvPr/>
          </p:nvSpPr>
          <p:spPr bwMode="auto">
            <a:xfrm rot="10800000">
              <a:off x="7805015" y="2398838"/>
              <a:ext cx="263702" cy="452770"/>
            </a:xfrm>
            <a:custGeom>
              <a:avLst/>
              <a:gdLst>
                <a:gd name="T0" fmla="*/ 0 w 345"/>
                <a:gd name="T1" fmla="*/ 598 h 598"/>
                <a:gd name="T2" fmla="*/ 345 w 345"/>
                <a:gd name="T3" fmla="*/ 0 h 598"/>
                <a:gd name="T4" fmla="*/ 345 w 345"/>
                <a:gd name="T5" fmla="*/ 399 h 598"/>
                <a:gd name="T6" fmla="*/ 0 w 345"/>
                <a:gd name="T7" fmla="*/ 598 h 5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45" h="598">
                  <a:moveTo>
                    <a:pt x="0" y="598"/>
                  </a:moveTo>
                  <a:lnTo>
                    <a:pt x="345" y="0"/>
                  </a:lnTo>
                  <a:lnTo>
                    <a:pt x="345" y="399"/>
                  </a:lnTo>
                  <a:lnTo>
                    <a:pt x="0" y="598"/>
                  </a:lnTo>
                  <a:close/>
                </a:path>
              </a:pathLst>
            </a:custGeom>
            <a:solidFill>
              <a:srgbClr val="058CEC"/>
            </a:solidFill>
            <a:ln w="1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891127"/>
              <a:endParaRPr lang="en-US" sz="1700" dirty="0">
                <a:solidFill>
                  <a:srgbClr val="003149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750788994"/>
      </p:ext>
    </p:extLst>
  </p:cSld>
  <p:clrMapOvr>
    <a:masterClrMapping/>
  </p:clrMapOvr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our Char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7"/>
          <p:cNvSpPr>
            <a:spLocks noGrp="1"/>
          </p:cNvSpPr>
          <p:nvPr>
            <p:ph type="pic" sz="quarter" idx="12" hasCustomPrompt="1"/>
          </p:nvPr>
        </p:nvSpPr>
        <p:spPr>
          <a:xfrm>
            <a:off x="353588" y="1292912"/>
            <a:ext cx="4004323" cy="2535079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>
            <a:normAutofit/>
          </a:bodyPr>
          <a:lstStyle>
            <a:lvl1pPr marL="246509" indent="-246509" algn="l" defTabSz="890891" rtl="0" eaLnBrk="1" fontAlgn="base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sz="2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/>
              <a:t>Wizard Chart</a:t>
            </a:r>
          </a:p>
        </p:txBody>
      </p:sp>
      <p:sp>
        <p:nvSpPr>
          <p:cNvPr id="5" name="Picture Placeholder 7"/>
          <p:cNvSpPr>
            <a:spLocks noGrp="1"/>
          </p:cNvSpPr>
          <p:nvPr>
            <p:ph type="pic" sz="quarter" idx="13" hasCustomPrompt="1"/>
          </p:nvPr>
        </p:nvSpPr>
        <p:spPr>
          <a:xfrm>
            <a:off x="4789076" y="1292912"/>
            <a:ext cx="4003071" cy="2535079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>
            <a:normAutofit/>
          </a:bodyPr>
          <a:lstStyle>
            <a:lvl1pPr marL="246509" indent="-246509" algn="l" defTabSz="890891" rtl="0" eaLnBrk="1" fontAlgn="base" latinLnBrk="0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altLang="zh-CN" sz="2200" kern="1200" noProof="1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/>
              <a:t>Wizard Chart</a:t>
            </a:r>
          </a:p>
        </p:txBody>
      </p:sp>
      <p:sp>
        <p:nvSpPr>
          <p:cNvPr id="6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355111" y="1093904"/>
            <a:ext cx="4003071" cy="419016"/>
          </a:xfrm>
          <a:blipFill dpi="0" rotWithShape="1">
            <a:blip r:embed="rId3" cstate="print"/>
            <a:srcRect/>
            <a:tile tx="0" ty="0" sx="100000" sy="100000" flip="none" algn="b"/>
          </a:blipFill>
        </p:spPr>
        <p:txBody>
          <a:bodyPr lIns="0" tIns="0" rIns="0" bIns="83032" anchor="b" anchorCtr="0">
            <a:normAutofit/>
          </a:bodyPr>
          <a:lstStyle>
            <a:lvl1pPr marL="0" indent="0" algn="ctr">
              <a:buNone/>
              <a:defRPr sz="1500" b="1" cap="all" baseline="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5"/>
          </p:nvPr>
        </p:nvSpPr>
        <p:spPr>
          <a:xfrm>
            <a:off x="4785930" y="1093904"/>
            <a:ext cx="4004406" cy="419016"/>
          </a:xfrm>
          <a:blipFill dpi="0" rotWithShape="1">
            <a:blip r:embed="rId3" cstate="print"/>
            <a:srcRect/>
            <a:tile tx="0" ty="0" sx="100000" sy="100000" flip="none" algn="b"/>
          </a:blipFill>
        </p:spPr>
        <p:txBody>
          <a:bodyPr lIns="0" tIns="0" rIns="0" bIns="83032" anchor="b" anchorCtr="0">
            <a:normAutofit/>
          </a:bodyPr>
          <a:lstStyle>
            <a:lvl1pPr marL="0" indent="0" algn="ctr">
              <a:buNone/>
              <a:defRPr sz="1500" b="1" cap="all" baseline="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6" hasCustomPrompt="1"/>
          </p:nvPr>
        </p:nvSpPr>
        <p:spPr>
          <a:xfrm>
            <a:off x="355115" y="3993909"/>
            <a:ext cx="4004323" cy="2535079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>
            <a:normAutofit/>
          </a:bodyPr>
          <a:lstStyle>
            <a:lvl1pPr marL="246509" indent="-246509" algn="l" defTabSz="890891" rtl="0" eaLnBrk="1" fontAlgn="base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sz="2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/>
              <a:t>Wizard Chart</a:t>
            </a:r>
          </a:p>
        </p:txBody>
      </p:sp>
      <p:sp>
        <p:nvSpPr>
          <p:cNvPr id="9" name="Picture Placeholder 7"/>
          <p:cNvSpPr>
            <a:spLocks noGrp="1"/>
          </p:cNvSpPr>
          <p:nvPr>
            <p:ph type="pic" sz="quarter" idx="17" hasCustomPrompt="1"/>
          </p:nvPr>
        </p:nvSpPr>
        <p:spPr>
          <a:xfrm>
            <a:off x="4785933" y="3993909"/>
            <a:ext cx="4003071" cy="2535079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>
            <a:normAutofit/>
          </a:bodyPr>
          <a:lstStyle>
            <a:lvl1pPr marL="246509" indent="-246509" algn="l" defTabSz="890891" rtl="0" eaLnBrk="1" fontAlgn="base" latinLnBrk="0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altLang="zh-CN" sz="2200" kern="1200" noProof="1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/>
              <a:t>Wizard Chart</a:t>
            </a:r>
          </a:p>
        </p:txBody>
      </p:sp>
      <p:sp>
        <p:nvSpPr>
          <p:cNvPr id="10" name="Text Placeholder 6"/>
          <p:cNvSpPr>
            <a:spLocks noGrp="1"/>
          </p:cNvSpPr>
          <p:nvPr>
            <p:ph type="body" sz="quarter" idx="18"/>
          </p:nvPr>
        </p:nvSpPr>
        <p:spPr>
          <a:xfrm>
            <a:off x="355111" y="3793939"/>
            <a:ext cx="4003071" cy="419016"/>
          </a:xfrm>
          <a:blipFill dpi="0" rotWithShape="1">
            <a:blip r:embed="rId3" cstate="print"/>
            <a:srcRect/>
            <a:tile tx="0" ty="0" sx="100000" sy="100000" flip="none" algn="b"/>
          </a:blipFill>
        </p:spPr>
        <p:txBody>
          <a:bodyPr lIns="0" tIns="0" rIns="0" bIns="83032" anchor="b" anchorCtr="0">
            <a:normAutofit/>
          </a:bodyPr>
          <a:lstStyle>
            <a:lvl1pPr marL="0" indent="0" algn="ctr">
              <a:buNone/>
              <a:defRPr sz="1500" b="1" cap="all" baseline="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19"/>
          </p:nvPr>
        </p:nvSpPr>
        <p:spPr>
          <a:xfrm>
            <a:off x="4785930" y="3793939"/>
            <a:ext cx="4004406" cy="419016"/>
          </a:xfrm>
          <a:blipFill dpi="0" rotWithShape="1">
            <a:blip r:embed="rId3" cstate="print"/>
            <a:srcRect/>
            <a:tile tx="0" ty="0" sx="100000" sy="100000" flip="none" algn="b"/>
          </a:blipFill>
        </p:spPr>
        <p:txBody>
          <a:bodyPr lIns="0" tIns="0" rIns="0" bIns="83032" anchor="b" anchorCtr="0">
            <a:normAutofit/>
          </a:bodyPr>
          <a:lstStyle>
            <a:lvl1pPr marL="0" indent="0" algn="ctr">
              <a:buNone/>
              <a:defRPr sz="1500" b="1" cap="all" baseline="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168404" y="53600"/>
            <a:ext cx="7835048" cy="834431"/>
          </a:xfrm>
        </p:spPr>
        <p:txBody>
          <a:bodyPr/>
          <a:lstStyle>
            <a:lvl1pPr>
              <a:defRPr sz="2500"/>
            </a:lvl1pPr>
          </a:lstStyle>
          <a:p>
            <a:r>
              <a:rPr lang="en-US" dirty="0"/>
              <a:t>Click to edit Master title style</a:t>
            </a:r>
            <a:endParaRPr lang="fr-FR" dirty="0"/>
          </a:p>
        </p:txBody>
      </p:sp>
      <p:sp>
        <p:nvSpPr>
          <p:cNvPr id="13" name="Rectangle 12"/>
          <p:cNvSpPr/>
          <p:nvPr/>
        </p:nvSpPr>
        <p:spPr>
          <a:xfrm>
            <a:off x="0" y="905107"/>
            <a:ext cx="9144000" cy="34180"/>
          </a:xfrm>
          <a:prstGeom prst="rect">
            <a:avLst/>
          </a:prstGeom>
          <a:solidFill>
            <a:schemeClr val="accent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891127"/>
            <a:endParaRPr lang="en-US" dirty="0">
              <a:solidFill>
                <a:srgbClr val="003149"/>
              </a:solidFill>
            </a:endParaRPr>
          </a:p>
        </p:txBody>
      </p:sp>
      <p:sp>
        <p:nvSpPr>
          <p:cNvPr id="14" name="SlideNumber"/>
          <p:cNvSpPr/>
          <p:nvPr/>
        </p:nvSpPr>
        <p:spPr>
          <a:xfrm>
            <a:off x="8216375" y="6668489"/>
            <a:ext cx="300772" cy="86818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 defTabSz="891127"/>
            <a:fld id="{BB69BBE8-4DB2-4642-B003-B220ACD5A2FD}" type="slidenum">
              <a:rPr lang="en-US" sz="900" b="1" smtClean="0">
                <a:solidFill>
                  <a:srgbClr val="080808"/>
                </a:solidFill>
                <a:latin typeface="Verdana" pitchFamily="34" charset="0"/>
              </a:rPr>
              <a:pPr algn="ctr" defTabSz="891127"/>
              <a:t>‹#›</a:t>
            </a:fld>
            <a:endParaRPr lang="fr-FR" sz="900" b="1" dirty="0">
              <a:solidFill>
                <a:srgbClr val="080808"/>
              </a:solidFill>
            </a:endParaRPr>
          </a:p>
        </p:txBody>
      </p:sp>
      <p:cxnSp>
        <p:nvCxnSpPr>
          <p:cNvPr id="15" name="Straight Connector 14"/>
          <p:cNvCxnSpPr/>
          <p:nvPr/>
        </p:nvCxnSpPr>
        <p:spPr>
          <a:xfrm>
            <a:off x="0" y="6555697"/>
            <a:ext cx="9144000" cy="0"/>
          </a:xfrm>
          <a:prstGeom prst="line">
            <a:avLst/>
          </a:prstGeom>
          <a:ln w="12700">
            <a:solidFill>
              <a:srgbClr val="999999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16" name="Group 15"/>
          <p:cNvGrpSpPr/>
          <p:nvPr/>
        </p:nvGrpSpPr>
        <p:grpSpPr>
          <a:xfrm>
            <a:off x="8574091" y="6591936"/>
            <a:ext cx="385992" cy="239924"/>
            <a:chOff x="7277614" y="2396353"/>
            <a:chExt cx="1054802" cy="609493"/>
          </a:xfrm>
        </p:grpSpPr>
        <p:sp>
          <p:nvSpPr>
            <p:cNvPr id="17" name="Freeform 7"/>
            <p:cNvSpPr>
              <a:spLocks/>
            </p:cNvSpPr>
            <p:nvPr/>
          </p:nvSpPr>
          <p:spPr bwMode="auto">
            <a:xfrm>
              <a:off x="7277614" y="2396353"/>
              <a:ext cx="527401" cy="154241"/>
            </a:xfrm>
            <a:custGeom>
              <a:avLst/>
              <a:gdLst>
                <a:gd name="T0" fmla="*/ 0 w 691"/>
                <a:gd name="T1" fmla="*/ 200 h 200"/>
                <a:gd name="T2" fmla="*/ 691 w 691"/>
                <a:gd name="T3" fmla="*/ 200 h 200"/>
                <a:gd name="T4" fmla="*/ 346 w 691"/>
                <a:gd name="T5" fmla="*/ 0 h 200"/>
                <a:gd name="T6" fmla="*/ 0 w 691"/>
                <a:gd name="T7" fmla="*/ 200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91" h="200">
                  <a:moveTo>
                    <a:pt x="0" y="200"/>
                  </a:moveTo>
                  <a:lnTo>
                    <a:pt x="691" y="200"/>
                  </a:lnTo>
                  <a:lnTo>
                    <a:pt x="346" y="0"/>
                  </a:lnTo>
                  <a:lnTo>
                    <a:pt x="0" y="200"/>
                  </a:lnTo>
                  <a:close/>
                </a:path>
              </a:pathLst>
            </a:custGeom>
            <a:solidFill>
              <a:srgbClr val="FF0505"/>
            </a:solidFill>
            <a:ln w="1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891127"/>
              <a:endParaRPr lang="en-US" sz="1700" dirty="0">
                <a:solidFill>
                  <a:srgbClr val="003149"/>
                </a:solidFill>
              </a:endParaRPr>
            </a:p>
          </p:txBody>
        </p:sp>
        <p:sp>
          <p:nvSpPr>
            <p:cNvPr id="18" name="Freeform 8"/>
            <p:cNvSpPr>
              <a:spLocks/>
            </p:cNvSpPr>
            <p:nvPr/>
          </p:nvSpPr>
          <p:spPr bwMode="auto">
            <a:xfrm>
              <a:off x="7277614" y="2550591"/>
              <a:ext cx="263702" cy="452770"/>
            </a:xfrm>
            <a:custGeom>
              <a:avLst/>
              <a:gdLst>
                <a:gd name="T0" fmla="*/ 0 w 346"/>
                <a:gd name="T1" fmla="*/ 0 h 598"/>
                <a:gd name="T2" fmla="*/ 0 w 346"/>
                <a:gd name="T3" fmla="*/ 399 h 598"/>
                <a:gd name="T4" fmla="*/ 346 w 346"/>
                <a:gd name="T5" fmla="*/ 598 h 598"/>
                <a:gd name="T6" fmla="*/ 0 w 346"/>
                <a:gd name="T7" fmla="*/ 0 h 5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46" h="598">
                  <a:moveTo>
                    <a:pt x="0" y="0"/>
                  </a:moveTo>
                  <a:lnTo>
                    <a:pt x="0" y="399"/>
                  </a:lnTo>
                  <a:lnTo>
                    <a:pt x="346" y="59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505"/>
            </a:solidFill>
            <a:ln w="2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891127"/>
              <a:endParaRPr lang="en-US" sz="1700" dirty="0">
                <a:solidFill>
                  <a:srgbClr val="003149"/>
                </a:solidFill>
              </a:endParaRPr>
            </a:p>
          </p:txBody>
        </p:sp>
        <p:sp>
          <p:nvSpPr>
            <p:cNvPr id="19" name="Freeform 9"/>
            <p:cNvSpPr>
              <a:spLocks/>
            </p:cNvSpPr>
            <p:nvPr/>
          </p:nvSpPr>
          <p:spPr bwMode="auto">
            <a:xfrm>
              <a:off x="7541313" y="2550591"/>
              <a:ext cx="263702" cy="452770"/>
            </a:xfrm>
            <a:custGeom>
              <a:avLst/>
              <a:gdLst>
                <a:gd name="T0" fmla="*/ 0 w 345"/>
                <a:gd name="T1" fmla="*/ 598 h 598"/>
                <a:gd name="T2" fmla="*/ 345 w 345"/>
                <a:gd name="T3" fmla="*/ 0 h 598"/>
                <a:gd name="T4" fmla="*/ 345 w 345"/>
                <a:gd name="T5" fmla="*/ 399 h 598"/>
                <a:gd name="T6" fmla="*/ 0 w 345"/>
                <a:gd name="T7" fmla="*/ 598 h 5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45" h="598">
                  <a:moveTo>
                    <a:pt x="0" y="598"/>
                  </a:moveTo>
                  <a:lnTo>
                    <a:pt x="345" y="0"/>
                  </a:lnTo>
                  <a:lnTo>
                    <a:pt x="345" y="399"/>
                  </a:lnTo>
                  <a:lnTo>
                    <a:pt x="0" y="598"/>
                  </a:lnTo>
                  <a:close/>
                </a:path>
              </a:pathLst>
            </a:custGeom>
            <a:solidFill>
              <a:srgbClr val="FF0505"/>
            </a:solidFill>
            <a:ln w="1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891127"/>
              <a:endParaRPr lang="en-US" sz="1700" dirty="0">
                <a:solidFill>
                  <a:srgbClr val="003149"/>
                </a:solidFill>
              </a:endParaRPr>
            </a:p>
          </p:txBody>
        </p:sp>
        <p:sp>
          <p:nvSpPr>
            <p:cNvPr id="20" name="Freeform 7"/>
            <p:cNvSpPr>
              <a:spLocks/>
            </p:cNvSpPr>
            <p:nvPr/>
          </p:nvSpPr>
          <p:spPr bwMode="auto">
            <a:xfrm rot="10800000">
              <a:off x="7805015" y="2851605"/>
              <a:ext cx="527401" cy="154241"/>
            </a:xfrm>
            <a:custGeom>
              <a:avLst/>
              <a:gdLst>
                <a:gd name="T0" fmla="*/ 0 w 691"/>
                <a:gd name="T1" fmla="*/ 200 h 200"/>
                <a:gd name="T2" fmla="*/ 691 w 691"/>
                <a:gd name="T3" fmla="*/ 200 h 200"/>
                <a:gd name="T4" fmla="*/ 346 w 691"/>
                <a:gd name="T5" fmla="*/ 0 h 200"/>
                <a:gd name="T6" fmla="*/ 0 w 691"/>
                <a:gd name="T7" fmla="*/ 200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91" h="200">
                  <a:moveTo>
                    <a:pt x="0" y="200"/>
                  </a:moveTo>
                  <a:lnTo>
                    <a:pt x="691" y="200"/>
                  </a:lnTo>
                  <a:lnTo>
                    <a:pt x="346" y="0"/>
                  </a:lnTo>
                  <a:lnTo>
                    <a:pt x="0" y="200"/>
                  </a:lnTo>
                  <a:close/>
                </a:path>
              </a:pathLst>
            </a:custGeom>
            <a:solidFill>
              <a:srgbClr val="058CEC"/>
            </a:solidFill>
            <a:ln w="1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891127"/>
              <a:endParaRPr lang="en-US" sz="1700" dirty="0">
                <a:solidFill>
                  <a:srgbClr val="003149"/>
                </a:solidFill>
              </a:endParaRPr>
            </a:p>
          </p:txBody>
        </p:sp>
        <p:sp>
          <p:nvSpPr>
            <p:cNvPr id="21" name="Freeform 8"/>
            <p:cNvSpPr>
              <a:spLocks/>
            </p:cNvSpPr>
            <p:nvPr/>
          </p:nvSpPr>
          <p:spPr bwMode="auto">
            <a:xfrm rot="10800000">
              <a:off x="8068714" y="2398838"/>
              <a:ext cx="263702" cy="452770"/>
            </a:xfrm>
            <a:custGeom>
              <a:avLst/>
              <a:gdLst>
                <a:gd name="T0" fmla="*/ 0 w 346"/>
                <a:gd name="T1" fmla="*/ 0 h 598"/>
                <a:gd name="T2" fmla="*/ 0 w 346"/>
                <a:gd name="T3" fmla="*/ 399 h 598"/>
                <a:gd name="T4" fmla="*/ 346 w 346"/>
                <a:gd name="T5" fmla="*/ 598 h 598"/>
                <a:gd name="T6" fmla="*/ 0 w 346"/>
                <a:gd name="T7" fmla="*/ 0 h 5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46" h="598">
                  <a:moveTo>
                    <a:pt x="0" y="0"/>
                  </a:moveTo>
                  <a:lnTo>
                    <a:pt x="0" y="399"/>
                  </a:lnTo>
                  <a:lnTo>
                    <a:pt x="346" y="59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58CEC"/>
            </a:solidFill>
            <a:ln w="2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891127"/>
              <a:endParaRPr lang="en-US" sz="1700" dirty="0">
                <a:solidFill>
                  <a:srgbClr val="003149"/>
                </a:solidFill>
              </a:endParaRPr>
            </a:p>
          </p:txBody>
        </p:sp>
        <p:sp>
          <p:nvSpPr>
            <p:cNvPr id="22" name="Freeform 9"/>
            <p:cNvSpPr>
              <a:spLocks/>
            </p:cNvSpPr>
            <p:nvPr/>
          </p:nvSpPr>
          <p:spPr bwMode="auto">
            <a:xfrm rot="10800000">
              <a:off x="7805015" y="2398838"/>
              <a:ext cx="263702" cy="452770"/>
            </a:xfrm>
            <a:custGeom>
              <a:avLst/>
              <a:gdLst>
                <a:gd name="T0" fmla="*/ 0 w 345"/>
                <a:gd name="T1" fmla="*/ 598 h 598"/>
                <a:gd name="T2" fmla="*/ 345 w 345"/>
                <a:gd name="T3" fmla="*/ 0 h 598"/>
                <a:gd name="T4" fmla="*/ 345 w 345"/>
                <a:gd name="T5" fmla="*/ 399 h 598"/>
                <a:gd name="T6" fmla="*/ 0 w 345"/>
                <a:gd name="T7" fmla="*/ 598 h 5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45" h="598">
                  <a:moveTo>
                    <a:pt x="0" y="598"/>
                  </a:moveTo>
                  <a:lnTo>
                    <a:pt x="345" y="0"/>
                  </a:lnTo>
                  <a:lnTo>
                    <a:pt x="345" y="399"/>
                  </a:lnTo>
                  <a:lnTo>
                    <a:pt x="0" y="598"/>
                  </a:lnTo>
                  <a:close/>
                </a:path>
              </a:pathLst>
            </a:custGeom>
            <a:solidFill>
              <a:srgbClr val="058CEC"/>
            </a:solidFill>
            <a:ln w="1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891127"/>
              <a:endParaRPr lang="en-US" sz="1700" dirty="0">
                <a:solidFill>
                  <a:srgbClr val="003149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507451309"/>
      </p:ext>
    </p:extLst>
  </p:cSld>
  <p:clrMapOvr>
    <a:masterClrMapping/>
  </p:clrMapOvr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13751" y="4223820"/>
            <a:ext cx="8199287" cy="539163"/>
          </a:xfrm>
          <a:prstGeom prst="rect">
            <a:avLst/>
          </a:prstGeom>
        </p:spPr>
        <p:txBody>
          <a:bodyPr lIns="0" rIns="0">
            <a:normAutofit/>
          </a:bodyPr>
          <a:lstStyle>
            <a:lvl1pPr marL="0" indent="0" algn="l">
              <a:buNone/>
              <a:defRPr sz="2500">
                <a:solidFill>
                  <a:srgbClr val="666666"/>
                </a:solidFill>
              </a:defRPr>
            </a:lvl1pPr>
            <a:lvl2pPr marL="4455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9112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3669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7822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278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6733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189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56450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cxnSp>
        <p:nvCxnSpPr>
          <p:cNvPr id="12" name="Straight Connector 11"/>
          <p:cNvCxnSpPr/>
          <p:nvPr/>
        </p:nvCxnSpPr>
        <p:spPr>
          <a:xfrm>
            <a:off x="0" y="6555697"/>
            <a:ext cx="9144000" cy="0"/>
          </a:xfrm>
          <a:prstGeom prst="line">
            <a:avLst/>
          </a:prstGeom>
          <a:ln w="12700">
            <a:solidFill>
              <a:srgbClr val="999999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6379" y="147733"/>
            <a:ext cx="4605067" cy="32129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13751" y="3634110"/>
            <a:ext cx="8199287" cy="589709"/>
          </a:xfrm>
          <a:prstGeom prst="rect">
            <a:avLst/>
          </a:prstGeom>
        </p:spPr>
        <p:txBody>
          <a:bodyPr lIns="0" tIns="41517" rIns="0" bIns="41517" anchor="b" anchorCtr="0">
            <a:normAutofit/>
          </a:bodyPr>
          <a:lstStyle>
            <a:lvl1pPr>
              <a:defRPr sz="2900" b="1">
                <a:solidFill>
                  <a:schemeClr val="accent1">
                    <a:lumMod val="50000"/>
                  </a:schemeClr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313775" y="4952322"/>
            <a:ext cx="4605067" cy="539163"/>
          </a:xfrm>
        </p:spPr>
        <p:txBody>
          <a:bodyPr vert="horz" lIns="0" tIns="41517" rIns="0" bIns="41517" rtlCol="0" anchor="t" anchorCtr="0">
            <a:normAutofit/>
          </a:bodyPr>
          <a:lstStyle>
            <a:lvl1pPr marL="246509" indent="-246509">
              <a:buFont typeface="Arial" pitchFamily="34" charset="0"/>
              <a:buChar char="•"/>
              <a:defRPr lang="en-US" sz="2200" smtClean="0">
                <a:solidFill>
                  <a:srgbClr val="666666"/>
                </a:solidFill>
              </a:defRPr>
            </a:lvl1pPr>
            <a:lvl2pPr>
              <a:defRPr lang="en-US" smtClean="0">
                <a:solidFill>
                  <a:schemeClr val="tx1">
                    <a:tint val="75000"/>
                  </a:schemeClr>
                </a:solidFill>
              </a:defRPr>
            </a:lvl2pPr>
            <a:lvl3pPr>
              <a:defRPr lang="en-US" smtClean="0">
                <a:solidFill>
                  <a:schemeClr val="tx1">
                    <a:tint val="75000"/>
                  </a:schemeClr>
                </a:solidFill>
              </a:defRPr>
            </a:lvl3pPr>
            <a:lvl4pPr>
              <a:defRPr lang="en-US" smtClean="0">
                <a:solidFill>
                  <a:schemeClr val="tx1">
                    <a:tint val="75000"/>
                  </a:schemeClr>
                </a:solidFill>
              </a:defRPr>
            </a:lvl4pPr>
            <a:lvl5pPr>
              <a:defRPr lang="en-US">
                <a:solidFill>
                  <a:schemeClr val="tx1">
                    <a:tint val="75000"/>
                  </a:schemeClr>
                </a:solidFill>
              </a:defRPr>
            </a:lvl5pPr>
          </a:lstStyle>
          <a:p>
            <a:pPr marL="0" lvl="0" indent="0">
              <a:buNone/>
            </a:pPr>
            <a:r>
              <a:rPr lang="en-US"/>
              <a:t>Click to edit Master text styles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65745" y="5352692"/>
            <a:ext cx="2547317" cy="10942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188953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31778" y="123825"/>
            <a:ext cx="6742113" cy="657225"/>
          </a:xfrm>
          <a:prstGeom prst="rect">
            <a:avLst/>
          </a:prstGeom>
        </p:spPr>
        <p:txBody>
          <a:bodyPr lIns="91243" tIns="45622" rIns="91243" bIns="45622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715E4BD-578A-4F4A-9E92-1B4DB10B5101}" type="slidenum">
              <a:rPr lang="en-US">
                <a:solidFill>
                  <a:srgbClr val="A0A1A6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A0A1A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723081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gallery dir="l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829911743"/>
      </p:ext>
    </p:extLst>
  </p:cSld>
  <p:clrMapOvr>
    <a:masterClrMapping/>
  </p:clrMapOvr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07266" name="Rectangle 2"/>
          <p:cNvSpPr>
            <a:spLocks noGrp="1" noChangeArrowheads="1"/>
          </p:cNvSpPr>
          <p:nvPr>
            <p:ph type="subTitle" idx="1"/>
          </p:nvPr>
        </p:nvSpPr>
        <p:spPr>
          <a:xfrm>
            <a:off x="2935489" y="5737238"/>
            <a:ext cx="5522912" cy="270843"/>
          </a:xfrm>
          <a:effectLst>
            <a:outerShdw dist="17961" dir="2700000" algn="ctr" rotWithShape="0">
              <a:srgbClr val="FFFFFF"/>
            </a:outerShdw>
          </a:effectLst>
        </p:spPr>
        <p:txBody>
          <a:bodyPr>
            <a:spAutoFit/>
          </a:bodyPr>
          <a:lstStyle>
            <a:lvl1pPr marL="0" indent="0" algn="r" defTabSz="819005">
              <a:spcBef>
                <a:spcPct val="0"/>
              </a:spcBef>
              <a:buClrTx/>
              <a:buFontTx/>
              <a:buNone/>
              <a:defRPr sz="1600">
                <a:solidFill>
                  <a:schemeClr val="tx2"/>
                </a:solidFill>
              </a:defRPr>
            </a:lvl1pPr>
          </a:lstStyle>
          <a:p>
            <a:r>
              <a:rPr lang="ru-RU" smtClean="0"/>
              <a:t>Образец подзаголовка</a:t>
            </a:r>
            <a:endParaRPr lang="en-US" dirty="0"/>
          </a:p>
        </p:txBody>
      </p:sp>
      <p:sp>
        <p:nvSpPr>
          <p:cNvPr id="907267" name="Rectangle 3"/>
          <p:cNvSpPr>
            <a:spLocks noGrp="1" noChangeArrowheads="1"/>
          </p:cNvSpPr>
          <p:nvPr>
            <p:ph type="ctrTitle" sz="quarter"/>
          </p:nvPr>
        </p:nvSpPr>
        <p:spPr>
          <a:xfrm>
            <a:off x="3032589" y="5183211"/>
            <a:ext cx="5522912" cy="452437"/>
          </a:xfrm>
          <a:prstGeom prst="rect">
            <a:avLst/>
          </a:prstGeom>
          <a:ln/>
          <a:effectLst>
            <a:outerShdw dist="17961" dir="2700000" algn="ctr" rotWithShape="0">
              <a:srgbClr val="FFFFFF"/>
            </a:outerShdw>
          </a:effectLst>
        </p:spPr>
        <p:txBody>
          <a:bodyPr lIns="91243" tIns="45622" rIns="91243" bIns="45622" anchor="b"/>
          <a:lstStyle>
            <a:lvl1pPr algn="r" defTabSz="819005">
              <a:defRPr sz="2400">
                <a:solidFill>
                  <a:schemeClr val="tx2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en-US"/>
          </a:p>
        </p:txBody>
      </p:sp>
      <p:pic>
        <p:nvPicPr>
          <p:cNvPr id="2" name="Рисунок 1"/>
          <p:cNvPicPr>
            <a:picLocks noChangeAspect="1"/>
          </p:cNvPicPr>
          <p:nvPr userDrawn="1"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2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0710" y="505803"/>
            <a:ext cx="5230821" cy="3804234"/>
          </a:xfrm>
          <a:prstGeom prst="rect">
            <a:avLst/>
          </a:prstGeom>
        </p:spPr>
      </p:pic>
      <p:pic>
        <p:nvPicPr>
          <p:cNvPr id="7" name="Picture 2"/>
          <p:cNvPicPr>
            <a:picLocks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68002" y="3096000"/>
            <a:ext cx="3564000" cy="2066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1303446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gallery dir="l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Основн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414000" y="1638000"/>
            <a:ext cx="8316000" cy="4467600"/>
          </a:xfrm>
        </p:spPr>
        <p:txBody>
          <a:bodyPr/>
          <a:lstStyle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de-DE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4"/>
          </p:nvPr>
        </p:nvSpPr>
        <p:spPr>
          <a:xfrm>
            <a:off x="8665706" y="6526188"/>
            <a:ext cx="402094" cy="217518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chemeClr val="bg1"/>
                </a:solidFill>
                <a:latin typeface="+mj-lt"/>
              </a:defRPr>
            </a:lvl1pPr>
          </a:lstStyle>
          <a:p>
            <a:fld id="{8E141AF1-466E-4D9F-B74C-45FFEB47CA13}" type="slidenum">
              <a:rPr lang="de-DE" smtClean="0">
                <a:solidFill>
                  <a:srgbClr val="FFFFFF"/>
                </a:solidFill>
              </a:rPr>
              <a:pPr/>
              <a:t>‹#›</a:t>
            </a:fld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1652954" y="1"/>
            <a:ext cx="7220702" cy="897162"/>
          </a:xfrm>
          <a:prstGeom prst="rect">
            <a:avLst/>
          </a:prstGeom>
          <a:ln/>
          <a:effectLst>
            <a:outerShdw dist="17961" dir="2700000" algn="ctr" rotWithShape="0">
              <a:srgbClr val="FFFFFF"/>
            </a:outerShdw>
          </a:effectLst>
        </p:spPr>
        <p:txBody>
          <a:bodyPr lIns="91243" tIns="45622" rIns="91243" bIns="45622" anchor="ctr"/>
          <a:lstStyle>
            <a:lvl1pPr>
              <a:defRPr kumimoji="1" lang="ru-RU" sz="1700" kern="1200">
                <a:solidFill>
                  <a:srgbClr val="016EB3"/>
                </a:solidFill>
              </a:defRPr>
            </a:lvl1pPr>
          </a:lstStyle>
          <a:p>
            <a:pPr lvl="0" defTabSz="819005"/>
            <a:r>
              <a:rPr lang="ru-RU" smtClean="0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6596087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gallery dir="l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 userDrawn="1"/>
        </p:nvSpPr>
        <p:spPr bwMode="auto">
          <a:xfrm>
            <a:off x="8660610" y="6374606"/>
            <a:ext cx="478632" cy="389746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243" tIns="45622" rIns="91243" bIns="45622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</a:pPr>
            <a:endParaRPr kumimoji="1" lang="ru-RU" sz="1000" smtClean="0">
              <a:solidFill>
                <a:srgbClr val="00294F"/>
              </a:solidFill>
              <a:latin typeface="Tahoma" pitchFamily="34" charset="0"/>
              <a:ea typeface="PMingLiU" pitchFamily="18" charset="-120"/>
            </a:endParaRPr>
          </a:p>
        </p:txBody>
      </p:sp>
    </p:spTree>
    <p:extLst>
      <p:ext uri="{BB962C8B-B14F-4D97-AF65-F5344CB8AC3E}">
        <p14:creationId xmlns:p14="http://schemas.microsoft.com/office/powerpoint/2010/main" val="38566247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gallery dir="l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лайд &quot;Спасибо!&quot;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Line 27"/>
          <p:cNvSpPr>
            <a:spLocks noChangeShapeType="1"/>
          </p:cNvSpPr>
          <p:nvPr userDrawn="1"/>
        </p:nvSpPr>
        <p:spPr bwMode="auto">
          <a:xfrm>
            <a:off x="252000" y="5940000"/>
            <a:ext cx="8640000" cy="0"/>
          </a:xfrm>
          <a:prstGeom prst="line">
            <a:avLst/>
          </a:prstGeom>
          <a:noFill/>
          <a:ln w="28575">
            <a:solidFill>
              <a:srgbClr val="016EB3"/>
            </a:solidFill>
            <a:round/>
            <a:headEnd/>
            <a:tailEnd/>
          </a:ln>
          <a:effectLst/>
        </p:spPr>
        <p:txBody>
          <a:bodyPr wrap="none" lIns="91243" tIns="45622" rIns="91243" bIns="45622"/>
          <a:lstStyle/>
          <a:p>
            <a:pPr fontAlgn="base">
              <a:spcBef>
                <a:spcPct val="50000"/>
              </a:spcBef>
              <a:spcAft>
                <a:spcPct val="0"/>
              </a:spcAft>
              <a:defRPr/>
            </a:pPr>
            <a:endParaRPr kumimoji="1" lang="ru-RU" sz="1000" dirty="0">
              <a:solidFill>
                <a:srgbClr val="002766"/>
              </a:solidFill>
              <a:latin typeface="Tahoma" pitchFamily="34" charset="0"/>
              <a:ea typeface="PMingLiU" pitchFamily="18" charset="-120"/>
            </a:endParaRPr>
          </a:p>
        </p:txBody>
      </p:sp>
      <p:sp>
        <p:nvSpPr>
          <p:cNvPr id="9" name="Прямоугольник 8"/>
          <p:cNvSpPr/>
          <p:nvPr userDrawn="1"/>
        </p:nvSpPr>
        <p:spPr bwMode="auto">
          <a:xfrm>
            <a:off x="252000" y="190523"/>
            <a:ext cx="1623692" cy="606669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243" tIns="45622" rIns="91243" bIns="45622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</a:pPr>
            <a:endParaRPr kumimoji="1" lang="ru-RU" sz="1000" smtClean="0">
              <a:solidFill>
                <a:srgbClr val="00294F"/>
              </a:solidFill>
              <a:latin typeface="Tahoma" pitchFamily="34" charset="0"/>
              <a:ea typeface="PMingLiU" pitchFamily="18" charset="-120"/>
            </a:endParaRPr>
          </a:p>
        </p:txBody>
      </p:sp>
      <p:sp>
        <p:nvSpPr>
          <p:cNvPr id="10" name="Прямоугольник 9"/>
          <p:cNvSpPr/>
          <p:nvPr userDrawn="1"/>
        </p:nvSpPr>
        <p:spPr bwMode="auto">
          <a:xfrm>
            <a:off x="8429206" y="6327669"/>
            <a:ext cx="708444" cy="504825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243" tIns="45622" rIns="91243" bIns="45622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</a:pPr>
            <a:endParaRPr kumimoji="1" lang="ru-RU" sz="1000" smtClean="0">
              <a:solidFill>
                <a:srgbClr val="00294F"/>
              </a:solidFill>
              <a:latin typeface="Tahoma" pitchFamily="34" charset="0"/>
              <a:ea typeface="PMingLiU" pitchFamily="18" charset="-120"/>
            </a:endParaRPr>
          </a:p>
        </p:txBody>
      </p:sp>
      <p:sp>
        <p:nvSpPr>
          <p:cNvPr id="18" name="Текст 3"/>
          <p:cNvSpPr>
            <a:spLocks noGrp="1"/>
          </p:cNvSpPr>
          <p:nvPr>
            <p:ph type="body" sz="half" idx="10" hasCustomPrompt="1"/>
          </p:nvPr>
        </p:nvSpPr>
        <p:spPr>
          <a:xfrm>
            <a:off x="7200000" y="6210000"/>
            <a:ext cx="1656000" cy="396000"/>
          </a:xfrm>
        </p:spPr>
        <p:txBody>
          <a:bodyPr anchor="ctr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100">
                <a:solidFill>
                  <a:schemeClr val="tx2"/>
                </a:solidFill>
              </a:defRPr>
            </a:lvl1pPr>
            <a:lvl2pPr marL="456234" indent="0">
              <a:buNone/>
              <a:defRPr sz="1200"/>
            </a:lvl2pPr>
            <a:lvl3pPr marL="912468" indent="0">
              <a:buNone/>
              <a:defRPr sz="1000"/>
            </a:lvl3pPr>
            <a:lvl4pPr marL="1368700" indent="0">
              <a:buNone/>
              <a:defRPr sz="900"/>
            </a:lvl4pPr>
            <a:lvl5pPr marL="1824935" indent="0">
              <a:buNone/>
              <a:defRPr sz="900"/>
            </a:lvl5pPr>
            <a:lvl6pPr marL="2281167" indent="0">
              <a:buNone/>
              <a:defRPr sz="900"/>
            </a:lvl6pPr>
            <a:lvl7pPr marL="2737394" indent="0">
              <a:buNone/>
              <a:defRPr sz="900"/>
            </a:lvl7pPr>
            <a:lvl8pPr marL="3193635" indent="0">
              <a:buNone/>
              <a:defRPr sz="900"/>
            </a:lvl8pPr>
            <a:lvl9pPr marL="3649869" indent="0">
              <a:buNone/>
              <a:defRPr sz="900"/>
            </a:lvl9pPr>
          </a:lstStyle>
          <a:p>
            <a:pPr lvl="0"/>
            <a:r>
              <a:rPr lang="ru-RU" dirty="0" smtClean="0"/>
              <a:t>Телефон и </a:t>
            </a:r>
            <a:r>
              <a:rPr lang="en-US" dirty="0" smtClean="0"/>
              <a:t>e-mail</a:t>
            </a:r>
          </a:p>
        </p:txBody>
      </p:sp>
      <p:sp>
        <p:nvSpPr>
          <p:cNvPr id="21" name="Текст 3"/>
          <p:cNvSpPr>
            <a:spLocks noGrp="1"/>
          </p:cNvSpPr>
          <p:nvPr>
            <p:ph type="body" sz="half" idx="12" hasCustomPrompt="1"/>
          </p:nvPr>
        </p:nvSpPr>
        <p:spPr>
          <a:xfrm>
            <a:off x="2088000" y="3096000"/>
            <a:ext cx="4932000" cy="648000"/>
          </a:xfrm>
        </p:spPr>
        <p:txBody>
          <a:bodyPr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buNone/>
              <a:defRPr sz="3600">
                <a:solidFill>
                  <a:srgbClr val="016EB3"/>
                </a:solidFill>
              </a:defRPr>
            </a:lvl1pPr>
            <a:lvl2pPr marL="456234" indent="0">
              <a:buNone/>
              <a:defRPr sz="1200"/>
            </a:lvl2pPr>
            <a:lvl3pPr marL="912468" indent="0">
              <a:buNone/>
              <a:defRPr sz="1000"/>
            </a:lvl3pPr>
            <a:lvl4pPr marL="1368700" indent="0">
              <a:buNone/>
              <a:defRPr sz="900"/>
            </a:lvl4pPr>
            <a:lvl5pPr marL="1824935" indent="0">
              <a:buNone/>
              <a:defRPr sz="900"/>
            </a:lvl5pPr>
            <a:lvl6pPr marL="2281167" indent="0">
              <a:buNone/>
              <a:defRPr sz="900"/>
            </a:lvl6pPr>
            <a:lvl7pPr marL="2737394" indent="0">
              <a:buNone/>
              <a:defRPr sz="900"/>
            </a:lvl7pPr>
            <a:lvl8pPr marL="3193635" indent="0">
              <a:buNone/>
              <a:defRPr sz="900"/>
            </a:lvl8pPr>
            <a:lvl9pPr marL="3649869" indent="0">
              <a:buNone/>
              <a:defRPr sz="900"/>
            </a:lvl9pPr>
          </a:lstStyle>
          <a:p>
            <a:pPr lvl="0"/>
            <a:r>
              <a:rPr lang="ru-RU" dirty="0" smtClean="0"/>
              <a:t>Спасибо! / </a:t>
            </a:r>
            <a:r>
              <a:rPr lang="en-US" dirty="0" smtClean="0"/>
              <a:t>Thank you!</a:t>
            </a:r>
          </a:p>
        </p:txBody>
      </p:sp>
      <p:sp>
        <p:nvSpPr>
          <p:cNvPr id="28" name="Текст 27"/>
          <p:cNvSpPr>
            <a:spLocks noGrp="1"/>
          </p:cNvSpPr>
          <p:nvPr>
            <p:ph type="body" sz="quarter" idx="14" hasCustomPrompt="1"/>
          </p:nvPr>
        </p:nvSpPr>
        <p:spPr>
          <a:xfrm>
            <a:off x="5112000" y="6210000"/>
            <a:ext cx="2016000" cy="396000"/>
          </a:xfrm>
        </p:spPr>
        <p:txBody>
          <a:bodyPr anchor="ctr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10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ru-RU" dirty="0" smtClean="0"/>
              <a:t>Адрес компании</a:t>
            </a:r>
            <a:endParaRPr lang="ru-RU" dirty="0"/>
          </a:p>
        </p:txBody>
      </p:sp>
      <p:sp>
        <p:nvSpPr>
          <p:cNvPr id="30" name="Текст 29"/>
          <p:cNvSpPr>
            <a:spLocks noGrp="1"/>
          </p:cNvSpPr>
          <p:nvPr>
            <p:ph type="body" sz="quarter" idx="15" hasCustomPrompt="1"/>
          </p:nvPr>
        </p:nvSpPr>
        <p:spPr>
          <a:xfrm>
            <a:off x="2772000" y="6210000"/>
            <a:ext cx="2268000" cy="396000"/>
          </a:xfrm>
        </p:spPr>
        <p:txBody>
          <a:bodyPr anchor="ctr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10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ru-RU" dirty="0" smtClean="0"/>
              <a:t>Управление и Отдел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6579112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gallery dir="l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31778" y="306698"/>
            <a:ext cx="6742113" cy="739775"/>
          </a:xfrm>
          <a:prstGeom prst="rect">
            <a:avLst/>
          </a:prstGeom>
        </p:spPr>
        <p:txBody>
          <a:bodyPr lIns="91243" tIns="45622" rIns="91243" bIns="45622"/>
          <a:lstStyle>
            <a:lvl1pPr>
              <a:defRPr sz="2500"/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15" name="Rectangle 4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EFF660B-5916-42E2-9D88-953A3CB16BD3}" type="slidenum">
              <a:rPr lang="en-US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073517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gallery dir="l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Основн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414000" y="1638000"/>
            <a:ext cx="8316000" cy="4467600"/>
          </a:xfrm>
        </p:spPr>
        <p:txBody>
          <a:bodyPr/>
          <a:lstStyle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de-DE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4"/>
          </p:nvPr>
        </p:nvSpPr>
        <p:spPr>
          <a:xfrm>
            <a:off x="8665706" y="6526188"/>
            <a:ext cx="402094" cy="217518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chemeClr val="bg1"/>
                </a:solidFill>
                <a:latin typeface="+mj-lt"/>
              </a:defRPr>
            </a:lvl1pPr>
          </a:lstStyle>
          <a:p>
            <a:fld id="{8E141AF1-466E-4D9F-B74C-45FFEB47CA13}" type="slidenum">
              <a:rPr lang="de-DE" smtClean="0">
                <a:solidFill>
                  <a:srgbClr val="FFFFFF"/>
                </a:solidFill>
              </a:rPr>
              <a:pPr/>
              <a:t>‹#›</a:t>
            </a:fld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1652954" y="1"/>
            <a:ext cx="7220702" cy="897162"/>
          </a:xfrm>
          <a:prstGeom prst="rect">
            <a:avLst/>
          </a:prstGeom>
          <a:ln/>
          <a:effectLst>
            <a:outerShdw dist="17961" dir="2700000" algn="ctr" rotWithShape="0">
              <a:srgbClr val="FFFFFF"/>
            </a:outerShdw>
          </a:effectLst>
        </p:spPr>
        <p:txBody>
          <a:bodyPr lIns="91243" tIns="45622" rIns="91243" bIns="45622" anchor="ctr"/>
          <a:lstStyle>
            <a:lvl1pPr>
              <a:defRPr kumimoji="1" lang="ru-RU" sz="1700" kern="1200">
                <a:solidFill>
                  <a:srgbClr val="016EB3"/>
                </a:solidFill>
              </a:defRPr>
            </a:lvl1pPr>
          </a:lstStyle>
          <a:p>
            <a:pPr lvl="0" defTabSz="819005"/>
            <a:r>
              <a:rPr lang="ru-RU" smtClean="0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4093997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gallery dir="l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31778" y="123825"/>
            <a:ext cx="6742113" cy="657225"/>
          </a:xfrm>
          <a:prstGeom prst="rect">
            <a:avLst/>
          </a:prstGeom>
        </p:spPr>
        <p:txBody>
          <a:bodyPr lIns="91243" tIns="45622" rIns="91243" bIns="45622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715E4BD-578A-4F4A-9E92-1B4DB10B5101}" type="slidenum">
              <a:rPr lang="en-US">
                <a:solidFill>
                  <a:srgbClr val="A0A1A6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A0A1A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99857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gallery dir="l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One Char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7"/>
          <p:cNvSpPr>
            <a:spLocks noGrp="1"/>
          </p:cNvSpPr>
          <p:nvPr>
            <p:ph type="pic" sz="quarter" idx="12" hasCustomPrompt="1"/>
          </p:nvPr>
        </p:nvSpPr>
        <p:spPr>
          <a:xfrm>
            <a:off x="353585" y="1292913"/>
            <a:ext cx="8438320" cy="5095600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>
            <a:normAutofit/>
          </a:bodyPr>
          <a:lstStyle>
            <a:lvl1pPr marL="246509" indent="-246509" algn="l" defTabSz="890891" rtl="0" eaLnBrk="1" fontAlgn="base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sz="2200" dirty="0">
                <a:solidFill>
                  <a:schemeClr val="accent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 smtClean="0"/>
              <a:t>Wizard Chart</a:t>
            </a:r>
            <a:endParaRPr lang="en-US" dirty="0"/>
          </a:p>
        </p:txBody>
      </p:sp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168404" y="53600"/>
            <a:ext cx="7835048" cy="834431"/>
          </a:xfrm>
          <a:prstGeom prst="rect">
            <a:avLst/>
          </a:prstGeom>
        </p:spPr>
        <p:txBody>
          <a:bodyPr lIns="83032" tIns="41517" rIns="83032" bIns="41517"/>
          <a:lstStyle>
            <a:lvl1pPr>
              <a:defRPr sz="2500"/>
            </a:lvl1pPr>
          </a:lstStyle>
          <a:p>
            <a:r>
              <a:rPr lang="en-US" dirty="0" smtClean="0"/>
              <a:t>Click to edit Master title style</a:t>
            </a:r>
            <a:endParaRPr lang="fr-FR" dirty="0"/>
          </a:p>
        </p:txBody>
      </p:sp>
      <p:sp>
        <p:nvSpPr>
          <p:cNvPr id="5" name="Rectangle 4"/>
          <p:cNvSpPr/>
          <p:nvPr/>
        </p:nvSpPr>
        <p:spPr>
          <a:xfrm>
            <a:off x="0" y="905107"/>
            <a:ext cx="9144000" cy="34180"/>
          </a:xfrm>
          <a:prstGeom prst="rect">
            <a:avLst/>
          </a:prstGeom>
          <a:solidFill>
            <a:schemeClr val="accent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dirty="0" smtClean="0">
              <a:solidFill>
                <a:srgbClr val="00294F"/>
              </a:solidFill>
            </a:endParaRPr>
          </a:p>
        </p:txBody>
      </p:sp>
      <p:sp>
        <p:nvSpPr>
          <p:cNvPr id="6" name="SlideNumber"/>
          <p:cNvSpPr/>
          <p:nvPr/>
        </p:nvSpPr>
        <p:spPr>
          <a:xfrm>
            <a:off x="8216375" y="6668489"/>
            <a:ext cx="300772" cy="86818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/>
            <a:fld id="{BB69BBE8-4DB2-4642-B003-B220ACD5A2FD}" type="slidenum">
              <a:rPr lang="en-US" sz="900" b="1" smtClean="0">
                <a:solidFill>
                  <a:srgbClr val="080808"/>
                </a:solidFill>
                <a:latin typeface="Verdana" pitchFamily="34" charset="0"/>
              </a:rPr>
              <a:pPr algn="ctr"/>
              <a:t>‹#›</a:t>
            </a:fld>
            <a:endParaRPr lang="fr-FR" sz="900" b="1" dirty="0" smtClean="0">
              <a:solidFill>
                <a:srgbClr val="080808"/>
              </a:solidFill>
            </a:endParaRPr>
          </a:p>
        </p:txBody>
      </p:sp>
      <p:cxnSp>
        <p:nvCxnSpPr>
          <p:cNvPr id="7" name="Straight Connector 6"/>
          <p:cNvCxnSpPr/>
          <p:nvPr/>
        </p:nvCxnSpPr>
        <p:spPr>
          <a:xfrm>
            <a:off x="0" y="6555697"/>
            <a:ext cx="9144000" cy="0"/>
          </a:xfrm>
          <a:prstGeom prst="line">
            <a:avLst/>
          </a:prstGeom>
          <a:ln w="12700">
            <a:solidFill>
              <a:srgbClr val="999999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8" name="Group 7"/>
          <p:cNvGrpSpPr/>
          <p:nvPr/>
        </p:nvGrpSpPr>
        <p:grpSpPr>
          <a:xfrm>
            <a:off x="8574091" y="6591936"/>
            <a:ext cx="385992" cy="239924"/>
            <a:chOff x="7277614" y="2396353"/>
            <a:chExt cx="1054802" cy="609493"/>
          </a:xfrm>
        </p:grpSpPr>
        <p:sp>
          <p:nvSpPr>
            <p:cNvPr id="9" name="Freeform 7"/>
            <p:cNvSpPr>
              <a:spLocks/>
            </p:cNvSpPr>
            <p:nvPr/>
          </p:nvSpPr>
          <p:spPr bwMode="auto">
            <a:xfrm>
              <a:off x="7277614" y="2396353"/>
              <a:ext cx="527401" cy="154241"/>
            </a:xfrm>
            <a:custGeom>
              <a:avLst/>
              <a:gdLst>
                <a:gd name="T0" fmla="*/ 0 w 691"/>
                <a:gd name="T1" fmla="*/ 200 h 200"/>
                <a:gd name="T2" fmla="*/ 691 w 691"/>
                <a:gd name="T3" fmla="*/ 200 h 200"/>
                <a:gd name="T4" fmla="*/ 346 w 691"/>
                <a:gd name="T5" fmla="*/ 0 h 200"/>
                <a:gd name="T6" fmla="*/ 0 w 691"/>
                <a:gd name="T7" fmla="*/ 200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91" h="200">
                  <a:moveTo>
                    <a:pt x="0" y="200"/>
                  </a:moveTo>
                  <a:lnTo>
                    <a:pt x="691" y="200"/>
                  </a:lnTo>
                  <a:lnTo>
                    <a:pt x="346" y="0"/>
                  </a:lnTo>
                  <a:lnTo>
                    <a:pt x="0" y="200"/>
                  </a:lnTo>
                  <a:close/>
                </a:path>
              </a:pathLst>
            </a:custGeom>
            <a:solidFill>
              <a:srgbClr val="FF0505"/>
            </a:solidFill>
            <a:ln w="1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00294F"/>
                </a:solidFill>
              </a:endParaRPr>
            </a:p>
          </p:txBody>
        </p:sp>
        <p:sp>
          <p:nvSpPr>
            <p:cNvPr id="10" name="Freeform 8"/>
            <p:cNvSpPr>
              <a:spLocks/>
            </p:cNvSpPr>
            <p:nvPr/>
          </p:nvSpPr>
          <p:spPr bwMode="auto">
            <a:xfrm>
              <a:off x="7277614" y="2550591"/>
              <a:ext cx="263702" cy="452770"/>
            </a:xfrm>
            <a:custGeom>
              <a:avLst/>
              <a:gdLst>
                <a:gd name="T0" fmla="*/ 0 w 346"/>
                <a:gd name="T1" fmla="*/ 0 h 598"/>
                <a:gd name="T2" fmla="*/ 0 w 346"/>
                <a:gd name="T3" fmla="*/ 399 h 598"/>
                <a:gd name="T4" fmla="*/ 346 w 346"/>
                <a:gd name="T5" fmla="*/ 598 h 598"/>
                <a:gd name="T6" fmla="*/ 0 w 346"/>
                <a:gd name="T7" fmla="*/ 0 h 5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46" h="598">
                  <a:moveTo>
                    <a:pt x="0" y="0"/>
                  </a:moveTo>
                  <a:lnTo>
                    <a:pt x="0" y="399"/>
                  </a:lnTo>
                  <a:lnTo>
                    <a:pt x="346" y="59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505"/>
            </a:solidFill>
            <a:ln w="2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00294F"/>
                </a:solidFill>
              </a:endParaRPr>
            </a:p>
          </p:txBody>
        </p:sp>
        <p:sp>
          <p:nvSpPr>
            <p:cNvPr id="11" name="Freeform 9"/>
            <p:cNvSpPr>
              <a:spLocks/>
            </p:cNvSpPr>
            <p:nvPr/>
          </p:nvSpPr>
          <p:spPr bwMode="auto">
            <a:xfrm>
              <a:off x="7541313" y="2550591"/>
              <a:ext cx="263702" cy="452770"/>
            </a:xfrm>
            <a:custGeom>
              <a:avLst/>
              <a:gdLst>
                <a:gd name="T0" fmla="*/ 0 w 345"/>
                <a:gd name="T1" fmla="*/ 598 h 598"/>
                <a:gd name="T2" fmla="*/ 345 w 345"/>
                <a:gd name="T3" fmla="*/ 0 h 598"/>
                <a:gd name="T4" fmla="*/ 345 w 345"/>
                <a:gd name="T5" fmla="*/ 399 h 598"/>
                <a:gd name="T6" fmla="*/ 0 w 345"/>
                <a:gd name="T7" fmla="*/ 598 h 5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45" h="598">
                  <a:moveTo>
                    <a:pt x="0" y="598"/>
                  </a:moveTo>
                  <a:lnTo>
                    <a:pt x="345" y="0"/>
                  </a:lnTo>
                  <a:lnTo>
                    <a:pt x="345" y="399"/>
                  </a:lnTo>
                  <a:lnTo>
                    <a:pt x="0" y="598"/>
                  </a:lnTo>
                  <a:close/>
                </a:path>
              </a:pathLst>
            </a:custGeom>
            <a:solidFill>
              <a:srgbClr val="FF0505"/>
            </a:solidFill>
            <a:ln w="1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00294F"/>
                </a:solidFill>
              </a:endParaRPr>
            </a:p>
          </p:txBody>
        </p:sp>
        <p:sp>
          <p:nvSpPr>
            <p:cNvPr id="12" name="Freeform 7"/>
            <p:cNvSpPr>
              <a:spLocks/>
            </p:cNvSpPr>
            <p:nvPr/>
          </p:nvSpPr>
          <p:spPr bwMode="auto">
            <a:xfrm rot="10800000">
              <a:off x="7805015" y="2851605"/>
              <a:ext cx="527401" cy="154241"/>
            </a:xfrm>
            <a:custGeom>
              <a:avLst/>
              <a:gdLst>
                <a:gd name="T0" fmla="*/ 0 w 691"/>
                <a:gd name="T1" fmla="*/ 200 h 200"/>
                <a:gd name="T2" fmla="*/ 691 w 691"/>
                <a:gd name="T3" fmla="*/ 200 h 200"/>
                <a:gd name="T4" fmla="*/ 346 w 691"/>
                <a:gd name="T5" fmla="*/ 0 h 200"/>
                <a:gd name="T6" fmla="*/ 0 w 691"/>
                <a:gd name="T7" fmla="*/ 200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91" h="200">
                  <a:moveTo>
                    <a:pt x="0" y="200"/>
                  </a:moveTo>
                  <a:lnTo>
                    <a:pt x="691" y="200"/>
                  </a:lnTo>
                  <a:lnTo>
                    <a:pt x="346" y="0"/>
                  </a:lnTo>
                  <a:lnTo>
                    <a:pt x="0" y="200"/>
                  </a:lnTo>
                  <a:close/>
                </a:path>
              </a:pathLst>
            </a:custGeom>
            <a:solidFill>
              <a:srgbClr val="058CEC"/>
            </a:solidFill>
            <a:ln w="1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00294F"/>
                </a:solidFill>
              </a:endParaRPr>
            </a:p>
          </p:txBody>
        </p:sp>
        <p:sp>
          <p:nvSpPr>
            <p:cNvPr id="13" name="Freeform 8"/>
            <p:cNvSpPr>
              <a:spLocks/>
            </p:cNvSpPr>
            <p:nvPr/>
          </p:nvSpPr>
          <p:spPr bwMode="auto">
            <a:xfrm rot="10800000">
              <a:off x="8068714" y="2398838"/>
              <a:ext cx="263702" cy="452770"/>
            </a:xfrm>
            <a:custGeom>
              <a:avLst/>
              <a:gdLst>
                <a:gd name="T0" fmla="*/ 0 w 346"/>
                <a:gd name="T1" fmla="*/ 0 h 598"/>
                <a:gd name="T2" fmla="*/ 0 w 346"/>
                <a:gd name="T3" fmla="*/ 399 h 598"/>
                <a:gd name="T4" fmla="*/ 346 w 346"/>
                <a:gd name="T5" fmla="*/ 598 h 598"/>
                <a:gd name="T6" fmla="*/ 0 w 346"/>
                <a:gd name="T7" fmla="*/ 0 h 5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46" h="598">
                  <a:moveTo>
                    <a:pt x="0" y="0"/>
                  </a:moveTo>
                  <a:lnTo>
                    <a:pt x="0" y="399"/>
                  </a:lnTo>
                  <a:lnTo>
                    <a:pt x="346" y="59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58CEC"/>
            </a:solidFill>
            <a:ln w="2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00294F"/>
                </a:solidFill>
              </a:endParaRPr>
            </a:p>
          </p:txBody>
        </p:sp>
        <p:sp>
          <p:nvSpPr>
            <p:cNvPr id="14" name="Freeform 9"/>
            <p:cNvSpPr>
              <a:spLocks/>
            </p:cNvSpPr>
            <p:nvPr/>
          </p:nvSpPr>
          <p:spPr bwMode="auto">
            <a:xfrm rot="10800000">
              <a:off x="7805015" y="2398838"/>
              <a:ext cx="263702" cy="452770"/>
            </a:xfrm>
            <a:custGeom>
              <a:avLst/>
              <a:gdLst>
                <a:gd name="T0" fmla="*/ 0 w 345"/>
                <a:gd name="T1" fmla="*/ 598 h 598"/>
                <a:gd name="T2" fmla="*/ 345 w 345"/>
                <a:gd name="T3" fmla="*/ 0 h 598"/>
                <a:gd name="T4" fmla="*/ 345 w 345"/>
                <a:gd name="T5" fmla="*/ 399 h 598"/>
                <a:gd name="T6" fmla="*/ 0 w 345"/>
                <a:gd name="T7" fmla="*/ 598 h 5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45" h="598">
                  <a:moveTo>
                    <a:pt x="0" y="598"/>
                  </a:moveTo>
                  <a:lnTo>
                    <a:pt x="345" y="0"/>
                  </a:lnTo>
                  <a:lnTo>
                    <a:pt x="345" y="399"/>
                  </a:lnTo>
                  <a:lnTo>
                    <a:pt x="0" y="598"/>
                  </a:lnTo>
                  <a:close/>
                </a:path>
              </a:pathLst>
            </a:custGeom>
            <a:solidFill>
              <a:srgbClr val="058CEC"/>
            </a:solidFill>
            <a:ln w="1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00294F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47594517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Основн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lide Number Placeholder 8"/>
          <p:cNvSpPr>
            <a:spLocks noGrp="1"/>
          </p:cNvSpPr>
          <p:nvPr>
            <p:ph type="sldNum" sz="quarter" idx="14"/>
          </p:nvPr>
        </p:nvSpPr>
        <p:spPr>
          <a:xfrm>
            <a:off x="8665706" y="6526188"/>
            <a:ext cx="402094" cy="217518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chemeClr val="bg1"/>
                </a:solidFill>
                <a:latin typeface="+mj-lt"/>
              </a:defRPr>
            </a:lvl1pPr>
          </a:lstStyle>
          <a:p>
            <a:fld id="{8E141AF1-466E-4D9F-B74C-45FFEB47CA13}" type="slidenum">
              <a:rPr lang="de-DE" smtClean="0">
                <a:solidFill>
                  <a:srgbClr val="FFFFFF"/>
                </a:solidFill>
              </a:rPr>
              <a:pPr/>
              <a:t>‹#›</a:t>
            </a:fld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261257" y="1"/>
            <a:ext cx="8612399" cy="897162"/>
          </a:xfrm>
          <a:prstGeom prst="rect">
            <a:avLst/>
          </a:prstGeom>
          <a:ln/>
          <a:effectLst>
            <a:outerShdw dist="17961" dir="2700000" algn="ctr" rotWithShape="0">
              <a:srgbClr val="FFFFFF"/>
            </a:outerShdw>
          </a:effectLst>
        </p:spPr>
        <p:txBody>
          <a:bodyPr lIns="91243" tIns="45622" rIns="91243" bIns="45622" anchor="ctr"/>
          <a:lstStyle>
            <a:lvl1pPr>
              <a:defRPr kumimoji="1" lang="ru-RU" sz="1800" kern="1200">
                <a:solidFill>
                  <a:srgbClr val="016EB3"/>
                </a:solidFill>
              </a:defRPr>
            </a:lvl1pPr>
          </a:lstStyle>
          <a:p>
            <a:pPr lvl="0" defTabSz="819005"/>
            <a:r>
              <a:rPr lang="ru-RU" dirty="0" smtClean="0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2764414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One Char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7"/>
          <p:cNvSpPr>
            <a:spLocks noGrp="1"/>
          </p:cNvSpPr>
          <p:nvPr>
            <p:ph type="pic" sz="quarter" idx="12" hasCustomPrompt="1"/>
          </p:nvPr>
        </p:nvSpPr>
        <p:spPr>
          <a:xfrm>
            <a:off x="353585" y="1292913"/>
            <a:ext cx="8438320" cy="5095600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>
            <a:normAutofit/>
          </a:bodyPr>
          <a:lstStyle>
            <a:lvl1pPr marL="246509" indent="-246509" algn="l" defTabSz="890891" rtl="0" eaLnBrk="1" fontAlgn="base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sz="2200" dirty="0">
                <a:solidFill>
                  <a:schemeClr val="accent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 smtClean="0"/>
              <a:t>Wizard Chart</a:t>
            </a:r>
            <a:endParaRPr lang="en-US" dirty="0"/>
          </a:p>
        </p:txBody>
      </p:sp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168404" y="53600"/>
            <a:ext cx="7835048" cy="834431"/>
          </a:xfrm>
          <a:prstGeom prst="rect">
            <a:avLst/>
          </a:prstGeom>
        </p:spPr>
        <p:txBody>
          <a:bodyPr lIns="83032" tIns="41517" rIns="83032" bIns="41517"/>
          <a:lstStyle>
            <a:lvl1pPr>
              <a:defRPr sz="2500"/>
            </a:lvl1pPr>
          </a:lstStyle>
          <a:p>
            <a:r>
              <a:rPr lang="en-US" dirty="0" smtClean="0"/>
              <a:t>Click to edit Master title style</a:t>
            </a:r>
            <a:endParaRPr lang="fr-FR" dirty="0"/>
          </a:p>
        </p:txBody>
      </p:sp>
      <p:sp>
        <p:nvSpPr>
          <p:cNvPr id="5" name="Rectangle 4"/>
          <p:cNvSpPr/>
          <p:nvPr/>
        </p:nvSpPr>
        <p:spPr>
          <a:xfrm>
            <a:off x="0" y="905107"/>
            <a:ext cx="9144000" cy="34180"/>
          </a:xfrm>
          <a:prstGeom prst="rect">
            <a:avLst/>
          </a:prstGeom>
          <a:solidFill>
            <a:schemeClr val="accent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1800" dirty="0" smtClean="0">
              <a:solidFill>
                <a:schemeClr val="tx1"/>
              </a:solidFill>
            </a:endParaRPr>
          </a:p>
        </p:txBody>
      </p:sp>
      <p:sp>
        <p:nvSpPr>
          <p:cNvPr id="6" name="SlideNumber"/>
          <p:cNvSpPr/>
          <p:nvPr/>
        </p:nvSpPr>
        <p:spPr>
          <a:xfrm>
            <a:off x="8216375" y="6668489"/>
            <a:ext cx="300772" cy="86818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/>
            <a:fld id="{BB69BBE8-4DB2-4642-B003-B220ACD5A2FD}" type="slidenum">
              <a:rPr lang="en-US" sz="900" b="1" baseline="0" smtClean="0">
                <a:solidFill>
                  <a:srgbClr val="080808"/>
                </a:solidFill>
                <a:latin typeface="Verdana" pitchFamily="34" charset="0"/>
              </a:rPr>
              <a:pPr algn="ctr"/>
              <a:t>‹#›</a:t>
            </a:fld>
            <a:endParaRPr lang="fr-FR" sz="900" b="1" dirty="0" smtClean="0">
              <a:solidFill>
                <a:srgbClr val="080808"/>
              </a:solidFill>
            </a:endParaRPr>
          </a:p>
        </p:txBody>
      </p:sp>
      <p:cxnSp>
        <p:nvCxnSpPr>
          <p:cNvPr id="7" name="Straight Connector 6"/>
          <p:cNvCxnSpPr/>
          <p:nvPr/>
        </p:nvCxnSpPr>
        <p:spPr>
          <a:xfrm>
            <a:off x="0" y="6555697"/>
            <a:ext cx="9144000" cy="0"/>
          </a:xfrm>
          <a:prstGeom prst="line">
            <a:avLst/>
          </a:prstGeom>
          <a:ln w="12700">
            <a:solidFill>
              <a:srgbClr val="999999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8" name="Group 7"/>
          <p:cNvGrpSpPr/>
          <p:nvPr/>
        </p:nvGrpSpPr>
        <p:grpSpPr>
          <a:xfrm>
            <a:off x="8574091" y="6591936"/>
            <a:ext cx="385992" cy="239924"/>
            <a:chOff x="7277614" y="2396353"/>
            <a:chExt cx="1054802" cy="609493"/>
          </a:xfrm>
        </p:grpSpPr>
        <p:sp>
          <p:nvSpPr>
            <p:cNvPr id="9" name="Freeform 7"/>
            <p:cNvSpPr>
              <a:spLocks/>
            </p:cNvSpPr>
            <p:nvPr/>
          </p:nvSpPr>
          <p:spPr bwMode="auto">
            <a:xfrm>
              <a:off x="7277614" y="2396353"/>
              <a:ext cx="527401" cy="154241"/>
            </a:xfrm>
            <a:custGeom>
              <a:avLst/>
              <a:gdLst>
                <a:gd name="T0" fmla="*/ 0 w 691"/>
                <a:gd name="T1" fmla="*/ 200 h 200"/>
                <a:gd name="T2" fmla="*/ 691 w 691"/>
                <a:gd name="T3" fmla="*/ 200 h 200"/>
                <a:gd name="T4" fmla="*/ 346 w 691"/>
                <a:gd name="T5" fmla="*/ 0 h 200"/>
                <a:gd name="T6" fmla="*/ 0 w 691"/>
                <a:gd name="T7" fmla="*/ 200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91" h="200">
                  <a:moveTo>
                    <a:pt x="0" y="200"/>
                  </a:moveTo>
                  <a:lnTo>
                    <a:pt x="691" y="200"/>
                  </a:lnTo>
                  <a:lnTo>
                    <a:pt x="346" y="0"/>
                  </a:lnTo>
                  <a:lnTo>
                    <a:pt x="0" y="200"/>
                  </a:lnTo>
                  <a:close/>
                </a:path>
              </a:pathLst>
            </a:custGeom>
            <a:solidFill>
              <a:srgbClr val="FF0505"/>
            </a:solidFill>
            <a:ln w="1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" name="Freeform 8"/>
            <p:cNvSpPr>
              <a:spLocks/>
            </p:cNvSpPr>
            <p:nvPr/>
          </p:nvSpPr>
          <p:spPr bwMode="auto">
            <a:xfrm>
              <a:off x="7277614" y="2550591"/>
              <a:ext cx="263702" cy="452770"/>
            </a:xfrm>
            <a:custGeom>
              <a:avLst/>
              <a:gdLst>
                <a:gd name="T0" fmla="*/ 0 w 346"/>
                <a:gd name="T1" fmla="*/ 0 h 598"/>
                <a:gd name="T2" fmla="*/ 0 w 346"/>
                <a:gd name="T3" fmla="*/ 399 h 598"/>
                <a:gd name="T4" fmla="*/ 346 w 346"/>
                <a:gd name="T5" fmla="*/ 598 h 598"/>
                <a:gd name="T6" fmla="*/ 0 w 346"/>
                <a:gd name="T7" fmla="*/ 0 h 5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46" h="598">
                  <a:moveTo>
                    <a:pt x="0" y="0"/>
                  </a:moveTo>
                  <a:lnTo>
                    <a:pt x="0" y="399"/>
                  </a:lnTo>
                  <a:lnTo>
                    <a:pt x="346" y="59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505"/>
            </a:solidFill>
            <a:ln w="2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" name="Freeform 9"/>
            <p:cNvSpPr>
              <a:spLocks/>
            </p:cNvSpPr>
            <p:nvPr/>
          </p:nvSpPr>
          <p:spPr bwMode="auto">
            <a:xfrm>
              <a:off x="7541313" y="2550591"/>
              <a:ext cx="263702" cy="452770"/>
            </a:xfrm>
            <a:custGeom>
              <a:avLst/>
              <a:gdLst>
                <a:gd name="T0" fmla="*/ 0 w 345"/>
                <a:gd name="T1" fmla="*/ 598 h 598"/>
                <a:gd name="T2" fmla="*/ 345 w 345"/>
                <a:gd name="T3" fmla="*/ 0 h 598"/>
                <a:gd name="T4" fmla="*/ 345 w 345"/>
                <a:gd name="T5" fmla="*/ 399 h 598"/>
                <a:gd name="T6" fmla="*/ 0 w 345"/>
                <a:gd name="T7" fmla="*/ 598 h 5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45" h="598">
                  <a:moveTo>
                    <a:pt x="0" y="598"/>
                  </a:moveTo>
                  <a:lnTo>
                    <a:pt x="345" y="0"/>
                  </a:lnTo>
                  <a:lnTo>
                    <a:pt x="345" y="399"/>
                  </a:lnTo>
                  <a:lnTo>
                    <a:pt x="0" y="598"/>
                  </a:lnTo>
                  <a:close/>
                </a:path>
              </a:pathLst>
            </a:custGeom>
            <a:solidFill>
              <a:srgbClr val="FF0505"/>
            </a:solidFill>
            <a:ln w="1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" name="Freeform 7"/>
            <p:cNvSpPr>
              <a:spLocks/>
            </p:cNvSpPr>
            <p:nvPr/>
          </p:nvSpPr>
          <p:spPr bwMode="auto">
            <a:xfrm rot="10800000">
              <a:off x="7805015" y="2851605"/>
              <a:ext cx="527401" cy="154241"/>
            </a:xfrm>
            <a:custGeom>
              <a:avLst/>
              <a:gdLst>
                <a:gd name="T0" fmla="*/ 0 w 691"/>
                <a:gd name="T1" fmla="*/ 200 h 200"/>
                <a:gd name="T2" fmla="*/ 691 w 691"/>
                <a:gd name="T3" fmla="*/ 200 h 200"/>
                <a:gd name="T4" fmla="*/ 346 w 691"/>
                <a:gd name="T5" fmla="*/ 0 h 200"/>
                <a:gd name="T6" fmla="*/ 0 w 691"/>
                <a:gd name="T7" fmla="*/ 200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91" h="200">
                  <a:moveTo>
                    <a:pt x="0" y="200"/>
                  </a:moveTo>
                  <a:lnTo>
                    <a:pt x="691" y="200"/>
                  </a:lnTo>
                  <a:lnTo>
                    <a:pt x="346" y="0"/>
                  </a:lnTo>
                  <a:lnTo>
                    <a:pt x="0" y="200"/>
                  </a:lnTo>
                  <a:close/>
                </a:path>
              </a:pathLst>
            </a:custGeom>
            <a:solidFill>
              <a:srgbClr val="058CEC"/>
            </a:solidFill>
            <a:ln w="1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3" name="Freeform 8"/>
            <p:cNvSpPr>
              <a:spLocks/>
            </p:cNvSpPr>
            <p:nvPr/>
          </p:nvSpPr>
          <p:spPr bwMode="auto">
            <a:xfrm rot="10800000">
              <a:off x="8068714" y="2398838"/>
              <a:ext cx="263702" cy="452770"/>
            </a:xfrm>
            <a:custGeom>
              <a:avLst/>
              <a:gdLst>
                <a:gd name="T0" fmla="*/ 0 w 346"/>
                <a:gd name="T1" fmla="*/ 0 h 598"/>
                <a:gd name="T2" fmla="*/ 0 w 346"/>
                <a:gd name="T3" fmla="*/ 399 h 598"/>
                <a:gd name="T4" fmla="*/ 346 w 346"/>
                <a:gd name="T5" fmla="*/ 598 h 598"/>
                <a:gd name="T6" fmla="*/ 0 w 346"/>
                <a:gd name="T7" fmla="*/ 0 h 5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46" h="598">
                  <a:moveTo>
                    <a:pt x="0" y="0"/>
                  </a:moveTo>
                  <a:lnTo>
                    <a:pt x="0" y="399"/>
                  </a:lnTo>
                  <a:lnTo>
                    <a:pt x="346" y="59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58CEC"/>
            </a:solidFill>
            <a:ln w="2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4" name="Freeform 9"/>
            <p:cNvSpPr>
              <a:spLocks/>
            </p:cNvSpPr>
            <p:nvPr/>
          </p:nvSpPr>
          <p:spPr bwMode="auto">
            <a:xfrm rot="10800000">
              <a:off x="7805015" y="2398838"/>
              <a:ext cx="263702" cy="452770"/>
            </a:xfrm>
            <a:custGeom>
              <a:avLst/>
              <a:gdLst>
                <a:gd name="T0" fmla="*/ 0 w 345"/>
                <a:gd name="T1" fmla="*/ 598 h 598"/>
                <a:gd name="T2" fmla="*/ 345 w 345"/>
                <a:gd name="T3" fmla="*/ 0 h 598"/>
                <a:gd name="T4" fmla="*/ 345 w 345"/>
                <a:gd name="T5" fmla="*/ 399 h 598"/>
                <a:gd name="T6" fmla="*/ 0 w 345"/>
                <a:gd name="T7" fmla="*/ 598 h 5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45" h="598">
                  <a:moveTo>
                    <a:pt x="0" y="598"/>
                  </a:moveTo>
                  <a:lnTo>
                    <a:pt x="345" y="0"/>
                  </a:lnTo>
                  <a:lnTo>
                    <a:pt x="345" y="399"/>
                  </a:lnTo>
                  <a:lnTo>
                    <a:pt x="0" y="598"/>
                  </a:lnTo>
                  <a:close/>
                </a:path>
              </a:pathLst>
            </a:custGeom>
            <a:solidFill>
              <a:srgbClr val="058CEC"/>
            </a:solidFill>
            <a:ln w="1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6576425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07266" name="Rectangle 2"/>
          <p:cNvSpPr>
            <a:spLocks noGrp="1" noChangeArrowheads="1"/>
          </p:cNvSpPr>
          <p:nvPr>
            <p:ph type="subTitle" idx="1"/>
          </p:nvPr>
        </p:nvSpPr>
        <p:spPr>
          <a:xfrm>
            <a:off x="2935489" y="5737238"/>
            <a:ext cx="5522912" cy="270843"/>
          </a:xfrm>
          <a:effectLst>
            <a:outerShdw dist="17961" dir="2700000" algn="ctr" rotWithShape="0">
              <a:srgbClr val="FFFFFF"/>
            </a:outerShdw>
          </a:effectLst>
        </p:spPr>
        <p:txBody>
          <a:bodyPr>
            <a:spAutoFit/>
          </a:bodyPr>
          <a:lstStyle>
            <a:lvl1pPr marL="0" indent="0" algn="r" defTabSz="819005">
              <a:spcBef>
                <a:spcPct val="0"/>
              </a:spcBef>
              <a:buClrTx/>
              <a:buFontTx/>
              <a:buNone/>
              <a:defRPr sz="1600">
                <a:solidFill>
                  <a:schemeClr val="tx2"/>
                </a:solidFill>
              </a:defRPr>
            </a:lvl1pPr>
          </a:lstStyle>
          <a:p>
            <a:r>
              <a:rPr lang="ru-RU" smtClean="0"/>
              <a:t>Образец подзаголовка</a:t>
            </a:r>
            <a:endParaRPr lang="en-US" dirty="0"/>
          </a:p>
        </p:txBody>
      </p:sp>
      <p:sp>
        <p:nvSpPr>
          <p:cNvPr id="907267" name="Rectangle 3"/>
          <p:cNvSpPr>
            <a:spLocks noGrp="1" noChangeArrowheads="1"/>
          </p:cNvSpPr>
          <p:nvPr>
            <p:ph type="ctrTitle" sz="quarter"/>
          </p:nvPr>
        </p:nvSpPr>
        <p:spPr>
          <a:xfrm>
            <a:off x="3032589" y="5183211"/>
            <a:ext cx="5522912" cy="452437"/>
          </a:xfrm>
          <a:prstGeom prst="rect">
            <a:avLst/>
          </a:prstGeom>
          <a:ln/>
          <a:effectLst>
            <a:outerShdw dist="17961" dir="2700000" algn="ctr" rotWithShape="0">
              <a:srgbClr val="FFFFFF"/>
            </a:outerShdw>
          </a:effectLst>
        </p:spPr>
        <p:txBody>
          <a:bodyPr lIns="91243" tIns="45622" rIns="91243" bIns="45622" anchor="b"/>
          <a:lstStyle>
            <a:lvl1pPr algn="r" defTabSz="819005">
              <a:defRPr sz="2400">
                <a:solidFill>
                  <a:schemeClr val="tx2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en-US"/>
          </a:p>
        </p:txBody>
      </p:sp>
      <p:pic>
        <p:nvPicPr>
          <p:cNvPr id="2" name="Рисунок 1"/>
          <p:cNvPicPr>
            <a:picLocks noChangeAspect="1"/>
          </p:cNvPicPr>
          <p:nvPr userDrawn="1"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2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0710" y="505803"/>
            <a:ext cx="5230821" cy="3804234"/>
          </a:xfrm>
          <a:prstGeom prst="rect">
            <a:avLst/>
          </a:prstGeom>
        </p:spPr>
      </p:pic>
      <p:pic>
        <p:nvPicPr>
          <p:cNvPr id="7" name="Picture 2"/>
          <p:cNvPicPr>
            <a:picLocks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68002" y="3096000"/>
            <a:ext cx="3564000" cy="2066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4266636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gallery dir="l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Основн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414000" y="1638000"/>
            <a:ext cx="8316000" cy="4467600"/>
          </a:xfrm>
        </p:spPr>
        <p:txBody>
          <a:bodyPr/>
          <a:lstStyle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de-DE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4"/>
          </p:nvPr>
        </p:nvSpPr>
        <p:spPr>
          <a:xfrm>
            <a:off x="8665706" y="6526188"/>
            <a:ext cx="402094" cy="217518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chemeClr val="bg1"/>
                </a:solidFill>
                <a:latin typeface="+mj-lt"/>
              </a:defRPr>
            </a:lvl1pPr>
          </a:lstStyle>
          <a:p>
            <a:fld id="{8E141AF1-466E-4D9F-B74C-45FFEB47CA13}" type="slidenum">
              <a:rPr lang="de-DE" smtClean="0">
                <a:solidFill>
                  <a:srgbClr val="FFFFFF"/>
                </a:solidFill>
              </a:rPr>
              <a:pPr/>
              <a:t>‹#›</a:t>
            </a:fld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1652954" y="1"/>
            <a:ext cx="7220702" cy="897162"/>
          </a:xfrm>
          <a:prstGeom prst="rect">
            <a:avLst/>
          </a:prstGeom>
          <a:ln/>
          <a:effectLst>
            <a:outerShdw dist="17961" dir="2700000" algn="ctr" rotWithShape="0">
              <a:srgbClr val="FFFFFF"/>
            </a:outerShdw>
          </a:effectLst>
        </p:spPr>
        <p:txBody>
          <a:bodyPr lIns="91243" tIns="45622" rIns="91243" bIns="45622" anchor="ctr"/>
          <a:lstStyle>
            <a:lvl1pPr>
              <a:defRPr kumimoji="1" lang="ru-RU" sz="1700" kern="1200">
                <a:solidFill>
                  <a:srgbClr val="016EB3"/>
                </a:solidFill>
              </a:defRPr>
            </a:lvl1pPr>
          </a:lstStyle>
          <a:p>
            <a:pPr lvl="0" defTabSz="819005"/>
            <a:r>
              <a:rPr lang="ru-RU" smtClean="0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61903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gallery dir="l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 userDrawn="1"/>
        </p:nvSpPr>
        <p:spPr bwMode="auto">
          <a:xfrm>
            <a:off x="8660610" y="6374606"/>
            <a:ext cx="478632" cy="389746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243" tIns="45622" rIns="91243" bIns="45622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</a:pPr>
            <a:endParaRPr kumimoji="1" lang="ru-RU" sz="1000" smtClean="0">
              <a:solidFill>
                <a:srgbClr val="00294F"/>
              </a:solidFill>
              <a:latin typeface="Tahoma" pitchFamily="34" charset="0"/>
              <a:ea typeface="PMingLiU" pitchFamily="18" charset="-120"/>
            </a:endParaRPr>
          </a:p>
        </p:txBody>
      </p:sp>
    </p:spTree>
    <p:extLst>
      <p:ext uri="{BB962C8B-B14F-4D97-AF65-F5344CB8AC3E}">
        <p14:creationId xmlns:p14="http://schemas.microsoft.com/office/powerpoint/2010/main" val="34910163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gallery dir="l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лайд &quot;Спасибо!&quot;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Line 27"/>
          <p:cNvSpPr>
            <a:spLocks noChangeShapeType="1"/>
          </p:cNvSpPr>
          <p:nvPr userDrawn="1"/>
        </p:nvSpPr>
        <p:spPr bwMode="auto">
          <a:xfrm>
            <a:off x="252000" y="5940000"/>
            <a:ext cx="8640000" cy="0"/>
          </a:xfrm>
          <a:prstGeom prst="line">
            <a:avLst/>
          </a:prstGeom>
          <a:noFill/>
          <a:ln w="28575">
            <a:solidFill>
              <a:srgbClr val="016EB3"/>
            </a:solidFill>
            <a:round/>
            <a:headEnd/>
            <a:tailEnd/>
          </a:ln>
          <a:effectLst/>
        </p:spPr>
        <p:txBody>
          <a:bodyPr wrap="none" lIns="91243" tIns="45622" rIns="91243" bIns="45622"/>
          <a:lstStyle/>
          <a:p>
            <a:pPr fontAlgn="base">
              <a:spcBef>
                <a:spcPct val="50000"/>
              </a:spcBef>
              <a:spcAft>
                <a:spcPct val="0"/>
              </a:spcAft>
              <a:defRPr/>
            </a:pPr>
            <a:endParaRPr kumimoji="1" lang="ru-RU" sz="1000" dirty="0">
              <a:solidFill>
                <a:srgbClr val="002766"/>
              </a:solidFill>
              <a:latin typeface="Tahoma" pitchFamily="34" charset="0"/>
              <a:ea typeface="PMingLiU" pitchFamily="18" charset="-120"/>
            </a:endParaRPr>
          </a:p>
        </p:txBody>
      </p:sp>
      <p:sp>
        <p:nvSpPr>
          <p:cNvPr id="9" name="Прямоугольник 8"/>
          <p:cNvSpPr/>
          <p:nvPr userDrawn="1"/>
        </p:nvSpPr>
        <p:spPr bwMode="auto">
          <a:xfrm>
            <a:off x="252000" y="190523"/>
            <a:ext cx="1623692" cy="606669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243" tIns="45622" rIns="91243" bIns="45622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</a:pPr>
            <a:endParaRPr kumimoji="1" lang="ru-RU" sz="1000" smtClean="0">
              <a:solidFill>
                <a:srgbClr val="00294F"/>
              </a:solidFill>
              <a:latin typeface="Tahoma" pitchFamily="34" charset="0"/>
              <a:ea typeface="PMingLiU" pitchFamily="18" charset="-120"/>
            </a:endParaRPr>
          </a:p>
        </p:txBody>
      </p:sp>
      <p:sp>
        <p:nvSpPr>
          <p:cNvPr id="10" name="Прямоугольник 9"/>
          <p:cNvSpPr/>
          <p:nvPr userDrawn="1"/>
        </p:nvSpPr>
        <p:spPr bwMode="auto">
          <a:xfrm>
            <a:off x="8429206" y="6327669"/>
            <a:ext cx="708444" cy="504825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243" tIns="45622" rIns="91243" bIns="45622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</a:pPr>
            <a:endParaRPr kumimoji="1" lang="ru-RU" sz="1000" smtClean="0">
              <a:solidFill>
                <a:srgbClr val="00294F"/>
              </a:solidFill>
              <a:latin typeface="Tahoma" pitchFamily="34" charset="0"/>
              <a:ea typeface="PMingLiU" pitchFamily="18" charset="-120"/>
            </a:endParaRPr>
          </a:p>
        </p:txBody>
      </p:sp>
      <p:sp>
        <p:nvSpPr>
          <p:cNvPr id="18" name="Текст 3"/>
          <p:cNvSpPr>
            <a:spLocks noGrp="1"/>
          </p:cNvSpPr>
          <p:nvPr>
            <p:ph type="body" sz="half" idx="10" hasCustomPrompt="1"/>
          </p:nvPr>
        </p:nvSpPr>
        <p:spPr>
          <a:xfrm>
            <a:off x="7200000" y="6210000"/>
            <a:ext cx="1656000" cy="396000"/>
          </a:xfrm>
        </p:spPr>
        <p:txBody>
          <a:bodyPr anchor="ctr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100">
                <a:solidFill>
                  <a:schemeClr val="tx2"/>
                </a:solidFill>
              </a:defRPr>
            </a:lvl1pPr>
            <a:lvl2pPr marL="456234" indent="0">
              <a:buNone/>
              <a:defRPr sz="1200"/>
            </a:lvl2pPr>
            <a:lvl3pPr marL="912468" indent="0">
              <a:buNone/>
              <a:defRPr sz="1000"/>
            </a:lvl3pPr>
            <a:lvl4pPr marL="1368700" indent="0">
              <a:buNone/>
              <a:defRPr sz="900"/>
            </a:lvl4pPr>
            <a:lvl5pPr marL="1824935" indent="0">
              <a:buNone/>
              <a:defRPr sz="900"/>
            </a:lvl5pPr>
            <a:lvl6pPr marL="2281167" indent="0">
              <a:buNone/>
              <a:defRPr sz="900"/>
            </a:lvl6pPr>
            <a:lvl7pPr marL="2737394" indent="0">
              <a:buNone/>
              <a:defRPr sz="900"/>
            </a:lvl7pPr>
            <a:lvl8pPr marL="3193635" indent="0">
              <a:buNone/>
              <a:defRPr sz="900"/>
            </a:lvl8pPr>
            <a:lvl9pPr marL="3649869" indent="0">
              <a:buNone/>
              <a:defRPr sz="900"/>
            </a:lvl9pPr>
          </a:lstStyle>
          <a:p>
            <a:pPr lvl="0"/>
            <a:r>
              <a:rPr lang="ru-RU" dirty="0" smtClean="0"/>
              <a:t>Телефон и </a:t>
            </a:r>
            <a:r>
              <a:rPr lang="en-US" dirty="0" smtClean="0"/>
              <a:t>e-mail</a:t>
            </a:r>
          </a:p>
        </p:txBody>
      </p:sp>
      <p:sp>
        <p:nvSpPr>
          <p:cNvPr id="21" name="Текст 3"/>
          <p:cNvSpPr>
            <a:spLocks noGrp="1"/>
          </p:cNvSpPr>
          <p:nvPr>
            <p:ph type="body" sz="half" idx="12" hasCustomPrompt="1"/>
          </p:nvPr>
        </p:nvSpPr>
        <p:spPr>
          <a:xfrm>
            <a:off x="2088000" y="3096000"/>
            <a:ext cx="4932000" cy="648000"/>
          </a:xfrm>
        </p:spPr>
        <p:txBody>
          <a:bodyPr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buNone/>
              <a:defRPr sz="3600">
                <a:solidFill>
                  <a:srgbClr val="016EB3"/>
                </a:solidFill>
              </a:defRPr>
            </a:lvl1pPr>
            <a:lvl2pPr marL="456234" indent="0">
              <a:buNone/>
              <a:defRPr sz="1200"/>
            </a:lvl2pPr>
            <a:lvl3pPr marL="912468" indent="0">
              <a:buNone/>
              <a:defRPr sz="1000"/>
            </a:lvl3pPr>
            <a:lvl4pPr marL="1368700" indent="0">
              <a:buNone/>
              <a:defRPr sz="900"/>
            </a:lvl4pPr>
            <a:lvl5pPr marL="1824935" indent="0">
              <a:buNone/>
              <a:defRPr sz="900"/>
            </a:lvl5pPr>
            <a:lvl6pPr marL="2281167" indent="0">
              <a:buNone/>
              <a:defRPr sz="900"/>
            </a:lvl6pPr>
            <a:lvl7pPr marL="2737394" indent="0">
              <a:buNone/>
              <a:defRPr sz="900"/>
            </a:lvl7pPr>
            <a:lvl8pPr marL="3193635" indent="0">
              <a:buNone/>
              <a:defRPr sz="900"/>
            </a:lvl8pPr>
            <a:lvl9pPr marL="3649869" indent="0">
              <a:buNone/>
              <a:defRPr sz="900"/>
            </a:lvl9pPr>
          </a:lstStyle>
          <a:p>
            <a:pPr lvl="0"/>
            <a:r>
              <a:rPr lang="ru-RU" dirty="0" smtClean="0"/>
              <a:t>Спасибо! / </a:t>
            </a:r>
            <a:r>
              <a:rPr lang="en-US" dirty="0" smtClean="0"/>
              <a:t>Thank you!</a:t>
            </a:r>
          </a:p>
        </p:txBody>
      </p:sp>
      <p:sp>
        <p:nvSpPr>
          <p:cNvPr id="28" name="Текст 27"/>
          <p:cNvSpPr>
            <a:spLocks noGrp="1"/>
          </p:cNvSpPr>
          <p:nvPr>
            <p:ph type="body" sz="quarter" idx="14" hasCustomPrompt="1"/>
          </p:nvPr>
        </p:nvSpPr>
        <p:spPr>
          <a:xfrm>
            <a:off x="5112000" y="6210000"/>
            <a:ext cx="2016000" cy="396000"/>
          </a:xfrm>
        </p:spPr>
        <p:txBody>
          <a:bodyPr anchor="ctr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10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ru-RU" dirty="0" smtClean="0"/>
              <a:t>Адрес компании</a:t>
            </a:r>
            <a:endParaRPr lang="ru-RU" dirty="0"/>
          </a:p>
        </p:txBody>
      </p:sp>
      <p:sp>
        <p:nvSpPr>
          <p:cNvPr id="30" name="Текст 29"/>
          <p:cNvSpPr>
            <a:spLocks noGrp="1"/>
          </p:cNvSpPr>
          <p:nvPr>
            <p:ph type="body" sz="quarter" idx="15" hasCustomPrompt="1"/>
          </p:nvPr>
        </p:nvSpPr>
        <p:spPr>
          <a:xfrm>
            <a:off x="2772000" y="6210000"/>
            <a:ext cx="2268000" cy="396000"/>
          </a:xfrm>
        </p:spPr>
        <p:txBody>
          <a:bodyPr anchor="ctr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10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ru-RU" dirty="0" smtClean="0"/>
              <a:t>Управление и Отдел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9079115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gallery dir="l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31778" y="306698"/>
            <a:ext cx="6742113" cy="739775"/>
          </a:xfrm>
          <a:prstGeom prst="rect">
            <a:avLst/>
          </a:prstGeom>
        </p:spPr>
        <p:txBody>
          <a:bodyPr lIns="91243" tIns="45622" rIns="91243" bIns="45622"/>
          <a:lstStyle>
            <a:lvl1pPr>
              <a:defRPr sz="2500"/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15" name="Rectangle 4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EFF660B-5916-42E2-9D88-953A3CB16BD3}" type="slidenum">
              <a:rPr lang="en-US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025395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gallery dir="l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Основн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414000" y="1638000"/>
            <a:ext cx="8316000" cy="4467600"/>
          </a:xfrm>
        </p:spPr>
        <p:txBody>
          <a:bodyPr/>
          <a:lstStyle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de-DE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4"/>
          </p:nvPr>
        </p:nvSpPr>
        <p:spPr>
          <a:xfrm>
            <a:off x="8665706" y="6526188"/>
            <a:ext cx="402094" cy="217518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chemeClr val="bg1"/>
                </a:solidFill>
                <a:latin typeface="+mj-lt"/>
              </a:defRPr>
            </a:lvl1pPr>
          </a:lstStyle>
          <a:p>
            <a:fld id="{8E141AF1-466E-4D9F-B74C-45FFEB47CA13}" type="slidenum">
              <a:rPr lang="de-DE" smtClean="0">
                <a:solidFill>
                  <a:srgbClr val="FFFFFF"/>
                </a:solidFill>
              </a:rPr>
              <a:pPr/>
              <a:t>‹#›</a:t>
            </a:fld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1652954" y="1"/>
            <a:ext cx="7220702" cy="897162"/>
          </a:xfrm>
          <a:prstGeom prst="rect">
            <a:avLst/>
          </a:prstGeom>
          <a:ln/>
          <a:effectLst>
            <a:outerShdw dist="17961" dir="2700000" algn="ctr" rotWithShape="0">
              <a:srgbClr val="FFFFFF"/>
            </a:outerShdw>
          </a:effectLst>
        </p:spPr>
        <p:txBody>
          <a:bodyPr lIns="91243" tIns="45622" rIns="91243" bIns="45622" anchor="ctr"/>
          <a:lstStyle>
            <a:lvl1pPr>
              <a:defRPr kumimoji="1" lang="ru-RU" sz="1700" kern="1200">
                <a:solidFill>
                  <a:srgbClr val="016EB3"/>
                </a:solidFill>
              </a:defRPr>
            </a:lvl1pPr>
          </a:lstStyle>
          <a:p>
            <a:pPr lvl="0" defTabSz="819005"/>
            <a:r>
              <a:rPr lang="ru-RU" smtClean="0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5079990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gallery dir="l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31778" y="123825"/>
            <a:ext cx="6742113" cy="657225"/>
          </a:xfrm>
          <a:prstGeom prst="rect">
            <a:avLst/>
          </a:prstGeom>
        </p:spPr>
        <p:txBody>
          <a:bodyPr lIns="91243" tIns="45622" rIns="91243" bIns="45622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715E4BD-578A-4F4A-9E92-1B4DB10B5101}" type="slidenum">
              <a:rPr lang="en-US">
                <a:solidFill>
                  <a:srgbClr val="A0A1A6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A0A1A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413515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gallery dir="l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One Char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7"/>
          <p:cNvSpPr>
            <a:spLocks noGrp="1"/>
          </p:cNvSpPr>
          <p:nvPr>
            <p:ph type="pic" sz="quarter" idx="12" hasCustomPrompt="1"/>
          </p:nvPr>
        </p:nvSpPr>
        <p:spPr>
          <a:xfrm>
            <a:off x="353585" y="1292913"/>
            <a:ext cx="8438320" cy="5095600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>
            <a:normAutofit/>
          </a:bodyPr>
          <a:lstStyle>
            <a:lvl1pPr marL="246509" indent="-246509" algn="l" defTabSz="890891" rtl="0" eaLnBrk="1" fontAlgn="base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sz="2200" dirty="0">
                <a:solidFill>
                  <a:schemeClr val="accent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 smtClean="0"/>
              <a:t>Wizard Chart</a:t>
            </a:r>
            <a:endParaRPr lang="en-US" dirty="0"/>
          </a:p>
        </p:txBody>
      </p:sp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168404" y="53600"/>
            <a:ext cx="7835048" cy="834431"/>
          </a:xfrm>
          <a:prstGeom prst="rect">
            <a:avLst/>
          </a:prstGeom>
        </p:spPr>
        <p:txBody>
          <a:bodyPr lIns="83032" tIns="41517" rIns="83032" bIns="41517"/>
          <a:lstStyle>
            <a:lvl1pPr>
              <a:defRPr sz="2500"/>
            </a:lvl1pPr>
          </a:lstStyle>
          <a:p>
            <a:r>
              <a:rPr lang="en-US" dirty="0" smtClean="0"/>
              <a:t>Click to edit Master title style</a:t>
            </a:r>
            <a:endParaRPr lang="fr-FR" dirty="0"/>
          </a:p>
        </p:txBody>
      </p:sp>
      <p:sp>
        <p:nvSpPr>
          <p:cNvPr id="5" name="Rectangle 4"/>
          <p:cNvSpPr/>
          <p:nvPr/>
        </p:nvSpPr>
        <p:spPr>
          <a:xfrm>
            <a:off x="0" y="905107"/>
            <a:ext cx="9144000" cy="34180"/>
          </a:xfrm>
          <a:prstGeom prst="rect">
            <a:avLst/>
          </a:prstGeom>
          <a:solidFill>
            <a:schemeClr val="accent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dirty="0" smtClean="0">
              <a:solidFill>
                <a:srgbClr val="00294F"/>
              </a:solidFill>
            </a:endParaRPr>
          </a:p>
        </p:txBody>
      </p:sp>
      <p:sp>
        <p:nvSpPr>
          <p:cNvPr id="6" name="SlideNumber"/>
          <p:cNvSpPr/>
          <p:nvPr/>
        </p:nvSpPr>
        <p:spPr>
          <a:xfrm>
            <a:off x="8216375" y="6668489"/>
            <a:ext cx="300772" cy="86818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/>
            <a:fld id="{BB69BBE8-4DB2-4642-B003-B220ACD5A2FD}" type="slidenum">
              <a:rPr lang="en-US" sz="900" b="1" smtClean="0">
                <a:solidFill>
                  <a:srgbClr val="080808"/>
                </a:solidFill>
                <a:latin typeface="Verdana" pitchFamily="34" charset="0"/>
              </a:rPr>
              <a:pPr algn="ctr"/>
              <a:t>‹#›</a:t>
            </a:fld>
            <a:endParaRPr lang="fr-FR" sz="900" b="1" dirty="0" smtClean="0">
              <a:solidFill>
                <a:srgbClr val="080808"/>
              </a:solidFill>
            </a:endParaRPr>
          </a:p>
        </p:txBody>
      </p:sp>
      <p:cxnSp>
        <p:nvCxnSpPr>
          <p:cNvPr id="7" name="Straight Connector 6"/>
          <p:cNvCxnSpPr/>
          <p:nvPr/>
        </p:nvCxnSpPr>
        <p:spPr>
          <a:xfrm>
            <a:off x="0" y="6555697"/>
            <a:ext cx="9144000" cy="0"/>
          </a:xfrm>
          <a:prstGeom prst="line">
            <a:avLst/>
          </a:prstGeom>
          <a:ln w="12700">
            <a:solidFill>
              <a:srgbClr val="999999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8" name="Group 7"/>
          <p:cNvGrpSpPr/>
          <p:nvPr/>
        </p:nvGrpSpPr>
        <p:grpSpPr>
          <a:xfrm>
            <a:off x="8574091" y="6591936"/>
            <a:ext cx="385992" cy="239924"/>
            <a:chOff x="7277614" y="2396353"/>
            <a:chExt cx="1054802" cy="609493"/>
          </a:xfrm>
        </p:grpSpPr>
        <p:sp>
          <p:nvSpPr>
            <p:cNvPr id="9" name="Freeform 7"/>
            <p:cNvSpPr>
              <a:spLocks/>
            </p:cNvSpPr>
            <p:nvPr/>
          </p:nvSpPr>
          <p:spPr bwMode="auto">
            <a:xfrm>
              <a:off x="7277614" y="2396353"/>
              <a:ext cx="527401" cy="154241"/>
            </a:xfrm>
            <a:custGeom>
              <a:avLst/>
              <a:gdLst>
                <a:gd name="T0" fmla="*/ 0 w 691"/>
                <a:gd name="T1" fmla="*/ 200 h 200"/>
                <a:gd name="T2" fmla="*/ 691 w 691"/>
                <a:gd name="T3" fmla="*/ 200 h 200"/>
                <a:gd name="T4" fmla="*/ 346 w 691"/>
                <a:gd name="T5" fmla="*/ 0 h 200"/>
                <a:gd name="T6" fmla="*/ 0 w 691"/>
                <a:gd name="T7" fmla="*/ 200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91" h="200">
                  <a:moveTo>
                    <a:pt x="0" y="200"/>
                  </a:moveTo>
                  <a:lnTo>
                    <a:pt x="691" y="200"/>
                  </a:lnTo>
                  <a:lnTo>
                    <a:pt x="346" y="0"/>
                  </a:lnTo>
                  <a:lnTo>
                    <a:pt x="0" y="200"/>
                  </a:lnTo>
                  <a:close/>
                </a:path>
              </a:pathLst>
            </a:custGeom>
            <a:solidFill>
              <a:srgbClr val="FF0505"/>
            </a:solidFill>
            <a:ln w="1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00294F"/>
                </a:solidFill>
              </a:endParaRPr>
            </a:p>
          </p:txBody>
        </p:sp>
        <p:sp>
          <p:nvSpPr>
            <p:cNvPr id="10" name="Freeform 8"/>
            <p:cNvSpPr>
              <a:spLocks/>
            </p:cNvSpPr>
            <p:nvPr/>
          </p:nvSpPr>
          <p:spPr bwMode="auto">
            <a:xfrm>
              <a:off x="7277614" y="2550591"/>
              <a:ext cx="263702" cy="452770"/>
            </a:xfrm>
            <a:custGeom>
              <a:avLst/>
              <a:gdLst>
                <a:gd name="T0" fmla="*/ 0 w 346"/>
                <a:gd name="T1" fmla="*/ 0 h 598"/>
                <a:gd name="T2" fmla="*/ 0 w 346"/>
                <a:gd name="T3" fmla="*/ 399 h 598"/>
                <a:gd name="T4" fmla="*/ 346 w 346"/>
                <a:gd name="T5" fmla="*/ 598 h 598"/>
                <a:gd name="T6" fmla="*/ 0 w 346"/>
                <a:gd name="T7" fmla="*/ 0 h 5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46" h="598">
                  <a:moveTo>
                    <a:pt x="0" y="0"/>
                  </a:moveTo>
                  <a:lnTo>
                    <a:pt x="0" y="399"/>
                  </a:lnTo>
                  <a:lnTo>
                    <a:pt x="346" y="59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505"/>
            </a:solidFill>
            <a:ln w="2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00294F"/>
                </a:solidFill>
              </a:endParaRPr>
            </a:p>
          </p:txBody>
        </p:sp>
        <p:sp>
          <p:nvSpPr>
            <p:cNvPr id="11" name="Freeform 9"/>
            <p:cNvSpPr>
              <a:spLocks/>
            </p:cNvSpPr>
            <p:nvPr/>
          </p:nvSpPr>
          <p:spPr bwMode="auto">
            <a:xfrm>
              <a:off x="7541313" y="2550591"/>
              <a:ext cx="263702" cy="452770"/>
            </a:xfrm>
            <a:custGeom>
              <a:avLst/>
              <a:gdLst>
                <a:gd name="T0" fmla="*/ 0 w 345"/>
                <a:gd name="T1" fmla="*/ 598 h 598"/>
                <a:gd name="T2" fmla="*/ 345 w 345"/>
                <a:gd name="T3" fmla="*/ 0 h 598"/>
                <a:gd name="T4" fmla="*/ 345 w 345"/>
                <a:gd name="T5" fmla="*/ 399 h 598"/>
                <a:gd name="T6" fmla="*/ 0 w 345"/>
                <a:gd name="T7" fmla="*/ 598 h 5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45" h="598">
                  <a:moveTo>
                    <a:pt x="0" y="598"/>
                  </a:moveTo>
                  <a:lnTo>
                    <a:pt x="345" y="0"/>
                  </a:lnTo>
                  <a:lnTo>
                    <a:pt x="345" y="399"/>
                  </a:lnTo>
                  <a:lnTo>
                    <a:pt x="0" y="598"/>
                  </a:lnTo>
                  <a:close/>
                </a:path>
              </a:pathLst>
            </a:custGeom>
            <a:solidFill>
              <a:srgbClr val="FF0505"/>
            </a:solidFill>
            <a:ln w="1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00294F"/>
                </a:solidFill>
              </a:endParaRPr>
            </a:p>
          </p:txBody>
        </p:sp>
        <p:sp>
          <p:nvSpPr>
            <p:cNvPr id="12" name="Freeform 7"/>
            <p:cNvSpPr>
              <a:spLocks/>
            </p:cNvSpPr>
            <p:nvPr/>
          </p:nvSpPr>
          <p:spPr bwMode="auto">
            <a:xfrm rot="10800000">
              <a:off x="7805015" y="2851605"/>
              <a:ext cx="527401" cy="154241"/>
            </a:xfrm>
            <a:custGeom>
              <a:avLst/>
              <a:gdLst>
                <a:gd name="T0" fmla="*/ 0 w 691"/>
                <a:gd name="T1" fmla="*/ 200 h 200"/>
                <a:gd name="T2" fmla="*/ 691 w 691"/>
                <a:gd name="T3" fmla="*/ 200 h 200"/>
                <a:gd name="T4" fmla="*/ 346 w 691"/>
                <a:gd name="T5" fmla="*/ 0 h 200"/>
                <a:gd name="T6" fmla="*/ 0 w 691"/>
                <a:gd name="T7" fmla="*/ 200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91" h="200">
                  <a:moveTo>
                    <a:pt x="0" y="200"/>
                  </a:moveTo>
                  <a:lnTo>
                    <a:pt x="691" y="200"/>
                  </a:lnTo>
                  <a:lnTo>
                    <a:pt x="346" y="0"/>
                  </a:lnTo>
                  <a:lnTo>
                    <a:pt x="0" y="200"/>
                  </a:lnTo>
                  <a:close/>
                </a:path>
              </a:pathLst>
            </a:custGeom>
            <a:solidFill>
              <a:srgbClr val="058CEC"/>
            </a:solidFill>
            <a:ln w="1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00294F"/>
                </a:solidFill>
              </a:endParaRPr>
            </a:p>
          </p:txBody>
        </p:sp>
        <p:sp>
          <p:nvSpPr>
            <p:cNvPr id="13" name="Freeform 8"/>
            <p:cNvSpPr>
              <a:spLocks/>
            </p:cNvSpPr>
            <p:nvPr/>
          </p:nvSpPr>
          <p:spPr bwMode="auto">
            <a:xfrm rot="10800000">
              <a:off x="8068714" y="2398838"/>
              <a:ext cx="263702" cy="452770"/>
            </a:xfrm>
            <a:custGeom>
              <a:avLst/>
              <a:gdLst>
                <a:gd name="T0" fmla="*/ 0 w 346"/>
                <a:gd name="T1" fmla="*/ 0 h 598"/>
                <a:gd name="T2" fmla="*/ 0 w 346"/>
                <a:gd name="T3" fmla="*/ 399 h 598"/>
                <a:gd name="T4" fmla="*/ 346 w 346"/>
                <a:gd name="T5" fmla="*/ 598 h 598"/>
                <a:gd name="T6" fmla="*/ 0 w 346"/>
                <a:gd name="T7" fmla="*/ 0 h 5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46" h="598">
                  <a:moveTo>
                    <a:pt x="0" y="0"/>
                  </a:moveTo>
                  <a:lnTo>
                    <a:pt x="0" y="399"/>
                  </a:lnTo>
                  <a:lnTo>
                    <a:pt x="346" y="59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58CEC"/>
            </a:solidFill>
            <a:ln w="2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00294F"/>
                </a:solidFill>
              </a:endParaRPr>
            </a:p>
          </p:txBody>
        </p:sp>
        <p:sp>
          <p:nvSpPr>
            <p:cNvPr id="14" name="Freeform 9"/>
            <p:cNvSpPr>
              <a:spLocks/>
            </p:cNvSpPr>
            <p:nvPr/>
          </p:nvSpPr>
          <p:spPr bwMode="auto">
            <a:xfrm rot="10800000">
              <a:off x="7805015" y="2398838"/>
              <a:ext cx="263702" cy="452770"/>
            </a:xfrm>
            <a:custGeom>
              <a:avLst/>
              <a:gdLst>
                <a:gd name="T0" fmla="*/ 0 w 345"/>
                <a:gd name="T1" fmla="*/ 598 h 598"/>
                <a:gd name="T2" fmla="*/ 345 w 345"/>
                <a:gd name="T3" fmla="*/ 0 h 598"/>
                <a:gd name="T4" fmla="*/ 345 w 345"/>
                <a:gd name="T5" fmla="*/ 399 h 598"/>
                <a:gd name="T6" fmla="*/ 0 w 345"/>
                <a:gd name="T7" fmla="*/ 598 h 5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45" h="598">
                  <a:moveTo>
                    <a:pt x="0" y="598"/>
                  </a:moveTo>
                  <a:lnTo>
                    <a:pt x="345" y="0"/>
                  </a:lnTo>
                  <a:lnTo>
                    <a:pt x="345" y="399"/>
                  </a:lnTo>
                  <a:lnTo>
                    <a:pt x="0" y="598"/>
                  </a:lnTo>
                  <a:close/>
                </a:path>
              </a:pathLst>
            </a:custGeom>
            <a:solidFill>
              <a:srgbClr val="058CEC"/>
            </a:solidFill>
            <a:ln w="1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00294F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19697549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Основн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lide Number Placeholder 8"/>
          <p:cNvSpPr>
            <a:spLocks noGrp="1"/>
          </p:cNvSpPr>
          <p:nvPr>
            <p:ph type="sldNum" sz="quarter" idx="14"/>
          </p:nvPr>
        </p:nvSpPr>
        <p:spPr>
          <a:xfrm>
            <a:off x="8665706" y="6526188"/>
            <a:ext cx="402094" cy="217518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chemeClr val="bg1"/>
                </a:solidFill>
                <a:latin typeface="+mj-lt"/>
              </a:defRPr>
            </a:lvl1pPr>
          </a:lstStyle>
          <a:p>
            <a:fld id="{8E141AF1-466E-4D9F-B74C-45FFEB47CA13}" type="slidenum">
              <a:rPr lang="de-DE" smtClean="0">
                <a:solidFill>
                  <a:srgbClr val="FFFFFF"/>
                </a:solidFill>
              </a:rPr>
              <a:pPr/>
              <a:t>‹#›</a:t>
            </a:fld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261257" y="1"/>
            <a:ext cx="8612399" cy="897162"/>
          </a:xfrm>
          <a:prstGeom prst="rect">
            <a:avLst/>
          </a:prstGeom>
          <a:ln/>
          <a:effectLst>
            <a:outerShdw dist="17961" dir="2700000" algn="ctr" rotWithShape="0">
              <a:srgbClr val="FFFFFF"/>
            </a:outerShdw>
          </a:effectLst>
        </p:spPr>
        <p:txBody>
          <a:bodyPr lIns="91243" tIns="45622" rIns="91243" bIns="45622" anchor="ctr"/>
          <a:lstStyle>
            <a:lvl1pPr>
              <a:defRPr kumimoji="1" lang="ru-RU" sz="1800" kern="1200">
                <a:solidFill>
                  <a:srgbClr val="016EB3"/>
                </a:solidFill>
              </a:defRPr>
            </a:lvl1pPr>
          </a:lstStyle>
          <a:p>
            <a:pPr lvl="0" defTabSz="819005"/>
            <a:r>
              <a:rPr lang="ru-RU" dirty="0" smtClean="0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446511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500"/>
            </a:lvl1pPr>
          </a:lstStyle>
          <a:p>
            <a:r>
              <a:rPr lang="en-US" dirty="0"/>
              <a:t>Click to edit Master title style</a:t>
            </a:r>
            <a:endParaRPr lang="fr-FR" dirty="0"/>
          </a:p>
        </p:txBody>
      </p:sp>
      <p:sp>
        <p:nvSpPr>
          <p:cNvPr id="3" name="Rectangle 2"/>
          <p:cNvSpPr/>
          <p:nvPr/>
        </p:nvSpPr>
        <p:spPr>
          <a:xfrm>
            <a:off x="0" y="905107"/>
            <a:ext cx="9144000" cy="34180"/>
          </a:xfrm>
          <a:prstGeom prst="rect">
            <a:avLst/>
          </a:prstGeom>
          <a:solidFill>
            <a:schemeClr val="accent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891209"/>
            <a:endParaRPr lang="en-US" dirty="0">
              <a:solidFill>
                <a:srgbClr val="003149"/>
              </a:solidFill>
            </a:endParaRPr>
          </a:p>
        </p:txBody>
      </p:sp>
      <p:sp>
        <p:nvSpPr>
          <p:cNvPr id="4" name="SlideNumber"/>
          <p:cNvSpPr/>
          <p:nvPr/>
        </p:nvSpPr>
        <p:spPr>
          <a:xfrm>
            <a:off x="8216375" y="6668489"/>
            <a:ext cx="300772" cy="86818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 defTabSz="891209"/>
            <a:fld id="{BB69BBE8-4DB2-4642-B003-B220ACD5A2FD}" type="slidenum">
              <a:rPr lang="en-US" sz="900" b="1" smtClean="0">
                <a:solidFill>
                  <a:srgbClr val="080808"/>
                </a:solidFill>
                <a:latin typeface="Verdana" pitchFamily="34" charset="0"/>
              </a:rPr>
              <a:pPr algn="ctr" defTabSz="891209"/>
              <a:t>‹#›</a:t>
            </a:fld>
            <a:endParaRPr lang="fr-FR" sz="900" b="1" dirty="0">
              <a:solidFill>
                <a:srgbClr val="080808"/>
              </a:solidFill>
            </a:endParaRPr>
          </a:p>
        </p:txBody>
      </p:sp>
      <p:cxnSp>
        <p:nvCxnSpPr>
          <p:cNvPr id="5" name="Straight Connector 4"/>
          <p:cNvCxnSpPr/>
          <p:nvPr/>
        </p:nvCxnSpPr>
        <p:spPr>
          <a:xfrm>
            <a:off x="0" y="6555697"/>
            <a:ext cx="9144000" cy="0"/>
          </a:xfrm>
          <a:prstGeom prst="line">
            <a:avLst/>
          </a:prstGeom>
          <a:ln w="12700">
            <a:solidFill>
              <a:srgbClr val="999999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6" name="Group 5"/>
          <p:cNvGrpSpPr/>
          <p:nvPr/>
        </p:nvGrpSpPr>
        <p:grpSpPr>
          <a:xfrm>
            <a:off x="8574091" y="6591936"/>
            <a:ext cx="385992" cy="239924"/>
            <a:chOff x="7277614" y="2396353"/>
            <a:chExt cx="1054802" cy="609493"/>
          </a:xfrm>
        </p:grpSpPr>
        <p:sp>
          <p:nvSpPr>
            <p:cNvPr id="7" name="Freeform 7"/>
            <p:cNvSpPr>
              <a:spLocks/>
            </p:cNvSpPr>
            <p:nvPr/>
          </p:nvSpPr>
          <p:spPr bwMode="auto">
            <a:xfrm>
              <a:off x="7277614" y="2396353"/>
              <a:ext cx="527401" cy="154241"/>
            </a:xfrm>
            <a:custGeom>
              <a:avLst/>
              <a:gdLst>
                <a:gd name="T0" fmla="*/ 0 w 691"/>
                <a:gd name="T1" fmla="*/ 200 h 200"/>
                <a:gd name="T2" fmla="*/ 691 w 691"/>
                <a:gd name="T3" fmla="*/ 200 h 200"/>
                <a:gd name="T4" fmla="*/ 346 w 691"/>
                <a:gd name="T5" fmla="*/ 0 h 200"/>
                <a:gd name="T6" fmla="*/ 0 w 691"/>
                <a:gd name="T7" fmla="*/ 200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91" h="200">
                  <a:moveTo>
                    <a:pt x="0" y="200"/>
                  </a:moveTo>
                  <a:lnTo>
                    <a:pt x="691" y="200"/>
                  </a:lnTo>
                  <a:lnTo>
                    <a:pt x="346" y="0"/>
                  </a:lnTo>
                  <a:lnTo>
                    <a:pt x="0" y="200"/>
                  </a:lnTo>
                  <a:close/>
                </a:path>
              </a:pathLst>
            </a:custGeom>
            <a:solidFill>
              <a:srgbClr val="FF0505"/>
            </a:solidFill>
            <a:ln w="1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891209"/>
              <a:endParaRPr lang="en-US" sz="1700" dirty="0">
                <a:solidFill>
                  <a:srgbClr val="003149"/>
                </a:solidFill>
              </a:endParaRPr>
            </a:p>
          </p:txBody>
        </p:sp>
        <p:sp>
          <p:nvSpPr>
            <p:cNvPr id="8" name="Freeform 8"/>
            <p:cNvSpPr>
              <a:spLocks/>
            </p:cNvSpPr>
            <p:nvPr/>
          </p:nvSpPr>
          <p:spPr bwMode="auto">
            <a:xfrm>
              <a:off x="7277614" y="2550591"/>
              <a:ext cx="263702" cy="452770"/>
            </a:xfrm>
            <a:custGeom>
              <a:avLst/>
              <a:gdLst>
                <a:gd name="T0" fmla="*/ 0 w 346"/>
                <a:gd name="T1" fmla="*/ 0 h 598"/>
                <a:gd name="T2" fmla="*/ 0 w 346"/>
                <a:gd name="T3" fmla="*/ 399 h 598"/>
                <a:gd name="T4" fmla="*/ 346 w 346"/>
                <a:gd name="T5" fmla="*/ 598 h 598"/>
                <a:gd name="T6" fmla="*/ 0 w 346"/>
                <a:gd name="T7" fmla="*/ 0 h 5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46" h="598">
                  <a:moveTo>
                    <a:pt x="0" y="0"/>
                  </a:moveTo>
                  <a:lnTo>
                    <a:pt x="0" y="399"/>
                  </a:lnTo>
                  <a:lnTo>
                    <a:pt x="346" y="59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505"/>
            </a:solidFill>
            <a:ln w="2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891209"/>
              <a:endParaRPr lang="en-US" sz="1700" dirty="0">
                <a:solidFill>
                  <a:srgbClr val="003149"/>
                </a:solidFill>
              </a:endParaRPr>
            </a:p>
          </p:txBody>
        </p:sp>
        <p:sp>
          <p:nvSpPr>
            <p:cNvPr id="9" name="Freeform 9"/>
            <p:cNvSpPr>
              <a:spLocks/>
            </p:cNvSpPr>
            <p:nvPr/>
          </p:nvSpPr>
          <p:spPr bwMode="auto">
            <a:xfrm>
              <a:off x="7541313" y="2550591"/>
              <a:ext cx="263702" cy="452770"/>
            </a:xfrm>
            <a:custGeom>
              <a:avLst/>
              <a:gdLst>
                <a:gd name="T0" fmla="*/ 0 w 345"/>
                <a:gd name="T1" fmla="*/ 598 h 598"/>
                <a:gd name="T2" fmla="*/ 345 w 345"/>
                <a:gd name="T3" fmla="*/ 0 h 598"/>
                <a:gd name="T4" fmla="*/ 345 w 345"/>
                <a:gd name="T5" fmla="*/ 399 h 598"/>
                <a:gd name="T6" fmla="*/ 0 w 345"/>
                <a:gd name="T7" fmla="*/ 598 h 5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45" h="598">
                  <a:moveTo>
                    <a:pt x="0" y="598"/>
                  </a:moveTo>
                  <a:lnTo>
                    <a:pt x="345" y="0"/>
                  </a:lnTo>
                  <a:lnTo>
                    <a:pt x="345" y="399"/>
                  </a:lnTo>
                  <a:lnTo>
                    <a:pt x="0" y="598"/>
                  </a:lnTo>
                  <a:close/>
                </a:path>
              </a:pathLst>
            </a:custGeom>
            <a:solidFill>
              <a:srgbClr val="FF0505"/>
            </a:solidFill>
            <a:ln w="1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891209"/>
              <a:endParaRPr lang="en-US" sz="1700" dirty="0">
                <a:solidFill>
                  <a:srgbClr val="003149"/>
                </a:solidFill>
              </a:endParaRPr>
            </a:p>
          </p:txBody>
        </p:sp>
        <p:sp>
          <p:nvSpPr>
            <p:cNvPr id="10" name="Freeform 7"/>
            <p:cNvSpPr>
              <a:spLocks/>
            </p:cNvSpPr>
            <p:nvPr/>
          </p:nvSpPr>
          <p:spPr bwMode="auto">
            <a:xfrm rot="10800000">
              <a:off x="7805015" y="2851605"/>
              <a:ext cx="527401" cy="154241"/>
            </a:xfrm>
            <a:custGeom>
              <a:avLst/>
              <a:gdLst>
                <a:gd name="T0" fmla="*/ 0 w 691"/>
                <a:gd name="T1" fmla="*/ 200 h 200"/>
                <a:gd name="T2" fmla="*/ 691 w 691"/>
                <a:gd name="T3" fmla="*/ 200 h 200"/>
                <a:gd name="T4" fmla="*/ 346 w 691"/>
                <a:gd name="T5" fmla="*/ 0 h 200"/>
                <a:gd name="T6" fmla="*/ 0 w 691"/>
                <a:gd name="T7" fmla="*/ 200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91" h="200">
                  <a:moveTo>
                    <a:pt x="0" y="200"/>
                  </a:moveTo>
                  <a:lnTo>
                    <a:pt x="691" y="200"/>
                  </a:lnTo>
                  <a:lnTo>
                    <a:pt x="346" y="0"/>
                  </a:lnTo>
                  <a:lnTo>
                    <a:pt x="0" y="200"/>
                  </a:lnTo>
                  <a:close/>
                </a:path>
              </a:pathLst>
            </a:custGeom>
            <a:solidFill>
              <a:srgbClr val="058CEC"/>
            </a:solidFill>
            <a:ln w="1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891209"/>
              <a:endParaRPr lang="en-US" sz="1700" dirty="0">
                <a:solidFill>
                  <a:srgbClr val="003149"/>
                </a:solidFill>
              </a:endParaRPr>
            </a:p>
          </p:txBody>
        </p:sp>
        <p:sp>
          <p:nvSpPr>
            <p:cNvPr id="11" name="Freeform 8"/>
            <p:cNvSpPr>
              <a:spLocks/>
            </p:cNvSpPr>
            <p:nvPr/>
          </p:nvSpPr>
          <p:spPr bwMode="auto">
            <a:xfrm rot="10800000">
              <a:off x="8068714" y="2398838"/>
              <a:ext cx="263702" cy="452770"/>
            </a:xfrm>
            <a:custGeom>
              <a:avLst/>
              <a:gdLst>
                <a:gd name="T0" fmla="*/ 0 w 346"/>
                <a:gd name="T1" fmla="*/ 0 h 598"/>
                <a:gd name="T2" fmla="*/ 0 w 346"/>
                <a:gd name="T3" fmla="*/ 399 h 598"/>
                <a:gd name="T4" fmla="*/ 346 w 346"/>
                <a:gd name="T5" fmla="*/ 598 h 598"/>
                <a:gd name="T6" fmla="*/ 0 w 346"/>
                <a:gd name="T7" fmla="*/ 0 h 5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46" h="598">
                  <a:moveTo>
                    <a:pt x="0" y="0"/>
                  </a:moveTo>
                  <a:lnTo>
                    <a:pt x="0" y="399"/>
                  </a:lnTo>
                  <a:lnTo>
                    <a:pt x="346" y="59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58CEC"/>
            </a:solidFill>
            <a:ln w="2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891209"/>
              <a:endParaRPr lang="en-US" sz="1700" dirty="0">
                <a:solidFill>
                  <a:srgbClr val="003149"/>
                </a:solidFill>
              </a:endParaRPr>
            </a:p>
          </p:txBody>
        </p:sp>
        <p:sp>
          <p:nvSpPr>
            <p:cNvPr id="12" name="Freeform 9"/>
            <p:cNvSpPr>
              <a:spLocks/>
            </p:cNvSpPr>
            <p:nvPr/>
          </p:nvSpPr>
          <p:spPr bwMode="auto">
            <a:xfrm rot="10800000">
              <a:off x="7805015" y="2398838"/>
              <a:ext cx="263702" cy="452770"/>
            </a:xfrm>
            <a:custGeom>
              <a:avLst/>
              <a:gdLst>
                <a:gd name="T0" fmla="*/ 0 w 345"/>
                <a:gd name="T1" fmla="*/ 598 h 598"/>
                <a:gd name="T2" fmla="*/ 345 w 345"/>
                <a:gd name="T3" fmla="*/ 0 h 598"/>
                <a:gd name="T4" fmla="*/ 345 w 345"/>
                <a:gd name="T5" fmla="*/ 399 h 598"/>
                <a:gd name="T6" fmla="*/ 0 w 345"/>
                <a:gd name="T7" fmla="*/ 598 h 5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45" h="598">
                  <a:moveTo>
                    <a:pt x="0" y="598"/>
                  </a:moveTo>
                  <a:lnTo>
                    <a:pt x="345" y="0"/>
                  </a:lnTo>
                  <a:lnTo>
                    <a:pt x="345" y="399"/>
                  </a:lnTo>
                  <a:lnTo>
                    <a:pt x="0" y="598"/>
                  </a:lnTo>
                  <a:close/>
                </a:path>
              </a:pathLst>
            </a:custGeom>
            <a:solidFill>
              <a:srgbClr val="058CEC"/>
            </a:solidFill>
            <a:ln w="1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891209"/>
              <a:endParaRPr lang="en-US" sz="1700" dirty="0">
                <a:solidFill>
                  <a:srgbClr val="003149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28768307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Основн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lide Number Placeholder 8"/>
          <p:cNvSpPr>
            <a:spLocks noGrp="1"/>
          </p:cNvSpPr>
          <p:nvPr>
            <p:ph type="sldNum" sz="quarter" idx="14"/>
          </p:nvPr>
        </p:nvSpPr>
        <p:spPr>
          <a:xfrm>
            <a:off x="8665706" y="6526188"/>
            <a:ext cx="402094" cy="217518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chemeClr val="bg1"/>
                </a:solidFill>
                <a:latin typeface="+mj-lt"/>
              </a:defRPr>
            </a:lvl1pPr>
          </a:lstStyle>
          <a:p>
            <a:fld id="{8E141AF1-466E-4D9F-B74C-45FFEB47CA13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261257" y="1"/>
            <a:ext cx="8612399" cy="897162"/>
          </a:xfrm>
          <a:prstGeom prst="rect">
            <a:avLst/>
          </a:prstGeom>
          <a:ln/>
          <a:effectLst>
            <a:outerShdw dist="17961" dir="2700000" algn="ctr" rotWithShape="0">
              <a:srgbClr val="FFFFFF"/>
            </a:outerShdw>
          </a:effectLst>
        </p:spPr>
        <p:txBody>
          <a:bodyPr lIns="91243" tIns="45622" rIns="91243" bIns="45622" anchor="ctr"/>
          <a:lstStyle>
            <a:lvl1pPr>
              <a:defRPr kumimoji="1" lang="ru-RU" sz="1800" kern="1200">
                <a:solidFill>
                  <a:srgbClr val="016EB3"/>
                </a:solidFill>
              </a:defRPr>
            </a:lvl1pPr>
          </a:lstStyle>
          <a:p>
            <a:pPr lvl="0" defTabSz="819005"/>
            <a:r>
              <a:rPr lang="ru-RU" dirty="0" smtClean="0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0961873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One Char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7"/>
          <p:cNvSpPr>
            <a:spLocks noGrp="1"/>
          </p:cNvSpPr>
          <p:nvPr>
            <p:ph type="pic" sz="quarter" idx="12" hasCustomPrompt="1"/>
          </p:nvPr>
        </p:nvSpPr>
        <p:spPr>
          <a:xfrm>
            <a:off x="353585" y="1292913"/>
            <a:ext cx="8438320" cy="5095600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>
            <a:normAutofit/>
          </a:bodyPr>
          <a:lstStyle>
            <a:lvl1pPr marL="246532" indent="-246532" algn="l" defTabSz="890973" rtl="0" eaLnBrk="1" fontAlgn="base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sz="2200" dirty="0">
                <a:solidFill>
                  <a:schemeClr val="accent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/>
              <a:t>Wizard Chart</a:t>
            </a:r>
          </a:p>
        </p:txBody>
      </p:sp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168404" y="53599"/>
            <a:ext cx="7835048" cy="834431"/>
          </a:xfrm>
        </p:spPr>
        <p:txBody>
          <a:bodyPr/>
          <a:lstStyle>
            <a:lvl1pPr>
              <a:defRPr sz="2500"/>
            </a:lvl1pPr>
          </a:lstStyle>
          <a:p>
            <a:r>
              <a:rPr lang="en-US" dirty="0"/>
              <a:t>Click to edit Master title style</a:t>
            </a:r>
            <a:endParaRPr lang="fr-FR" dirty="0"/>
          </a:p>
        </p:txBody>
      </p:sp>
      <p:sp>
        <p:nvSpPr>
          <p:cNvPr id="5" name="Rectangle 4"/>
          <p:cNvSpPr/>
          <p:nvPr/>
        </p:nvSpPr>
        <p:spPr>
          <a:xfrm>
            <a:off x="0" y="905107"/>
            <a:ext cx="9144000" cy="34180"/>
          </a:xfrm>
          <a:prstGeom prst="rect">
            <a:avLst/>
          </a:prstGeom>
          <a:solidFill>
            <a:schemeClr val="accent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891209"/>
            <a:endParaRPr lang="en-US" dirty="0">
              <a:solidFill>
                <a:srgbClr val="003149"/>
              </a:solidFill>
            </a:endParaRPr>
          </a:p>
        </p:txBody>
      </p:sp>
      <p:sp>
        <p:nvSpPr>
          <p:cNvPr id="6" name="SlideNumber"/>
          <p:cNvSpPr/>
          <p:nvPr/>
        </p:nvSpPr>
        <p:spPr>
          <a:xfrm>
            <a:off x="8216375" y="6668489"/>
            <a:ext cx="300772" cy="86818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 defTabSz="891209"/>
            <a:fld id="{BB69BBE8-4DB2-4642-B003-B220ACD5A2FD}" type="slidenum">
              <a:rPr lang="en-US" sz="900" b="1" smtClean="0">
                <a:solidFill>
                  <a:srgbClr val="080808"/>
                </a:solidFill>
                <a:latin typeface="Verdana" pitchFamily="34" charset="0"/>
              </a:rPr>
              <a:pPr algn="ctr" defTabSz="891209"/>
              <a:t>‹#›</a:t>
            </a:fld>
            <a:endParaRPr lang="fr-FR" sz="900" b="1" dirty="0">
              <a:solidFill>
                <a:srgbClr val="080808"/>
              </a:solidFill>
            </a:endParaRPr>
          </a:p>
        </p:txBody>
      </p:sp>
      <p:cxnSp>
        <p:nvCxnSpPr>
          <p:cNvPr id="7" name="Straight Connector 6"/>
          <p:cNvCxnSpPr/>
          <p:nvPr/>
        </p:nvCxnSpPr>
        <p:spPr>
          <a:xfrm>
            <a:off x="0" y="6555697"/>
            <a:ext cx="9144000" cy="0"/>
          </a:xfrm>
          <a:prstGeom prst="line">
            <a:avLst/>
          </a:prstGeom>
          <a:ln w="12700">
            <a:solidFill>
              <a:srgbClr val="999999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8" name="Group 7"/>
          <p:cNvGrpSpPr/>
          <p:nvPr/>
        </p:nvGrpSpPr>
        <p:grpSpPr>
          <a:xfrm>
            <a:off x="8574091" y="6591936"/>
            <a:ext cx="385992" cy="239924"/>
            <a:chOff x="7277614" y="2396353"/>
            <a:chExt cx="1054802" cy="609493"/>
          </a:xfrm>
        </p:grpSpPr>
        <p:sp>
          <p:nvSpPr>
            <p:cNvPr id="9" name="Freeform 7"/>
            <p:cNvSpPr>
              <a:spLocks/>
            </p:cNvSpPr>
            <p:nvPr/>
          </p:nvSpPr>
          <p:spPr bwMode="auto">
            <a:xfrm>
              <a:off x="7277614" y="2396353"/>
              <a:ext cx="527401" cy="154241"/>
            </a:xfrm>
            <a:custGeom>
              <a:avLst/>
              <a:gdLst>
                <a:gd name="T0" fmla="*/ 0 w 691"/>
                <a:gd name="T1" fmla="*/ 200 h 200"/>
                <a:gd name="T2" fmla="*/ 691 w 691"/>
                <a:gd name="T3" fmla="*/ 200 h 200"/>
                <a:gd name="T4" fmla="*/ 346 w 691"/>
                <a:gd name="T5" fmla="*/ 0 h 200"/>
                <a:gd name="T6" fmla="*/ 0 w 691"/>
                <a:gd name="T7" fmla="*/ 200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91" h="200">
                  <a:moveTo>
                    <a:pt x="0" y="200"/>
                  </a:moveTo>
                  <a:lnTo>
                    <a:pt x="691" y="200"/>
                  </a:lnTo>
                  <a:lnTo>
                    <a:pt x="346" y="0"/>
                  </a:lnTo>
                  <a:lnTo>
                    <a:pt x="0" y="200"/>
                  </a:lnTo>
                  <a:close/>
                </a:path>
              </a:pathLst>
            </a:custGeom>
            <a:solidFill>
              <a:srgbClr val="FF0505"/>
            </a:solidFill>
            <a:ln w="1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891209"/>
              <a:endParaRPr lang="en-US" sz="1700" dirty="0">
                <a:solidFill>
                  <a:srgbClr val="003149"/>
                </a:solidFill>
              </a:endParaRPr>
            </a:p>
          </p:txBody>
        </p:sp>
        <p:sp>
          <p:nvSpPr>
            <p:cNvPr id="10" name="Freeform 8"/>
            <p:cNvSpPr>
              <a:spLocks/>
            </p:cNvSpPr>
            <p:nvPr/>
          </p:nvSpPr>
          <p:spPr bwMode="auto">
            <a:xfrm>
              <a:off x="7277614" y="2550591"/>
              <a:ext cx="263702" cy="452770"/>
            </a:xfrm>
            <a:custGeom>
              <a:avLst/>
              <a:gdLst>
                <a:gd name="T0" fmla="*/ 0 w 346"/>
                <a:gd name="T1" fmla="*/ 0 h 598"/>
                <a:gd name="T2" fmla="*/ 0 w 346"/>
                <a:gd name="T3" fmla="*/ 399 h 598"/>
                <a:gd name="T4" fmla="*/ 346 w 346"/>
                <a:gd name="T5" fmla="*/ 598 h 598"/>
                <a:gd name="T6" fmla="*/ 0 w 346"/>
                <a:gd name="T7" fmla="*/ 0 h 5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46" h="598">
                  <a:moveTo>
                    <a:pt x="0" y="0"/>
                  </a:moveTo>
                  <a:lnTo>
                    <a:pt x="0" y="399"/>
                  </a:lnTo>
                  <a:lnTo>
                    <a:pt x="346" y="59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505"/>
            </a:solidFill>
            <a:ln w="2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891209"/>
              <a:endParaRPr lang="en-US" sz="1700" dirty="0">
                <a:solidFill>
                  <a:srgbClr val="003149"/>
                </a:solidFill>
              </a:endParaRPr>
            </a:p>
          </p:txBody>
        </p:sp>
        <p:sp>
          <p:nvSpPr>
            <p:cNvPr id="11" name="Freeform 9"/>
            <p:cNvSpPr>
              <a:spLocks/>
            </p:cNvSpPr>
            <p:nvPr/>
          </p:nvSpPr>
          <p:spPr bwMode="auto">
            <a:xfrm>
              <a:off x="7541313" y="2550591"/>
              <a:ext cx="263702" cy="452770"/>
            </a:xfrm>
            <a:custGeom>
              <a:avLst/>
              <a:gdLst>
                <a:gd name="T0" fmla="*/ 0 w 345"/>
                <a:gd name="T1" fmla="*/ 598 h 598"/>
                <a:gd name="T2" fmla="*/ 345 w 345"/>
                <a:gd name="T3" fmla="*/ 0 h 598"/>
                <a:gd name="T4" fmla="*/ 345 w 345"/>
                <a:gd name="T5" fmla="*/ 399 h 598"/>
                <a:gd name="T6" fmla="*/ 0 w 345"/>
                <a:gd name="T7" fmla="*/ 598 h 5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45" h="598">
                  <a:moveTo>
                    <a:pt x="0" y="598"/>
                  </a:moveTo>
                  <a:lnTo>
                    <a:pt x="345" y="0"/>
                  </a:lnTo>
                  <a:lnTo>
                    <a:pt x="345" y="399"/>
                  </a:lnTo>
                  <a:lnTo>
                    <a:pt x="0" y="598"/>
                  </a:lnTo>
                  <a:close/>
                </a:path>
              </a:pathLst>
            </a:custGeom>
            <a:solidFill>
              <a:srgbClr val="FF0505"/>
            </a:solidFill>
            <a:ln w="1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891209"/>
              <a:endParaRPr lang="en-US" sz="1700" dirty="0">
                <a:solidFill>
                  <a:srgbClr val="003149"/>
                </a:solidFill>
              </a:endParaRPr>
            </a:p>
          </p:txBody>
        </p:sp>
        <p:sp>
          <p:nvSpPr>
            <p:cNvPr id="12" name="Freeform 7"/>
            <p:cNvSpPr>
              <a:spLocks/>
            </p:cNvSpPr>
            <p:nvPr/>
          </p:nvSpPr>
          <p:spPr bwMode="auto">
            <a:xfrm rot="10800000">
              <a:off x="7805015" y="2851605"/>
              <a:ext cx="527401" cy="154241"/>
            </a:xfrm>
            <a:custGeom>
              <a:avLst/>
              <a:gdLst>
                <a:gd name="T0" fmla="*/ 0 w 691"/>
                <a:gd name="T1" fmla="*/ 200 h 200"/>
                <a:gd name="T2" fmla="*/ 691 w 691"/>
                <a:gd name="T3" fmla="*/ 200 h 200"/>
                <a:gd name="T4" fmla="*/ 346 w 691"/>
                <a:gd name="T5" fmla="*/ 0 h 200"/>
                <a:gd name="T6" fmla="*/ 0 w 691"/>
                <a:gd name="T7" fmla="*/ 200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91" h="200">
                  <a:moveTo>
                    <a:pt x="0" y="200"/>
                  </a:moveTo>
                  <a:lnTo>
                    <a:pt x="691" y="200"/>
                  </a:lnTo>
                  <a:lnTo>
                    <a:pt x="346" y="0"/>
                  </a:lnTo>
                  <a:lnTo>
                    <a:pt x="0" y="200"/>
                  </a:lnTo>
                  <a:close/>
                </a:path>
              </a:pathLst>
            </a:custGeom>
            <a:solidFill>
              <a:srgbClr val="058CEC"/>
            </a:solidFill>
            <a:ln w="1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891209"/>
              <a:endParaRPr lang="en-US" sz="1700" dirty="0">
                <a:solidFill>
                  <a:srgbClr val="003149"/>
                </a:solidFill>
              </a:endParaRPr>
            </a:p>
          </p:txBody>
        </p:sp>
        <p:sp>
          <p:nvSpPr>
            <p:cNvPr id="13" name="Freeform 8"/>
            <p:cNvSpPr>
              <a:spLocks/>
            </p:cNvSpPr>
            <p:nvPr/>
          </p:nvSpPr>
          <p:spPr bwMode="auto">
            <a:xfrm rot="10800000">
              <a:off x="8068714" y="2398838"/>
              <a:ext cx="263702" cy="452770"/>
            </a:xfrm>
            <a:custGeom>
              <a:avLst/>
              <a:gdLst>
                <a:gd name="T0" fmla="*/ 0 w 346"/>
                <a:gd name="T1" fmla="*/ 0 h 598"/>
                <a:gd name="T2" fmla="*/ 0 w 346"/>
                <a:gd name="T3" fmla="*/ 399 h 598"/>
                <a:gd name="T4" fmla="*/ 346 w 346"/>
                <a:gd name="T5" fmla="*/ 598 h 598"/>
                <a:gd name="T6" fmla="*/ 0 w 346"/>
                <a:gd name="T7" fmla="*/ 0 h 5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46" h="598">
                  <a:moveTo>
                    <a:pt x="0" y="0"/>
                  </a:moveTo>
                  <a:lnTo>
                    <a:pt x="0" y="399"/>
                  </a:lnTo>
                  <a:lnTo>
                    <a:pt x="346" y="59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58CEC"/>
            </a:solidFill>
            <a:ln w="2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891209"/>
              <a:endParaRPr lang="en-US" sz="1700" dirty="0">
                <a:solidFill>
                  <a:srgbClr val="003149"/>
                </a:solidFill>
              </a:endParaRPr>
            </a:p>
          </p:txBody>
        </p:sp>
        <p:sp>
          <p:nvSpPr>
            <p:cNvPr id="14" name="Freeform 9"/>
            <p:cNvSpPr>
              <a:spLocks/>
            </p:cNvSpPr>
            <p:nvPr/>
          </p:nvSpPr>
          <p:spPr bwMode="auto">
            <a:xfrm rot="10800000">
              <a:off x="7805015" y="2398838"/>
              <a:ext cx="263702" cy="452770"/>
            </a:xfrm>
            <a:custGeom>
              <a:avLst/>
              <a:gdLst>
                <a:gd name="T0" fmla="*/ 0 w 345"/>
                <a:gd name="T1" fmla="*/ 598 h 598"/>
                <a:gd name="T2" fmla="*/ 345 w 345"/>
                <a:gd name="T3" fmla="*/ 0 h 598"/>
                <a:gd name="T4" fmla="*/ 345 w 345"/>
                <a:gd name="T5" fmla="*/ 399 h 598"/>
                <a:gd name="T6" fmla="*/ 0 w 345"/>
                <a:gd name="T7" fmla="*/ 598 h 5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45" h="598">
                  <a:moveTo>
                    <a:pt x="0" y="598"/>
                  </a:moveTo>
                  <a:lnTo>
                    <a:pt x="345" y="0"/>
                  </a:lnTo>
                  <a:lnTo>
                    <a:pt x="345" y="399"/>
                  </a:lnTo>
                  <a:lnTo>
                    <a:pt x="0" y="598"/>
                  </a:lnTo>
                  <a:close/>
                </a:path>
              </a:pathLst>
            </a:custGeom>
            <a:solidFill>
              <a:srgbClr val="058CEC"/>
            </a:solidFill>
            <a:ln w="1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891209"/>
              <a:endParaRPr lang="en-US" sz="1700" dirty="0">
                <a:solidFill>
                  <a:srgbClr val="003149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21859804"/>
      </p:ext>
    </p:extLst>
  </p:cSld>
  <p:clrMapOvr>
    <a:masterClrMapping/>
  </p:clrMapOvr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wo Char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7"/>
          <p:cNvSpPr>
            <a:spLocks noGrp="1"/>
          </p:cNvSpPr>
          <p:nvPr>
            <p:ph type="pic" sz="quarter" idx="12" hasCustomPrompt="1"/>
          </p:nvPr>
        </p:nvSpPr>
        <p:spPr>
          <a:xfrm>
            <a:off x="353588" y="1406771"/>
            <a:ext cx="4004323" cy="5095600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>
            <a:normAutofit/>
          </a:bodyPr>
          <a:lstStyle>
            <a:lvl1pPr marL="246532" indent="-246532" algn="l" defTabSz="890973" rtl="0" eaLnBrk="1" fontAlgn="base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sz="2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/>
              <a:t>Wizard Chart</a:t>
            </a:r>
          </a:p>
        </p:txBody>
      </p:sp>
      <p:sp>
        <p:nvSpPr>
          <p:cNvPr id="5" name="Picture Placeholder 7"/>
          <p:cNvSpPr>
            <a:spLocks noGrp="1"/>
          </p:cNvSpPr>
          <p:nvPr>
            <p:ph type="pic" sz="quarter" idx="13" hasCustomPrompt="1"/>
          </p:nvPr>
        </p:nvSpPr>
        <p:spPr>
          <a:xfrm>
            <a:off x="4789076" y="1406771"/>
            <a:ext cx="4003071" cy="5095600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>
            <a:normAutofit/>
          </a:bodyPr>
          <a:lstStyle>
            <a:lvl1pPr marL="246532" indent="-246532" algn="l" defTabSz="890973" rtl="0" eaLnBrk="1" fontAlgn="base" latinLnBrk="0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altLang="zh-CN" sz="2200" kern="1200" noProof="1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/>
              <a:t>Wizard Chart</a:t>
            </a:r>
          </a:p>
        </p:txBody>
      </p:sp>
      <p:sp>
        <p:nvSpPr>
          <p:cNvPr id="6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355111" y="1206767"/>
            <a:ext cx="4003071" cy="419016"/>
          </a:xfrm>
          <a:blipFill dpi="0" rotWithShape="1">
            <a:blip r:embed="rId3" cstate="print"/>
            <a:srcRect/>
            <a:tile tx="0" ty="0" sx="100000" sy="100000" flip="none" algn="b"/>
          </a:blipFill>
        </p:spPr>
        <p:txBody>
          <a:bodyPr lIns="0" tIns="0" rIns="0" bIns="83040" anchor="b" anchorCtr="0">
            <a:normAutofit/>
          </a:bodyPr>
          <a:lstStyle>
            <a:lvl1pPr marL="0" indent="0" algn="ctr">
              <a:buNone/>
              <a:defRPr sz="1500" b="1" cap="all" baseline="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5"/>
          </p:nvPr>
        </p:nvSpPr>
        <p:spPr>
          <a:xfrm>
            <a:off x="4785930" y="1206767"/>
            <a:ext cx="4004406" cy="419016"/>
          </a:xfrm>
          <a:blipFill dpi="0" rotWithShape="1">
            <a:blip r:embed="rId3" cstate="print"/>
            <a:srcRect/>
            <a:tile tx="0" ty="0" sx="100000" sy="100000" flip="none" algn="b"/>
          </a:blipFill>
        </p:spPr>
        <p:txBody>
          <a:bodyPr lIns="0" tIns="0" rIns="0" bIns="83040" anchor="b" anchorCtr="0">
            <a:normAutofit/>
          </a:bodyPr>
          <a:lstStyle>
            <a:lvl1pPr marL="0" indent="0" algn="ctr">
              <a:buNone/>
              <a:defRPr sz="1500" b="1" cap="all" baseline="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168404" y="53599"/>
            <a:ext cx="7835048" cy="834431"/>
          </a:xfrm>
        </p:spPr>
        <p:txBody>
          <a:bodyPr/>
          <a:lstStyle>
            <a:lvl1pPr>
              <a:defRPr sz="2500"/>
            </a:lvl1pPr>
          </a:lstStyle>
          <a:p>
            <a:r>
              <a:rPr lang="en-US" dirty="0"/>
              <a:t>Click to edit Master title style</a:t>
            </a:r>
            <a:endParaRPr lang="fr-FR" dirty="0"/>
          </a:p>
        </p:txBody>
      </p:sp>
      <p:sp>
        <p:nvSpPr>
          <p:cNvPr id="9" name="Rectangle 8"/>
          <p:cNvSpPr/>
          <p:nvPr/>
        </p:nvSpPr>
        <p:spPr>
          <a:xfrm>
            <a:off x="0" y="905107"/>
            <a:ext cx="9144000" cy="34180"/>
          </a:xfrm>
          <a:prstGeom prst="rect">
            <a:avLst/>
          </a:prstGeom>
          <a:solidFill>
            <a:schemeClr val="accent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891209"/>
            <a:endParaRPr lang="en-US" dirty="0">
              <a:solidFill>
                <a:srgbClr val="003149"/>
              </a:solidFill>
            </a:endParaRPr>
          </a:p>
        </p:txBody>
      </p:sp>
      <p:sp>
        <p:nvSpPr>
          <p:cNvPr id="10" name="SlideNumber"/>
          <p:cNvSpPr/>
          <p:nvPr/>
        </p:nvSpPr>
        <p:spPr>
          <a:xfrm>
            <a:off x="8216375" y="6668489"/>
            <a:ext cx="300772" cy="86818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 defTabSz="891209"/>
            <a:fld id="{BB69BBE8-4DB2-4642-B003-B220ACD5A2FD}" type="slidenum">
              <a:rPr lang="en-US" sz="900" b="1" smtClean="0">
                <a:solidFill>
                  <a:srgbClr val="080808"/>
                </a:solidFill>
                <a:latin typeface="Verdana" pitchFamily="34" charset="0"/>
              </a:rPr>
              <a:pPr algn="ctr" defTabSz="891209"/>
              <a:t>‹#›</a:t>
            </a:fld>
            <a:endParaRPr lang="fr-FR" sz="900" b="1" dirty="0">
              <a:solidFill>
                <a:srgbClr val="080808"/>
              </a:solidFill>
            </a:endParaRPr>
          </a:p>
        </p:txBody>
      </p:sp>
      <p:cxnSp>
        <p:nvCxnSpPr>
          <p:cNvPr id="11" name="Straight Connector 10"/>
          <p:cNvCxnSpPr/>
          <p:nvPr/>
        </p:nvCxnSpPr>
        <p:spPr>
          <a:xfrm>
            <a:off x="0" y="6555697"/>
            <a:ext cx="9144000" cy="0"/>
          </a:xfrm>
          <a:prstGeom prst="line">
            <a:avLst/>
          </a:prstGeom>
          <a:ln w="12700">
            <a:solidFill>
              <a:srgbClr val="999999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12" name="Group 11"/>
          <p:cNvGrpSpPr/>
          <p:nvPr/>
        </p:nvGrpSpPr>
        <p:grpSpPr>
          <a:xfrm>
            <a:off x="8574091" y="6591936"/>
            <a:ext cx="385992" cy="239924"/>
            <a:chOff x="7277614" y="2396353"/>
            <a:chExt cx="1054802" cy="609493"/>
          </a:xfrm>
        </p:grpSpPr>
        <p:sp>
          <p:nvSpPr>
            <p:cNvPr id="13" name="Freeform 7"/>
            <p:cNvSpPr>
              <a:spLocks/>
            </p:cNvSpPr>
            <p:nvPr/>
          </p:nvSpPr>
          <p:spPr bwMode="auto">
            <a:xfrm>
              <a:off x="7277614" y="2396353"/>
              <a:ext cx="527401" cy="154241"/>
            </a:xfrm>
            <a:custGeom>
              <a:avLst/>
              <a:gdLst>
                <a:gd name="T0" fmla="*/ 0 w 691"/>
                <a:gd name="T1" fmla="*/ 200 h 200"/>
                <a:gd name="T2" fmla="*/ 691 w 691"/>
                <a:gd name="T3" fmla="*/ 200 h 200"/>
                <a:gd name="T4" fmla="*/ 346 w 691"/>
                <a:gd name="T5" fmla="*/ 0 h 200"/>
                <a:gd name="T6" fmla="*/ 0 w 691"/>
                <a:gd name="T7" fmla="*/ 200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91" h="200">
                  <a:moveTo>
                    <a:pt x="0" y="200"/>
                  </a:moveTo>
                  <a:lnTo>
                    <a:pt x="691" y="200"/>
                  </a:lnTo>
                  <a:lnTo>
                    <a:pt x="346" y="0"/>
                  </a:lnTo>
                  <a:lnTo>
                    <a:pt x="0" y="200"/>
                  </a:lnTo>
                  <a:close/>
                </a:path>
              </a:pathLst>
            </a:custGeom>
            <a:solidFill>
              <a:srgbClr val="FF0505"/>
            </a:solidFill>
            <a:ln w="1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891209"/>
              <a:endParaRPr lang="en-US" sz="1700" dirty="0">
                <a:solidFill>
                  <a:srgbClr val="003149"/>
                </a:solidFill>
              </a:endParaRPr>
            </a:p>
          </p:txBody>
        </p:sp>
        <p:sp>
          <p:nvSpPr>
            <p:cNvPr id="14" name="Freeform 8"/>
            <p:cNvSpPr>
              <a:spLocks/>
            </p:cNvSpPr>
            <p:nvPr/>
          </p:nvSpPr>
          <p:spPr bwMode="auto">
            <a:xfrm>
              <a:off x="7277614" y="2550591"/>
              <a:ext cx="263702" cy="452770"/>
            </a:xfrm>
            <a:custGeom>
              <a:avLst/>
              <a:gdLst>
                <a:gd name="T0" fmla="*/ 0 w 346"/>
                <a:gd name="T1" fmla="*/ 0 h 598"/>
                <a:gd name="T2" fmla="*/ 0 w 346"/>
                <a:gd name="T3" fmla="*/ 399 h 598"/>
                <a:gd name="T4" fmla="*/ 346 w 346"/>
                <a:gd name="T5" fmla="*/ 598 h 598"/>
                <a:gd name="T6" fmla="*/ 0 w 346"/>
                <a:gd name="T7" fmla="*/ 0 h 5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46" h="598">
                  <a:moveTo>
                    <a:pt x="0" y="0"/>
                  </a:moveTo>
                  <a:lnTo>
                    <a:pt x="0" y="399"/>
                  </a:lnTo>
                  <a:lnTo>
                    <a:pt x="346" y="59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505"/>
            </a:solidFill>
            <a:ln w="2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891209"/>
              <a:endParaRPr lang="en-US" sz="1700" dirty="0">
                <a:solidFill>
                  <a:srgbClr val="003149"/>
                </a:solidFill>
              </a:endParaRPr>
            </a:p>
          </p:txBody>
        </p:sp>
        <p:sp>
          <p:nvSpPr>
            <p:cNvPr id="15" name="Freeform 9"/>
            <p:cNvSpPr>
              <a:spLocks/>
            </p:cNvSpPr>
            <p:nvPr/>
          </p:nvSpPr>
          <p:spPr bwMode="auto">
            <a:xfrm>
              <a:off x="7541313" y="2550591"/>
              <a:ext cx="263702" cy="452770"/>
            </a:xfrm>
            <a:custGeom>
              <a:avLst/>
              <a:gdLst>
                <a:gd name="T0" fmla="*/ 0 w 345"/>
                <a:gd name="T1" fmla="*/ 598 h 598"/>
                <a:gd name="T2" fmla="*/ 345 w 345"/>
                <a:gd name="T3" fmla="*/ 0 h 598"/>
                <a:gd name="T4" fmla="*/ 345 w 345"/>
                <a:gd name="T5" fmla="*/ 399 h 598"/>
                <a:gd name="T6" fmla="*/ 0 w 345"/>
                <a:gd name="T7" fmla="*/ 598 h 5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45" h="598">
                  <a:moveTo>
                    <a:pt x="0" y="598"/>
                  </a:moveTo>
                  <a:lnTo>
                    <a:pt x="345" y="0"/>
                  </a:lnTo>
                  <a:lnTo>
                    <a:pt x="345" y="399"/>
                  </a:lnTo>
                  <a:lnTo>
                    <a:pt x="0" y="598"/>
                  </a:lnTo>
                  <a:close/>
                </a:path>
              </a:pathLst>
            </a:custGeom>
            <a:solidFill>
              <a:srgbClr val="FF0505"/>
            </a:solidFill>
            <a:ln w="1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891209"/>
              <a:endParaRPr lang="en-US" sz="1700" dirty="0">
                <a:solidFill>
                  <a:srgbClr val="003149"/>
                </a:solidFill>
              </a:endParaRPr>
            </a:p>
          </p:txBody>
        </p:sp>
        <p:sp>
          <p:nvSpPr>
            <p:cNvPr id="16" name="Freeform 7"/>
            <p:cNvSpPr>
              <a:spLocks/>
            </p:cNvSpPr>
            <p:nvPr/>
          </p:nvSpPr>
          <p:spPr bwMode="auto">
            <a:xfrm rot="10800000">
              <a:off x="7805015" y="2851605"/>
              <a:ext cx="527401" cy="154241"/>
            </a:xfrm>
            <a:custGeom>
              <a:avLst/>
              <a:gdLst>
                <a:gd name="T0" fmla="*/ 0 w 691"/>
                <a:gd name="T1" fmla="*/ 200 h 200"/>
                <a:gd name="T2" fmla="*/ 691 w 691"/>
                <a:gd name="T3" fmla="*/ 200 h 200"/>
                <a:gd name="T4" fmla="*/ 346 w 691"/>
                <a:gd name="T5" fmla="*/ 0 h 200"/>
                <a:gd name="T6" fmla="*/ 0 w 691"/>
                <a:gd name="T7" fmla="*/ 200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91" h="200">
                  <a:moveTo>
                    <a:pt x="0" y="200"/>
                  </a:moveTo>
                  <a:lnTo>
                    <a:pt x="691" y="200"/>
                  </a:lnTo>
                  <a:lnTo>
                    <a:pt x="346" y="0"/>
                  </a:lnTo>
                  <a:lnTo>
                    <a:pt x="0" y="200"/>
                  </a:lnTo>
                  <a:close/>
                </a:path>
              </a:pathLst>
            </a:custGeom>
            <a:solidFill>
              <a:srgbClr val="058CEC"/>
            </a:solidFill>
            <a:ln w="1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891209"/>
              <a:endParaRPr lang="en-US" sz="1700" dirty="0">
                <a:solidFill>
                  <a:srgbClr val="003149"/>
                </a:solidFill>
              </a:endParaRPr>
            </a:p>
          </p:txBody>
        </p:sp>
        <p:sp>
          <p:nvSpPr>
            <p:cNvPr id="17" name="Freeform 8"/>
            <p:cNvSpPr>
              <a:spLocks/>
            </p:cNvSpPr>
            <p:nvPr/>
          </p:nvSpPr>
          <p:spPr bwMode="auto">
            <a:xfrm rot="10800000">
              <a:off x="8068714" y="2398838"/>
              <a:ext cx="263702" cy="452770"/>
            </a:xfrm>
            <a:custGeom>
              <a:avLst/>
              <a:gdLst>
                <a:gd name="T0" fmla="*/ 0 w 346"/>
                <a:gd name="T1" fmla="*/ 0 h 598"/>
                <a:gd name="T2" fmla="*/ 0 w 346"/>
                <a:gd name="T3" fmla="*/ 399 h 598"/>
                <a:gd name="T4" fmla="*/ 346 w 346"/>
                <a:gd name="T5" fmla="*/ 598 h 598"/>
                <a:gd name="T6" fmla="*/ 0 w 346"/>
                <a:gd name="T7" fmla="*/ 0 h 5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46" h="598">
                  <a:moveTo>
                    <a:pt x="0" y="0"/>
                  </a:moveTo>
                  <a:lnTo>
                    <a:pt x="0" y="399"/>
                  </a:lnTo>
                  <a:lnTo>
                    <a:pt x="346" y="59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58CEC"/>
            </a:solidFill>
            <a:ln w="2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891209"/>
              <a:endParaRPr lang="en-US" sz="1700" dirty="0">
                <a:solidFill>
                  <a:srgbClr val="003149"/>
                </a:solidFill>
              </a:endParaRPr>
            </a:p>
          </p:txBody>
        </p:sp>
        <p:sp>
          <p:nvSpPr>
            <p:cNvPr id="18" name="Freeform 9"/>
            <p:cNvSpPr>
              <a:spLocks/>
            </p:cNvSpPr>
            <p:nvPr/>
          </p:nvSpPr>
          <p:spPr bwMode="auto">
            <a:xfrm rot="10800000">
              <a:off x="7805015" y="2398838"/>
              <a:ext cx="263702" cy="452770"/>
            </a:xfrm>
            <a:custGeom>
              <a:avLst/>
              <a:gdLst>
                <a:gd name="T0" fmla="*/ 0 w 345"/>
                <a:gd name="T1" fmla="*/ 598 h 598"/>
                <a:gd name="T2" fmla="*/ 345 w 345"/>
                <a:gd name="T3" fmla="*/ 0 h 598"/>
                <a:gd name="T4" fmla="*/ 345 w 345"/>
                <a:gd name="T5" fmla="*/ 399 h 598"/>
                <a:gd name="T6" fmla="*/ 0 w 345"/>
                <a:gd name="T7" fmla="*/ 598 h 5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45" h="598">
                  <a:moveTo>
                    <a:pt x="0" y="598"/>
                  </a:moveTo>
                  <a:lnTo>
                    <a:pt x="345" y="0"/>
                  </a:lnTo>
                  <a:lnTo>
                    <a:pt x="345" y="399"/>
                  </a:lnTo>
                  <a:lnTo>
                    <a:pt x="0" y="598"/>
                  </a:lnTo>
                  <a:close/>
                </a:path>
              </a:pathLst>
            </a:custGeom>
            <a:solidFill>
              <a:srgbClr val="058CEC"/>
            </a:solidFill>
            <a:ln w="1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891209"/>
              <a:endParaRPr lang="en-US" sz="1700" dirty="0">
                <a:solidFill>
                  <a:srgbClr val="003149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554215350"/>
      </p:ext>
    </p:extLst>
  </p:cSld>
  <p:clrMapOvr>
    <a:masterClrMapping/>
  </p:clrMapOvr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hree Char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7"/>
          <p:cNvSpPr>
            <a:spLocks noGrp="1"/>
          </p:cNvSpPr>
          <p:nvPr>
            <p:ph type="pic" sz="quarter" idx="12" hasCustomPrompt="1"/>
          </p:nvPr>
        </p:nvSpPr>
        <p:spPr>
          <a:xfrm>
            <a:off x="353588" y="1408225"/>
            <a:ext cx="2744041" cy="5095600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>
            <a:normAutofit/>
          </a:bodyPr>
          <a:lstStyle>
            <a:lvl1pPr marL="246532" indent="-246532" algn="l" defTabSz="890973" rtl="0" eaLnBrk="1" fontAlgn="base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sz="2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/>
              <a:t>Wizard Chart</a:t>
            </a:r>
          </a:p>
        </p:txBody>
      </p:sp>
      <p:sp>
        <p:nvSpPr>
          <p:cNvPr id="5" name="Picture Placeholder 7"/>
          <p:cNvSpPr>
            <a:spLocks noGrp="1"/>
          </p:cNvSpPr>
          <p:nvPr>
            <p:ph type="pic" sz="quarter" idx="13" hasCustomPrompt="1"/>
          </p:nvPr>
        </p:nvSpPr>
        <p:spPr>
          <a:xfrm>
            <a:off x="6064239" y="1408225"/>
            <a:ext cx="2744041" cy="5095600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>
            <a:normAutofit/>
          </a:bodyPr>
          <a:lstStyle>
            <a:lvl1pPr marL="246532" indent="-246532" algn="l" defTabSz="890973" rtl="0" eaLnBrk="1" fontAlgn="base" latinLnBrk="0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altLang="zh-CN" sz="2200" kern="1200" noProof="1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/>
              <a:t>Wizard Chart</a:t>
            </a:r>
          </a:p>
        </p:txBody>
      </p:sp>
      <p:sp>
        <p:nvSpPr>
          <p:cNvPr id="6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355115" y="1206767"/>
            <a:ext cx="2744041" cy="419016"/>
          </a:xfrm>
          <a:blipFill dpi="0" rotWithShape="1">
            <a:blip r:embed="rId3" cstate="print"/>
            <a:srcRect/>
            <a:tile tx="0" ty="0" sx="100000" sy="100000" flip="none" algn="b"/>
          </a:blipFill>
        </p:spPr>
        <p:txBody>
          <a:bodyPr lIns="0" tIns="0" rIns="0" bIns="83040" anchor="b" anchorCtr="0">
            <a:normAutofit/>
          </a:bodyPr>
          <a:lstStyle>
            <a:lvl1pPr marL="0" indent="0" algn="ctr">
              <a:buNone/>
              <a:defRPr sz="1500" b="1" cap="all" baseline="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5"/>
          </p:nvPr>
        </p:nvSpPr>
        <p:spPr>
          <a:xfrm>
            <a:off x="6061102" y="1206767"/>
            <a:ext cx="2744041" cy="419016"/>
          </a:xfrm>
          <a:blipFill dpi="0" rotWithShape="1">
            <a:blip r:embed="rId3" cstate="print"/>
            <a:srcRect/>
            <a:tile tx="0" ty="0" sx="100000" sy="100000" flip="none" algn="b"/>
          </a:blipFill>
        </p:spPr>
        <p:txBody>
          <a:bodyPr lIns="0" tIns="0" rIns="0" bIns="83040" anchor="b" anchorCtr="0">
            <a:normAutofit/>
          </a:bodyPr>
          <a:lstStyle>
            <a:lvl1pPr marL="0" indent="0" algn="ctr">
              <a:buNone/>
              <a:defRPr sz="1500" b="1" cap="all" baseline="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6" hasCustomPrompt="1"/>
          </p:nvPr>
        </p:nvSpPr>
        <p:spPr>
          <a:xfrm>
            <a:off x="3208912" y="1408225"/>
            <a:ext cx="2744041" cy="5095600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>
            <a:normAutofit/>
          </a:bodyPr>
          <a:lstStyle>
            <a:lvl1pPr marL="246532" indent="-246532" algn="l" defTabSz="890973" rtl="0" eaLnBrk="1" fontAlgn="base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sz="2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/>
              <a:t>Wizard Chart</a:t>
            </a:r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7"/>
          </p:nvPr>
        </p:nvSpPr>
        <p:spPr>
          <a:xfrm>
            <a:off x="3212142" y="1206767"/>
            <a:ext cx="2744041" cy="419016"/>
          </a:xfrm>
          <a:blipFill dpi="0" rotWithShape="1">
            <a:blip r:embed="rId3" cstate="print"/>
            <a:srcRect/>
            <a:tile tx="0" ty="0" sx="100000" sy="100000" flip="none" algn="b"/>
          </a:blipFill>
        </p:spPr>
        <p:txBody>
          <a:bodyPr lIns="0" tIns="0" rIns="0" bIns="83040" anchor="b" anchorCtr="0">
            <a:normAutofit/>
          </a:bodyPr>
          <a:lstStyle>
            <a:lvl1pPr marL="0" indent="0" algn="ctr">
              <a:buNone/>
              <a:defRPr sz="1500" b="1" cap="all" baseline="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168404" y="53599"/>
            <a:ext cx="7835048" cy="834431"/>
          </a:xfrm>
        </p:spPr>
        <p:txBody>
          <a:bodyPr/>
          <a:lstStyle>
            <a:lvl1pPr>
              <a:defRPr sz="2500"/>
            </a:lvl1pPr>
          </a:lstStyle>
          <a:p>
            <a:r>
              <a:rPr lang="en-US" dirty="0"/>
              <a:t>Click to edit Master title style</a:t>
            </a:r>
            <a:endParaRPr lang="fr-FR" dirty="0"/>
          </a:p>
        </p:txBody>
      </p:sp>
      <p:sp>
        <p:nvSpPr>
          <p:cNvPr id="11" name="Rectangle 10"/>
          <p:cNvSpPr/>
          <p:nvPr/>
        </p:nvSpPr>
        <p:spPr>
          <a:xfrm>
            <a:off x="0" y="905107"/>
            <a:ext cx="9144000" cy="34180"/>
          </a:xfrm>
          <a:prstGeom prst="rect">
            <a:avLst/>
          </a:prstGeom>
          <a:solidFill>
            <a:schemeClr val="accent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891209"/>
            <a:endParaRPr lang="en-US" dirty="0">
              <a:solidFill>
                <a:srgbClr val="003149"/>
              </a:solidFill>
            </a:endParaRPr>
          </a:p>
        </p:txBody>
      </p:sp>
      <p:sp>
        <p:nvSpPr>
          <p:cNvPr id="12" name="SlideNumber"/>
          <p:cNvSpPr/>
          <p:nvPr/>
        </p:nvSpPr>
        <p:spPr>
          <a:xfrm>
            <a:off x="8216375" y="6668489"/>
            <a:ext cx="300772" cy="86818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 defTabSz="891209"/>
            <a:fld id="{BB69BBE8-4DB2-4642-B003-B220ACD5A2FD}" type="slidenum">
              <a:rPr lang="en-US" sz="900" b="1" smtClean="0">
                <a:solidFill>
                  <a:srgbClr val="080808"/>
                </a:solidFill>
                <a:latin typeface="Verdana" pitchFamily="34" charset="0"/>
              </a:rPr>
              <a:pPr algn="ctr" defTabSz="891209"/>
              <a:t>‹#›</a:t>
            </a:fld>
            <a:endParaRPr lang="fr-FR" sz="900" b="1" dirty="0">
              <a:solidFill>
                <a:srgbClr val="080808"/>
              </a:solidFill>
            </a:endParaRPr>
          </a:p>
        </p:txBody>
      </p:sp>
      <p:cxnSp>
        <p:nvCxnSpPr>
          <p:cNvPr id="13" name="Straight Connector 12"/>
          <p:cNvCxnSpPr/>
          <p:nvPr/>
        </p:nvCxnSpPr>
        <p:spPr>
          <a:xfrm>
            <a:off x="0" y="6555697"/>
            <a:ext cx="9144000" cy="0"/>
          </a:xfrm>
          <a:prstGeom prst="line">
            <a:avLst/>
          </a:prstGeom>
          <a:ln w="12700">
            <a:solidFill>
              <a:srgbClr val="999999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14" name="Group 13"/>
          <p:cNvGrpSpPr/>
          <p:nvPr/>
        </p:nvGrpSpPr>
        <p:grpSpPr>
          <a:xfrm>
            <a:off x="8574091" y="6591936"/>
            <a:ext cx="385992" cy="239924"/>
            <a:chOff x="7277614" y="2396353"/>
            <a:chExt cx="1054802" cy="609493"/>
          </a:xfrm>
        </p:grpSpPr>
        <p:sp>
          <p:nvSpPr>
            <p:cNvPr id="15" name="Freeform 7"/>
            <p:cNvSpPr>
              <a:spLocks/>
            </p:cNvSpPr>
            <p:nvPr/>
          </p:nvSpPr>
          <p:spPr bwMode="auto">
            <a:xfrm>
              <a:off x="7277614" y="2396353"/>
              <a:ext cx="527401" cy="154241"/>
            </a:xfrm>
            <a:custGeom>
              <a:avLst/>
              <a:gdLst>
                <a:gd name="T0" fmla="*/ 0 w 691"/>
                <a:gd name="T1" fmla="*/ 200 h 200"/>
                <a:gd name="T2" fmla="*/ 691 w 691"/>
                <a:gd name="T3" fmla="*/ 200 h 200"/>
                <a:gd name="T4" fmla="*/ 346 w 691"/>
                <a:gd name="T5" fmla="*/ 0 h 200"/>
                <a:gd name="T6" fmla="*/ 0 w 691"/>
                <a:gd name="T7" fmla="*/ 200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91" h="200">
                  <a:moveTo>
                    <a:pt x="0" y="200"/>
                  </a:moveTo>
                  <a:lnTo>
                    <a:pt x="691" y="200"/>
                  </a:lnTo>
                  <a:lnTo>
                    <a:pt x="346" y="0"/>
                  </a:lnTo>
                  <a:lnTo>
                    <a:pt x="0" y="200"/>
                  </a:lnTo>
                  <a:close/>
                </a:path>
              </a:pathLst>
            </a:custGeom>
            <a:solidFill>
              <a:srgbClr val="FF0505"/>
            </a:solidFill>
            <a:ln w="1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891209"/>
              <a:endParaRPr lang="en-US" sz="1700" dirty="0">
                <a:solidFill>
                  <a:srgbClr val="003149"/>
                </a:solidFill>
              </a:endParaRPr>
            </a:p>
          </p:txBody>
        </p:sp>
        <p:sp>
          <p:nvSpPr>
            <p:cNvPr id="16" name="Freeform 8"/>
            <p:cNvSpPr>
              <a:spLocks/>
            </p:cNvSpPr>
            <p:nvPr/>
          </p:nvSpPr>
          <p:spPr bwMode="auto">
            <a:xfrm>
              <a:off x="7277614" y="2550591"/>
              <a:ext cx="263702" cy="452770"/>
            </a:xfrm>
            <a:custGeom>
              <a:avLst/>
              <a:gdLst>
                <a:gd name="T0" fmla="*/ 0 w 346"/>
                <a:gd name="T1" fmla="*/ 0 h 598"/>
                <a:gd name="T2" fmla="*/ 0 w 346"/>
                <a:gd name="T3" fmla="*/ 399 h 598"/>
                <a:gd name="T4" fmla="*/ 346 w 346"/>
                <a:gd name="T5" fmla="*/ 598 h 598"/>
                <a:gd name="T6" fmla="*/ 0 w 346"/>
                <a:gd name="T7" fmla="*/ 0 h 5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46" h="598">
                  <a:moveTo>
                    <a:pt x="0" y="0"/>
                  </a:moveTo>
                  <a:lnTo>
                    <a:pt x="0" y="399"/>
                  </a:lnTo>
                  <a:lnTo>
                    <a:pt x="346" y="59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505"/>
            </a:solidFill>
            <a:ln w="2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891209"/>
              <a:endParaRPr lang="en-US" sz="1700" dirty="0">
                <a:solidFill>
                  <a:srgbClr val="003149"/>
                </a:solidFill>
              </a:endParaRPr>
            </a:p>
          </p:txBody>
        </p:sp>
        <p:sp>
          <p:nvSpPr>
            <p:cNvPr id="17" name="Freeform 9"/>
            <p:cNvSpPr>
              <a:spLocks/>
            </p:cNvSpPr>
            <p:nvPr/>
          </p:nvSpPr>
          <p:spPr bwMode="auto">
            <a:xfrm>
              <a:off x="7541313" y="2550591"/>
              <a:ext cx="263702" cy="452770"/>
            </a:xfrm>
            <a:custGeom>
              <a:avLst/>
              <a:gdLst>
                <a:gd name="T0" fmla="*/ 0 w 345"/>
                <a:gd name="T1" fmla="*/ 598 h 598"/>
                <a:gd name="T2" fmla="*/ 345 w 345"/>
                <a:gd name="T3" fmla="*/ 0 h 598"/>
                <a:gd name="T4" fmla="*/ 345 w 345"/>
                <a:gd name="T5" fmla="*/ 399 h 598"/>
                <a:gd name="T6" fmla="*/ 0 w 345"/>
                <a:gd name="T7" fmla="*/ 598 h 5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45" h="598">
                  <a:moveTo>
                    <a:pt x="0" y="598"/>
                  </a:moveTo>
                  <a:lnTo>
                    <a:pt x="345" y="0"/>
                  </a:lnTo>
                  <a:lnTo>
                    <a:pt x="345" y="399"/>
                  </a:lnTo>
                  <a:lnTo>
                    <a:pt x="0" y="598"/>
                  </a:lnTo>
                  <a:close/>
                </a:path>
              </a:pathLst>
            </a:custGeom>
            <a:solidFill>
              <a:srgbClr val="FF0505"/>
            </a:solidFill>
            <a:ln w="1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891209"/>
              <a:endParaRPr lang="en-US" sz="1700" dirty="0">
                <a:solidFill>
                  <a:srgbClr val="003149"/>
                </a:solidFill>
              </a:endParaRPr>
            </a:p>
          </p:txBody>
        </p:sp>
        <p:sp>
          <p:nvSpPr>
            <p:cNvPr id="18" name="Freeform 7"/>
            <p:cNvSpPr>
              <a:spLocks/>
            </p:cNvSpPr>
            <p:nvPr/>
          </p:nvSpPr>
          <p:spPr bwMode="auto">
            <a:xfrm rot="10800000">
              <a:off x="7805015" y="2851605"/>
              <a:ext cx="527401" cy="154241"/>
            </a:xfrm>
            <a:custGeom>
              <a:avLst/>
              <a:gdLst>
                <a:gd name="T0" fmla="*/ 0 w 691"/>
                <a:gd name="T1" fmla="*/ 200 h 200"/>
                <a:gd name="T2" fmla="*/ 691 w 691"/>
                <a:gd name="T3" fmla="*/ 200 h 200"/>
                <a:gd name="T4" fmla="*/ 346 w 691"/>
                <a:gd name="T5" fmla="*/ 0 h 200"/>
                <a:gd name="T6" fmla="*/ 0 w 691"/>
                <a:gd name="T7" fmla="*/ 200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91" h="200">
                  <a:moveTo>
                    <a:pt x="0" y="200"/>
                  </a:moveTo>
                  <a:lnTo>
                    <a:pt x="691" y="200"/>
                  </a:lnTo>
                  <a:lnTo>
                    <a:pt x="346" y="0"/>
                  </a:lnTo>
                  <a:lnTo>
                    <a:pt x="0" y="200"/>
                  </a:lnTo>
                  <a:close/>
                </a:path>
              </a:pathLst>
            </a:custGeom>
            <a:solidFill>
              <a:srgbClr val="058CEC"/>
            </a:solidFill>
            <a:ln w="1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891209"/>
              <a:endParaRPr lang="en-US" sz="1700" dirty="0">
                <a:solidFill>
                  <a:srgbClr val="003149"/>
                </a:solidFill>
              </a:endParaRPr>
            </a:p>
          </p:txBody>
        </p:sp>
        <p:sp>
          <p:nvSpPr>
            <p:cNvPr id="19" name="Freeform 8"/>
            <p:cNvSpPr>
              <a:spLocks/>
            </p:cNvSpPr>
            <p:nvPr/>
          </p:nvSpPr>
          <p:spPr bwMode="auto">
            <a:xfrm rot="10800000">
              <a:off x="8068714" y="2398838"/>
              <a:ext cx="263702" cy="452770"/>
            </a:xfrm>
            <a:custGeom>
              <a:avLst/>
              <a:gdLst>
                <a:gd name="T0" fmla="*/ 0 w 346"/>
                <a:gd name="T1" fmla="*/ 0 h 598"/>
                <a:gd name="T2" fmla="*/ 0 w 346"/>
                <a:gd name="T3" fmla="*/ 399 h 598"/>
                <a:gd name="T4" fmla="*/ 346 w 346"/>
                <a:gd name="T5" fmla="*/ 598 h 598"/>
                <a:gd name="T6" fmla="*/ 0 w 346"/>
                <a:gd name="T7" fmla="*/ 0 h 5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46" h="598">
                  <a:moveTo>
                    <a:pt x="0" y="0"/>
                  </a:moveTo>
                  <a:lnTo>
                    <a:pt x="0" y="399"/>
                  </a:lnTo>
                  <a:lnTo>
                    <a:pt x="346" y="59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58CEC"/>
            </a:solidFill>
            <a:ln w="2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891209"/>
              <a:endParaRPr lang="en-US" sz="1700" dirty="0">
                <a:solidFill>
                  <a:srgbClr val="003149"/>
                </a:solidFill>
              </a:endParaRPr>
            </a:p>
          </p:txBody>
        </p:sp>
        <p:sp>
          <p:nvSpPr>
            <p:cNvPr id="20" name="Freeform 9"/>
            <p:cNvSpPr>
              <a:spLocks/>
            </p:cNvSpPr>
            <p:nvPr/>
          </p:nvSpPr>
          <p:spPr bwMode="auto">
            <a:xfrm rot="10800000">
              <a:off x="7805015" y="2398838"/>
              <a:ext cx="263702" cy="452770"/>
            </a:xfrm>
            <a:custGeom>
              <a:avLst/>
              <a:gdLst>
                <a:gd name="T0" fmla="*/ 0 w 345"/>
                <a:gd name="T1" fmla="*/ 598 h 598"/>
                <a:gd name="T2" fmla="*/ 345 w 345"/>
                <a:gd name="T3" fmla="*/ 0 h 598"/>
                <a:gd name="T4" fmla="*/ 345 w 345"/>
                <a:gd name="T5" fmla="*/ 399 h 598"/>
                <a:gd name="T6" fmla="*/ 0 w 345"/>
                <a:gd name="T7" fmla="*/ 598 h 5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45" h="598">
                  <a:moveTo>
                    <a:pt x="0" y="598"/>
                  </a:moveTo>
                  <a:lnTo>
                    <a:pt x="345" y="0"/>
                  </a:lnTo>
                  <a:lnTo>
                    <a:pt x="345" y="399"/>
                  </a:lnTo>
                  <a:lnTo>
                    <a:pt x="0" y="598"/>
                  </a:lnTo>
                  <a:close/>
                </a:path>
              </a:pathLst>
            </a:custGeom>
            <a:solidFill>
              <a:srgbClr val="058CEC"/>
            </a:solidFill>
            <a:ln w="1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891209"/>
              <a:endParaRPr lang="en-US" sz="1700" dirty="0">
                <a:solidFill>
                  <a:srgbClr val="003149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157738601"/>
      </p:ext>
    </p:extLst>
  </p:cSld>
  <p:clrMapOvr>
    <a:masterClrMapping/>
  </p:clrMapOvr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our Char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7"/>
          <p:cNvSpPr>
            <a:spLocks noGrp="1"/>
          </p:cNvSpPr>
          <p:nvPr>
            <p:ph type="pic" sz="quarter" idx="12" hasCustomPrompt="1"/>
          </p:nvPr>
        </p:nvSpPr>
        <p:spPr>
          <a:xfrm>
            <a:off x="353588" y="1292912"/>
            <a:ext cx="4004323" cy="2535079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>
            <a:normAutofit/>
          </a:bodyPr>
          <a:lstStyle>
            <a:lvl1pPr marL="246532" indent="-246532" algn="l" defTabSz="890973" rtl="0" eaLnBrk="1" fontAlgn="base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sz="2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/>
              <a:t>Wizard Chart</a:t>
            </a:r>
          </a:p>
        </p:txBody>
      </p:sp>
      <p:sp>
        <p:nvSpPr>
          <p:cNvPr id="5" name="Picture Placeholder 7"/>
          <p:cNvSpPr>
            <a:spLocks noGrp="1"/>
          </p:cNvSpPr>
          <p:nvPr>
            <p:ph type="pic" sz="quarter" idx="13" hasCustomPrompt="1"/>
          </p:nvPr>
        </p:nvSpPr>
        <p:spPr>
          <a:xfrm>
            <a:off x="4789076" y="1292912"/>
            <a:ext cx="4003071" cy="2535079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>
            <a:normAutofit/>
          </a:bodyPr>
          <a:lstStyle>
            <a:lvl1pPr marL="246532" indent="-246532" algn="l" defTabSz="890973" rtl="0" eaLnBrk="1" fontAlgn="base" latinLnBrk="0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altLang="zh-CN" sz="2200" kern="1200" noProof="1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/>
              <a:t>Wizard Chart</a:t>
            </a:r>
          </a:p>
        </p:txBody>
      </p:sp>
      <p:sp>
        <p:nvSpPr>
          <p:cNvPr id="6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355111" y="1093904"/>
            <a:ext cx="4003071" cy="419016"/>
          </a:xfrm>
          <a:blipFill dpi="0" rotWithShape="1">
            <a:blip r:embed="rId3" cstate="print"/>
            <a:srcRect/>
            <a:tile tx="0" ty="0" sx="100000" sy="100000" flip="none" algn="b"/>
          </a:blipFill>
        </p:spPr>
        <p:txBody>
          <a:bodyPr lIns="0" tIns="0" rIns="0" bIns="83040" anchor="b" anchorCtr="0">
            <a:normAutofit/>
          </a:bodyPr>
          <a:lstStyle>
            <a:lvl1pPr marL="0" indent="0" algn="ctr">
              <a:buNone/>
              <a:defRPr sz="1500" b="1" cap="all" baseline="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5"/>
          </p:nvPr>
        </p:nvSpPr>
        <p:spPr>
          <a:xfrm>
            <a:off x="4785930" y="1093904"/>
            <a:ext cx="4004406" cy="419016"/>
          </a:xfrm>
          <a:blipFill dpi="0" rotWithShape="1">
            <a:blip r:embed="rId3" cstate="print"/>
            <a:srcRect/>
            <a:tile tx="0" ty="0" sx="100000" sy="100000" flip="none" algn="b"/>
          </a:blipFill>
        </p:spPr>
        <p:txBody>
          <a:bodyPr lIns="0" tIns="0" rIns="0" bIns="83040" anchor="b" anchorCtr="0">
            <a:normAutofit/>
          </a:bodyPr>
          <a:lstStyle>
            <a:lvl1pPr marL="0" indent="0" algn="ctr">
              <a:buNone/>
              <a:defRPr sz="1500" b="1" cap="all" baseline="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6" hasCustomPrompt="1"/>
          </p:nvPr>
        </p:nvSpPr>
        <p:spPr>
          <a:xfrm>
            <a:off x="355115" y="3993909"/>
            <a:ext cx="4004323" cy="2535079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>
            <a:normAutofit/>
          </a:bodyPr>
          <a:lstStyle>
            <a:lvl1pPr marL="246532" indent="-246532" algn="l" defTabSz="890973" rtl="0" eaLnBrk="1" fontAlgn="base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sz="2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/>
              <a:t>Wizard Chart</a:t>
            </a:r>
          </a:p>
        </p:txBody>
      </p:sp>
      <p:sp>
        <p:nvSpPr>
          <p:cNvPr id="9" name="Picture Placeholder 7"/>
          <p:cNvSpPr>
            <a:spLocks noGrp="1"/>
          </p:cNvSpPr>
          <p:nvPr>
            <p:ph type="pic" sz="quarter" idx="17" hasCustomPrompt="1"/>
          </p:nvPr>
        </p:nvSpPr>
        <p:spPr>
          <a:xfrm>
            <a:off x="4785933" y="3993909"/>
            <a:ext cx="4003071" cy="2535079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>
            <a:normAutofit/>
          </a:bodyPr>
          <a:lstStyle>
            <a:lvl1pPr marL="246532" indent="-246532" algn="l" defTabSz="890973" rtl="0" eaLnBrk="1" fontAlgn="base" latinLnBrk="0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altLang="zh-CN" sz="2200" kern="1200" noProof="1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/>
              <a:t>Wizard Chart</a:t>
            </a:r>
          </a:p>
        </p:txBody>
      </p:sp>
      <p:sp>
        <p:nvSpPr>
          <p:cNvPr id="10" name="Text Placeholder 6"/>
          <p:cNvSpPr>
            <a:spLocks noGrp="1"/>
          </p:cNvSpPr>
          <p:nvPr>
            <p:ph type="body" sz="quarter" idx="18"/>
          </p:nvPr>
        </p:nvSpPr>
        <p:spPr>
          <a:xfrm>
            <a:off x="355111" y="3793939"/>
            <a:ext cx="4003071" cy="419016"/>
          </a:xfrm>
          <a:blipFill dpi="0" rotWithShape="1">
            <a:blip r:embed="rId3" cstate="print"/>
            <a:srcRect/>
            <a:tile tx="0" ty="0" sx="100000" sy="100000" flip="none" algn="b"/>
          </a:blipFill>
        </p:spPr>
        <p:txBody>
          <a:bodyPr lIns="0" tIns="0" rIns="0" bIns="83040" anchor="b" anchorCtr="0">
            <a:normAutofit/>
          </a:bodyPr>
          <a:lstStyle>
            <a:lvl1pPr marL="0" indent="0" algn="ctr">
              <a:buNone/>
              <a:defRPr sz="1500" b="1" cap="all" baseline="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19"/>
          </p:nvPr>
        </p:nvSpPr>
        <p:spPr>
          <a:xfrm>
            <a:off x="4785930" y="3793939"/>
            <a:ext cx="4004406" cy="419016"/>
          </a:xfrm>
          <a:blipFill dpi="0" rotWithShape="1">
            <a:blip r:embed="rId3" cstate="print"/>
            <a:srcRect/>
            <a:tile tx="0" ty="0" sx="100000" sy="100000" flip="none" algn="b"/>
          </a:blipFill>
        </p:spPr>
        <p:txBody>
          <a:bodyPr lIns="0" tIns="0" rIns="0" bIns="83040" anchor="b" anchorCtr="0">
            <a:normAutofit/>
          </a:bodyPr>
          <a:lstStyle>
            <a:lvl1pPr marL="0" indent="0" algn="ctr">
              <a:buNone/>
              <a:defRPr sz="1500" b="1" cap="all" baseline="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168404" y="53599"/>
            <a:ext cx="7835048" cy="834431"/>
          </a:xfrm>
        </p:spPr>
        <p:txBody>
          <a:bodyPr/>
          <a:lstStyle>
            <a:lvl1pPr>
              <a:defRPr sz="2500"/>
            </a:lvl1pPr>
          </a:lstStyle>
          <a:p>
            <a:r>
              <a:rPr lang="en-US" dirty="0"/>
              <a:t>Click to edit Master title style</a:t>
            </a:r>
            <a:endParaRPr lang="fr-FR" dirty="0"/>
          </a:p>
        </p:txBody>
      </p:sp>
      <p:sp>
        <p:nvSpPr>
          <p:cNvPr id="13" name="Rectangle 12"/>
          <p:cNvSpPr/>
          <p:nvPr/>
        </p:nvSpPr>
        <p:spPr>
          <a:xfrm>
            <a:off x="0" y="905107"/>
            <a:ext cx="9144000" cy="34180"/>
          </a:xfrm>
          <a:prstGeom prst="rect">
            <a:avLst/>
          </a:prstGeom>
          <a:solidFill>
            <a:schemeClr val="accent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891209"/>
            <a:endParaRPr lang="en-US" dirty="0">
              <a:solidFill>
                <a:srgbClr val="003149"/>
              </a:solidFill>
            </a:endParaRPr>
          </a:p>
        </p:txBody>
      </p:sp>
      <p:sp>
        <p:nvSpPr>
          <p:cNvPr id="14" name="SlideNumber"/>
          <p:cNvSpPr/>
          <p:nvPr/>
        </p:nvSpPr>
        <p:spPr>
          <a:xfrm>
            <a:off x="8216375" y="6668489"/>
            <a:ext cx="300772" cy="86818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 defTabSz="891209"/>
            <a:fld id="{BB69BBE8-4DB2-4642-B003-B220ACD5A2FD}" type="slidenum">
              <a:rPr lang="en-US" sz="900" b="1" smtClean="0">
                <a:solidFill>
                  <a:srgbClr val="080808"/>
                </a:solidFill>
                <a:latin typeface="Verdana" pitchFamily="34" charset="0"/>
              </a:rPr>
              <a:pPr algn="ctr" defTabSz="891209"/>
              <a:t>‹#›</a:t>
            </a:fld>
            <a:endParaRPr lang="fr-FR" sz="900" b="1" dirty="0">
              <a:solidFill>
                <a:srgbClr val="080808"/>
              </a:solidFill>
            </a:endParaRPr>
          </a:p>
        </p:txBody>
      </p:sp>
      <p:cxnSp>
        <p:nvCxnSpPr>
          <p:cNvPr id="15" name="Straight Connector 14"/>
          <p:cNvCxnSpPr/>
          <p:nvPr/>
        </p:nvCxnSpPr>
        <p:spPr>
          <a:xfrm>
            <a:off x="0" y="6555697"/>
            <a:ext cx="9144000" cy="0"/>
          </a:xfrm>
          <a:prstGeom prst="line">
            <a:avLst/>
          </a:prstGeom>
          <a:ln w="12700">
            <a:solidFill>
              <a:srgbClr val="999999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16" name="Group 15"/>
          <p:cNvGrpSpPr/>
          <p:nvPr/>
        </p:nvGrpSpPr>
        <p:grpSpPr>
          <a:xfrm>
            <a:off x="8574091" y="6591936"/>
            <a:ext cx="385992" cy="239924"/>
            <a:chOff x="7277614" y="2396353"/>
            <a:chExt cx="1054802" cy="609493"/>
          </a:xfrm>
        </p:grpSpPr>
        <p:sp>
          <p:nvSpPr>
            <p:cNvPr id="17" name="Freeform 7"/>
            <p:cNvSpPr>
              <a:spLocks/>
            </p:cNvSpPr>
            <p:nvPr/>
          </p:nvSpPr>
          <p:spPr bwMode="auto">
            <a:xfrm>
              <a:off x="7277614" y="2396353"/>
              <a:ext cx="527401" cy="154241"/>
            </a:xfrm>
            <a:custGeom>
              <a:avLst/>
              <a:gdLst>
                <a:gd name="T0" fmla="*/ 0 w 691"/>
                <a:gd name="T1" fmla="*/ 200 h 200"/>
                <a:gd name="T2" fmla="*/ 691 w 691"/>
                <a:gd name="T3" fmla="*/ 200 h 200"/>
                <a:gd name="T4" fmla="*/ 346 w 691"/>
                <a:gd name="T5" fmla="*/ 0 h 200"/>
                <a:gd name="T6" fmla="*/ 0 w 691"/>
                <a:gd name="T7" fmla="*/ 200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91" h="200">
                  <a:moveTo>
                    <a:pt x="0" y="200"/>
                  </a:moveTo>
                  <a:lnTo>
                    <a:pt x="691" y="200"/>
                  </a:lnTo>
                  <a:lnTo>
                    <a:pt x="346" y="0"/>
                  </a:lnTo>
                  <a:lnTo>
                    <a:pt x="0" y="200"/>
                  </a:lnTo>
                  <a:close/>
                </a:path>
              </a:pathLst>
            </a:custGeom>
            <a:solidFill>
              <a:srgbClr val="FF0505"/>
            </a:solidFill>
            <a:ln w="1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891209"/>
              <a:endParaRPr lang="en-US" sz="1700" dirty="0">
                <a:solidFill>
                  <a:srgbClr val="003149"/>
                </a:solidFill>
              </a:endParaRPr>
            </a:p>
          </p:txBody>
        </p:sp>
        <p:sp>
          <p:nvSpPr>
            <p:cNvPr id="18" name="Freeform 8"/>
            <p:cNvSpPr>
              <a:spLocks/>
            </p:cNvSpPr>
            <p:nvPr/>
          </p:nvSpPr>
          <p:spPr bwMode="auto">
            <a:xfrm>
              <a:off x="7277614" y="2550591"/>
              <a:ext cx="263702" cy="452770"/>
            </a:xfrm>
            <a:custGeom>
              <a:avLst/>
              <a:gdLst>
                <a:gd name="T0" fmla="*/ 0 w 346"/>
                <a:gd name="T1" fmla="*/ 0 h 598"/>
                <a:gd name="T2" fmla="*/ 0 w 346"/>
                <a:gd name="T3" fmla="*/ 399 h 598"/>
                <a:gd name="T4" fmla="*/ 346 w 346"/>
                <a:gd name="T5" fmla="*/ 598 h 598"/>
                <a:gd name="T6" fmla="*/ 0 w 346"/>
                <a:gd name="T7" fmla="*/ 0 h 5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46" h="598">
                  <a:moveTo>
                    <a:pt x="0" y="0"/>
                  </a:moveTo>
                  <a:lnTo>
                    <a:pt x="0" y="399"/>
                  </a:lnTo>
                  <a:lnTo>
                    <a:pt x="346" y="59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505"/>
            </a:solidFill>
            <a:ln w="2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891209"/>
              <a:endParaRPr lang="en-US" sz="1700" dirty="0">
                <a:solidFill>
                  <a:srgbClr val="003149"/>
                </a:solidFill>
              </a:endParaRPr>
            </a:p>
          </p:txBody>
        </p:sp>
        <p:sp>
          <p:nvSpPr>
            <p:cNvPr id="19" name="Freeform 9"/>
            <p:cNvSpPr>
              <a:spLocks/>
            </p:cNvSpPr>
            <p:nvPr/>
          </p:nvSpPr>
          <p:spPr bwMode="auto">
            <a:xfrm>
              <a:off x="7541313" y="2550591"/>
              <a:ext cx="263702" cy="452770"/>
            </a:xfrm>
            <a:custGeom>
              <a:avLst/>
              <a:gdLst>
                <a:gd name="T0" fmla="*/ 0 w 345"/>
                <a:gd name="T1" fmla="*/ 598 h 598"/>
                <a:gd name="T2" fmla="*/ 345 w 345"/>
                <a:gd name="T3" fmla="*/ 0 h 598"/>
                <a:gd name="T4" fmla="*/ 345 w 345"/>
                <a:gd name="T5" fmla="*/ 399 h 598"/>
                <a:gd name="T6" fmla="*/ 0 w 345"/>
                <a:gd name="T7" fmla="*/ 598 h 5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45" h="598">
                  <a:moveTo>
                    <a:pt x="0" y="598"/>
                  </a:moveTo>
                  <a:lnTo>
                    <a:pt x="345" y="0"/>
                  </a:lnTo>
                  <a:lnTo>
                    <a:pt x="345" y="399"/>
                  </a:lnTo>
                  <a:lnTo>
                    <a:pt x="0" y="598"/>
                  </a:lnTo>
                  <a:close/>
                </a:path>
              </a:pathLst>
            </a:custGeom>
            <a:solidFill>
              <a:srgbClr val="FF0505"/>
            </a:solidFill>
            <a:ln w="1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891209"/>
              <a:endParaRPr lang="en-US" sz="1700" dirty="0">
                <a:solidFill>
                  <a:srgbClr val="003149"/>
                </a:solidFill>
              </a:endParaRPr>
            </a:p>
          </p:txBody>
        </p:sp>
        <p:sp>
          <p:nvSpPr>
            <p:cNvPr id="20" name="Freeform 7"/>
            <p:cNvSpPr>
              <a:spLocks/>
            </p:cNvSpPr>
            <p:nvPr/>
          </p:nvSpPr>
          <p:spPr bwMode="auto">
            <a:xfrm rot="10800000">
              <a:off x="7805015" y="2851605"/>
              <a:ext cx="527401" cy="154241"/>
            </a:xfrm>
            <a:custGeom>
              <a:avLst/>
              <a:gdLst>
                <a:gd name="T0" fmla="*/ 0 w 691"/>
                <a:gd name="T1" fmla="*/ 200 h 200"/>
                <a:gd name="T2" fmla="*/ 691 w 691"/>
                <a:gd name="T3" fmla="*/ 200 h 200"/>
                <a:gd name="T4" fmla="*/ 346 w 691"/>
                <a:gd name="T5" fmla="*/ 0 h 200"/>
                <a:gd name="T6" fmla="*/ 0 w 691"/>
                <a:gd name="T7" fmla="*/ 200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91" h="200">
                  <a:moveTo>
                    <a:pt x="0" y="200"/>
                  </a:moveTo>
                  <a:lnTo>
                    <a:pt x="691" y="200"/>
                  </a:lnTo>
                  <a:lnTo>
                    <a:pt x="346" y="0"/>
                  </a:lnTo>
                  <a:lnTo>
                    <a:pt x="0" y="200"/>
                  </a:lnTo>
                  <a:close/>
                </a:path>
              </a:pathLst>
            </a:custGeom>
            <a:solidFill>
              <a:srgbClr val="058CEC"/>
            </a:solidFill>
            <a:ln w="1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891209"/>
              <a:endParaRPr lang="en-US" sz="1700" dirty="0">
                <a:solidFill>
                  <a:srgbClr val="003149"/>
                </a:solidFill>
              </a:endParaRPr>
            </a:p>
          </p:txBody>
        </p:sp>
        <p:sp>
          <p:nvSpPr>
            <p:cNvPr id="21" name="Freeform 8"/>
            <p:cNvSpPr>
              <a:spLocks/>
            </p:cNvSpPr>
            <p:nvPr/>
          </p:nvSpPr>
          <p:spPr bwMode="auto">
            <a:xfrm rot="10800000">
              <a:off x="8068714" y="2398838"/>
              <a:ext cx="263702" cy="452770"/>
            </a:xfrm>
            <a:custGeom>
              <a:avLst/>
              <a:gdLst>
                <a:gd name="T0" fmla="*/ 0 w 346"/>
                <a:gd name="T1" fmla="*/ 0 h 598"/>
                <a:gd name="T2" fmla="*/ 0 w 346"/>
                <a:gd name="T3" fmla="*/ 399 h 598"/>
                <a:gd name="T4" fmla="*/ 346 w 346"/>
                <a:gd name="T5" fmla="*/ 598 h 598"/>
                <a:gd name="T6" fmla="*/ 0 w 346"/>
                <a:gd name="T7" fmla="*/ 0 h 5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46" h="598">
                  <a:moveTo>
                    <a:pt x="0" y="0"/>
                  </a:moveTo>
                  <a:lnTo>
                    <a:pt x="0" y="399"/>
                  </a:lnTo>
                  <a:lnTo>
                    <a:pt x="346" y="59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58CEC"/>
            </a:solidFill>
            <a:ln w="2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891209"/>
              <a:endParaRPr lang="en-US" sz="1700" dirty="0">
                <a:solidFill>
                  <a:srgbClr val="003149"/>
                </a:solidFill>
              </a:endParaRPr>
            </a:p>
          </p:txBody>
        </p:sp>
        <p:sp>
          <p:nvSpPr>
            <p:cNvPr id="22" name="Freeform 9"/>
            <p:cNvSpPr>
              <a:spLocks/>
            </p:cNvSpPr>
            <p:nvPr/>
          </p:nvSpPr>
          <p:spPr bwMode="auto">
            <a:xfrm rot="10800000">
              <a:off x="7805015" y="2398838"/>
              <a:ext cx="263702" cy="452770"/>
            </a:xfrm>
            <a:custGeom>
              <a:avLst/>
              <a:gdLst>
                <a:gd name="T0" fmla="*/ 0 w 345"/>
                <a:gd name="T1" fmla="*/ 598 h 598"/>
                <a:gd name="T2" fmla="*/ 345 w 345"/>
                <a:gd name="T3" fmla="*/ 0 h 598"/>
                <a:gd name="T4" fmla="*/ 345 w 345"/>
                <a:gd name="T5" fmla="*/ 399 h 598"/>
                <a:gd name="T6" fmla="*/ 0 w 345"/>
                <a:gd name="T7" fmla="*/ 598 h 5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45" h="598">
                  <a:moveTo>
                    <a:pt x="0" y="598"/>
                  </a:moveTo>
                  <a:lnTo>
                    <a:pt x="345" y="0"/>
                  </a:lnTo>
                  <a:lnTo>
                    <a:pt x="345" y="399"/>
                  </a:lnTo>
                  <a:lnTo>
                    <a:pt x="0" y="598"/>
                  </a:lnTo>
                  <a:close/>
                </a:path>
              </a:pathLst>
            </a:custGeom>
            <a:solidFill>
              <a:srgbClr val="058CEC"/>
            </a:solidFill>
            <a:ln w="1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891209"/>
              <a:endParaRPr lang="en-US" sz="1700" dirty="0">
                <a:solidFill>
                  <a:srgbClr val="003149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500282241"/>
      </p:ext>
    </p:extLst>
  </p:cSld>
  <p:clrMapOvr>
    <a:masterClrMapping/>
  </p:clrMapOvr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13751" y="4223820"/>
            <a:ext cx="8199287" cy="539163"/>
          </a:xfrm>
          <a:prstGeom prst="rect">
            <a:avLst/>
          </a:prstGeom>
        </p:spPr>
        <p:txBody>
          <a:bodyPr lIns="0" rIns="0">
            <a:normAutofit/>
          </a:bodyPr>
          <a:lstStyle>
            <a:lvl1pPr marL="0" indent="0" algn="l">
              <a:buNone/>
              <a:defRPr sz="2500">
                <a:solidFill>
                  <a:srgbClr val="666666"/>
                </a:solidFill>
              </a:defRPr>
            </a:lvl1pPr>
            <a:lvl2pPr marL="44560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912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368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7824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2802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6736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192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5648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cxnSp>
        <p:nvCxnSpPr>
          <p:cNvPr id="12" name="Straight Connector 11"/>
          <p:cNvCxnSpPr/>
          <p:nvPr/>
        </p:nvCxnSpPr>
        <p:spPr>
          <a:xfrm>
            <a:off x="0" y="6555697"/>
            <a:ext cx="9144000" cy="0"/>
          </a:xfrm>
          <a:prstGeom prst="line">
            <a:avLst/>
          </a:prstGeom>
          <a:ln w="12700">
            <a:solidFill>
              <a:srgbClr val="999999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6378" y="147732"/>
            <a:ext cx="4605067" cy="32129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13751" y="3634110"/>
            <a:ext cx="8199287" cy="589709"/>
          </a:xfrm>
          <a:prstGeom prst="rect">
            <a:avLst/>
          </a:prstGeom>
        </p:spPr>
        <p:txBody>
          <a:bodyPr lIns="0" tIns="41521" rIns="0" bIns="41521" anchor="b" anchorCtr="0">
            <a:normAutofit/>
          </a:bodyPr>
          <a:lstStyle>
            <a:lvl1pPr>
              <a:defRPr sz="2900" b="1">
                <a:solidFill>
                  <a:schemeClr val="accent1">
                    <a:lumMod val="50000"/>
                  </a:schemeClr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313774" y="4952322"/>
            <a:ext cx="4605067" cy="539163"/>
          </a:xfrm>
        </p:spPr>
        <p:txBody>
          <a:bodyPr vert="horz" lIns="0" tIns="41521" rIns="0" bIns="41521" rtlCol="0" anchor="t" anchorCtr="0">
            <a:normAutofit/>
          </a:bodyPr>
          <a:lstStyle>
            <a:lvl1pPr marL="246532" indent="-246532">
              <a:buFont typeface="Arial" pitchFamily="34" charset="0"/>
              <a:buChar char="•"/>
              <a:defRPr lang="en-US" sz="2200" smtClean="0">
                <a:solidFill>
                  <a:srgbClr val="666666"/>
                </a:solidFill>
              </a:defRPr>
            </a:lvl1pPr>
            <a:lvl2pPr>
              <a:defRPr lang="en-US" smtClean="0">
                <a:solidFill>
                  <a:schemeClr val="tx1">
                    <a:tint val="75000"/>
                  </a:schemeClr>
                </a:solidFill>
              </a:defRPr>
            </a:lvl2pPr>
            <a:lvl3pPr>
              <a:defRPr lang="en-US" smtClean="0">
                <a:solidFill>
                  <a:schemeClr val="tx1">
                    <a:tint val="75000"/>
                  </a:schemeClr>
                </a:solidFill>
              </a:defRPr>
            </a:lvl3pPr>
            <a:lvl4pPr>
              <a:defRPr lang="en-US" smtClean="0">
                <a:solidFill>
                  <a:schemeClr val="tx1">
                    <a:tint val="75000"/>
                  </a:schemeClr>
                </a:solidFill>
              </a:defRPr>
            </a:lvl4pPr>
            <a:lvl5pPr>
              <a:defRPr lang="en-US">
                <a:solidFill>
                  <a:schemeClr val="tx1">
                    <a:tint val="75000"/>
                  </a:schemeClr>
                </a:solidFill>
              </a:defRPr>
            </a:lvl5pPr>
          </a:lstStyle>
          <a:p>
            <a:pPr marL="0" lvl="0" indent="0">
              <a:buNone/>
            </a:pPr>
            <a:r>
              <a:rPr lang="en-US"/>
              <a:t>Click to edit Master text styles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65744" y="5352692"/>
            <a:ext cx="2547317" cy="10942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1741183"/>
      </p:ext>
    </p:extLst>
  </p:cSld>
  <p:clrMapOvr>
    <a:masterClrMapping/>
  </p:clrMapOvr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195702305"/>
      </p:ext>
    </p:extLst>
  </p:cSld>
  <p:clrMapOvr>
    <a:masterClrMapping/>
  </p:clrMapOvr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500"/>
            </a:lvl1pPr>
          </a:lstStyle>
          <a:p>
            <a:r>
              <a:rPr lang="en-US" dirty="0"/>
              <a:t>Click to edit Master title style</a:t>
            </a:r>
            <a:endParaRPr lang="fr-FR" dirty="0"/>
          </a:p>
        </p:txBody>
      </p:sp>
      <p:sp>
        <p:nvSpPr>
          <p:cNvPr id="3" name="Rectangle 2"/>
          <p:cNvSpPr/>
          <p:nvPr/>
        </p:nvSpPr>
        <p:spPr>
          <a:xfrm>
            <a:off x="0" y="905107"/>
            <a:ext cx="9144000" cy="34180"/>
          </a:xfrm>
          <a:prstGeom prst="rect">
            <a:avLst/>
          </a:prstGeom>
          <a:solidFill>
            <a:schemeClr val="accent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891701"/>
            <a:endParaRPr lang="en-US" dirty="0">
              <a:solidFill>
                <a:srgbClr val="003149"/>
              </a:solidFill>
            </a:endParaRPr>
          </a:p>
        </p:txBody>
      </p:sp>
      <p:sp>
        <p:nvSpPr>
          <p:cNvPr id="4" name="SlideNumber"/>
          <p:cNvSpPr/>
          <p:nvPr/>
        </p:nvSpPr>
        <p:spPr>
          <a:xfrm>
            <a:off x="8216375" y="6668489"/>
            <a:ext cx="300772" cy="86818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 defTabSz="891701"/>
            <a:fld id="{BB69BBE8-4DB2-4642-B003-B220ACD5A2FD}" type="slidenum">
              <a:rPr lang="en-US" sz="900" b="1" smtClean="0">
                <a:solidFill>
                  <a:srgbClr val="080808"/>
                </a:solidFill>
                <a:latin typeface="Verdana" pitchFamily="34" charset="0"/>
              </a:rPr>
              <a:pPr algn="ctr" defTabSz="891701"/>
              <a:t>‹#›</a:t>
            </a:fld>
            <a:endParaRPr lang="fr-FR" sz="900" b="1" dirty="0">
              <a:solidFill>
                <a:srgbClr val="080808"/>
              </a:solidFill>
            </a:endParaRPr>
          </a:p>
        </p:txBody>
      </p:sp>
      <p:cxnSp>
        <p:nvCxnSpPr>
          <p:cNvPr id="5" name="Straight Connector 4"/>
          <p:cNvCxnSpPr/>
          <p:nvPr/>
        </p:nvCxnSpPr>
        <p:spPr>
          <a:xfrm>
            <a:off x="0" y="6555697"/>
            <a:ext cx="9144000" cy="0"/>
          </a:xfrm>
          <a:prstGeom prst="line">
            <a:avLst/>
          </a:prstGeom>
          <a:ln w="12700">
            <a:solidFill>
              <a:srgbClr val="999999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6" name="Group 5"/>
          <p:cNvGrpSpPr/>
          <p:nvPr/>
        </p:nvGrpSpPr>
        <p:grpSpPr>
          <a:xfrm>
            <a:off x="8574091" y="6591936"/>
            <a:ext cx="385992" cy="239924"/>
            <a:chOff x="7277614" y="2396353"/>
            <a:chExt cx="1054802" cy="609493"/>
          </a:xfrm>
        </p:grpSpPr>
        <p:sp>
          <p:nvSpPr>
            <p:cNvPr id="7" name="Freeform 7"/>
            <p:cNvSpPr>
              <a:spLocks/>
            </p:cNvSpPr>
            <p:nvPr/>
          </p:nvSpPr>
          <p:spPr bwMode="auto">
            <a:xfrm>
              <a:off x="7277614" y="2396353"/>
              <a:ext cx="527401" cy="154241"/>
            </a:xfrm>
            <a:custGeom>
              <a:avLst/>
              <a:gdLst>
                <a:gd name="T0" fmla="*/ 0 w 691"/>
                <a:gd name="T1" fmla="*/ 200 h 200"/>
                <a:gd name="T2" fmla="*/ 691 w 691"/>
                <a:gd name="T3" fmla="*/ 200 h 200"/>
                <a:gd name="T4" fmla="*/ 346 w 691"/>
                <a:gd name="T5" fmla="*/ 0 h 200"/>
                <a:gd name="T6" fmla="*/ 0 w 691"/>
                <a:gd name="T7" fmla="*/ 200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91" h="200">
                  <a:moveTo>
                    <a:pt x="0" y="200"/>
                  </a:moveTo>
                  <a:lnTo>
                    <a:pt x="691" y="200"/>
                  </a:lnTo>
                  <a:lnTo>
                    <a:pt x="346" y="0"/>
                  </a:lnTo>
                  <a:lnTo>
                    <a:pt x="0" y="200"/>
                  </a:lnTo>
                  <a:close/>
                </a:path>
              </a:pathLst>
            </a:custGeom>
            <a:solidFill>
              <a:srgbClr val="FF0505"/>
            </a:solidFill>
            <a:ln w="1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891701"/>
              <a:endParaRPr lang="en-US" sz="1700" dirty="0">
                <a:solidFill>
                  <a:srgbClr val="003149"/>
                </a:solidFill>
              </a:endParaRPr>
            </a:p>
          </p:txBody>
        </p:sp>
        <p:sp>
          <p:nvSpPr>
            <p:cNvPr id="8" name="Freeform 8"/>
            <p:cNvSpPr>
              <a:spLocks/>
            </p:cNvSpPr>
            <p:nvPr/>
          </p:nvSpPr>
          <p:spPr bwMode="auto">
            <a:xfrm>
              <a:off x="7277614" y="2550591"/>
              <a:ext cx="263702" cy="452770"/>
            </a:xfrm>
            <a:custGeom>
              <a:avLst/>
              <a:gdLst>
                <a:gd name="T0" fmla="*/ 0 w 346"/>
                <a:gd name="T1" fmla="*/ 0 h 598"/>
                <a:gd name="T2" fmla="*/ 0 w 346"/>
                <a:gd name="T3" fmla="*/ 399 h 598"/>
                <a:gd name="T4" fmla="*/ 346 w 346"/>
                <a:gd name="T5" fmla="*/ 598 h 598"/>
                <a:gd name="T6" fmla="*/ 0 w 346"/>
                <a:gd name="T7" fmla="*/ 0 h 5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46" h="598">
                  <a:moveTo>
                    <a:pt x="0" y="0"/>
                  </a:moveTo>
                  <a:lnTo>
                    <a:pt x="0" y="399"/>
                  </a:lnTo>
                  <a:lnTo>
                    <a:pt x="346" y="59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505"/>
            </a:solidFill>
            <a:ln w="2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891701"/>
              <a:endParaRPr lang="en-US" sz="1700" dirty="0">
                <a:solidFill>
                  <a:srgbClr val="003149"/>
                </a:solidFill>
              </a:endParaRPr>
            </a:p>
          </p:txBody>
        </p:sp>
        <p:sp>
          <p:nvSpPr>
            <p:cNvPr id="9" name="Freeform 9"/>
            <p:cNvSpPr>
              <a:spLocks/>
            </p:cNvSpPr>
            <p:nvPr/>
          </p:nvSpPr>
          <p:spPr bwMode="auto">
            <a:xfrm>
              <a:off x="7541313" y="2550591"/>
              <a:ext cx="263702" cy="452770"/>
            </a:xfrm>
            <a:custGeom>
              <a:avLst/>
              <a:gdLst>
                <a:gd name="T0" fmla="*/ 0 w 345"/>
                <a:gd name="T1" fmla="*/ 598 h 598"/>
                <a:gd name="T2" fmla="*/ 345 w 345"/>
                <a:gd name="T3" fmla="*/ 0 h 598"/>
                <a:gd name="T4" fmla="*/ 345 w 345"/>
                <a:gd name="T5" fmla="*/ 399 h 598"/>
                <a:gd name="T6" fmla="*/ 0 w 345"/>
                <a:gd name="T7" fmla="*/ 598 h 5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45" h="598">
                  <a:moveTo>
                    <a:pt x="0" y="598"/>
                  </a:moveTo>
                  <a:lnTo>
                    <a:pt x="345" y="0"/>
                  </a:lnTo>
                  <a:lnTo>
                    <a:pt x="345" y="399"/>
                  </a:lnTo>
                  <a:lnTo>
                    <a:pt x="0" y="598"/>
                  </a:lnTo>
                  <a:close/>
                </a:path>
              </a:pathLst>
            </a:custGeom>
            <a:solidFill>
              <a:srgbClr val="FF0505"/>
            </a:solidFill>
            <a:ln w="1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891701"/>
              <a:endParaRPr lang="en-US" sz="1700" dirty="0">
                <a:solidFill>
                  <a:srgbClr val="003149"/>
                </a:solidFill>
              </a:endParaRPr>
            </a:p>
          </p:txBody>
        </p:sp>
        <p:sp>
          <p:nvSpPr>
            <p:cNvPr id="10" name="Freeform 7"/>
            <p:cNvSpPr>
              <a:spLocks/>
            </p:cNvSpPr>
            <p:nvPr/>
          </p:nvSpPr>
          <p:spPr bwMode="auto">
            <a:xfrm rot="10800000">
              <a:off x="7805015" y="2851605"/>
              <a:ext cx="527401" cy="154241"/>
            </a:xfrm>
            <a:custGeom>
              <a:avLst/>
              <a:gdLst>
                <a:gd name="T0" fmla="*/ 0 w 691"/>
                <a:gd name="T1" fmla="*/ 200 h 200"/>
                <a:gd name="T2" fmla="*/ 691 w 691"/>
                <a:gd name="T3" fmla="*/ 200 h 200"/>
                <a:gd name="T4" fmla="*/ 346 w 691"/>
                <a:gd name="T5" fmla="*/ 0 h 200"/>
                <a:gd name="T6" fmla="*/ 0 w 691"/>
                <a:gd name="T7" fmla="*/ 200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91" h="200">
                  <a:moveTo>
                    <a:pt x="0" y="200"/>
                  </a:moveTo>
                  <a:lnTo>
                    <a:pt x="691" y="200"/>
                  </a:lnTo>
                  <a:lnTo>
                    <a:pt x="346" y="0"/>
                  </a:lnTo>
                  <a:lnTo>
                    <a:pt x="0" y="200"/>
                  </a:lnTo>
                  <a:close/>
                </a:path>
              </a:pathLst>
            </a:custGeom>
            <a:solidFill>
              <a:srgbClr val="058CEC"/>
            </a:solidFill>
            <a:ln w="1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891701"/>
              <a:endParaRPr lang="en-US" sz="1700" dirty="0">
                <a:solidFill>
                  <a:srgbClr val="003149"/>
                </a:solidFill>
              </a:endParaRPr>
            </a:p>
          </p:txBody>
        </p:sp>
        <p:sp>
          <p:nvSpPr>
            <p:cNvPr id="11" name="Freeform 8"/>
            <p:cNvSpPr>
              <a:spLocks/>
            </p:cNvSpPr>
            <p:nvPr/>
          </p:nvSpPr>
          <p:spPr bwMode="auto">
            <a:xfrm rot="10800000">
              <a:off x="8068714" y="2398838"/>
              <a:ext cx="263702" cy="452770"/>
            </a:xfrm>
            <a:custGeom>
              <a:avLst/>
              <a:gdLst>
                <a:gd name="T0" fmla="*/ 0 w 346"/>
                <a:gd name="T1" fmla="*/ 0 h 598"/>
                <a:gd name="T2" fmla="*/ 0 w 346"/>
                <a:gd name="T3" fmla="*/ 399 h 598"/>
                <a:gd name="T4" fmla="*/ 346 w 346"/>
                <a:gd name="T5" fmla="*/ 598 h 598"/>
                <a:gd name="T6" fmla="*/ 0 w 346"/>
                <a:gd name="T7" fmla="*/ 0 h 5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46" h="598">
                  <a:moveTo>
                    <a:pt x="0" y="0"/>
                  </a:moveTo>
                  <a:lnTo>
                    <a:pt x="0" y="399"/>
                  </a:lnTo>
                  <a:lnTo>
                    <a:pt x="346" y="59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58CEC"/>
            </a:solidFill>
            <a:ln w="2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891701"/>
              <a:endParaRPr lang="en-US" sz="1700" dirty="0">
                <a:solidFill>
                  <a:srgbClr val="003149"/>
                </a:solidFill>
              </a:endParaRPr>
            </a:p>
          </p:txBody>
        </p:sp>
        <p:sp>
          <p:nvSpPr>
            <p:cNvPr id="12" name="Freeform 9"/>
            <p:cNvSpPr>
              <a:spLocks/>
            </p:cNvSpPr>
            <p:nvPr/>
          </p:nvSpPr>
          <p:spPr bwMode="auto">
            <a:xfrm rot="10800000">
              <a:off x="7805015" y="2398838"/>
              <a:ext cx="263702" cy="452770"/>
            </a:xfrm>
            <a:custGeom>
              <a:avLst/>
              <a:gdLst>
                <a:gd name="T0" fmla="*/ 0 w 345"/>
                <a:gd name="T1" fmla="*/ 598 h 598"/>
                <a:gd name="T2" fmla="*/ 345 w 345"/>
                <a:gd name="T3" fmla="*/ 0 h 598"/>
                <a:gd name="T4" fmla="*/ 345 w 345"/>
                <a:gd name="T5" fmla="*/ 399 h 598"/>
                <a:gd name="T6" fmla="*/ 0 w 345"/>
                <a:gd name="T7" fmla="*/ 598 h 5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45" h="598">
                  <a:moveTo>
                    <a:pt x="0" y="598"/>
                  </a:moveTo>
                  <a:lnTo>
                    <a:pt x="345" y="0"/>
                  </a:lnTo>
                  <a:lnTo>
                    <a:pt x="345" y="399"/>
                  </a:lnTo>
                  <a:lnTo>
                    <a:pt x="0" y="598"/>
                  </a:lnTo>
                  <a:close/>
                </a:path>
              </a:pathLst>
            </a:custGeom>
            <a:solidFill>
              <a:srgbClr val="058CEC"/>
            </a:solidFill>
            <a:ln w="1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891701"/>
              <a:endParaRPr lang="en-US" sz="1700" dirty="0">
                <a:solidFill>
                  <a:srgbClr val="003149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091743442"/>
      </p:ext>
    </p:extLst>
  </p:cSld>
  <p:clrMapOvr>
    <a:masterClrMapping/>
  </p:clrMapOvr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One Char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7"/>
          <p:cNvSpPr>
            <a:spLocks noGrp="1"/>
          </p:cNvSpPr>
          <p:nvPr>
            <p:ph type="pic" sz="quarter" idx="12" hasCustomPrompt="1"/>
          </p:nvPr>
        </p:nvSpPr>
        <p:spPr>
          <a:xfrm>
            <a:off x="353585" y="1292913"/>
            <a:ext cx="8438320" cy="5095600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>
            <a:normAutofit/>
          </a:bodyPr>
          <a:lstStyle>
            <a:lvl1pPr marL="246668" indent="-246668" algn="l" defTabSz="891465" rtl="0" eaLnBrk="1" fontAlgn="base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sz="2200" dirty="0">
                <a:solidFill>
                  <a:schemeClr val="accent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/>
              <a:t>Wizard Chart</a:t>
            </a:r>
          </a:p>
        </p:txBody>
      </p:sp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168404" y="53593"/>
            <a:ext cx="7835048" cy="834431"/>
          </a:xfrm>
        </p:spPr>
        <p:txBody>
          <a:bodyPr/>
          <a:lstStyle>
            <a:lvl1pPr>
              <a:defRPr sz="2500"/>
            </a:lvl1pPr>
          </a:lstStyle>
          <a:p>
            <a:r>
              <a:rPr lang="en-US" dirty="0"/>
              <a:t>Click to edit Master title style</a:t>
            </a:r>
            <a:endParaRPr lang="fr-FR" dirty="0"/>
          </a:p>
        </p:txBody>
      </p:sp>
      <p:sp>
        <p:nvSpPr>
          <p:cNvPr id="5" name="Rectangle 4"/>
          <p:cNvSpPr/>
          <p:nvPr/>
        </p:nvSpPr>
        <p:spPr>
          <a:xfrm>
            <a:off x="0" y="905107"/>
            <a:ext cx="9144000" cy="34180"/>
          </a:xfrm>
          <a:prstGeom prst="rect">
            <a:avLst/>
          </a:prstGeom>
          <a:solidFill>
            <a:schemeClr val="accent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891701"/>
            <a:endParaRPr lang="en-US" dirty="0">
              <a:solidFill>
                <a:srgbClr val="003149"/>
              </a:solidFill>
            </a:endParaRPr>
          </a:p>
        </p:txBody>
      </p:sp>
      <p:sp>
        <p:nvSpPr>
          <p:cNvPr id="6" name="SlideNumber"/>
          <p:cNvSpPr/>
          <p:nvPr/>
        </p:nvSpPr>
        <p:spPr>
          <a:xfrm>
            <a:off x="8216375" y="6668489"/>
            <a:ext cx="300772" cy="86818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 defTabSz="891701"/>
            <a:fld id="{BB69BBE8-4DB2-4642-B003-B220ACD5A2FD}" type="slidenum">
              <a:rPr lang="en-US" sz="900" b="1" smtClean="0">
                <a:solidFill>
                  <a:srgbClr val="080808"/>
                </a:solidFill>
                <a:latin typeface="Verdana" pitchFamily="34" charset="0"/>
              </a:rPr>
              <a:pPr algn="ctr" defTabSz="891701"/>
              <a:t>‹#›</a:t>
            </a:fld>
            <a:endParaRPr lang="fr-FR" sz="900" b="1" dirty="0">
              <a:solidFill>
                <a:srgbClr val="080808"/>
              </a:solidFill>
            </a:endParaRPr>
          </a:p>
        </p:txBody>
      </p:sp>
      <p:cxnSp>
        <p:nvCxnSpPr>
          <p:cNvPr id="7" name="Straight Connector 6"/>
          <p:cNvCxnSpPr/>
          <p:nvPr/>
        </p:nvCxnSpPr>
        <p:spPr>
          <a:xfrm>
            <a:off x="0" y="6555697"/>
            <a:ext cx="9144000" cy="0"/>
          </a:xfrm>
          <a:prstGeom prst="line">
            <a:avLst/>
          </a:prstGeom>
          <a:ln w="12700">
            <a:solidFill>
              <a:srgbClr val="999999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8" name="Group 7"/>
          <p:cNvGrpSpPr/>
          <p:nvPr/>
        </p:nvGrpSpPr>
        <p:grpSpPr>
          <a:xfrm>
            <a:off x="8574091" y="6591936"/>
            <a:ext cx="385992" cy="239924"/>
            <a:chOff x="7277614" y="2396353"/>
            <a:chExt cx="1054802" cy="609493"/>
          </a:xfrm>
        </p:grpSpPr>
        <p:sp>
          <p:nvSpPr>
            <p:cNvPr id="9" name="Freeform 7"/>
            <p:cNvSpPr>
              <a:spLocks/>
            </p:cNvSpPr>
            <p:nvPr/>
          </p:nvSpPr>
          <p:spPr bwMode="auto">
            <a:xfrm>
              <a:off x="7277614" y="2396353"/>
              <a:ext cx="527401" cy="154241"/>
            </a:xfrm>
            <a:custGeom>
              <a:avLst/>
              <a:gdLst>
                <a:gd name="T0" fmla="*/ 0 w 691"/>
                <a:gd name="T1" fmla="*/ 200 h 200"/>
                <a:gd name="T2" fmla="*/ 691 w 691"/>
                <a:gd name="T3" fmla="*/ 200 h 200"/>
                <a:gd name="T4" fmla="*/ 346 w 691"/>
                <a:gd name="T5" fmla="*/ 0 h 200"/>
                <a:gd name="T6" fmla="*/ 0 w 691"/>
                <a:gd name="T7" fmla="*/ 200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91" h="200">
                  <a:moveTo>
                    <a:pt x="0" y="200"/>
                  </a:moveTo>
                  <a:lnTo>
                    <a:pt x="691" y="200"/>
                  </a:lnTo>
                  <a:lnTo>
                    <a:pt x="346" y="0"/>
                  </a:lnTo>
                  <a:lnTo>
                    <a:pt x="0" y="200"/>
                  </a:lnTo>
                  <a:close/>
                </a:path>
              </a:pathLst>
            </a:custGeom>
            <a:solidFill>
              <a:srgbClr val="FF0505"/>
            </a:solidFill>
            <a:ln w="1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891701"/>
              <a:endParaRPr lang="en-US" sz="1700" dirty="0">
                <a:solidFill>
                  <a:srgbClr val="003149"/>
                </a:solidFill>
              </a:endParaRPr>
            </a:p>
          </p:txBody>
        </p:sp>
        <p:sp>
          <p:nvSpPr>
            <p:cNvPr id="10" name="Freeform 8"/>
            <p:cNvSpPr>
              <a:spLocks/>
            </p:cNvSpPr>
            <p:nvPr/>
          </p:nvSpPr>
          <p:spPr bwMode="auto">
            <a:xfrm>
              <a:off x="7277614" y="2550591"/>
              <a:ext cx="263702" cy="452770"/>
            </a:xfrm>
            <a:custGeom>
              <a:avLst/>
              <a:gdLst>
                <a:gd name="T0" fmla="*/ 0 w 346"/>
                <a:gd name="T1" fmla="*/ 0 h 598"/>
                <a:gd name="T2" fmla="*/ 0 w 346"/>
                <a:gd name="T3" fmla="*/ 399 h 598"/>
                <a:gd name="T4" fmla="*/ 346 w 346"/>
                <a:gd name="T5" fmla="*/ 598 h 598"/>
                <a:gd name="T6" fmla="*/ 0 w 346"/>
                <a:gd name="T7" fmla="*/ 0 h 5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46" h="598">
                  <a:moveTo>
                    <a:pt x="0" y="0"/>
                  </a:moveTo>
                  <a:lnTo>
                    <a:pt x="0" y="399"/>
                  </a:lnTo>
                  <a:lnTo>
                    <a:pt x="346" y="59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505"/>
            </a:solidFill>
            <a:ln w="2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891701"/>
              <a:endParaRPr lang="en-US" sz="1700" dirty="0">
                <a:solidFill>
                  <a:srgbClr val="003149"/>
                </a:solidFill>
              </a:endParaRPr>
            </a:p>
          </p:txBody>
        </p:sp>
        <p:sp>
          <p:nvSpPr>
            <p:cNvPr id="11" name="Freeform 9"/>
            <p:cNvSpPr>
              <a:spLocks/>
            </p:cNvSpPr>
            <p:nvPr/>
          </p:nvSpPr>
          <p:spPr bwMode="auto">
            <a:xfrm>
              <a:off x="7541313" y="2550591"/>
              <a:ext cx="263702" cy="452770"/>
            </a:xfrm>
            <a:custGeom>
              <a:avLst/>
              <a:gdLst>
                <a:gd name="T0" fmla="*/ 0 w 345"/>
                <a:gd name="T1" fmla="*/ 598 h 598"/>
                <a:gd name="T2" fmla="*/ 345 w 345"/>
                <a:gd name="T3" fmla="*/ 0 h 598"/>
                <a:gd name="T4" fmla="*/ 345 w 345"/>
                <a:gd name="T5" fmla="*/ 399 h 598"/>
                <a:gd name="T6" fmla="*/ 0 w 345"/>
                <a:gd name="T7" fmla="*/ 598 h 5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45" h="598">
                  <a:moveTo>
                    <a:pt x="0" y="598"/>
                  </a:moveTo>
                  <a:lnTo>
                    <a:pt x="345" y="0"/>
                  </a:lnTo>
                  <a:lnTo>
                    <a:pt x="345" y="399"/>
                  </a:lnTo>
                  <a:lnTo>
                    <a:pt x="0" y="598"/>
                  </a:lnTo>
                  <a:close/>
                </a:path>
              </a:pathLst>
            </a:custGeom>
            <a:solidFill>
              <a:srgbClr val="FF0505"/>
            </a:solidFill>
            <a:ln w="1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891701"/>
              <a:endParaRPr lang="en-US" sz="1700" dirty="0">
                <a:solidFill>
                  <a:srgbClr val="003149"/>
                </a:solidFill>
              </a:endParaRPr>
            </a:p>
          </p:txBody>
        </p:sp>
        <p:sp>
          <p:nvSpPr>
            <p:cNvPr id="12" name="Freeform 7"/>
            <p:cNvSpPr>
              <a:spLocks/>
            </p:cNvSpPr>
            <p:nvPr/>
          </p:nvSpPr>
          <p:spPr bwMode="auto">
            <a:xfrm rot="10800000">
              <a:off x="7805015" y="2851605"/>
              <a:ext cx="527401" cy="154241"/>
            </a:xfrm>
            <a:custGeom>
              <a:avLst/>
              <a:gdLst>
                <a:gd name="T0" fmla="*/ 0 w 691"/>
                <a:gd name="T1" fmla="*/ 200 h 200"/>
                <a:gd name="T2" fmla="*/ 691 w 691"/>
                <a:gd name="T3" fmla="*/ 200 h 200"/>
                <a:gd name="T4" fmla="*/ 346 w 691"/>
                <a:gd name="T5" fmla="*/ 0 h 200"/>
                <a:gd name="T6" fmla="*/ 0 w 691"/>
                <a:gd name="T7" fmla="*/ 200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91" h="200">
                  <a:moveTo>
                    <a:pt x="0" y="200"/>
                  </a:moveTo>
                  <a:lnTo>
                    <a:pt x="691" y="200"/>
                  </a:lnTo>
                  <a:lnTo>
                    <a:pt x="346" y="0"/>
                  </a:lnTo>
                  <a:lnTo>
                    <a:pt x="0" y="200"/>
                  </a:lnTo>
                  <a:close/>
                </a:path>
              </a:pathLst>
            </a:custGeom>
            <a:solidFill>
              <a:srgbClr val="058CEC"/>
            </a:solidFill>
            <a:ln w="1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891701"/>
              <a:endParaRPr lang="en-US" sz="1700" dirty="0">
                <a:solidFill>
                  <a:srgbClr val="003149"/>
                </a:solidFill>
              </a:endParaRPr>
            </a:p>
          </p:txBody>
        </p:sp>
        <p:sp>
          <p:nvSpPr>
            <p:cNvPr id="13" name="Freeform 8"/>
            <p:cNvSpPr>
              <a:spLocks/>
            </p:cNvSpPr>
            <p:nvPr/>
          </p:nvSpPr>
          <p:spPr bwMode="auto">
            <a:xfrm rot="10800000">
              <a:off x="8068714" y="2398838"/>
              <a:ext cx="263702" cy="452770"/>
            </a:xfrm>
            <a:custGeom>
              <a:avLst/>
              <a:gdLst>
                <a:gd name="T0" fmla="*/ 0 w 346"/>
                <a:gd name="T1" fmla="*/ 0 h 598"/>
                <a:gd name="T2" fmla="*/ 0 w 346"/>
                <a:gd name="T3" fmla="*/ 399 h 598"/>
                <a:gd name="T4" fmla="*/ 346 w 346"/>
                <a:gd name="T5" fmla="*/ 598 h 598"/>
                <a:gd name="T6" fmla="*/ 0 w 346"/>
                <a:gd name="T7" fmla="*/ 0 h 5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46" h="598">
                  <a:moveTo>
                    <a:pt x="0" y="0"/>
                  </a:moveTo>
                  <a:lnTo>
                    <a:pt x="0" y="399"/>
                  </a:lnTo>
                  <a:lnTo>
                    <a:pt x="346" y="59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58CEC"/>
            </a:solidFill>
            <a:ln w="2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891701"/>
              <a:endParaRPr lang="en-US" sz="1700" dirty="0">
                <a:solidFill>
                  <a:srgbClr val="003149"/>
                </a:solidFill>
              </a:endParaRPr>
            </a:p>
          </p:txBody>
        </p:sp>
        <p:sp>
          <p:nvSpPr>
            <p:cNvPr id="14" name="Freeform 9"/>
            <p:cNvSpPr>
              <a:spLocks/>
            </p:cNvSpPr>
            <p:nvPr/>
          </p:nvSpPr>
          <p:spPr bwMode="auto">
            <a:xfrm rot="10800000">
              <a:off x="7805015" y="2398838"/>
              <a:ext cx="263702" cy="452770"/>
            </a:xfrm>
            <a:custGeom>
              <a:avLst/>
              <a:gdLst>
                <a:gd name="T0" fmla="*/ 0 w 345"/>
                <a:gd name="T1" fmla="*/ 598 h 598"/>
                <a:gd name="T2" fmla="*/ 345 w 345"/>
                <a:gd name="T3" fmla="*/ 0 h 598"/>
                <a:gd name="T4" fmla="*/ 345 w 345"/>
                <a:gd name="T5" fmla="*/ 399 h 598"/>
                <a:gd name="T6" fmla="*/ 0 w 345"/>
                <a:gd name="T7" fmla="*/ 598 h 5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45" h="598">
                  <a:moveTo>
                    <a:pt x="0" y="598"/>
                  </a:moveTo>
                  <a:lnTo>
                    <a:pt x="345" y="0"/>
                  </a:lnTo>
                  <a:lnTo>
                    <a:pt x="345" y="399"/>
                  </a:lnTo>
                  <a:lnTo>
                    <a:pt x="0" y="598"/>
                  </a:lnTo>
                  <a:close/>
                </a:path>
              </a:pathLst>
            </a:custGeom>
            <a:solidFill>
              <a:srgbClr val="058CEC"/>
            </a:solidFill>
            <a:ln w="1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891701"/>
              <a:endParaRPr lang="en-US" sz="1700" dirty="0">
                <a:solidFill>
                  <a:srgbClr val="003149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28195912"/>
      </p:ext>
    </p:extLst>
  </p:cSld>
  <p:clrMapOvr>
    <a:masterClrMapping/>
  </p:clrMapOvr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wo Char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7"/>
          <p:cNvSpPr>
            <a:spLocks noGrp="1"/>
          </p:cNvSpPr>
          <p:nvPr>
            <p:ph type="pic" sz="quarter" idx="12" hasCustomPrompt="1"/>
          </p:nvPr>
        </p:nvSpPr>
        <p:spPr>
          <a:xfrm>
            <a:off x="353588" y="1406771"/>
            <a:ext cx="4004323" cy="5095600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>
            <a:normAutofit/>
          </a:bodyPr>
          <a:lstStyle>
            <a:lvl1pPr marL="246668" indent="-246668" algn="l" defTabSz="891465" rtl="0" eaLnBrk="1" fontAlgn="base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sz="2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/>
              <a:t>Wizard Chart</a:t>
            </a:r>
          </a:p>
        </p:txBody>
      </p:sp>
      <p:sp>
        <p:nvSpPr>
          <p:cNvPr id="5" name="Picture Placeholder 7"/>
          <p:cNvSpPr>
            <a:spLocks noGrp="1"/>
          </p:cNvSpPr>
          <p:nvPr>
            <p:ph type="pic" sz="quarter" idx="13" hasCustomPrompt="1"/>
          </p:nvPr>
        </p:nvSpPr>
        <p:spPr>
          <a:xfrm>
            <a:off x="4789076" y="1406771"/>
            <a:ext cx="4003071" cy="5095600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>
            <a:normAutofit/>
          </a:bodyPr>
          <a:lstStyle>
            <a:lvl1pPr marL="246668" indent="-246668" algn="l" defTabSz="891465" rtl="0" eaLnBrk="1" fontAlgn="base" latinLnBrk="0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altLang="zh-CN" sz="2200" kern="1200" noProof="1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/>
              <a:t>Wizard Chart</a:t>
            </a:r>
          </a:p>
        </p:txBody>
      </p:sp>
      <p:sp>
        <p:nvSpPr>
          <p:cNvPr id="6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355111" y="1206767"/>
            <a:ext cx="4003071" cy="419016"/>
          </a:xfrm>
          <a:blipFill dpi="0" rotWithShape="1">
            <a:blip r:embed="rId3" cstate="print"/>
            <a:srcRect/>
            <a:tile tx="0" ty="0" sx="100000" sy="100000" flip="none" algn="b"/>
          </a:blipFill>
        </p:spPr>
        <p:txBody>
          <a:bodyPr lIns="0" tIns="0" rIns="0" bIns="83087" anchor="b" anchorCtr="0">
            <a:normAutofit/>
          </a:bodyPr>
          <a:lstStyle>
            <a:lvl1pPr marL="0" indent="0" algn="ctr">
              <a:buNone/>
              <a:defRPr sz="1500" b="1" cap="all" baseline="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5"/>
          </p:nvPr>
        </p:nvSpPr>
        <p:spPr>
          <a:xfrm>
            <a:off x="4785930" y="1206767"/>
            <a:ext cx="4004406" cy="419016"/>
          </a:xfrm>
          <a:blipFill dpi="0" rotWithShape="1">
            <a:blip r:embed="rId3" cstate="print"/>
            <a:srcRect/>
            <a:tile tx="0" ty="0" sx="100000" sy="100000" flip="none" algn="b"/>
          </a:blipFill>
        </p:spPr>
        <p:txBody>
          <a:bodyPr lIns="0" tIns="0" rIns="0" bIns="83087" anchor="b" anchorCtr="0">
            <a:normAutofit/>
          </a:bodyPr>
          <a:lstStyle>
            <a:lvl1pPr marL="0" indent="0" algn="ctr">
              <a:buNone/>
              <a:defRPr sz="1500" b="1" cap="all" baseline="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168404" y="53593"/>
            <a:ext cx="7835048" cy="834431"/>
          </a:xfrm>
        </p:spPr>
        <p:txBody>
          <a:bodyPr/>
          <a:lstStyle>
            <a:lvl1pPr>
              <a:defRPr sz="2500"/>
            </a:lvl1pPr>
          </a:lstStyle>
          <a:p>
            <a:r>
              <a:rPr lang="en-US" dirty="0"/>
              <a:t>Click to edit Master title style</a:t>
            </a:r>
            <a:endParaRPr lang="fr-FR" dirty="0"/>
          </a:p>
        </p:txBody>
      </p:sp>
      <p:sp>
        <p:nvSpPr>
          <p:cNvPr id="9" name="Rectangle 8"/>
          <p:cNvSpPr/>
          <p:nvPr/>
        </p:nvSpPr>
        <p:spPr>
          <a:xfrm>
            <a:off x="0" y="905107"/>
            <a:ext cx="9144000" cy="34180"/>
          </a:xfrm>
          <a:prstGeom prst="rect">
            <a:avLst/>
          </a:prstGeom>
          <a:solidFill>
            <a:schemeClr val="accent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891701"/>
            <a:endParaRPr lang="en-US" dirty="0">
              <a:solidFill>
                <a:srgbClr val="003149"/>
              </a:solidFill>
            </a:endParaRPr>
          </a:p>
        </p:txBody>
      </p:sp>
      <p:sp>
        <p:nvSpPr>
          <p:cNvPr id="10" name="SlideNumber"/>
          <p:cNvSpPr/>
          <p:nvPr/>
        </p:nvSpPr>
        <p:spPr>
          <a:xfrm>
            <a:off x="8216375" y="6668489"/>
            <a:ext cx="300772" cy="86818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 defTabSz="891701"/>
            <a:fld id="{BB69BBE8-4DB2-4642-B003-B220ACD5A2FD}" type="slidenum">
              <a:rPr lang="en-US" sz="900" b="1" smtClean="0">
                <a:solidFill>
                  <a:srgbClr val="080808"/>
                </a:solidFill>
                <a:latin typeface="Verdana" pitchFamily="34" charset="0"/>
              </a:rPr>
              <a:pPr algn="ctr" defTabSz="891701"/>
              <a:t>‹#›</a:t>
            </a:fld>
            <a:endParaRPr lang="fr-FR" sz="900" b="1" dirty="0">
              <a:solidFill>
                <a:srgbClr val="080808"/>
              </a:solidFill>
            </a:endParaRPr>
          </a:p>
        </p:txBody>
      </p:sp>
      <p:cxnSp>
        <p:nvCxnSpPr>
          <p:cNvPr id="11" name="Straight Connector 10"/>
          <p:cNvCxnSpPr/>
          <p:nvPr/>
        </p:nvCxnSpPr>
        <p:spPr>
          <a:xfrm>
            <a:off x="0" y="6555697"/>
            <a:ext cx="9144000" cy="0"/>
          </a:xfrm>
          <a:prstGeom prst="line">
            <a:avLst/>
          </a:prstGeom>
          <a:ln w="12700">
            <a:solidFill>
              <a:srgbClr val="999999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12" name="Group 11"/>
          <p:cNvGrpSpPr/>
          <p:nvPr/>
        </p:nvGrpSpPr>
        <p:grpSpPr>
          <a:xfrm>
            <a:off x="8574091" y="6591936"/>
            <a:ext cx="385992" cy="239924"/>
            <a:chOff x="7277614" y="2396353"/>
            <a:chExt cx="1054802" cy="609493"/>
          </a:xfrm>
        </p:grpSpPr>
        <p:sp>
          <p:nvSpPr>
            <p:cNvPr id="13" name="Freeform 7"/>
            <p:cNvSpPr>
              <a:spLocks/>
            </p:cNvSpPr>
            <p:nvPr/>
          </p:nvSpPr>
          <p:spPr bwMode="auto">
            <a:xfrm>
              <a:off x="7277614" y="2396353"/>
              <a:ext cx="527401" cy="154241"/>
            </a:xfrm>
            <a:custGeom>
              <a:avLst/>
              <a:gdLst>
                <a:gd name="T0" fmla="*/ 0 w 691"/>
                <a:gd name="T1" fmla="*/ 200 h 200"/>
                <a:gd name="T2" fmla="*/ 691 w 691"/>
                <a:gd name="T3" fmla="*/ 200 h 200"/>
                <a:gd name="T4" fmla="*/ 346 w 691"/>
                <a:gd name="T5" fmla="*/ 0 h 200"/>
                <a:gd name="T6" fmla="*/ 0 w 691"/>
                <a:gd name="T7" fmla="*/ 200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91" h="200">
                  <a:moveTo>
                    <a:pt x="0" y="200"/>
                  </a:moveTo>
                  <a:lnTo>
                    <a:pt x="691" y="200"/>
                  </a:lnTo>
                  <a:lnTo>
                    <a:pt x="346" y="0"/>
                  </a:lnTo>
                  <a:lnTo>
                    <a:pt x="0" y="200"/>
                  </a:lnTo>
                  <a:close/>
                </a:path>
              </a:pathLst>
            </a:custGeom>
            <a:solidFill>
              <a:srgbClr val="FF0505"/>
            </a:solidFill>
            <a:ln w="1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891701"/>
              <a:endParaRPr lang="en-US" sz="1700" dirty="0">
                <a:solidFill>
                  <a:srgbClr val="003149"/>
                </a:solidFill>
              </a:endParaRPr>
            </a:p>
          </p:txBody>
        </p:sp>
        <p:sp>
          <p:nvSpPr>
            <p:cNvPr id="14" name="Freeform 8"/>
            <p:cNvSpPr>
              <a:spLocks/>
            </p:cNvSpPr>
            <p:nvPr/>
          </p:nvSpPr>
          <p:spPr bwMode="auto">
            <a:xfrm>
              <a:off x="7277614" y="2550591"/>
              <a:ext cx="263702" cy="452770"/>
            </a:xfrm>
            <a:custGeom>
              <a:avLst/>
              <a:gdLst>
                <a:gd name="T0" fmla="*/ 0 w 346"/>
                <a:gd name="T1" fmla="*/ 0 h 598"/>
                <a:gd name="T2" fmla="*/ 0 w 346"/>
                <a:gd name="T3" fmla="*/ 399 h 598"/>
                <a:gd name="T4" fmla="*/ 346 w 346"/>
                <a:gd name="T5" fmla="*/ 598 h 598"/>
                <a:gd name="T6" fmla="*/ 0 w 346"/>
                <a:gd name="T7" fmla="*/ 0 h 5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46" h="598">
                  <a:moveTo>
                    <a:pt x="0" y="0"/>
                  </a:moveTo>
                  <a:lnTo>
                    <a:pt x="0" y="399"/>
                  </a:lnTo>
                  <a:lnTo>
                    <a:pt x="346" y="59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505"/>
            </a:solidFill>
            <a:ln w="2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891701"/>
              <a:endParaRPr lang="en-US" sz="1700" dirty="0">
                <a:solidFill>
                  <a:srgbClr val="003149"/>
                </a:solidFill>
              </a:endParaRPr>
            </a:p>
          </p:txBody>
        </p:sp>
        <p:sp>
          <p:nvSpPr>
            <p:cNvPr id="15" name="Freeform 9"/>
            <p:cNvSpPr>
              <a:spLocks/>
            </p:cNvSpPr>
            <p:nvPr/>
          </p:nvSpPr>
          <p:spPr bwMode="auto">
            <a:xfrm>
              <a:off x="7541313" y="2550591"/>
              <a:ext cx="263702" cy="452770"/>
            </a:xfrm>
            <a:custGeom>
              <a:avLst/>
              <a:gdLst>
                <a:gd name="T0" fmla="*/ 0 w 345"/>
                <a:gd name="T1" fmla="*/ 598 h 598"/>
                <a:gd name="T2" fmla="*/ 345 w 345"/>
                <a:gd name="T3" fmla="*/ 0 h 598"/>
                <a:gd name="T4" fmla="*/ 345 w 345"/>
                <a:gd name="T5" fmla="*/ 399 h 598"/>
                <a:gd name="T6" fmla="*/ 0 w 345"/>
                <a:gd name="T7" fmla="*/ 598 h 5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45" h="598">
                  <a:moveTo>
                    <a:pt x="0" y="598"/>
                  </a:moveTo>
                  <a:lnTo>
                    <a:pt x="345" y="0"/>
                  </a:lnTo>
                  <a:lnTo>
                    <a:pt x="345" y="399"/>
                  </a:lnTo>
                  <a:lnTo>
                    <a:pt x="0" y="598"/>
                  </a:lnTo>
                  <a:close/>
                </a:path>
              </a:pathLst>
            </a:custGeom>
            <a:solidFill>
              <a:srgbClr val="FF0505"/>
            </a:solidFill>
            <a:ln w="1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891701"/>
              <a:endParaRPr lang="en-US" sz="1700" dirty="0">
                <a:solidFill>
                  <a:srgbClr val="003149"/>
                </a:solidFill>
              </a:endParaRPr>
            </a:p>
          </p:txBody>
        </p:sp>
        <p:sp>
          <p:nvSpPr>
            <p:cNvPr id="16" name="Freeform 7"/>
            <p:cNvSpPr>
              <a:spLocks/>
            </p:cNvSpPr>
            <p:nvPr/>
          </p:nvSpPr>
          <p:spPr bwMode="auto">
            <a:xfrm rot="10800000">
              <a:off x="7805015" y="2851605"/>
              <a:ext cx="527401" cy="154241"/>
            </a:xfrm>
            <a:custGeom>
              <a:avLst/>
              <a:gdLst>
                <a:gd name="T0" fmla="*/ 0 w 691"/>
                <a:gd name="T1" fmla="*/ 200 h 200"/>
                <a:gd name="T2" fmla="*/ 691 w 691"/>
                <a:gd name="T3" fmla="*/ 200 h 200"/>
                <a:gd name="T4" fmla="*/ 346 w 691"/>
                <a:gd name="T5" fmla="*/ 0 h 200"/>
                <a:gd name="T6" fmla="*/ 0 w 691"/>
                <a:gd name="T7" fmla="*/ 200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91" h="200">
                  <a:moveTo>
                    <a:pt x="0" y="200"/>
                  </a:moveTo>
                  <a:lnTo>
                    <a:pt x="691" y="200"/>
                  </a:lnTo>
                  <a:lnTo>
                    <a:pt x="346" y="0"/>
                  </a:lnTo>
                  <a:lnTo>
                    <a:pt x="0" y="200"/>
                  </a:lnTo>
                  <a:close/>
                </a:path>
              </a:pathLst>
            </a:custGeom>
            <a:solidFill>
              <a:srgbClr val="058CEC"/>
            </a:solidFill>
            <a:ln w="1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891701"/>
              <a:endParaRPr lang="en-US" sz="1700" dirty="0">
                <a:solidFill>
                  <a:srgbClr val="003149"/>
                </a:solidFill>
              </a:endParaRPr>
            </a:p>
          </p:txBody>
        </p:sp>
        <p:sp>
          <p:nvSpPr>
            <p:cNvPr id="17" name="Freeform 8"/>
            <p:cNvSpPr>
              <a:spLocks/>
            </p:cNvSpPr>
            <p:nvPr/>
          </p:nvSpPr>
          <p:spPr bwMode="auto">
            <a:xfrm rot="10800000">
              <a:off x="8068714" y="2398838"/>
              <a:ext cx="263702" cy="452770"/>
            </a:xfrm>
            <a:custGeom>
              <a:avLst/>
              <a:gdLst>
                <a:gd name="T0" fmla="*/ 0 w 346"/>
                <a:gd name="T1" fmla="*/ 0 h 598"/>
                <a:gd name="T2" fmla="*/ 0 w 346"/>
                <a:gd name="T3" fmla="*/ 399 h 598"/>
                <a:gd name="T4" fmla="*/ 346 w 346"/>
                <a:gd name="T5" fmla="*/ 598 h 598"/>
                <a:gd name="T6" fmla="*/ 0 w 346"/>
                <a:gd name="T7" fmla="*/ 0 h 5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46" h="598">
                  <a:moveTo>
                    <a:pt x="0" y="0"/>
                  </a:moveTo>
                  <a:lnTo>
                    <a:pt x="0" y="399"/>
                  </a:lnTo>
                  <a:lnTo>
                    <a:pt x="346" y="59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58CEC"/>
            </a:solidFill>
            <a:ln w="2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891701"/>
              <a:endParaRPr lang="en-US" sz="1700" dirty="0">
                <a:solidFill>
                  <a:srgbClr val="003149"/>
                </a:solidFill>
              </a:endParaRPr>
            </a:p>
          </p:txBody>
        </p:sp>
        <p:sp>
          <p:nvSpPr>
            <p:cNvPr id="18" name="Freeform 9"/>
            <p:cNvSpPr>
              <a:spLocks/>
            </p:cNvSpPr>
            <p:nvPr/>
          </p:nvSpPr>
          <p:spPr bwMode="auto">
            <a:xfrm rot="10800000">
              <a:off x="7805015" y="2398838"/>
              <a:ext cx="263702" cy="452770"/>
            </a:xfrm>
            <a:custGeom>
              <a:avLst/>
              <a:gdLst>
                <a:gd name="T0" fmla="*/ 0 w 345"/>
                <a:gd name="T1" fmla="*/ 598 h 598"/>
                <a:gd name="T2" fmla="*/ 345 w 345"/>
                <a:gd name="T3" fmla="*/ 0 h 598"/>
                <a:gd name="T4" fmla="*/ 345 w 345"/>
                <a:gd name="T5" fmla="*/ 399 h 598"/>
                <a:gd name="T6" fmla="*/ 0 w 345"/>
                <a:gd name="T7" fmla="*/ 598 h 5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45" h="598">
                  <a:moveTo>
                    <a:pt x="0" y="598"/>
                  </a:moveTo>
                  <a:lnTo>
                    <a:pt x="345" y="0"/>
                  </a:lnTo>
                  <a:lnTo>
                    <a:pt x="345" y="399"/>
                  </a:lnTo>
                  <a:lnTo>
                    <a:pt x="0" y="598"/>
                  </a:lnTo>
                  <a:close/>
                </a:path>
              </a:pathLst>
            </a:custGeom>
            <a:solidFill>
              <a:srgbClr val="058CEC"/>
            </a:solidFill>
            <a:ln w="1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891701"/>
              <a:endParaRPr lang="en-US" sz="1700" dirty="0">
                <a:solidFill>
                  <a:srgbClr val="003149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816242791"/>
      </p:ext>
    </p:extLst>
  </p:cSld>
  <p:clrMapOvr>
    <a:masterClrMapping/>
  </p:clrMapOvr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hree Char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7"/>
          <p:cNvSpPr>
            <a:spLocks noGrp="1"/>
          </p:cNvSpPr>
          <p:nvPr>
            <p:ph type="pic" sz="quarter" idx="12" hasCustomPrompt="1"/>
          </p:nvPr>
        </p:nvSpPr>
        <p:spPr>
          <a:xfrm>
            <a:off x="353588" y="1408225"/>
            <a:ext cx="2744041" cy="5095600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>
            <a:normAutofit/>
          </a:bodyPr>
          <a:lstStyle>
            <a:lvl1pPr marL="246668" indent="-246668" algn="l" defTabSz="891465" rtl="0" eaLnBrk="1" fontAlgn="base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sz="2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/>
              <a:t>Wizard Chart</a:t>
            </a:r>
          </a:p>
        </p:txBody>
      </p:sp>
      <p:sp>
        <p:nvSpPr>
          <p:cNvPr id="5" name="Picture Placeholder 7"/>
          <p:cNvSpPr>
            <a:spLocks noGrp="1"/>
          </p:cNvSpPr>
          <p:nvPr>
            <p:ph type="pic" sz="quarter" idx="13" hasCustomPrompt="1"/>
          </p:nvPr>
        </p:nvSpPr>
        <p:spPr>
          <a:xfrm>
            <a:off x="6064239" y="1408225"/>
            <a:ext cx="2744041" cy="5095600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>
            <a:normAutofit/>
          </a:bodyPr>
          <a:lstStyle>
            <a:lvl1pPr marL="246668" indent="-246668" algn="l" defTabSz="891465" rtl="0" eaLnBrk="1" fontAlgn="base" latinLnBrk="0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altLang="zh-CN" sz="2200" kern="1200" noProof="1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/>
              <a:t>Wizard Chart</a:t>
            </a:r>
          </a:p>
        </p:txBody>
      </p:sp>
      <p:sp>
        <p:nvSpPr>
          <p:cNvPr id="6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355115" y="1206767"/>
            <a:ext cx="2744041" cy="419016"/>
          </a:xfrm>
          <a:blipFill dpi="0" rotWithShape="1">
            <a:blip r:embed="rId3" cstate="print"/>
            <a:srcRect/>
            <a:tile tx="0" ty="0" sx="100000" sy="100000" flip="none" algn="b"/>
          </a:blipFill>
        </p:spPr>
        <p:txBody>
          <a:bodyPr lIns="0" tIns="0" rIns="0" bIns="83087" anchor="b" anchorCtr="0">
            <a:normAutofit/>
          </a:bodyPr>
          <a:lstStyle>
            <a:lvl1pPr marL="0" indent="0" algn="ctr">
              <a:buNone/>
              <a:defRPr sz="1500" b="1" cap="all" baseline="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5"/>
          </p:nvPr>
        </p:nvSpPr>
        <p:spPr>
          <a:xfrm>
            <a:off x="6061102" y="1206767"/>
            <a:ext cx="2744041" cy="419016"/>
          </a:xfrm>
          <a:blipFill dpi="0" rotWithShape="1">
            <a:blip r:embed="rId3" cstate="print"/>
            <a:srcRect/>
            <a:tile tx="0" ty="0" sx="100000" sy="100000" flip="none" algn="b"/>
          </a:blipFill>
        </p:spPr>
        <p:txBody>
          <a:bodyPr lIns="0" tIns="0" rIns="0" bIns="83087" anchor="b" anchorCtr="0">
            <a:normAutofit/>
          </a:bodyPr>
          <a:lstStyle>
            <a:lvl1pPr marL="0" indent="0" algn="ctr">
              <a:buNone/>
              <a:defRPr sz="1500" b="1" cap="all" baseline="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6" hasCustomPrompt="1"/>
          </p:nvPr>
        </p:nvSpPr>
        <p:spPr>
          <a:xfrm>
            <a:off x="3208912" y="1408225"/>
            <a:ext cx="2744041" cy="5095600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>
            <a:normAutofit/>
          </a:bodyPr>
          <a:lstStyle>
            <a:lvl1pPr marL="246668" indent="-246668" algn="l" defTabSz="891465" rtl="0" eaLnBrk="1" fontAlgn="base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sz="2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/>
              <a:t>Wizard Chart</a:t>
            </a:r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7"/>
          </p:nvPr>
        </p:nvSpPr>
        <p:spPr>
          <a:xfrm>
            <a:off x="3212142" y="1206767"/>
            <a:ext cx="2744041" cy="419016"/>
          </a:xfrm>
          <a:blipFill dpi="0" rotWithShape="1">
            <a:blip r:embed="rId3" cstate="print"/>
            <a:srcRect/>
            <a:tile tx="0" ty="0" sx="100000" sy="100000" flip="none" algn="b"/>
          </a:blipFill>
        </p:spPr>
        <p:txBody>
          <a:bodyPr lIns="0" tIns="0" rIns="0" bIns="83087" anchor="b" anchorCtr="0">
            <a:normAutofit/>
          </a:bodyPr>
          <a:lstStyle>
            <a:lvl1pPr marL="0" indent="0" algn="ctr">
              <a:buNone/>
              <a:defRPr sz="1500" b="1" cap="all" baseline="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168404" y="53593"/>
            <a:ext cx="7835048" cy="834431"/>
          </a:xfrm>
        </p:spPr>
        <p:txBody>
          <a:bodyPr/>
          <a:lstStyle>
            <a:lvl1pPr>
              <a:defRPr sz="2500"/>
            </a:lvl1pPr>
          </a:lstStyle>
          <a:p>
            <a:r>
              <a:rPr lang="en-US" dirty="0"/>
              <a:t>Click to edit Master title style</a:t>
            </a:r>
            <a:endParaRPr lang="fr-FR" dirty="0"/>
          </a:p>
        </p:txBody>
      </p:sp>
      <p:sp>
        <p:nvSpPr>
          <p:cNvPr id="11" name="Rectangle 10"/>
          <p:cNvSpPr/>
          <p:nvPr/>
        </p:nvSpPr>
        <p:spPr>
          <a:xfrm>
            <a:off x="0" y="905107"/>
            <a:ext cx="9144000" cy="34180"/>
          </a:xfrm>
          <a:prstGeom prst="rect">
            <a:avLst/>
          </a:prstGeom>
          <a:solidFill>
            <a:schemeClr val="accent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891701"/>
            <a:endParaRPr lang="en-US" dirty="0">
              <a:solidFill>
                <a:srgbClr val="003149"/>
              </a:solidFill>
            </a:endParaRPr>
          </a:p>
        </p:txBody>
      </p:sp>
      <p:sp>
        <p:nvSpPr>
          <p:cNvPr id="12" name="SlideNumber"/>
          <p:cNvSpPr/>
          <p:nvPr/>
        </p:nvSpPr>
        <p:spPr>
          <a:xfrm>
            <a:off x="8216375" y="6668489"/>
            <a:ext cx="300772" cy="86818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 defTabSz="891701"/>
            <a:fld id="{BB69BBE8-4DB2-4642-B003-B220ACD5A2FD}" type="slidenum">
              <a:rPr lang="en-US" sz="900" b="1" smtClean="0">
                <a:solidFill>
                  <a:srgbClr val="080808"/>
                </a:solidFill>
                <a:latin typeface="Verdana" pitchFamily="34" charset="0"/>
              </a:rPr>
              <a:pPr algn="ctr" defTabSz="891701"/>
              <a:t>‹#›</a:t>
            </a:fld>
            <a:endParaRPr lang="fr-FR" sz="900" b="1" dirty="0">
              <a:solidFill>
                <a:srgbClr val="080808"/>
              </a:solidFill>
            </a:endParaRPr>
          </a:p>
        </p:txBody>
      </p:sp>
      <p:cxnSp>
        <p:nvCxnSpPr>
          <p:cNvPr id="13" name="Straight Connector 12"/>
          <p:cNvCxnSpPr/>
          <p:nvPr/>
        </p:nvCxnSpPr>
        <p:spPr>
          <a:xfrm>
            <a:off x="0" y="6555697"/>
            <a:ext cx="9144000" cy="0"/>
          </a:xfrm>
          <a:prstGeom prst="line">
            <a:avLst/>
          </a:prstGeom>
          <a:ln w="12700">
            <a:solidFill>
              <a:srgbClr val="999999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14" name="Group 13"/>
          <p:cNvGrpSpPr/>
          <p:nvPr/>
        </p:nvGrpSpPr>
        <p:grpSpPr>
          <a:xfrm>
            <a:off x="8574091" y="6591936"/>
            <a:ext cx="385992" cy="239924"/>
            <a:chOff x="7277614" y="2396353"/>
            <a:chExt cx="1054802" cy="609493"/>
          </a:xfrm>
        </p:grpSpPr>
        <p:sp>
          <p:nvSpPr>
            <p:cNvPr id="15" name="Freeform 7"/>
            <p:cNvSpPr>
              <a:spLocks/>
            </p:cNvSpPr>
            <p:nvPr/>
          </p:nvSpPr>
          <p:spPr bwMode="auto">
            <a:xfrm>
              <a:off x="7277614" y="2396353"/>
              <a:ext cx="527401" cy="154241"/>
            </a:xfrm>
            <a:custGeom>
              <a:avLst/>
              <a:gdLst>
                <a:gd name="T0" fmla="*/ 0 w 691"/>
                <a:gd name="T1" fmla="*/ 200 h 200"/>
                <a:gd name="T2" fmla="*/ 691 w 691"/>
                <a:gd name="T3" fmla="*/ 200 h 200"/>
                <a:gd name="T4" fmla="*/ 346 w 691"/>
                <a:gd name="T5" fmla="*/ 0 h 200"/>
                <a:gd name="T6" fmla="*/ 0 w 691"/>
                <a:gd name="T7" fmla="*/ 200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91" h="200">
                  <a:moveTo>
                    <a:pt x="0" y="200"/>
                  </a:moveTo>
                  <a:lnTo>
                    <a:pt x="691" y="200"/>
                  </a:lnTo>
                  <a:lnTo>
                    <a:pt x="346" y="0"/>
                  </a:lnTo>
                  <a:lnTo>
                    <a:pt x="0" y="200"/>
                  </a:lnTo>
                  <a:close/>
                </a:path>
              </a:pathLst>
            </a:custGeom>
            <a:solidFill>
              <a:srgbClr val="FF0505"/>
            </a:solidFill>
            <a:ln w="1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891701"/>
              <a:endParaRPr lang="en-US" sz="1700" dirty="0">
                <a:solidFill>
                  <a:srgbClr val="003149"/>
                </a:solidFill>
              </a:endParaRPr>
            </a:p>
          </p:txBody>
        </p:sp>
        <p:sp>
          <p:nvSpPr>
            <p:cNvPr id="16" name="Freeform 8"/>
            <p:cNvSpPr>
              <a:spLocks/>
            </p:cNvSpPr>
            <p:nvPr/>
          </p:nvSpPr>
          <p:spPr bwMode="auto">
            <a:xfrm>
              <a:off x="7277614" y="2550591"/>
              <a:ext cx="263702" cy="452770"/>
            </a:xfrm>
            <a:custGeom>
              <a:avLst/>
              <a:gdLst>
                <a:gd name="T0" fmla="*/ 0 w 346"/>
                <a:gd name="T1" fmla="*/ 0 h 598"/>
                <a:gd name="T2" fmla="*/ 0 w 346"/>
                <a:gd name="T3" fmla="*/ 399 h 598"/>
                <a:gd name="T4" fmla="*/ 346 w 346"/>
                <a:gd name="T5" fmla="*/ 598 h 598"/>
                <a:gd name="T6" fmla="*/ 0 w 346"/>
                <a:gd name="T7" fmla="*/ 0 h 5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46" h="598">
                  <a:moveTo>
                    <a:pt x="0" y="0"/>
                  </a:moveTo>
                  <a:lnTo>
                    <a:pt x="0" y="399"/>
                  </a:lnTo>
                  <a:lnTo>
                    <a:pt x="346" y="59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505"/>
            </a:solidFill>
            <a:ln w="2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891701"/>
              <a:endParaRPr lang="en-US" sz="1700" dirty="0">
                <a:solidFill>
                  <a:srgbClr val="003149"/>
                </a:solidFill>
              </a:endParaRPr>
            </a:p>
          </p:txBody>
        </p:sp>
        <p:sp>
          <p:nvSpPr>
            <p:cNvPr id="17" name="Freeform 9"/>
            <p:cNvSpPr>
              <a:spLocks/>
            </p:cNvSpPr>
            <p:nvPr/>
          </p:nvSpPr>
          <p:spPr bwMode="auto">
            <a:xfrm>
              <a:off x="7541313" y="2550591"/>
              <a:ext cx="263702" cy="452770"/>
            </a:xfrm>
            <a:custGeom>
              <a:avLst/>
              <a:gdLst>
                <a:gd name="T0" fmla="*/ 0 w 345"/>
                <a:gd name="T1" fmla="*/ 598 h 598"/>
                <a:gd name="T2" fmla="*/ 345 w 345"/>
                <a:gd name="T3" fmla="*/ 0 h 598"/>
                <a:gd name="T4" fmla="*/ 345 w 345"/>
                <a:gd name="T5" fmla="*/ 399 h 598"/>
                <a:gd name="T6" fmla="*/ 0 w 345"/>
                <a:gd name="T7" fmla="*/ 598 h 5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45" h="598">
                  <a:moveTo>
                    <a:pt x="0" y="598"/>
                  </a:moveTo>
                  <a:lnTo>
                    <a:pt x="345" y="0"/>
                  </a:lnTo>
                  <a:lnTo>
                    <a:pt x="345" y="399"/>
                  </a:lnTo>
                  <a:lnTo>
                    <a:pt x="0" y="598"/>
                  </a:lnTo>
                  <a:close/>
                </a:path>
              </a:pathLst>
            </a:custGeom>
            <a:solidFill>
              <a:srgbClr val="FF0505"/>
            </a:solidFill>
            <a:ln w="1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891701"/>
              <a:endParaRPr lang="en-US" sz="1700" dirty="0">
                <a:solidFill>
                  <a:srgbClr val="003149"/>
                </a:solidFill>
              </a:endParaRPr>
            </a:p>
          </p:txBody>
        </p:sp>
        <p:sp>
          <p:nvSpPr>
            <p:cNvPr id="18" name="Freeform 7"/>
            <p:cNvSpPr>
              <a:spLocks/>
            </p:cNvSpPr>
            <p:nvPr/>
          </p:nvSpPr>
          <p:spPr bwMode="auto">
            <a:xfrm rot="10800000">
              <a:off x="7805015" y="2851605"/>
              <a:ext cx="527401" cy="154241"/>
            </a:xfrm>
            <a:custGeom>
              <a:avLst/>
              <a:gdLst>
                <a:gd name="T0" fmla="*/ 0 w 691"/>
                <a:gd name="T1" fmla="*/ 200 h 200"/>
                <a:gd name="T2" fmla="*/ 691 w 691"/>
                <a:gd name="T3" fmla="*/ 200 h 200"/>
                <a:gd name="T4" fmla="*/ 346 w 691"/>
                <a:gd name="T5" fmla="*/ 0 h 200"/>
                <a:gd name="T6" fmla="*/ 0 w 691"/>
                <a:gd name="T7" fmla="*/ 200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91" h="200">
                  <a:moveTo>
                    <a:pt x="0" y="200"/>
                  </a:moveTo>
                  <a:lnTo>
                    <a:pt x="691" y="200"/>
                  </a:lnTo>
                  <a:lnTo>
                    <a:pt x="346" y="0"/>
                  </a:lnTo>
                  <a:lnTo>
                    <a:pt x="0" y="200"/>
                  </a:lnTo>
                  <a:close/>
                </a:path>
              </a:pathLst>
            </a:custGeom>
            <a:solidFill>
              <a:srgbClr val="058CEC"/>
            </a:solidFill>
            <a:ln w="1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891701"/>
              <a:endParaRPr lang="en-US" sz="1700" dirty="0">
                <a:solidFill>
                  <a:srgbClr val="003149"/>
                </a:solidFill>
              </a:endParaRPr>
            </a:p>
          </p:txBody>
        </p:sp>
        <p:sp>
          <p:nvSpPr>
            <p:cNvPr id="19" name="Freeform 8"/>
            <p:cNvSpPr>
              <a:spLocks/>
            </p:cNvSpPr>
            <p:nvPr/>
          </p:nvSpPr>
          <p:spPr bwMode="auto">
            <a:xfrm rot="10800000">
              <a:off x="8068714" y="2398838"/>
              <a:ext cx="263702" cy="452770"/>
            </a:xfrm>
            <a:custGeom>
              <a:avLst/>
              <a:gdLst>
                <a:gd name="T0" fmla="*/ 0 w 346"/>
                <a:gd name="T1" fmla="*/ 0 h 598"/>
                <a:gd name="T2" fmla="*/ 0 w 346"/>
                <a:gd name="T3" fmla="*/ 399 h 598"/>
                <a:gd name="T4" fmla="*/ 346 w 346"/>
                <a:gd name="T5" fmla="*/ 598 h 598"/>
                <a:gd name="T6" fmla="*/ 0 w 346"/>
                <a:gd name="T7" fmla="*/ 0 h 5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46" h="598">
                  <a:moveTo>
                    <a:pt x="0" y="0"/>
                  </a:moveTo>
                  <a:lnTo>
                    <a:pt x="0" y="399"/>
                  </a:lnTo>
                  <a:lnTo>
                    <a:pt x="346" y="59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58CEC"/>
            </a:solidFill>
            <a:ln w="2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891701"/>
              <a:endParaRPr lang="en-US" sz="1700" dirty="0">
                <a:solidFill>
                  <a:srgbClr val="003149"/>
                </a:solidFill>
              </a:endParaRPr>
            </a:p>
          </p:txBody>
        </p:sp>
        <p:sp>
          <p:nvSpPr>
            <p:cNvPr id="20" name="Freeform 9"/>
            <p:cNvSpPr>
              <a:spLocks/>
            </p:cNvSpPr>
            <p:nvPr/>
          </p:nvSpPr>
          <p:spPr bwMode="auto">
            <a:xfrm rot="10800000">
              <a:off x="7805015" y="2398838"/>
              <a:ext cx="263702" cy="452770"/>
            </a:xfrm>
            <a:custGeom>
              <a:avLst/>
              <a:gdLst>
                <a:gd name="T0" fmla="*/ 0 w 345"/>
                <a:gd name="T1" fmla="*/ 598 h 598"/>
                <a:gd name="T2" fmla="*/ 345 w 345"/>
                <a:gd name="T3" fmla="*/ 0 h 598"/>
                <a:gd name="T4" fmla="*/ 345 w 345"/>
                <a:gd name="T5" fmla="*/ 399 h 598"/>
                <a:gd name="T6" fmla="*/ 0 w 345"/>
                <a:gd name="T7" fmla="*/ 598 h 5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45" h="598">
                  <a:moveTo>
                    <a:pt x="0" y="598"/>
                  </a:moveTo>
                  <a:lnTo>
                    <a:pt x="345" y="0"/>
                  </a:lnTo>
                  <a:lnTo>
                    <a:pt x="345" y="399"/>
                  </a:lnTo>
                  <a:lnTo>
                    <a:pt x="0" y="598"/>
                  </a:lnTo>
                  <a:close/>
                </a:path>
              </a:pathLst>
            </a:custGeom>
            <a:solidFill>
              <a:srgbClr val="058CEC"/>
            </a:solidFill>
            <a:ln w="1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891701"/>
              <a:endParaRPr lang="en-US" sz="1700" dirty="0">
                <a:solidFill>
                  <a:srgbClr val="003149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216005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07266" name="Rectangle 2"/>
          <p:cNvSpPr>
            <a:spLocks noGrp="1" noChangeArrowheads="1"/>
          </p:cNvSpPr>
          <p:nvPr>
            <p:ph type="subTitle" idx="1"/>
          </p:nvPr>
        </p:nvSpPr>
        <p:spPr>
          <a:xfrm>
            <a:off x="2935489" y="5737238"/>
            <a:ext cx="5522912" cy="270843"/>
          </a:xfrm>
          <a:effectLst>
            <a:outerShdw dist="17961" dir="2700000" algn="ctr" rotWithShape="0">
              <a:srgbClr val="FFFFFF"/>
            </a:outerShdw>
          </a:effectLst>
        </p:spPr>
        <p:txBody>
          <a:bodyPr>
            <a:spAutoFit/>
          </a:bodyPr>
          <a:lstStyle>
            <a:lvl1pPr marL="0" indent="0" algn="r" defTabSz="819005">
              <a:spcBef>
                <a:spcPct val="0"/>
              </a:spcBef>
              <a:buClrTx/>
              <a:buFontTx/>
              <a:buNone/>
              <a:defRPr sz="1600">
                <a:solidFill>
                  <a:schemeClr val="tx2"/>
                </a:solidFill>
              </a:defRPr>
            </a:lvl1pPr>
          </a:lstStyle>
          <a:p>
            <a:r>
              <a:rPr lang="ru-RU" smtClean="0"/>
              <a:t>Образец подзаголовка</a:t>
            </a:r>
            <a:endParaRPr lang="en-US" dirty="0"/>
          </a:p>
        </p:txBody>
      </p:sp>
      <p:sp>
        <p:nvSpPr>
          <p:cNvPr id="907267" name="Rectangle 3"/>
          <p:cNvSpPr>
            <a:spLocks noGrp="1" noChangeArrowheads="1"/>
          </p:cNvSpPr>
          <p:nvPr>
            <p:ph type="ctrTitle" sz="quarter"/>
          </p:nvPr>
        </p:nvSpPr>
        <p:spPr>
          <a:xfrm>
            <a:off x="3032589" y="5183211"/>
            <a:ext cx="5522912" cy="452437"/>
          </a:xfrm>
          <a:prstGeom prst="rect">
            <a:avLst/>
          </a:prstGeom>
          <a:ln/>
          <a:effectLst>
            <a:outerShdw dist="17961" dir="2700000" algn="ctr" rotWithShape="0">
              <a:srgbClr val="FFFFFF"/>
            </a:outerShdw>
          </a:effectLst>
        </p:spPr>
        <p:txBody>
          <a:bodyPr lIns="91243" tIns="45622" rIns="91243" bIns="45622" anchor="b"/>
          <a:lstStyle>
            <a:lvl1pPr algn="r" defTabSz="819005">
              <a:defRPr sz="2400">
                <a:solidFill>
                  <a:schemeClr val="tx2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en-US"/>
          </a:p>
        </p:txBody>
      </p:sp>
      <p:pic>
        <p:nvPicPr>
          <p:cNvPr id="2" name="Рисунок 1"/>
          <p:cNvPicPr>
            <a:picLocks noChangeAspect="1"/>
          </p:cNvPicPr>
          <p:nvPr userDrawn="1"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2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0710" y="505803"/>
            <a:ext cx="5230821" cy="3804234"/>
          </a:xfrm>
          <a:prstGeom prst="rect">
            <a:avLst/>
          </a:prstGeom>
        </p:spPr>
      </p:pic>
      <p:pic>
        <p:nvPicPr>
          <p:cNvPr id="7" name="Picture 2"/>
          <p:cNvPicPr>
            <a:picLocks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68002" y="3096000"/>
            <a:ext cx="3564000" cy="2066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7381495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gallery dir="l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our Char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7"/>
          <p:cNvSpPr>
            <a:spLocks noGrp="1"/>
          </p:cNvSpPr>
          <p:nvPr>
            <p:ph type="pic" sz="quarter" idx="12" hasCustomPrompt="1"/>
          </p:nvPr>
        </p:nvSpPr>
        <p:spPr>
          <a:xfrm>
            <a:off x="353588" y="1292912"/>
            <a:ext cx="4004323" cy="2535079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>
            <a:normAutofit/>
          </a:bodyPr>
          <a:lstStyle>
            <a:lvl1pPr marL="246668" indent="-246668" algn="l" defTabSz="891465" rtl="0" eaLnBrk="1" fontAlgn="base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sz="2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/>
              <a:t>Wizard Chart</a:t>
            </a:r>
          </a:p>
        </p:txBody>
      </p:sp>
      <p:sp>
        <p:nvSpPr>
          <p:cNvPr id="5" name="Picture Placeholder 7"/>
          <p:cNvSpPr>
            <a:spLocks noGrp="1"/>
          </p:cNvSpPr>
          <p:nvPr>
            <p:ph type="pic" sz="quarter" idx="13" hasCustomPrompt="1"/>
          </p:nvPr>
        </p:nvSpPr>
        <p:spPr>
          <a:xfrm>
            <a:off x="4789076" y="1292912"/>
            <a:ext cx="4003071" cy="2535079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>
            <a:normAutofit/>
          </a:bodyPr>
          <a:lstStyle>
            <a:lvl1pPr marL="246668" indent="-246668" algn="l" defTabSz="891465" rtl="0" eaLnBrk="1" fontAlgn="base" latinLnBrk="0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altLang="zh-CN" sz="2200" kern="1200" noProof="1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/>
              <a:t>Wizard Chart</a:t>
            </a:r>
          </a:p>
        </p:txBody>
      </p:sp>
      <p:sp>
        <p:nvSpPr>
          <p:cNvPr id="6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355111" y="1093904"/>
            <a:ext cx="4003071" cy="419016"/>
          </a:xfrm>
          <a:blipFill dpi="0" rotWithShape="1">
            <a:blip r:embed="rId3" cstate="print"/>
            <a:srcRect/>
            <a:tile tx="0" ty="0" sx="100000" sy="100000" flip="none" algn="b"/>
          </a:blipFill>
        </p:spPr>
        <p:txBody>
          <a:bodyPr lIns="0" tIns="0" rIns="0" bIns="83087" anchor="b" anchorCtr="0">
            <a:normAutofit/>
          </a:bodyPr>
          <a:lstStyle>
            <a:lvl1pPr marL="0" indent="0" algn="ctr">
              <a:buNone/>
              <a:defRPr sz="1500" b="1" cap="all" baseline="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5"/>
          </p:nvPr>
        </p:nvSpPr>
        <p:spPr>
          <a:xfrm>
            <a:off x="4785930" y="1093904"/>
            <a:ext cx="4004406" cy="419016"/>
          </a:xfrm>
          <a:blipFill dpi="0" rotWithShape="1">
            <a:blip r:embed="rId3" cstate="print"/>
            <a:srcRect/>
            <a:tile tx="0" ty="0" sx="100000" sy="100000" flip="none" algn="b"/>
          </a:blipFill>
        </p:spPr>
        <p:txBody>
          <a:bodyPr lIns="0" tIns="0" rIns="0" bIns="83087" anchor="b" anchorCtr="0">
            <a:normAutofit/>
          </a:bodyPr>
          <a:lstStyle>
            <a:lvl1pPr marL="0" indent="0" algn="ctr">
              <a:buNone/>
              <a:defRPr sz="1500" b="1" cap="all" baseline="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6" hasCustomPrompt="1"/>
          </p:nvPr>
        </p:nvSpPr>
        <p:spPr>
          <a:xfrm>
            <a:off x="355115" y="3993909"/>
            <a:ext cx="4004323" cy="2535079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>
            <a:normAutofit/>
          </a:bodyPr>
          <a:lstStyle>
            <a:lvl1pPr marL="246668" indent="-246668" algn="l" defTabSz="891465" rtl="0" eaLnBrk="1" fontAlgn="base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sz="2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/>
              <a:t>Wizard Chart</a:t>
            </a:r>
          </a:p>
        </p:txBody>
      </p:sp>
      <p:sp>
        <p:nvSpPr>
          <p:cNvPr id="9" name="Picture Placeholder 7"/>
          <p:cNvSpPr>
            <a:spLocks noGrp="1"/>
          </p:cNvSpPr>
          <p:nvPr>
            <p:ph type="pic" sz="quarter" idx="17" hasCustomPrompt="1"/>
          </p:nvPr>
        </p:nvSpPr>
        <p:spPr>
          <a:xfrm>
            <a:off x="4785933" y="3993909"/>
            <a:ext cx="4003071" cy="2535079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>
            <a:normAutofit/>
          </a:bodyPr>
          <a:lstStyle>
            <a:lvl1pPr marL="246668" indent="-246668" algn="l" defTabSz="891465" rtl="0" eaLnBrk="1" fontAlgn="base" latinLnBrk="0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altLang="zh-CN" sz="2200" kern="1200" noProof="1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/>
              <a:t>Wizard Chart</a:t>
            </a:r>
          </a:p>
        </p:txBody>
      </p:sp>
      <p:sp>
        <p:nvSpPr>
          <p:cNvPr id="10" name="Text Placeholder 6"/>
          <p:cNvSpPr>
            <a:spLocks noGrp="1"/>
          </p:cNvSpPr>
          <p:nvPr>
            <p:ph type="body" sz="quarter" idx="18"/>
          </p:nvPr>
        </p:nvSpPr>
        <p:spPr>
          <a:xfrm>
            <a:off x="355111" y="3793939"/>
            <a:ext cx="4003071" cy="419016"/>
          </a:xfrm>
          <a:blipFill dpi="0" rotWithShape="1">
            <a:blip r:embed="rId3" cstate="print"/>
            <a:srcRect/>
            <a:tile tx="0" ty="0" sx="100000" sy="100000" flip="none" algn="b"/>
          </a:blipFill>
        </p:spPr>
        <p:txBody>
          <a:bodyPr lIns="0" tIns="0" rIns="0" bIns="83087" anchor="b" anchorCtr="0">
            <a:normAutofit/>
          </a:bodyPr>
          <a:lstStyle>
            <a:lvl1pPr marL="0" indent="0" algn="ctr">
              <a:buNone/>
              <a:defRPr sz="1500" b="1" cap="all" baseline="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19"/>
          </p:nvPr>
        </p:nvSpPr>
        <p:spPr>
          <a:xfrm>
            <a:off x="4785930" y="3793939"/>
            <a:ext cx="4004406" cy="419016"/>
          </a:xfrm>
          <a:blipFill dpi="0" rotWithShape="1">
            <a:blip r:embed="rId3" cstate="print"/>
            <a:srcRect/>
            <a:tile tx="0" ty="0" sx="100000" sy="100000" flip="none" algn="b"/>
          </a:blipFill>
        </p:spPr>
        <p:txBody>
          <a:bodyPr lIns="0" tIns="0" rIns="0" bIns="83087" anchor="b" anchorCtr="0">
            <a:normAutofit/>
          </a:bodyPr>
          <a:lstStyle>
            <a:lvl1pPr marL="0" indent="0" algn="ctr">
              <a:buNone/>
              <a:defRPr sz="1500" b="1" cap="all" baseline="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168404" y="53593"/>
            <a:ext cx="7835048" cy="834431"/>
          </a:xfrm>
        </p:spPr>
        <p:txBody>
          <a:bodyPr/>
          <a:lstStyle>
            <a:lvl1pPr>
              <a:defRPr sz="2500"/>
            </a:lvl1pPr>
          </a:lstStyle>
          <a:p>
            <a:r>
              <a:rPr lang="en-US" dirty="0"/>
              <a:t>Click to edit Master title style</a:t>
            </a:r>
            <a:endParaRPr lang="fr-FR" dirty="0"/>
          </a:p>
        </p:txBody>
      </p:sp>
      <p:sp>
        <p:nvSpPr>
          <p:cNvPr id="13" name="Rectangle 12"/>
          <p:cNvSpPr/>
          <p:nvPr/>
        </p:nvSpPr>
        <p:spPr>
          <a:xfrm>
            <a:off x="0" y="905107"/>
            <a:ext cx="9144000" cy="34180"/>
          </a:xfrm>
          <a:prstGeom prst="rect">
            <a:avLst/>
          </a:prstGeom>
          <a:solidFill>
            <a:schemeClr val="accent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891701"/>
            <a:endParaRPr lang="en-US" dirty="0">
              <a:solidFill>
                <a:srgbClr val="003149"/>
              </a:solidFill>
            </a:endParaRPr>
          </a:p>
        </p:txBody>
      </p:sp>
      <p:sp>
        <p:nvSpPr>
          <p:cNvPr id="14" name="SlideNumber"/>
          <p:cNvSpPr/>
          <p:nvPr/>
        </p:nvSpPr>
        <p:spPr>
          <a:xfrm>
            <a:off x="8216375" y="6668489"/>
            <a:ext cx="300772" cy="86818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 defTabSz="891701"/>
            <a:fld id="{BB69BBE8-4DB2-4642-B003-B220ACD5A2FD}" type="slidenum">
              <a:rPr lang="en-US" sz="900" b="1" smtClean="0">
                <a:solidFill>
                  <a:srgbClr val="080808"/>
                </a:solidFill>
                <a:latin typeface="Verdana" pitchFamily="34" charset="0"/>
              </a:rPr>
              <a:pPr algn="ctr" defTabSz="891701"/>
              <a:t>‹#›</a:t>
            </a:fld>
            <a:endParaRPr lang="fr-FR" sz="900" b="1" dirty="0">
              <a:solidFill>
                <a:srgbClr val="080808"/>
              </a:solidFill>
            </a:endParaRPr>
          </a:p>
        </p:txBody>
      </p:sp>
      <p:cxnSp>
        <p:nvCxnSpPr>
          <p:cNvPr id="15" name="Straight Connector 14"/>
          <p:cNvCxnSpPr/>
          <p:nvPr/>
        </p:nvCxnSpPr>
        <p:spPr>
          <a:xfrm>
            <a:off x="0" y="6555697"/>
            <a:ext cx="9144000" cy="0"/>
          </a:xfrm>
          <a:prstGeom prst="line">
            <a:avLst/>
          </a:prstGeom>
          <a:ln w="12700">
            <a:solidFill>
              <a:srgbClr val="999999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16" name="Group 15"/>
          <p:cNvGrpSpPr/>
          <p:nvPr/>
        </p:nvGrpSpPr>
        <p:grpSpPr>
          <a:xfrm>
            <a:off x="8574091" y="6591936"/>
            <a:ext cx="385992" cy="239924"/>
            <a:chOff x="7277614" y="2396353"/>
            <a:chExt cx="1054802" cy="609493"/>
          </a:xfrm>
        </p:grpSpPr>
        <p:sp>
          <p:nvSpPr>
            <p:cNvPr id="17" name="Freeform 7"/>
            <p:cNvSpPr>
              <a:spLocks/>
            </p:cNvSpPr>
            <p:nvPr/>
          </p:nvSpPr>
          <p:spPr bwMode="auto">
            <a:xfrm>
              <a:off x="7277614" y="2396353"/>
              <a:ext cx="527401" cy="154241"/>
            </a:xfrm>
            <a:custGeom>
              <a:avLst/>
              <a:gdLst>
                <a:gd name="T0" fmla="*/ 0 w 691"/>
                <a:gd name="T1" fmla="*/ 200 h 200"/>
                <a:gd name="T2" fmla="*/ 691 w 691"/>
                <a:gd name="T3" fmla="*/ 200 h 200"/>
                <a:gd name="T4" fmla="*/ 346 w 691"/>
                <a:gd name="T5" fmla="*/ 0 h 200"/>
                <a:gd name="T6" fmla="*/ 0 w 691"/>
                <a:gd name="T7" fmla="*/ 200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91" h="200">
                  <a:moveTo>
                    <a:pt x="0" y="200"/>
                  </a:moveTo>
                  <a:lnTo>
                    <a:pt x="691" y="200"/>
                  </a:lnTo>
                  <a:lnTo>
                    <a:pt x="346" y="0"/>
                  </a:lnTo>
                  <a:lnTo>
                    <a:pt x="0" y="200"/>
                  </a:lnTo>
                  <a:close/>
                </a:path>
              </a:pathLst>
            </a:custGeom>
            <a:solidFill>
              <a:srgbClr val="FF0505"/>
            </a:solidFill>
            <a:ln w="1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891701"/>
              <a:endParaRPr lang="en-US" sz="1700" dirty="0">
                <a:solidFill>
                  <a:srgbClr val="003149"/>
                </a:solidFill>
              </a:endParaRPr>
            </a:p>
          </p:txBody>
        </p:sp>
        <p:sp>
          <p:nvSpPr>
            <p:cNvPr id="18" name="Freeform 8"/>
            <p:cNvSpPr>
              <a:spLocks/>
            </p:cNvSpPr>
            <p:nvPr/>
          </p:nvSpPr>
          <p:spPr bwMode="auto">
            <a:xfrm>
              <a:off x="7277614" y="2550591"/>
              <a:ext cx="263702" cy="452770"/>
            </a:xfrm>
            <a:custGeom>
              <a:avLst/>
              <a:gdLst>
                <a:gd name="T0" fmla="*/ 0 w 346"/>
                <a:gd name="T1" fmla="*/ 0 h 598"/>
                <a:gd name="T2" fmla="*/ 0 w 346"/>
                <a:gd name="T3" fmla="*/ 399 h 598"/>
                <a:gd name="T4" fmla="*/ 346 w 346"/>
                <a:gd name="T5" fmla="*/ 598 h 598"/>
                <a:gd name="T6" fmla="*/ 0 w 346"/>
                <a:gd name="T7" fmla="*/ 0 h 5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46" h="598">
                  <a:moveTo>
                    <a:pt x="0" y="0"/>
                  </a:moveTo>
                  <a:lnTo>
                    <a:pt x="0" y="399"/>
                  </a:lnTo>
                  <a:lnTo>
                    <a:pt x="346" y="59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505"/>
            </a:solidFill>
            <a:ln w="2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891701"/>
              <a:endParaRPr lang="en-US" sz="1700" dirty="0">
                <a:solidFill>
                  <a:srgbClr val="003149"/>
                </a:solidFill>
              </a:endParaRPr>
            </a:p>
          </p:txBody>
        </p:sp>
        <p:sp>
          <p:nvSpPr>
            <p:cNvPr id="19" name="Freeform 9"/>
            <p:cNvSpPr>
              <a:spLocks/>
            </p:cNvSpPr>
            <p:nvPr/>
          </p:nvSpPr>
          <p:spPr bwMode="auto">
            <a:xfrm>
              <a:off x="7541313" y="2550591"/>
              <a:ext cx="263702" cy="452770"/>
            </a:xfrm>
            <a:custGeom>
              <a:avLst/>
              <a:gdLst>
                <a:gd name="T0" fmla="*/ 0 w 345"/>
                <a:gd name="T1" fmla="*/ 598 h 598"/>
                <a:gd name="T2" fmla="*/ 345 w 345"/>
                <a:gd name="T3" fmla="*/ 0 h 598"/>
                <a:gd name="T4" fmla="*/ 345 w 345"/>
                <a:gd name="T5" fmla="*/ 399 h 598"/>
                <a:gd name="T6" fmla="*/ 0 w 345"/>
                <a:gd name="T7" fmla="*/ 598 h 5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45" h="598">
                  <a:moveTo>
                    <a:pt x="0" y="598"/>
                  </a:moveTo>
                  <a:lnTo>
                    <a:pt x="345" y="0"/>
                  </a:lnTo>
                  <a:lnTo>
                    <a:pt x="345" y="399"/>
                  </a:lnTo>
                  <a:lnTo>
                    <a:pt x="0" y="598"/>
                  </a:lnTo>
                  <a:close/>
                </a:path>
              </a:pathLst>
            </a:custGeom>
            <a:solidFill>
              <a:srgbClr val="FF0505"/>
            </a:solidFill>
            <a:ln w="1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891701"/>
              <a:endParaRPr lang="en-US" sz="1700" dirty="0">
                <a:solidFill>
                  <a:srgbClr val="003149"/>
                </a:solidFill>
              </a:endParaRPr>
            </a:p>
          </p:txBody>
        </p:sp>
        <p:sp>
          <p:nvSpPr>
            <p:cNvPr id="20" name="Freeform 7"/>
            <p:cNvSpPr>
              <a:spLocks/>
            </p:cNvSpPr>
            <p:nvPr/>
          </p:nvSpPr>
          <p:spPr bwMode="auto">
            <a:xfrm rot="10800000">
              <a:off x="7805015" y="2851605"/>
              <a:ext cx="527401" cy="154241"/>
            </a:xfrm>
            <a:custGeom>
              <a:avLst/>
              <a:gdLst>
                <a:gd name="T0" fmla="*/ 0 w 691"/>
                <a:gd name="T1" fmla="*/ 200 h 200"/>
                <a:gd name="T2" fmla="*/ 691 w 691"/>
                <a:gd name="T3" fmla="*/ 200 h 200"/>
                <a:gd name="T4" fmla="*/ 346 w 691"/>
                <a:gd name="T5" fmla="*/ 0 h 200"/>
                <a:gd name="T6" fmla="*/ 0 w 691"/>
                <a:gd name="T7" fmla="*/ 200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91" h="200">
                  <a:moveTo>
                    <a:pt x="0" y="200"/>
                  </a:moveTo>
                  <a:lnTo>
                    <a:pt x="691" y="200"/>
                  </a:lnTo>
                  <a:lnTo>
                    <a:pt x="346" y="0"/>
                  </a:lnTo>
                  <a:lnTo>
                    <a:pt x="0" y="200"/>
                  </a:lnTo>
                  <a:close/>
                </a:path>
              </a:pathLst>
            </a:custGeom>
            <a:solidFill>
              <a:srgbClr val="058CEC"/>
            </a:solidFill>
            <a:ln w="1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891701"/>
              <a:endParaRPr lang="en-US" sz="1700" dirty="0">
                <a:solidFill>
                  <a:srgbClr val="003149"/>
                </a:solidFill>
              </a:endParaRPr>
            </a:p>
          </p:txBody>
        </p:sp>
        <p:sp>
          <p:nvSpPr>
            <p:cNvPr id="21" name="Freeform 8"/>
            <p:cNvSpPr>
              <a:spLocks/>
            </p:cNvSpPr>
            <p:nvPr/>
          </p:nvSpPr>
          <p:spPr bwMode="auto">
            <a:xfrm rot="10800000">
              <a:off x="8068714" y="2398838"/>
              <a:ext cx="263702" cy="452770"/>
            </a:xfrm>
            <a:custGeom>
              <a:avLst/>
              <a:gdLst>
                <a:gd name="T0" fmla="*/ 0 w 346"/>
                <a:gd name="T1" fmla="*/ 0 h 598"/>
                <a:gd name="T2" fmla="*/ 0 w 346"/>
                <a:gd name="T3" fmla="*/ 399 h 598"/>
                <a:gd name="T4" fmla="*/ 346 w 346"/>
                <a:gd name="T5" fmla="*/ 598 h 598"/>
                <a:gd name="T6" fmla="*/ 0 w 346"/>
                <a:gd name="T7" fmla="*/ 0 h 5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46" h="598">
                  <a:moveTo>
                    <a:pt x="0" y="0"/>
                  </a:moveTo>
                  <a:lnTo>
                    <a:pt x="0" y="399"/>
                  </a:lnTo>
                  <a:lnTo>
                    <a:pt x="346" y="59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58CEC"/>
            </a:solidFill>
            <a:ln w="2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891701"/>
              <a:endParaRPr lang="en-US" sz="1700" dirty="0">
                <a:solidFill>
                  <a:srgbClr val="003149"/>
                </a:solidFill>
              </a:endParaRPr>
            </a:p>
          </p:txBody>
        </p:sp>
        <p:sp>
          <p:nvSpPr>
            <p:cNvPr id="22" name="Freeform 9"/>
            <p:cNvSpPr>
              <a:spLocks/>
            </p:cNvSpPr>
            <p:nvPr/>
          </p:nvSpPr>
          <p:spPr bwMode="auto">
            <a:xfrm rot="10800000">
              <a:off x="7805015" y="2398838"/>
              <a:ext cx="263702" cy="452770"/>
            </a:xfrm>
            <a:custGeom>
              <a:avLst/>
              <a:gdLst>
                <a:gd name="T0" fmla="*/ 0 w 345"/>
                <a:gd name="T1" fmla="*/ 598 h 598"/>
                <a:gd name="T2" fmla="*/ 345 w 345"/>
                <a:gd name="T3" fmla="*/ 0 h 598"/>
                <a:gd name="T4" fmla="*/ 345 w 345"/>
                <a:gd name="T5" fmla="*/ 399 h 598"/>
                <a:gd name="T6" fmla="*/ 0 w 345"/>
                <a:gd name="T7" fmla="*/ 598 h 5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45" h="598">
                  <a:moveTo>
                    <a:pt x="0" y="598"/>
                  </a:moveTo>
                  <a:lnTo>
                    <a:pt x="345" y="0"/>
                  </a:lnTo>
                  <a:lnTo>
                    <a:pt x="345" y="399"/>
                  </a:lnTo>
                  <a:lnTo>
                    <a:pt x="0" y="598"/>
                  </a:lnTo>
                  <a:close/>
                </a:path>
              </a:pathLst>
            </a:custGeom>
            <a:solidFill>
              <a:srgbClr val="058CEC"/>
            </a:solidFill>
            <a:ln w="1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891701"/>
              <a:endParaRPr lang="en-US" sz="1700" dirty="0">
                <a:solidFill>
                  <a:srgbClr val="003149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852421108"/>
      </p:ext>
    </p:extLst>
  </p:cSld>
  <p:clrMapOvr>
    <a:masterClrMapping/>
  </p:clrMapOvr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13751" y="4223820"/>
            <a:ext cx="8199287" cy="539163"/>
          </a:xfrm>
          <a:prstGeom prst="rect">
            <a:avLst/>
          </a:prstGeom>
        </p:spPr>
        <p:txBody>
          <a:bodyPr lIns="0" rIns="0">
            <a:normAutofit/>
          </a:bodyPr>
          <a:lstStyle>
            <a:lvl1pPr marL="0" indent="0" algn="l">
              <a:buNone/>
              <a:defRPr sz="2500">
                <a:solidFill>
                  <a:srgbClr val="666666"/>
                </a:solidFill>
              </a:defRPr>
            </a:lvl1pPr>
            <a:lvl2pPr marL="44585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917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375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7834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2925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6751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2095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5668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cxnSp>
        <p:nvCxnSpPr>
          <p:cNvPr id="12" name="Straight Connector 11"/>
          <p:cNvCxnSpPr/>
          <p:nvPr/>
        </p:nvCxnSpPr>
        <p:spPr>
          <a:xfrm>
            <a:off x="0" y="6555697"/>
            <a:ext cx="9144000" cy="0"/>
          </a:xfrm>
          <a:prstGeom prst="line">
            <a:avLst/>
          </a:prstGeom>
          <a:ln w="12700">
            <a:solidFill>
              <a:srgbClr val="999999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6372" y="147726"/>
            <a:ext cx="4605067" cy="32129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13751" y="3634110"/>
            <a:ext cx="8199287" cy="589709"/>
          </a:xfrm>
          <a:prstGeom prst="rect">
            <a:avLst/>
          </a:prstGeom>
        </p:spPr>
        <p:txBody>
          <a:bodyPr lIns="0" tIns="41544" rIns="0" bIns="41544" anchor="b" anchorCtr="0">
            <a:normAutofit/>
          </a:bodyPr>
          <a:lstStyle>
            <a:lvl1pPr>
              <a:defRPr sz="2900" b="1">
                <a:solidFill>
                  <a:schemeClr val="accent1">
                    <a:lumMod val="50000"/>
                  </a:schemeClr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313768" y="4952322"/>
            <a:ext cx="4605067" cy="539163"/>
          </a:xfrm>
        </p:spPr>
        <p:txBody>
          <a:bodyPr vert="horz" lIns="0" tIns="41544" rIns="0" bIns="41544" rtlCol="0" anchor="t" anchorCtr="0">
            <a:normAutofit/>
          </a:bodyPr>
          <a:lstStyle>
            <a:lvl1pPr marL="246668" indent="-246668">
              <a:buFont typeface="Arial" pitchFamily="34" charset="0"/>
              <a:buChar char="•"/>
              <a:defRPr lang="en-US" sz="2200" smtClean="0">
                <a:solidFill>
                  <a:srgbClr val="666666"/>
                </a:solidFill>
              </a:defRPr>
            </a:lvl1pPr>
            <a:lvl2pPr>
              <a:defRPr lang="en-US" smtClean="0">
                <a:solidFill>
                  <a:schemeClr val="tx1">
                    <a:tint val="75000"/>
                  </a:schemeClr>
                </a:solidFill>
              </a:defRPr>
            </a:lvl2pPr>
            <a:lvl3pPr>
              <a:defRPr lang="en-US" smtClean="0">
                <a:solidFill>
                  <a:schemeClr val="tx1">
                    <a:tint val="75000"/>
                  </a:schemeClr>
                </a:solidFill>
              </a:defRPr>
            </a:lvl3pPr>
            <a:lvl4pPr>
              <a:defRPr lang="en-US" smtClean="0">
                <a:solidFill>
                  <a:schemeClr val="tx1">
                    <a:tint val="75000"/>
                  </a:schemeClr>
                </a:solidFill>
              </a:defRPr>
            </a:lvl4pPr>
            <a:lvl5pPr>
              <a:defRPr lang="en-US">
                <a:solidFill>
                  <a:schemeClr val="tx1">
                    <a:tint val="75000"/>
                  </a:schemeClr>
                </a:solidFill>
              </a:defRPr>
            </a:lvl5pPr>
          </a:lstStyle>
          <a:p>
            <a:pPr marL="0" lvl="0" indent="0">
              <a:buNone/>
            </a:pPr>
            <a:r>
              <a:rPr lang="en-US"/>
              <a:t>Click to edit Master text styles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65738" y="5352692"/>
            <a:ext cx="2547317" cy="10942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3832523"/>
      </p:ext>
    </p:extLst>
  </p:cSld>
  <p:clrMapOvr>
    <a:masterClrMapping/>
  </p:clrMapOvr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06430000"/>
      </p:ext>
    </p:extLst>
  </p:cSld>
  <p:clrMapOvr>
    <a:masterClrMapping/>
  </p:clrMapOvr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07266" name="Rectangle 2"/>
          <p:cNvSpPr>
            <a:spLocks noGrp="1" noChangeArrowheads="1"/>
          </p:cNvSpPr>
          <p:nvPr>
            <p:ph type="subTitle" idx="1"/>
          </p:nvPr>
        </p:nvSpPr>
        <p:spPr>
          <a:xfrm>
            <a:off x="2935489" y="5737238"/>
            <a:ext cx="5522912" cy="270843"/>
          </a:xfrm>
          <a:effectLst>
            <a:outerShdw dist="17961" dir="2700000" algn="ctr" rotWithShape="0">
              <a:srgbClr val="FFFFFF"/>
            </a:outerShdw>
          </a:effectLst>
        </p:spPr>
        <p:txBody>
          <a:bodyPr>
            <a:spAutoFit/>
          </a:bodyPr>
          <a:lstStyle>
            <a:lvl1pPr marL="0" indent="0" algn="r" defTabSz="819005">
              <a:spcBef>
                <a:spcPct val="0"/>
              </a:spcBef>
              <a:buClrTx/>
              <a:buFontTx/>
              <a:buNone/>
              <a:defRPr sz="1600">
                <a:solidFill>
                  <a:schemeClr val="tx2"/>
                </a:solidFill>
              </a:defRPr>
            </a:lvl1pPr>
          </a:lstStyle>
          <a:p>
            <a:r>
              <a:rPr lang="ru-RU" smtClean="0"/>
              <a:t>Образец подзаголовка</a:t>
            </a:r>
            <a:endParaRPr lang="en-US" dirty="0"/>
          </a:p>
        </p:txBody>
      </p:sp>
      <p:sp>
        <p:nvSpPr>
          <p:cNvPr id="907267" name="Rectangle 3"/>
          <p:cNvSpPr>
            <a:spLocks noGrp="1" noChangeArrowheads="1"/>
          </p:cNvSpPr>
          <p:nvPr>
            <p:ph type="ctrTitle" sz="quarter"/>
          </p:nvPr>
        </p:nvSpPr>
        <p:spPr>
          <a:xfrm>
            <a:off x="3032589" y="5183211"/>
            <a:ext cx="5522912" cy="452437"/>
          </a:xfrm>
          <a:prstGeom prst="rect">
            <a:avLst/>
          </a:prstGeom>
          <a:ln/>
          <a:effectLst>
            <a:outerShdw dist="17961" dir="2700000" algn="ctr" rotWithShape="0">
              <a:srgbClr val="FFFFFF"/>
            </a:outerShdw>
          </a:effectLst>
        </p:spPr>
        <p:txBody>
          <a:bodyPr lIns="91243" tIns="45622" rIns="91243" bIns="45622" anchor="b"/>
          <a:lstStyle>
            <a:lvl1pPr algn="r" defTabSz="819005">
              <a:defRPr sz="2400">
                <a:solidFill>
                  <a:schemeClr val="tx2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en-US"/>
          </a:p>
        </p:txBody>
      </p:sp>
      <p:pic>
        <p:nvPicPr>
          <p:cNvPr id="2" name="Рисунок 1"/>
          <p:cNvPicPr>
            <a:picLocks noChangeAspect="1"/>
          </p:cNvPicPr>
          <p:nvPr userDrawn="1"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2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0710" y="505803"/>
            <a:ext cx="5230821" cy="3804234"/>
          </a:xfrm>
          <a:prstGeom prst="rect">
            <a:avLst/>
          </a:prstGeom>
        </p:spPr>
      </p:pic>
      <p:pic>
        <p:nvPicPr>
          <p:cNvPr id="7" name="Picture 2"/>
          <p:cNvPicPr>
            <a:picLocks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68002" y="3096000"/>
            <a:ext cx="3564000" cy="2066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8049797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gallery dir="l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Основн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414000" y="1638000"/>
            <a:ext cx="8316000" cy="4467600"/>
          </a:xfrm>
        </p:spPr>
        <p:txBody>
          <a:bodyPr/>
          <a:lstStyle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de-DE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4"/>
          </p:nvPr>
        </p:nvSpPr>
        <p:spPr>
          <a:xfrm>
            <a:off x="8665706" y="6526188"/>
            <a:ext cx="402094" cy="217518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chemeClr val="bg1"/>
                </a:solidFill>
                <a:latin typeface="+mj-lt"/>
              </a:defRPr>
            </a:lvl1pPr>
          </a:lstStyle>
          <a:p>
            <a:fld id="{8E141AF1-466E-4D9F-B74C-45FFEB47CA13}" type="slidenum">
              <a:rPr lang="de-DE" smtClean="0">
                <a:solidFill>
                  <a:srgbClr val="FFFFFF"/>
                </a:solidFill>
              </a:rPr>
              <a:pPr/>
              <a:t>‹#›</a:t>
            </a:fld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1652954" y="1"/>
            <a:ext cx="7220702" cy="897162"/>
          </a:xfrm>
          <a:prstGeom prst="rect">
            <a:avLst/>
          </a:prstGeom>
          <a:ln/>
          <a:effectLst>
            <a:outerShdw dist="17961" dir="2700000" algn="ctr" rotWithShape="0">
              <a:srgbClr val="FFFFFF"/>
            </a:outerShdw>
          </a:effectLst>
        </p:spPr>
        <p:txBody>
          <a:bodyPr lIns="91243" tIns="45622" rIns="91243" bIns="45622" anchor="ctr"/>
          <a:lstStyle>
            <a:lvl1pPr>
              <a:defRPr kumimoji="1" lang="ru-RU" sz="1700" kern="1200">
                <a:solidFill>
                  <a:srgbClr val="016EB3"/>
                </a:solidFill>
              </a:defRPr>
            </a:lvl1pPr>
          </a:lstStyle>
          <a:p>
            <a:pPr lvl="0" defTabSz="819005"/>
            <a:r>
              <a:rPr lang="ru-RU" smtClean="0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6050460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gallery dir="l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 userDrawn="1"/>
        </p:nvSpPr>
        <p:spPr bwMode="auto">
          <a:xfrm>
            <a:off x="8660610" y="6374606"/>
            <a:ext cx="478632" cy="389746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243" tIns="45622" rIns="91243" bIns="45622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</a:pPr>
            <a:endParaRPr kumimoji="1" lang="ru-RU" sz="1000" smtClean="0">
              <a:solidFill>
                <a:srgbClr val="00294F"/>
              </a:solidFill>
              <a:latin typeface="Tahoma" pitchFamily="34" charset="0"/>
              <a:ea typeface="PMingLiU" pitchFamily="18" charset="-120"/>
            </a:endParaRPr>
          </a:p>
        </p:txBody>
      </p:sp>
    </p:spTree>
    <p:extLst>
      <p:ext uri="{BB962C8B-B14F-4D97-AF65-F5344CB8AC3E}">
        <p14:creationId xmlns:p14="http://schemas.microsoft.com/office/powerpoint/2010/main" val="22280757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gallery dir="l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лайд &quot;Спасибо!&quot;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Line 27"/>
          <p:cNvSpPr>
            <a:spLocks noChangeShapeType="1"/>
          </p:cNvSpPr>
          <p:nvPr userDrawn="1"/>
        </p:nvSpPr>
        <p:spPr bwMode="auto">
          <a:xfrm>
            <a:off x="252000" y="5940000"/>
            <a:ext cx="8640000" cy="0"/>
          </a:xfrm>
          <a:prstGeom prst="line">
            <a:avLst/>
          </a:prstGeom>
          <a:noFill/>
          <a:ln w="28575">
            <a:solidFill>
              <a:srgbClr val="016EB3"/>
            </a:solidFill>
            <a:round/>
            <a:headEnd/>
            <a:tailEnd/>
          </a:ln>
          <a:effectLst/>
        </p:spPr>
        <p:txBody>
          <a:bodyPr wrap="none" lIns="91243" tIns="45622" rIns="91243" bIns="45622"/>
          <a:lstStyle/>
          <a:p>
            <a:pPr fontAlgn="base">
              <a:spcBef>
                <a:spcPct val="50000"/>
              </a:spcBef>
              <a:spcAft>
                <a:spcPct val="0"/>
              </a:spcAft>
              <a:defRPr/>
            </a:pPr>
            <a:endParaRPr kumimoji="1" lang="ru-RU" sz="1000" dirty="0">
              <a:solidFill>
                <a:srgbClr val="002766"/>
              </a:solidFill>
              <a:latin typeface="Tahoma" pitchFamily="34" charset="0"/>
              <a:ea typeface="PMingLiU" pitchFamily="18" charset="-120"/>
            </a:endParaRPr>
          </a:p>
        </p:txBody>
      </p:sp>
      <p:sp>
        <p:nvSpPr>
          <p:cNvPr id="9" name="Прямоугольник 8"/>
          <p:cNvSpPr/>
          <p:nvPr userDrawn="1"/>
        </p:nvSpPr>
        <p:spPr bwMode="auto">
          <a:xfrm>
            <a:off x="252000" y="190523"/>
            <a:ext cx="1623692" cy="606669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243" tIns="45622" rIns="91243" bIns="45622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</a:pPr>
            <a:endParaRPr kumimoji="1" lang="ru-RU" sz="1000" smtClean="0">
              <a:solidFill>
                <a:srgbClr val="00294F"/>
              </a:solidFill>
              <a:latin typeface="Tahoma" pitchFamily="34" charset="0"/>
              <a:ea typeface="PMingLiU" pitchFamily="18" charset="-120"/>
            </a:endParaRPr>
          </a:p>
        </p:txBody>
      </p:sp>
      <p:sp>
        <p:nvSpPr>
          <p:cNvPr id="10" name="Прямоугольник 9"/>
          <p:cNvSpPr/>
          <p:nvPr userDrawn="1"/>
        </p:nvSpPr>
        <p:spPr bwMode="auto">
          <a:xfrm>
            <a:off x="8429206" y="6327669"/>
            <a:ext cx="708444" cy="504825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243" tIns="45622" rIns="91243" bIns="45622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</a:pPr>
            <a:endParaRPr kumimoji="1" lang="ru-RU" sz="1000" smtClean="0">
              <a:solidFill>
                <a:srgbClr val="00294F"/>
              </a:solidFill>
              <a:latin typeface="Tahoma" pitchFamily="34" charset="0"/>
              <a:ea typeface="PMingLiU" pitchFamily="18" charset="-120"/>
            </a:endParaRPr>
          </a:p>
        </p:txBody>
      </p:sp>
      <p:sp>
        <p:nvSpPr>
          <p:cNvPr id="18" name="Текст 3"/>
          <p:cNvSpPr>
            <a:spLocks noGrp="1"/>
          </p:cNvSpPr>
          <p:nvPr>
            <p:ph type="body" sz="half" idx="10" hasCustomPrompt="1"/>
          </p:nvPr>
        </p:nvSpPr>
        <p:spPr>
          <a:xfrm>
            <a:off x="7200000" y="6210000"/>
            <a:ext cx="1656000" cy="396000"/>
          </a:xfrm>
        </p:spPr>
        <p:txBody>
          <a:bodyPr anchor="ctr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100">
                <a:solidFill>
                  <a:schemeClr val="tx2"/>
                </a:solidFill>
              </a:defRPr>
            </a:lvl1pPr>
            <a:lvl2pPr marL="456234" indent="0">
              <a:buNone/>
              <a:defRPr sz="1200"/>
            </a:lvl2pPr>
            <a:lvl3pPr marL="912468" indent="0">
              <a:buNone/>
              <a:defRPr sz="1000"/>
            </a:lvl3pPr>
            <a:lvl4pPr marL="1368700" indent="0">
              <a:buNone/>
              <a:defRPr sz="900"/>
            </a:lvl4pPr>
            <a:lvl5pPr marL="1824935" indent="0">
              <a:buNone/>
              <a:defRPr sz="900"/>
            </a:lvl5pPr>
            <a:lvl6pPr marL="2281167" indent="0">
              <a:buNone/>
              <a:defRPr sz="900"/>
            </a:lvl6pPr>
            <a:lvl7pPr marL="2737394" indent="0">
              <a:buNone/>
              <a:defRPr sz="900"/>
            </a:lvl7pPr>
            <a:lvl8pPr marL="3193635" indent="0">
              <a:buNone/>
              <a:defRPr sz="900"/>
            </a:lvl8pPr>
            <a:lvl9pPr marL="3649869" indent="0">
              <a:buNone/>
              <a:defRPr sz="900"/>
            </a:lvl9pPr>
          </a:lstStyle>
          <a:p>
            <a:pPr lvl="0"/>
            <a:r>
              <a:rPr lang="ru-RU" dirty="0" smtClean="0"/>
              <a:t>Телефон и </a:t>
            </a:r>
            <a:r>
              <a:rPr lang="en-US" dirty="0" smtClean="0"/>
              <a:t>e-mail</a:t>
            </a:r>
          </a:p>
        </p:txBody>
      </p:sp>
      <p:sp>
        <p:nvSpPr>
          <p:cNvPr id="21" name="Текст 3"/>
          <p:cNvSpPr>
            <a:spLocks noGrp="1"/>
          </p:cNvSpPr>
          <p:nvPr>
            <p:ph type="body" sz="half" idx="12" hasCustomPrompt="1"/>
          </p:nvPr>
        </p:nvSpPr>
        <p:spPr>
          <a:xfrm>
            <a:off x="2088000" y="3096000"/>
            <a:ext cx="4932000" cy="648000"/>
          </a:xfrm>
        </p:spPr>
        <p:txBody>
          <a:bodyPr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buNone/>
              <a:defRPr sz="3600">
                <a:solidFill>
                  <a:srgbClr val="016EB3"/>
                </a:solidFill>
              </a:defRPr>
            </a:lvl1pPr>
            <a:lvl2pPr marL="456234" indent="0">
              <a:buNone/>
              <a:defRPr sz="1200"/>
            </a:lvl2pPr>
            <a:lvl3pPr marL="912468" indent="0">
              <a:buNone/>
              <a:defRPr sz="1000"/>
            </a:lvl3pPr>
            <a:lvl4pPr marL="1368700" indent="0">
              <a:buNone/>
              <a:defRPr sz="900"/>
            </a:lvl4pPr>
            <a:lvl5pPr marL="1824935" indent="0">
              <a:buNone/>
              <a:defRPr sz="900"/>
            </a:lvl5pPr>
            <a:lvl6pPr marL="2281167" indent="0">
              <a:buNone/>
              <a:defRPr sz="900"/>
            </a:lvl6pPr>
            <a:lvl7pPr marL="2737394" indent="0">
              <a:buNone/>
              <a:defRPr sz="900"/>
            </a:lvl7pPr>
            <a:lvl8pPr marL="3193635" indent="0">
              <a:buNone/>
              <a:defRPr sz="900"/>
            </a:lvl8pPr>
            <a:lvl9pPr marL="3649869" indent="0">
              <a:buNone/>
              <a:defRPr sz="900"/>
            </a:lvl9pPr>
          </a:lstStyle>
          <a:p>
            <a:pPr lvl="0"/>
            <a:r>
              <a:rPr lang="ru-RU" dirty="0" smtClean="0"/>
              <a:t>Спасибо! / </a:t>
            </a:r>
            <a:r>
              <a:rPr lang="en-US" dirty="0" smtClean="0"/>
              <a:t>Thank you!</a:t>
            </a:r>
          </a:p>
        </p:txBody>
      </p:sp>
      <p:sp>
        <p:nvSpPr>
          <p:cNvPr id="28" name="Текст 27"/>
          <p:cNvSpPr>
            <a:spLocks noGrp="1"/>
          </p:cNvSpPr>
          <p:nvPr>
            <p:ph type="body" sz="quarter" idx="14" hasCustomPrompt="1"/>
          </p:nvPr>
        </p:nvSpPr>
        <p:spPr>
          <a:xfrm>
            <a:off x="5112000" y="6210000"/>
            <a:ext cx="2016000" cy="396000"/>
          </a:xfrm>
        </p:spPr>
        <p:txBody>
          <a:bodyPr anchor="ctr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10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ru-RU" dirty="0" smtClean="0"/>
              <a:t>Адрес компании</a:t>
            </a:r>
            <a:endParaRPr lang="ru-RU" dirty="0"/>
          </a:p>
        </p:txBody>
      </p:sp>
      <p:sp>
        <p:nvSpPr>
          <p:cNvPr id="30" name="Текст 29"/>
          <p:cNvSpPr>
            <a:spLocks noGrp="1"/>
          </p:cNvSpPr>
          <p:nvPr>
            <p:ph type="body" sz="quarter" idx="15" hasCustomPrompt="1"/>
          </p:nvPr>
        </p:nvSpPr>
        <p:spPr>
          <a:xfrm>
            <a:off x="2772000" y="6210000"/>
            <a:ext cx="2268000" cy="396000"/>
          </a:xfrm>
        </p:spPr>
        <p:txBody>
          <a:bodyPr anchor="ctr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10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ru-RU" dirty="0" smtClean="0"/>
              <a:t>Управление и Отдел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8614268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gallery dir="l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31778" y="306698"/>
            <a:ext cx="6742113" cy="739775"/>
          </a:xfrm>
          <a:prstGeom prst="rect">
            <a:avLst/>
          </a:prstGeom>
        </p:spPr>
        <p:txBody>
          <a:bodyPr lIns="91243" tIns="45622" rIns="91243" bIns="45622"/>
          <a:lstStyle>
            <a:lvl1pPr>
              <a:defRPr sz="2500"/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15" name="Rectangle 4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EFF660B-5916-42E2-9D88-953A3CB16BD3}" type="slidenum">
              <a:rPr lang="en-US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492804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gallery dir="l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Основн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414000" y="1638000"/>
            <a:ext cx="8316000" cy="4467600"/>
          </a:xfrm>
        </p:spPr>
        <p:txBody>
          <a:bodyPr/>
          <a:lstStyle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de-DE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4"/>
          </p:nvPr>
        </p:nvSpPr>
        <p:spPr>
          <a:xfrm>
            <a:off x="8665706" y="6526188"/>
            <a:ext cx="402094" cy="217518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chemeClr val="bg1"/>
                </a:solidFill>
                <a:latin typeface="+mj-lt"/>
              </a:defRPr>
            </a:lvl1pPr>
          </a:lstStyle>
          <a:p>
            <a:fld id="{8E141AF1-466E-4D9F-B74C-45FFEB47CA13}" type="slidenum">
              <a:rPr lang="de-DE" smtClean="0">
                <a:solidFill>
                  <a:srgbClr val="FFFFFF"/>
                </a:solidFill>
              </a:rPr>
              <a:pPr/>
              <a:t>‹#›</a:t>
            </a:fld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1652954" y="1"/>
            <a:ext cx="7220702" cy="897162"/>
          </a:xfrm>
          <a:prstGeom prst="rect">
            <a:avLst/>
          </a:prstGeom>
          <a:ln/>
          <a:effectLst>
            <a:outerShdw dist="17961" dir="2700000" algn="ctr" rotWithShape="0">
              <a:srgbClr val="FFFFFF"/>
            </a:outerShdw>
          </a:effectLst>
        </p:spPr>
        <p:txBody>
          <a:bodyPr lIns="91243" tIns="45622" rIns="91243" bIns="45622" anchor="ctr"/>
          <a:lstStyle>
            <a:lvl1pPr>
              <a:defRPr kumimoji="1" lang="ru-RU" sz="1700" kern="1200">
                <a:solidFill>
                  <a:srgbClr val="016EB3"/>
                </a:solidFill>
              </a:defRPr>
            </a:lvl1pPr>
          </a:lstStyle>
          <a:p>
            <a:pPr lvl="0" defTabSz="819005"/>
            <a:r>
              <a:rPr lang="ru-RU" smtClean="0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202657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gallery dir="l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31778" y="123825"/>
            <a:ext cx="6742113" cy="657225"/>
          </a:xfrm>
          <a:prstGeom prst="rect">
            <a:avLst/>
          </a:prstGeom>
        </p:spPr>
        <p:txBody>
          <a:bodyPr lIns="91243" tIns="45622" rIns="91243" bIns="45622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715E4BD-578A-4F4A-9E92-1B4DB10B5101}" type="slidenum">
              <a:rPr lang="en-US">
                <a:solidFill>
                  <a:srgbClr val="A0A1A6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A0A1A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454376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gallery dir="l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Основн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414000" y="1638000"/>
            <a:ext cx="8316000" cy="4467600"/>
          </a:xfrm>
        </p:spPr>
        <p:txBody>
          <a:bodyPr/>
          <a:lstStyle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de-DE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4"/>
          </p:nvPr>
        </p:nvSpPr>
        <p:spPr>
          <a:xfrm>
            <a:off x="8665706" y="6526188"/>
            <a:ext cx="402094" cy="217518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chemeClr val="bg1"/>
                </a:solidFill>
                <a:latin typeface="+mj-lt"/>
              </a:defRPr>
            </a:lvl1pPr>
          </a:lstStyle>
          <a:p>
            <a:fld id="{8E141AF1-466E-4D9F-B74C-45FFEB47CA13}" type="slidenum">
              <a:rPr lang="de-DE" smtClean="0">
                <a:solidFill>
                  <a:srgbClr val="FFFFFF"/>
                </a:solidFill>
              </a:rPr>
              <a:pPr/>
              <a:t>‹#›</a:t>
            </a:fld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1652954" y="1"/>
            <a:ext cx="7220702" cy="897162"/>
          </a:xfrm>
          <a:prstGeom prst="rect">
            <a:avLst/>
          </a:prstGeom>
          <a:ln/>
          <a:effectLst>
            <a:outerShdw dist="17961" dir="2700000" algn="ctr" rotWithShape="0">
              <a:srgbClr val="FFFFFF"/>
            </a:outerShdw>
          </a:effectLst>
        </p:spPr>
        <p:txBody>
          <a:bodyPr lIns="91243" tIns="45622" rIns="91243" bIns="45622" anchor="ctr"/>
          <a:lstStyle>
            <a:lvl1pPr>
              <a:defRPr kumimoji="1" lang="ru-RU" sz="1700" kern="1200">
                <a:solidFill>
                  <a:srgbClr val="016EB3"/>
                </a:solidFill>
              </a:defRPr>
            </a:lvl1pPr>
          </a:lstStyle>
          <a:p>
            <a:pPr lvl="0" defTabSz="819005"/>
            <a:r>
              <a:rPr lang="ru-RU" smtClean="0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6007574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gallery dir="l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One Char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7"/>
          <p:cNvSpPr>
            <a:spLocks noGrp="1"/>
          </p:cNvSpPr>
          <p:nvPr>
            <p:ph type="pic" sz="quarter" idx="12" hasCustomPrompt="1"/>
          </p:nvPr>
        </p:nvSpPr>
        <p:spPr>
          <a:xfrm>
            <a:off x="353585" y="1292913"/>
            <a:ext cx="8438320" cy="5095600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>
            <a:normAutofit/>
          </a:bodyPr>
          <a:lstStyle>
            <a:lvl1pPr marL="246509" indent="-246509" algn="l" defTabSz="890891" rtl="0" eaLnBrk="1" fontAlgn="base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sz="2200" dirty="0">
                <a:solidFill>
                  <a:schemeClr val="accent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 smtClean="0"/>
              <a:t>Wizard Chart</a:t>
            </a:r>
            <a:endParaRPr lang="en-US" dirty="0"/>
          </a:p>
        </p:txBody>
      </p:sp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168404" y="53600"/>
            <a:ext cx="7835048" cy="834431"/>
          </a:xfrm>
          <a:prstGeom prst="rect">
            <a:avLst/>
          </a:prstGeom>
        </p:spPr>
        <p:txBody>
          <a:bodyPr lIns="83032" tIns="41517" rIns="83032" bIns="41517"/>
          <a:lstStyle>
            <a:lvl1pPr>
              <a:defRPr sz="2500"/>
            </a:lvl1pPr>
          </a:lstStyle>
          <a:p>
            <a:r>
              <a:rPr lang="en-US" dirty="0" smtClean="0"/>
              <a:t>Click to edit Master title style</a:t>
            </a:r>
            <a:endParaRPr lang="fr-FR" dirty="0"/>
          </a:p>
        </p:txBody>
      </p:sp>
      <p:sp>
        <p:nvSpPr>
          <p:cNvPr id="5" name="Rectangle 4"/>
          <p:cNvSpPr/>
          <p:nvPr/>
        </p:nvSpPr>
        <p:spPr>
          <a:xfrm>
            <a:off x="0" y="905107"/>
            <a:ext cx="9144000" cy="34180"/>
          </a:xfrm>
          <a:prstGeom prst="rect">
            <a:avLst/>
          </a:prstGeom>
          <a:solidFill>
            <a:schemeClr val="accent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dirty="0" smtClean="0">
              <a:solidFill>
                <a:srgbClr val="00294F"/>
              </a:solidFill>
            </a:endParaRPr>
          </a:p>
        </p:txBody>
      </p:sp>
      <p:sp>
        <p:nvSpPr>
          <p:cNvPr id="6" name="SlideNumber"/>
          <p:cNvSpPr/>
          <p:nvPr/>
        </p:nvSpPr>
        <p:spPr>
          <a:xfrm>
            <a:off x="8216375" y="6668489"/>
            <a:ext cx="300772" cy="86818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/>
            <a:fld id="{BB69BBE8-4DB2-4642-B003-B220ACD5A2FD}" type="slidenum">
              <a:rPr lang="en-US" sz="900" b="1" smtClean="0">
                <a:solidFill>
                  <a:srgbClr val="080808"/>
                </a:solidFill>
                <a:latin typeface="Verdana" pitchFamily="34" charset="0"/>
              </a:rPr>
              <a:pPr algn="ctr"/>
              <a:t>‹#›</a:t>
            </a:fld>
            <a:endParaRPr lang="fr-FR" sz="900" b="1" dirty="0" smtClean="0">
              <a:solidFill>
                <a:srgbClr val="080808"/>
              </a:solidFill>
            </a:endParaRPr>
          </a:p>
        </p:txBody>
      </p:sp>
      <p:cxnSp>
        <p:nvCxnSpPr>
          <p:cNvPr id="7" name="Straight Connector 6"/>
          <p:cNvCxnSpPr/>
          <p:nvPr/>
        </p:nvCxnSpPr>
        <p:spPr>
          <a:xfrm>
            <a:off x="0" y="6555697"/>
            <a:ext cx="9144000" cy="0"/>
          </a:xfrm>
          <a:prstGeom prst="line">
            <a:avLst/>
          </a:prstGeom>
          <a:ln w="12700">
            <a:solidFill>
              <a:srgbClr val="999999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8" name="Group 7"/>
          <p:cNvGrpSpPr/>
          <p:nvPr/>
        </p:nvGrpSpPr>
        <p:grpSpPr>
          <a:xfrm>
            <a:off x="8574091" y="6591936"/>
            <a:ext cx="385992" cy="239924"/>
            <a:chOff x="7277614" y="2396353"/>
            <a:chExt cx="1054802" cy="609493"/>
          </a:xfrm>
        </p:grpSpPr>
        <p:sp>
          <p:nvSpPr>
            <p:cNvPr id="9" name="Freeform 7"/>
            <p:cNvSpPr>
              <a:spLocks/>
            </p:cNvSpPr>
            <p:nvPr/>
          </p:nvSpPr>
          <p:spPr bwMode="auto">
            <a:xfrm>
              <a:off x="7277614" y="2396353"/>
              <a:ext cx="527401" cy="154241"/>
            </a:xfrm>
            <a:custGeom>
              <a:avLst/>
              <a:gdLst>
                <a:gd name="T0" fmla="*/ 0 w 691"/>
                <a:gd name="T1" fmla="*/ 200 h 200"/>
                <a:gd name="T2" fmla="*/ 691 w 691"/>
                <a:gd name="T3" fmla="*/ 200 h 200"/>
                <a:gd name="T4" fmla="*/ 346 w 691"/>
                <a:gd name="T5" fmla="*/ 0 h 200"/>
                <a:gd name="T6" fmla="*/ 0 w 691"/>
                <a:gd name="T7" fmla="*/ 200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91" h="200">
                  <a:moveTo>
                    <a:pt x="0" y="200"/>
                  </a:moveTo>
                  <a:lnTo>
                    <a:pt x="691" y="200"/>
                  </a:lnTo>
                  <a:lnTo>
                    <a:pt x="346" y="0"/>
                  </a:lnTo>
                  <a:lnTo>
                    <a:pt x="0" y="200"/>
                  </a:lnTo>
                  <a:close/>
                </a:path>
              </a:pathLst>
            </a:custGeom>
            <a:solidFill>
              <a:srgbClr val="FF0505"/>
            </a:solidFill>
            <a:ln w="1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00294F"/>
                </a:solidFill>
              </a:endParaRPr>
            </a:p>
          </p:txBody>
        </p:sp>
        <p:sp>
          <p:nvSpPr>
            <p:cNvPr id="10" name="Freeform 8"/>
            <p:cNvSpPr>
              <a:spLocks/>
            </p:cNvSpPr>
            <p:nvPr/>
          </p:nvSpPr>
          <p:spPr bwMode="auto">
            <a:xfrm>
              <a:off x="7277614" y="2550591"/>
              <a:ext cx="263702" cy="452770"/>
            </a:xfrm>
            <a:custGeom>
              <a:avLst/>
              <a:gdLst>
                <a:gd name="T0" fmla="*/ 0 w 346"/>
                <a:gd name="T1" fmla="*/ 0 h 598"/>
                <a:gd name="T2" fmla="*/ 0 w 346"/>
                <a:gd name="T3" fmla="*/ 399 h 598"/>
                <a:gd name="T4" fmla="*/ 346 w 346"/>
                <a:gd name="T5" fmla="*/ 598 h 598"/>
                <a:gd name="T6" fmla="*/ 0 w 346"/>
                <a:gd name="T7" fmla="*/ 0 h 5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46" h="598">
                  <a:moveTo>
                    <a:pt x="0" y="0"/>
                  </a:moveTo>
                  <a:lnTo>
                    <a:pt x="0" y="399"/>
                  </a:lnTo>
                  <a:lnTo>
                    <a:pt x="346" y="59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505"/>
            </a:solidFill>
            <a:ln w="2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00294F"/>
                </a:solidFill>
              </a:endParaRPr>
            </a:p>
          </p:txBody>
        </p:sp>
        <p:sp>
          <p:nvSpPr>
            <p:cNvPr id="11" name="Freeform 9"/>
            <p:cNvSpPr>
              <a:spLocks/>
            </p:cNvSpPr>
            <p:nvPr/>
          </p:nvSpPr>
          <p:spPr bwMode="auto">
            <a:xfrm>
              <a:off x="7541313" y="2550591"/>
              <a:ext cx="263702" cy="452770"/>
            </a:xfrm>
            <a:custGeom>
              <a:avLst/>
              <a:gdLst>
                <a:gd name="T0" fmla="*/ 0 w 345"/>
                <a:gd name="T1" fmla="*/ 598 h 598"/>
                <a:gd name="T2" fmla="*/ 345 w 345"/>
                <a:gd name="T3" fmla="*/ 0 h 598"/>
                <a:gd name="T4" fmla="*/ 345 w 345"/>
                <a:gd name="T5" fmla="*/ 399 h 598"/>
                <a:gd name="T6" fmla="*/ 0 w 345"/>
                <a:gd name="T7" fmla="*/ 598 h 5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45" h="598">
                  <a:moveTo>
                    <a:pt x="0" y="598"/>
                  </a:moveTo>
                  <a:lnTo>
                    <a:pt x="345" y="0"/>
                  </a:lnTo>
                  <a:lnTo>
                    <a:pt x="345" y="399"/>
                  </a:lnTo>
                  <a:lnTo>
                    <a:pt x="0" y="598"/>
                  </a:lnTo>
                  <a:close/>
                </a:path>
              </a:pathLst>
            </a:custGeom>
            <a:solidFill>
              <a:srgbClr val="FF0505"/>
            </a:solidFill>
            <a:ln w="1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00294F"/>
                </a:solidFill>
              </a:endParaRPr>
            </a:p>
          </p:txBody>
        </p:sp>
        <p:sp>
          <p:nvSpPr>
            <p:cNvPr id="12" name="Freeform 7"/>
            <p:cNvSpPr>
              <a:spLocks/>
            </p:cNvSpPr>
            <p:nvPr/>
          </p:nvSpPr>
          <p:spPr bwMode="auto">
            <a:xfrm rot="10800000">
              <a:off x="7805015" y="2851605"/>
              <a:ext cx="527401" cy="154241"/>
            </a:xfrm>
            <a:custGeom>
              <a:avLst/>
              <a:gdLst>
                <a:gd name="T0" fmla="*/ 0 w 691"/>
                <a:gd name="T1" fmla="*/ 200 h 200"/>
                <a:gd name="T2" fmla="*/ 691 w 691"/>
                <a:gd name="T3" fmla="*/ 200 h 200"/>
                <a:gd name="T4" fmla="*/ 346 w 691"/>
                <a:gd name="T5" fmla="*/ 0 h 200"/>
                <a:gd name="T6" fmla="*/ 0 w 691"/>
                <a:gd name="T7" fmla="*/ 200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91" h="200">
                  <a:moveTo>
                    <a:pt x="0" y="200"/>
                  </a:moveTo>
                  <a:lnTo>
                    <a:pt x="691" y="200"/>
                  </a:lnTo>
                  <a:lnTo>
                    <a:pt x="346" y="0"/>
                  </a:lnTo>
                  <a:lnTo>
                    <a:pt x="0" y="200"/>
                  </a:lnTo>
                  <a:close/>
                </a:path>
              </a:pathLst>
            </a:custGeom>
            <a:solidFill>
              <a:srgbClr val="058CEC"/>
            </a:solidFill>
            <a:ln w="1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00294F"/>
                </a:solidFill>
              </a:endParaRPr>
            </a:p>
          </p:txBody>
        </p:sp>
        <p:sp>
          <p:nvSpPr>
            <p:cNvPr id="13" name="Freeform 8"/>
            <p:cNvSpPr>
              <a:spLocks/>
            </p:cNvSpPr>
            <p:nvPr/>
          </p:nvSpPr>
          <p:spPr bwMode="auto">
            <a:xfrm rot="10800000">
              <a:off x="8068714" y="2398838"/>
              <a:ext cx="263702" cy="452770"/>
            </a:xfrm>
            <a:custGeom>
              <a:avLst/>
              <a:gdLst>
                <a:gd name="T0" fmla="*/ 0 w 346"/>
                <a:gd name="T1" fmla="*/ 0 h 598"/>
                <a:gd name="T2" fmla="*/ 0 w 346"/>
                <a:gd name="T3" fmla="*/ 399 h 598"/>
                <a:gd name="T4" fmla="*/ 346 w 346"/>
                <a:gd name="T5" fmla="*/ 598 h 598"/>
                <a:gd name="T6" fmla="*/ 0 w 346"/>
                <a:gd name="T7" fmla="*/ 0 h 5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46" h="598">
                  <a:moveTo>
                    <a:pt x="0" y="0"/>
                  </a:moveTo>
                  <a:lnTo>
                    <a:pt x="0" y="399"/>
                  </a:lnTo>
                  <a:lnTo>
                    <a:pt x="346" y="59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58CEC"/>
            </a:solidFill>
            <a:ln w="2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00294F"/>
                </a:solidFill>
              </a:endParaRPr>
            </a:p>
          </p:txBody>
        </p:sp>
        <p:sp>
          <p:nvSpPr>
            <p:cNvPr id="14" name="Freeform 9"/>
            <p:cNvSpPr>
              <a:spLocks/>
            </p:cNvSpPr>
            <p:nvPr/>
          </p:nvSpPr>
          <p:spPr bwMode="auto">
            <a:xfrm rot="10800000">
              <a:off x="7805015" y="2398838"/>
              <a:ext cx="263702" cy="452770"/>
            </a:xfrm>
            <a:custGeom>
              <a:avLst/>
              <a:gdLst>
                <a:gd name="T0" fmla="*/ 0 w 345"/>
                <a:gd name="T1" fmla="*/ 598 h 598"/>
                <a:gd name="T2" fmla="*/ 345 w 345"/>
                <a:gd name="T3" fmla="*/ 0 h 598"/>
                <a:gd name="T4" fmla="*/ 345 w 345"/>
                <a:gd name="T5" fmla="*/ 399 h 598"/>
                <a:gd name="T6" fmla="*/ 0 w 345"/>
                <a:gd name="T7" fmla="*/ 598 h 5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45" h="598">
                  <a:moveTo>
                    <a:pt x="0" y="598"/>
                  </a:moveTo>
                  <a:lnTo>
                    <a:pt x="345" y="0"/>
                  </a:lnTo>
                  <a:lnTo>
                    <a:pt x="345" y="399"/>
                  </a:lnTo>
                  <a:lnTo>
                    <a:pt x="0" y="598"/>
                  </a:lnTo>
                  <a:close/>
                </a:path>
              </a:pathLst>
            </a:custGeom>
            <a:solidFill>
              <a:srgbClr val="058CEC"/>
            </a:solidFill>
            <a:ln w="1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00294F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96685034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Основн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lide Number Placeholder 8"/>
          <p:cNvSpPr>
            <a:spLocks noGrp="1"/>
          </p:cNvSpPr>
          <p:nvPr>
            <p:ph type="sldNum" sz="quarter" idx="14"/>
          </p:nvPr>
        </p:nvSpPr>
        <p:spPr>
          <a:xfrm>
            <a:off x="8665706" y="6526188"/>
            <a:ext cx="402094" cy="217518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chemeClr val="bg1"/>
                </a:solidFill>
                <a:latin typeface="+mj-lt"/>
              </a:defRPr>
            </a:lvl1pPr>
          </a:lstStyle>
          <a:p>
            <a:fld id="{8E141AF1-466E-4D9F-B74C-45FFEB47CA13}" type="slidenum">
              <a:rPr lang="de-DE" smtClean="0">
                <a:solidFill>
                  <a:srgbClr val="FFFFFF"/>
                </a:solidFill>
              </a:rPr>
              <a:pPr/>
              <a:t>‹#›</a:t>
            </a:fld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261257" y="1"/>
            <a:ext cx="8612399" cy="897162"/>
          </a:xfrm>
          <a:prstGeom prst="rect">
            <a:avLst/>
          </a:prstGeom>
          <a:ln/>
          <a:effectLst>
            <a:outerShdw dist="17961" dir="2700000" algn="ctr" rotWithShape="0">
              <a:srgbClr val="FFFFFF"/>
            </a:outerShdw>
          </a:effectLst>
        </p:spPr>
        <p:txBody>
          <a:bodyPr lIns="91243" tIns="45622" rIns="91243" bIns="45622" anchor="ctr"/>
          <a:lstStyle>
            <a:lvl1pPr>
              <a:defRPr kumimoji="1" lang="ru-RU" sz="1800" kern="1200">
                <a:solidFill>
                  <a:srgbClr val="016EB3"/>
                </a:solidFill>
              </a:defRPr>
            </a:lvl1pPr>
          </a:lstStyle>
          <a:p>
            <a:pPr lvl="0" defTabSz="819005"/>
            <a:r>
              <a:rPr lang="ru-RU" dirty="0" smtClean="0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2923042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07266" name="Rectangle 2"/>
          <p:cNvSpPr>
            <a:spLocks noGrp="1" noChangeArrowheads="1"/>
          </p:cNvSpPr>
          <p:nvPr>
            <p:ph type="subTitle" idx="1"/>
          </p:nvPr>
        </p:nvSpPr>
        <p:spPr>
          <a:xfrm>
            <a:off x="2935489" y="5737238"/>
            <a:ext cx="5522912" cy="270843"/>
          </a:xfrm>
          <a:effectLst>
            <a:outerShdw dist="17961" dir="2700000" algn="ctr" rotWithShape="0">
              <a:srgbClr val="FFFFFF"/>
            </a:outerShdw>
          </a:effectLst>
        </p:spPr>
        <p:txBody>
          <a:bodyPr>
            <a:spAutoFit/>
          </a:bodyPr>
          <a:lstStyle>
            <a:lvl1pPr marL="0" indent="0" algn="r" defTabSz="819005">
              <a:spcBef>
                <a:spcPct val="0"/>
              </a:spcBef>
              <a:buClrTx/>
              <a:buFontTx/>
              <a:buNone/>
              <a:defRPr sz="1600">
                <a:solidFill>
                  <a:schemeClr val="tx2"/>
                </a:solidFill>
              </a:defRPr>
            </a:lvl1pPr>
          </a:lstStyle>
          <a:p>
            <a:r>
              <a:rPr lang="ru-RU" smtClean="0"/>
              <a:t>Образец подзаголовка</a:t>
            </a:r>
            <a:endParaRPr lang="en-US" dirty="0"/>
          </a:p>
        </p:txBody>
      </p:sp>
      <p:sp>
        <p:nvSpPr>
          <p:cNvPr id="907267" name="Rectangle 3"/>
          <p:cNvSpPr>
            <a:spLocks noGrp="1" noChangeArrowheads="1"/>
          </p:cNvSpPr>
          <p:nvPr>
            <p:ph type="ctrTitle" sz="quarter"/>
          </p:nvPr>
        </p:nvSpPr>
        <p:spPr>
          <a:xfrm>
            <a:off x="3032589" y="5183211"/>
            <a:ext cx="5522912" cy="452437"/>
          </a:xfrm>
          <a:prstGeom prst="rect">
            <a:avLst/>
          </a:prstGeom>
          <a:ln/>
          <a:effectLst>
            <a:outerShdw dist="17961" dir="2700000" algn="ctr" rotWithShape="0">
              <a:srgbClr val="FFFFFF"/>
            </a:outerShdw>
          </a:effectLst>
        </p:spPr>
        <p:txBody>
          <a:bodyPr lIns="91243" tIns="45622" rIns="91243" bIns="45622" anchor="b"/>
          <a:lstStyle>
            <a:lvl1pPr algn="r" defTabSz="819005">
              <a:defRPr sz="2400">
                <a:solidFill>
                  <a:schemeClr val="tx2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en-US"/>
          </a:p>
        </p:txBody>
      </p:sp>
      <p:pic>
        <p:nvPicPr>
          <p:cNvPr id="2" name="Рисунок 1"/>
          <p:cNvPicPr>
            <a:picLocks noChangeAspect="1"/>
          </p:cNvPicPr>
          <p:nvPr userDrawn="1"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2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0710" y="505803"/>
            <a:ext cx="5230821" cy="3804234"/>
          </a:xfrm>
          <a:prstGeom prst="rect">
            <a:avLst/>
          </a:prstGeom>
        </p:spPr>
      </p:pic>
      <p:pic>
        <p:nvPicPr>
          <p:cNvPr id="7" name="Picture 2"/>
          <p:cNvPicPr>
            <a:picLocks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68002" y="3096000"/>
            <a:ext cx="3564000" cy="2066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745410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gallery dir="l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Основн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414000" y="1638000"/>
            <a:ext cx="8316000" cy="4467600"/>
          </a:xfrm>
        </p:spPr>
        <p:txBody>
          <a:bodyPr/>
          <a:lstStyle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de-DE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4"/>
          </p:nvPr>
        </p:nvSpPr>
        <p:spPr>
          <a:xfrm>
            <a:off x="8665706" y="6526188"/>
            <a:ext cx="402094" cy="217518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chemeClr val="bg1"/>
                </a:solidFill>
                <a:latin typeface="+mj-lt"/>
              </a:defRPr>
            </a:lvl1pPr>
          </a:lstStyle>
          <a:p>
            <a:fld id="{8E141AF1-466E-4D9F-B74C-45FFEB47CA13}" type="slidenum">
              <a:rPr lang="de-DE" smtClean="0">
                <a:solidFill>
                  <a:srgbClr val="FFFFFF"/>
                </a:solidFill>
              </a:rPr>
              <a:pPr/>
              <a:t>‹#›</a:t>
            </a:fld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1652954" y="1"/>
            <a:ext cx="7220702" cy="897162"/>
          </a:xfrm>
          <a:prstGeom prst="rect">
            <a:avLst/>
          </a:prstGeom>
          <a:ln/>
          <a:effectLst>
            <a:outerShdw dist="17961" dir="2700000" algn="ctr" rotWithShape="0">
              <a:srgbClr val="FFFFFF"/>
            </a:outerShdw>
          </a:effectLst>
        </p:spPr>
        <p:txBody>
          <a:bodyPr lIns="91243" tIns="45622" rIns="91243" bIns="45622" anchor="ctr"/>
          <a:lstStyle>
            <a:lvl1pPr>
              <a:defRPr kumimoji="1" lang="ru-RU" sz="1700" kern="1200">
                <a:solidFill>
                  <a:srgbClr val="016EB3"/>
                </a:solidFill>
              </a:defRPr>
            </a:lvl1pPr>
          </a:lstStyle>
          <a:p>
            <a:pPr lvl="0" defTabSz="819005"/>
            <a:r>
              <a:rPr lang="ru-RU" smtClean="0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084759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gallery dir="l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 userDrawn="1"/>
        </p:nvSpPr>
        <p:spPr bwMode="auto">
          <a:xfrm>
            <a:off x="8660610" y="6374606"/>
            <a:ext cx="478632" cy="389746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243" tIns="45622" rIns="91243" bIns="45622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</a:pPr>
            <a:endParaRPr kumimoji="1" lang="ru-RU" sz="1000" smtClean="0">
              <a:solidFill>
                <a:srgbClr val="00294F"/>
              </a:solidFill>
              <a:latin typeface="Tahoma" pitchFamily="34" charset="0"/>
              <a:ea typeface="PMingLiU" pitchFamily="18" charset="-120"/>
            </a:endParaRPr>
          </a:p>
        </p:txBody>
      </p:sp>
    </p:spTree>
    <p:extLst>
      <p:ext uri="{BB962C8B-B14F-4D97-AF65-F5344CB8AC3E}">
        <p14:creationId xmlns:p14="http://schemas.microsoft.com/office/powerpoint/2010/main" val="22781258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gallery dir="l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лайд &quot;Спасибо!&quot;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Line 27"/>
          <p:cNvSpPr>
            <a:spLocks noChangeShapeType="1"/>
          </p:cNvSpPr>
          <p:nvPr userDrawn="1"/>
        </p:nvSpPr>
        <p:spPr bwMode="auto">
          <a:xfrm>
            <a:off x="252000" y="5940000"/>
            <a:ext cx="8640000" cy="0"/>
          </a:xfrm>
          <a:prstGeom prst="line">
            <a:avLst/>
          </a:prstGeom>
          <a:noFill/>
          <a:ln w="28575">
            <a:solidFill>
              <a:srgbClr val="016EB3"/>
            </a:solidFill>
            <a:round/>
            <a:headEnd/>
            <a:tailEnd/>
          </a:ln>
          <a:effectLst/>
        </p:spPr>
        <p:txBody>
          <a:bodyPr wrap="none" lIns="91243" tIns="45622" rIns="91243" bIns="45622"/>
          <a:lstStyle/>
          <a:p>
            <a:pPr fontAlgn="base">
              <a:spcBef>
                <a:spcPct val="50000"/>
              </a:spcBef>
              <a:spcAft>
                <a:spcPct val="0"/>
              </a:spcAft>
              <a:defRPr/>
            </a:pPr>
            <a:endParaRPr kumimoji="1" lang="ru-RU" sz="1000" dirty="0">
              <a:solidFill>
                <a:srgbClr val="002766"/>
              </a:solidFill>
              <a:latin typeface="Tahoma" pitchFamily="34" charset="0"/>
              <a:ea typeface="PMingLiU" pitchFamily="18" charset="-120"/>
            </a:endParaRPr>
          </a:p>
        </p:txBody>
      </p:sp>
      <p:sp>
        <p:nvSpPr>
          <p:cNvPr id="9" name="Прямоугольник 8"/>
          <p:cNvSpPr/>
          <p:nvPr userDrawn="1"/>
        </p:nvSpPr>
        <p:spPr bwMode="auto">
          <a:xfrm>
            <a:off x="252000" y="190523"/>
            <a:ext cx="1623692" cy="606669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243" tIns="45622" rIns="91243" bIns="45622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</a:pPr>
            <a:endParaRPr kumimoji="1" lang="ru-RU" sz="1000" smtClean="0">
              <a:solidFill>
                <a:srgbClr val="00294F"/>
              </a:solidFill>
              <a:latin typeface="Tahoma" pitchFamily="34" charset="0"/>
              <a:ea typeface="PMingLiU" pitchFamily="18" charset="-120"/>
            </a:endParaRPr>
          </a:p>
        </p:txBody>
      </p:sp>
      <p:sp>
        <p:nvSpPr>
          <p:cNvPr id="10" name="Прямоугольник 9"/>
          <p:cNvSpPr/>
          <p:nvPr userDrawn="1"/>
        </p:nvSpPr>
        <p:spPr bwMode="auto">
          <a:xfrm>
            <a:off x="8429206" y="6327669"/>
            <a:ext cx="708444" cy="504825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243" tIns="45622" rIns="91243" bIns="45622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</a:pPr>
            <a:endParaRPr kumimoji="1" lang="ru-RU" sz="1000" smtClean="0">
              <a:solidFill>
                <a:srgbClr val="00294F"/>
              </a:solidFill>
              <a:latin typeface="Tahoma" pitchFamily="34" charset="0"/>
              <a:ea typeface="PMingLiU" pitchFamily="18" charset="-120"/>
            </a:endParaRPr>
          </a:p>
        </p:txBody>
      </p:sp>
      <p:sp>
        <p:nvSpPr>
          <p:cNvPr id="18" name="Текст 3"/>
          <p:cNvSpPr>
            <a:spLocks noGrp="1"/>
          </p:cNvSpPr>
          <p:nvPr>
            <p:ph type="body" sz="half" idx="10" hasCustomPrompt="1"/>
          </p:nvPr>
        </p:nvSpPr>
        <p:spPr>
          <a:xfrm>
            <a:off x="7200000" y="6210000"/>
            <a:ext cx="1656000" cy="396000"/>
          </a:xfrm>
        </p:spPr>
        <p:txBody>
          <a:bodyPr anchor="ctr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100">
                <a:solidFill>
                  <a:schemeClr val="tx2"/>
                </a:solidFill>
              </a:defRPr>
            </a:lvl1pPr>
            <a:lvl2pPr marL="456234" indent="0">
              <a:buNone/>
              <a:defRPr sz="1200"/>
            </a:lvl2pPr>
            <a:lvl3pPr marL="912468" indent="0">
              <a:buNone/>
              <a:defRPr sz="1000"/>
            </a:lvl3pPr>
            <a:lvl4pPr marL="1368700" indent="0">
              <a:buNone/>
              <a:defRPr sz="900"/>
            </a:lvl4pPr>
            <a:lvl5pPr marL="1824935" indent="0">
              <a:buNone/>
              <a:defRPr sz="900"/>
            </a:lvl5pPr>
            <a:lvl6pPr marL="2281167" indent="0">
              <a:buNone/>
              <a:defRPr sz="900"/>
            </a:lvl6pPr>
            <a:lvl7pPr marL="2737394" indent="0">
              <a:buNone/>
              <a:defRPr sz="900"/>
            </a:lvl7pPr>
            <a:lvl8pPr marL="3193635" indent="0">
              <a:buNone/>
              <a:defRPr sz="900"/>
            </a:lvl8pPr>
            <a:lvl9pPr marL="3649869" indent="0">
              <a:buNone/>
              <a:defRPr sz="900"/>
            </a:lvl9pPr>
          </a:lstStyle>
          <a:p>
            <a:pPr lvl="0"/>
            <a:r>
              <a:rPr lang="ru-RU" dirty="0" smtClean="0"/>
              <a:t>Телефон и </a:t>
            </a:r>
            <a:r>
              <a:rPr lang="en-US" dirty="0" smtClean="0"/>
              <a:t>e-mail</a:t>
            </a:r>
          </a:p>
        </p:txBody>
      </p:sp>
      <p:sp>
        <p:nvSpPr>
          <p:cNvPr id="21" name="Текст 3"/>
          <p:cNvSpPr>
            <a:spLocks noGrp="1"/>
          </p:cNvSpPr>
          <p:nvPr>
            <p:ph type="body" sz="half" idx="12" hasCustomPrompt="1"/>
          </p:nvPr>
        </p:nvSpPr>
        <p:spPr>
          <a:xfrm>
            <a:off x="2088000" y="3096000"/>
            <a:ext cx="4932000" cy="648000"/>
          </a:xfrm>
        </p:spPr>
        <p:txBody>
          <a:bodyPr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buNone/>
              <a:defRPr sz="3600">
                <a:solidFill>
                  <a:srgbClr val="016EB3"/>
                </a:solidFill>
              </a:defRPr>
            </a:lvl1pPr>
            <a:lvl2pPr marL="456234" indent="0">
              <a:buNone/>
              <a:defRPr sz="1200"/>
            </a:lvl2pPr>
            <a:lvl3pPr marL="912468" indent="0">
              <a:buNone/>
              <a:defRPr sz="1000"/>
            </a:lvl3pPr>
            <a:lvl4pPr marL="1368700" indent="0">
              <a:buNone/>
              <a:defRPr sz="900"/>
            </a:lvl4pPr>
            <a:lvl5pPr marL="1824935" indent="0">
              <a:buNone/>
              <a:defRPr sz="900"/>
            </a:lvl5pPr>
            <a:lvl6pPr marL="2281167" indent="0">
              <a:buNone/>
              <a:defRPr sz="900"/>
            </a:lvl6pPr>
            <a:lvl7pPr marL="2737394" indent="0">
              <a:buNone/>
              <a:defRPr sz="900"/>
            </a:lvl7pPr>
            <a:lvl8pPr marL="3193635" indent="0">
              <a:buNone/>
              <a:defRPr sz="900"/>
            </a:lvl8pPr>
            <a:lvl9pPr marL="3649869" indent="0">
              <a:buNone/>
              <a:defRPr sz="900"/>
            </a:lvl9pPr>
          </a:lstStyle>
          <a:p>
            <a:pPr lvl="0"/>
            <a:r>
              <a:rPr lang="ru-RU" dirty="0" smtClean="0"/>
              <a:t>Спасибо! / </a:t>
            </a:r>
            <a:r>
              <a:rPr lang="en-US" dirty="0" smtClean="0"/>
              <a:t>Thank you!</a:t>
            </a:r>
          </a:p>
        </p:txBody>
      </p:sp>
      <p:sp>
        <p:nvSpPr>
          <p:cNvPr id="28" name="Текст 27"/>
          <p:cNvSpPr>
            <a:spLocks noGrp="1"/>
          </p:cNvSpPr>
          <p:nvPr>
            <p:ph type="body" sz="quarter" idx="14" hasCustomPrompt="1"/>
          </p:nvPr>
        </p:nvSpPr>
        <p:spPr>
          <a:xfrm>
            <a:off x="5112000" y="6210000"/>
            <a:ext cx="2016000" cy="396000"/>
          </a:xfrm>
        </p:spPr>
        <p:txBody>
          <a:bodyPr anchor="ctr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10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ru-RU" dirty="0" smtClean="0"/>
              <a:t>Адрес компании</a:t>
            </a:r>
            <a:endParaRPr lang="ru-RU" dirty="0"/>
          </a:p>
        </p:txBody>
      </p:sp>
      <p:sp>
        <p:nvSpPr>
          <p:cNvPr id="30" name="Текст 29"/>
          <p:cNvSpPr>
            <a:spLocks noGrp="1"/>
          </p:cNvSpPr>
          <p:nvPr>
            <p:ph type="body" sz="quarter" idx="15" hasCustomPrompt="1"/>
          </p:nvPr>
        </p:nvSpPr>
        <p:spPr>
          <a:xfrm>
            <a:off x="2772000" y="6210000"/>
            <a:ext cx="2268000" cy="396000"/>
          </a:xfrm>
        </p:spPr>
        <p:txBody>
          <a:bodyPr anchor="ctr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10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ru-RU" dirty="0" smtClean="0"/>
              <a:t>Управление и Отдел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2412809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gallery dir="l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31778" y="306698"/>
            <a:ext cx="6742113" cy="739775"/>
          </a:xfrm>
          <a:prstGeom prst="rect">
            <a:avLst/>
          </a:prstGeom>
        </p:spPr>
        <p:txBody>
          <a:bodyPr lIns="91243" tIns="45622" rIns="91243" bIns="45622"/>
          <a:lstStyle>
            <a:lvl1pPr>
              <a:defRPr sz="2500"/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15" name="Rectangle 4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EFF660B-5916-42E2-9D88-953A3CB16BD3}" type="slidenum">
              <a:rPr lang="en-US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129502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gallery dir="l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Основн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414000" y="1638000"/>
            <a:ext cx="8316000" cy="4467600"/>
          </a:xfrm>
        </p:spPr>
        <p:txBody>
          <a:bodyPr/>
          <a:lstStyle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de-DE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4"/>
          </p:nvPr>
        </p:nvSpPr>
        <p:spPr>
          <a:xfrm>
            <a:off x="8665706" y="6526188"/>
            <a:ext cx="402094" cy="217518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chemeClr val="bg1"/>
                </a:solidFill>
                <a:latin typeface="+mj-lt"/>
              </a:defRPr>
            </a:lvl1pPr>
          </a:lstStyle>
          <a:p>
            <a:fld id="{8E141AF1-466E-4D9F-B74C-45FFEB47CA13}" type="slidenum">
              <a:rPr lang="de-DE" smtClean="0">
                <a:solidFill>
                  <a:srgbClr val="FFFFFF"/>
                </a:solidFill>
              </a:rPr>
              <a:pPr/>
              <a:t>‹#›</a:t>
            </a:fld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1652954" y="1"/>
            <a:ext cx="7220702" cy="897162"/>
          </a:xfrm>
          <a:prstGeom prst="rect">
            <a:avLst/>
          </a:prstGeom>
          <a:ln/>
          <a:effectLst>
            <a:outerShdw dist="17961" dir="2700000" algn="ctr" rotWithShape="0">
              <a:srgbClr val="FFFFFF"/>
            </a:outerShdw>
          </a:effectLst>
        </p:spPr>
        <p:txBody>
          <a:bodyPr lIns="91243" tIns="45622" rIns="91243" bIns="45622" anchor="ctr"/>
          <a:lstStyle>
            <a:lvl1pPr>
              <a:defRPr kumimoji="1" lang="ru-RU" sz="1700" kern="1200">
                <a:solidFill>
                  <a:srgbClr val="016EB3"/>
                </a:solidFill>
              </a:defRPr>
            </a:lvl1pPr>
          </a:lstStyle>
          <a:p>
            <a:pPr lvl="0" defTabSz="819005"/>
            <a:r>
              <a:rPr lang="ru-RU" smtClean="0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2144740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gallery dir="l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31778" y="123825"/>
            <a:ext cx="6742113" cy="657225"/>
          </a:xfrm>
          <a:prstGeom prst="rect">
            <a:avLst/>
          </a:prstGeom>
        </p:spPr>
        <p:txBody>
          <a:bodyPr lIns="91243" tIns="45622" rIns="91243" bIns="45622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715E4BD-578A-4F4A-9E92-1B4DB10B5101}" type="slidenum">
              <a:rPr lang="en-US">
                <a:solidFill>
                  <a:srgbClr val="A0A1A6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A0A1A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202970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gallery dir="l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One Char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7"/>
          <p:cNvSpPr>
            <a:spLocks noGrp="1"/>
          </p:cNvSpPr>
          <p:nvPr>
            <p:ph type="pic" sz="quarter" idx="12" hasCustomPrompt="1"/>
          </p:nvPr>
        </p:nvSpPr>
        <p:spPr>
          <a:xfrm>
            <a:off x="353585" y="1292913"/>
            <a:ext cx="8438320" cy="5095600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>
            <a:normAutofit/>
          </a:bodyPr>
          <a:lstStyle>
            <a:lvl1pPr marL="246509" indent="-246509" algn="l" defTabSz="890891" rtl="0" eaLnBrk="1" fontAlgn="base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sz="2200" dirty="0">
                <a:solidFill>
                  <a:schemeClr val="accent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 smtClean="0"/>
              <a:t>Wizard Chart</a:t>
            </a:r>
            <a:endParaRPr lang="en-US" dirty="0"/>
          </a:p>
        </p:txBody>
      </p:sp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168404" y="53600"/>
            <a:ext cx="7835048" cy="834431"/>
          </a:xfrm>
          <a:prstGeom prst="rect">
            <a:avLst/>
          </a:prstGeom>
        </p:spPr>
        <p:txBody>
          <a:bodyPr lIns="83032" tIns="41517" rIns="83032" bIns="41517"/>
          <a:lstStyle>
            <a:lvl1pPr>
              <a:defRPr sz="2500"/>
            </a:lvl1pPr>
          </a:lstStyle>
          <a:p>
            <a:r>
              <a:rPr lang="en-US" dirty="0" smtClean="0"/>
              <a:t>Click to edit Master title style</a:t>
            </a:r>
            <a:endParaRPr lang="fr-FR" dirty="0"/>
          </a:p>
        </p:txBody>
      </p:sp>
      <p:sp>
        <p:nvSpPr>
          <p:cNvPr id="5" name="Rectangle 4"/>
          <p:cNvSpPr/>
          <p:nvPr/>
        </p:nvSpPr>
        <p:spPr>
          <a:xfrm>
            <a:off x="0" y="905107"/>
            <a:ext cx="9144000" cy="34180"/>
          </a:xfrm>
          <a:prstGeom prst="rect">
            <a:avLst/>
          </a:prstGeom>
          <a:solidFill>
            <a:schemeClr val="accent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dirty="0" smtClean="0">
              <a:solidFill>
                <a:srgbClr val="00294F"/>
              </a:solidFill>
            </a:endParaRPr>
          </a:p>
        </p:txBody>
      </p:sp>
      <p:sp>
        <p:nvSpPr>
          <p:cNvPr id="6" name="SlideNumber"/>
          <p:cNvSpPr/>
          <p:nvPr/>
        </p:nvSpPr>
        <p:spPr>
          <a:xfrm>
            <a:off x="8216375" y="6668489"/>
            <a:ext cx="300772" cy="86818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/>
            <a:fld id="{BB69BBE8-4DB2-4642-B003-B220ACD5A2FD}" type="slidenum">
              <a:rPr lang="en-US" sz="900" b="1" smtClean="0">
                <a:solidFill>
                  <a:srgbClr val="080808"/>
                </a:solidFill>
                <a:latin typeface="Verdana" pitchFamily="34" charset="0"/>
              </a:rPr>
              <a:pPr algn="ctr"/>
              <a:t>‹#›</a:t>
            </a:fld>
            <a:endParaRPr lang="fr-FR" sz="900" b="1" dirty="0" smtClean="0">
              <a:solidFill>
                <a:srgbClr val="080808"/>
              </a:solidFill>
            </a:endParaRPr>
          </a:p>
        </p:txBody>
      </p:sp>
      <p:cxnSp>
        <p:nvCxnSpPr>
          <p:cNvPr id="7" name="Straight Connector 6"/>
          <p:cNvCxnSpPr/>
          <p:nvPr/>
        </p:nvCxnSpPr>
        <p:spPr>
          <a:xfrm>
            <a:off x="0" y="6555697"/>
            <a:ext cx="9144000" cy="0"/>
          </a:xfrm>
          <a:prstGeom prst="line">
            <a:avLst/>
          </a:prstGeom>
          <a:ln w="12700">
            <a:solidFill>
              <a:srgbClr val="999999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8" name="Group 7"/>
          <p:cNvGrpSpPr/>
          <p:nvPr/>
        </p:nvGrpSpPr>
        <p:grpSpPr>
          <a:xfrm>
            <a:off x="8574091" y="6591936"/>
            <a:ext cx="385992" cy="239924"/>
            <a:chOff x="7277614" y="2396353"/>
            <a:chExt cx="1054802" cy="609493"/>
          </a:xfrm>
        </p:grpSpPr>
        <p:sp>
          <p:nvSpPr>
            <p:cNvPr id="9" name="Freeform 7"/>
            <p:cNvSpPr>
              <a:spLocks/>
            </p:cNvSpPr>
            <p:nvPr/>
          </p:nvSpPr>
          <p:spPr bwMode="auto">
            <a:xfrm>
              <a:off x="7277614" y="2396353"/>
              <a:ext cx="527401" cy="154241"/>
            </a:xfrm>
            <a:custGeom>
              <a:avLst/>
              <a:gdLst>
                <a:gd name="T0" fmla="*/ 0 w 691"/>
                <a:gd name="T1" fmla="*/ 200 h 200"/>
                <a:gd name="T2" fmla="*/ 691 w 691"/>
                <a:gd name="T3" fmla="*/ 200 h 200"/>
                <a:gd name="T4" fmla="*/ 346 w 691"/>
                <a:gd name="T5" fmla="*/ 0 h 200"/>
                <a:gd name="T6" fmla="*/ 0 w 691"/>
                <a:gd name="T7" fmla="*/ 200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91" h="200">
                  <a:moveTo>
                    <a:pt x="0" y="200"/>
                  </a:moveTo>
                  <a:lnTo>
                    <a:pt x="691" y="200"/>
                  </a:lnTo>
                  <a:lnTo>
                    <a:pt x="346" y="0"/>
                  </a:lnTo>
                  <a:lnTo>
                    <a:pt x="0" y="200"/>
                  </a:lnTo>
                  <a:close/>
                </a:path>
              </a:pathLst>
            </a:custGeom>
            <a:solidFill>
              <a:srgbClr val="FF0505"/>
            </a:solidFill>
            <a:ln w="1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00294F"/>
                </a:solidFill>
              </a:endParaRPr>
            </a:p>
          </p:txBody>
        </p:sp>
        <p:sp>
          <p:nvSpPr>
            <p:cNvPr id="10" name="Freeform 8"/>
            <p:cNvSpPr>
              <a:spLocks/>
            </p:cNvSpPr>
            <p:nvPr/>
          </p:nvSpPr>
          <p:spPr bwMode="auto">
            <a:xfrm>
              <a:off x="7277614" y="2550591"/>
              <a:ext cx="263702" cy="452770"/>
            </a:xfrm>
            <a:custGeom>
              <a:avLst/>
              <a:gdLst>
                <a:gd name="T0" fmla="*/ 0 w 346"/>
                <a:gd name="T1" fmla="*/ 0 h 598"/>
                <a:gd name="T2" fmla="*/ 0 w 346"/>
                <a:gd name="T3" fmla="*/ 399 h 598"/>
                <a:gd name="T4" fmla="*/ 346 w 346"/>
                <a:gd name="T5" fmla="*/ 598 h 598"/>
                <a:gd name="T6" fmla="*/ 0 w 346"/>
                <a:gd name="T7" fmla="*/ 0 h 5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46" h="598">
                  <a:moveTo>
                    <a:pt x="0" y="0"/>
                  </a:moveTo>
                  <a:lnTo>
                    <a:pt x="0" y="399"/>
                  </a:lnTo>
                  <a:lnTo>
                    <a:pt x="346" y="59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505"/>
            </a:solidFill>
            <a:ln w="2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00294F"/>
                </a:solidFill>
              </a:endParaRPr>
            </a:p>
          </p:txBody>
        </p:sp>
        <p:sp>
          <p:nvSpPr>
            <p:cNvPr id="11" name="Freeform 9"/>
            <p:cNvSpPr>
              <a:spLocks/>
            </p:cNvSpPr>
            <p:nvPr/>
          </p:nvSpPr>
          <p:spPr bwMode="auto">
            <a:xfrm>
              <a:off x="7541313" y="2550591"/>
              <a:ext cx="263702" cy="452770"/>
            </a:xfrm>
            <a:custGeom>
              <a:avLst/>
              <a:gdLst>
                <a:gd name="T0" fmla="*/ 0 w 345"/>
                <a:gd name="T1" fmla="*/ 598 h 598"/>
                <a:gd name="T2" fmla="*/ 345 w 345"/>
                <a:gd name="T3" fmla="*/ 0 h 598"/>
                <a:gd name="T4" fmla="*/ 345 w 345"/>
                <a:gd name="T5" fmla="*/ 399 h 598"/>
                <a:gd name="T6" fmla="*/ 0 w 345"/>
                <a:gd name="T7" fmla="*/ 598 h 5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45" h="598">
                  <a:moveTo>
                    <a:pt x="0" y="598"/>
                  </a:moveTo>
                  <a:lnTo>
                    <a:pt x="345" y="0"/>
                  </a:lnTo>
                  <a:lnTo>
                    <a:pt x="345" y="399"/>
                  </a:lnTo>
                  <a:lnTo>
                    <a:pt x="0" y="598"/>
                  </a:lnTo>
                  <a:close/>
                </a:path>
              </a:pathLst>
            </a:custGeom>
            <a:solidFill>
              <a:srgbClr val="FF0505"/>
            </a:solidFill>
            <a:ln w="1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00294F"/>
                </a:solidFill>
              </a:endParaRPr>
            </a:p>
          </p:txBody>
        </p:sp>
        <p:sp>
          <p:nvSpPr>
            <p:cNvPr id="12" name="Freeform 7"/>
            <p:cNvSpPr>
              <a:spLocks/>
            </p:cNvSpPr>
            <p:nvPr/>
          </p:nvSpPr>
          <p:spPr bwMode="auto">
            <a:xfrm rot="10800000">
              <a:off x="7805015" y="2851605"/>
              <a:ext cx="527401" cy="154241"/>
            </a:xfrm>
            <a:custGeom>
              <a:avLst/>
              <a:gdLst>
                <a:gd name="T0" fmla="*/ 0 w 691"/>
                <a:gd name="T1" fmla="*/ 200 h 200"/>
                <a:gd name="T2" fmla="*/ 691 w 691"/>
                <a:gd name="T3" fmla="*/ 200 h 200"/>
                <a:gd name="T4" fmla="*/ 346 w 691"/>
                <a:gd name="T5" fmla="*/ 0 h 200"/>
                <a:gd name="T6" fmla="*/ 0 w 691"/>
                <a:gd name="T7" fmla="*/ 200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91" h="200">
                  <a:moveTo>
                    <a:pt x="0" y="200"/>
                  </a:moveTo>
                  <a:lnTo>
                    <a:pt x="691" y="200"/>
                  </a:lnTo>
                  <a:lnTo>
                    <a:pt x="346" y="0"/>
                  </a:lnTo>
                  <a:lnTo>
                    <a:pt x="0" y="200"/>
                  </a:lnTo>
                  <a:close/>
                </a:path>
              </a:pathLst>
            </a:custGeom>
            <a:solidFill>
              <a:srgbClr val="058CEC"/>
            </a:solidFill>
            <a:ln w="1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00294F"/>
                </a:solidFill>
              </a:endParaRPr>
            </a:p>
          </p:txBody>
        </p:sp>
        <p:sp>
          <p:nvSpPr>
            <p:cNvPr id="13" name="Freeform 8"/>
            <p:cNvSpPr>
              <a:spLocks/>
            </p:cNvSpPr>
            <p:nvPr/>
          </p:nvSpPr>
          <p:spPr bwMode="auto">
            <a:xfrm rot="10800000">
              <a:off x="8068714" y="2398838"/>
              <a:ext cx="263702" cy="452770"/>
            </a:xfrm>
            <a:custGeom>
              <a:avLst/>
              <a:gdLst>
                <a:gd name="T0" fmla="*/ 0 w 346"/>
                <a:gd name="T1" fmla="*/ 0 h 598"/>
                <a:gd name="T2" fmla="*/ 0 w 346"/>
                <a:gd name="T3" fmla="*/ 399 h 598"/>
                <a:gd name="T4" fmla="*/ 346 w 346"/>
                <a:gd name="T5" fmla="*/ 598 h 598"/>
                <a:gd name="T6" fmla="*/ 0 w 346"/>
                <a:gd name="T7" fmla="*/ 0 h 5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46" h="598">
                  <a:moveTo>
                    <a:pt x="0" y="0"/>
                  </a:moveTo>
                  <a:lnTo>
                    <a:pt x="0" y="399"/>
                  </a:lnTo>
                  <a:lnTo>
                    <a:pt x="346" y="59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58CEC"/>
            </a:solidFill>
            <a:ln w="2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00294F"/>
                </a:solidFill>
              </a:endParaRPr>
            </a:p>
          </p:txBody>
        </p:sp>
        <p:sp>
          <p:nvSpPr>
            <p:cNvPr id="14" name="Freeform 9"/>
            <p:cNvSpPr>
              <a:spLocks/>
            </p:cNvSpPr>
            <p:nvPr/>
          </p:nvSpPr>
          <p:spPr bwMode="auto">
            <a:xfrm rot="10800000">
              <a:off x="7805015" y="2398838"/>
              <a:ext cx="263702" cy="452770"/>
            </a:xfrm>
            <a:custGeom>
              <a:avLst/>
              <a:gdLst>
                <a:gd name="T0" fmla="*/ 0 w 345"/>
                <a:gd name="T1" fmla="*/ 598 h 598"/>
                <a:gd name="T2" fmla="*/ 345 w 345"/>
                <a:gd name="T3" fmla="*/ 0 h 598"/>
                <a:gd name="T4" fmla="*/ 345 w 345"/>
                <a:gd name="T5" fmla="*/ 399 h 598"/>
                <a:gd name="T6" fmla="*/ 0 w 345"/>
                <a:gd name="T7" fmla="*/ 598 h 5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45" h="598">
                  <a:moveTo>
                    <a:pt x="0" y="598"/>
                  </a:moveTo>
                  <a:lnTo>
                    <a:pt x="345" y="0"/>
                  </a:lnTo>
                  <a:lnTo>
                    <a:pt x="345" y="399"/>
                  </a:lnTo>
                  <a:lnTo>
                    <a:pt x="0" y="598"/>
                  </a:lnTo>
                  <a:close/>
                </a:path>
              </a:pathLst>
            </a:custGeom>
            <a:solidFill>
              <a:srgbClr val="058CEC"/>
            </a:solidFill>
            <a:ln w="1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00294F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93461698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Раздел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8"/>
          <p:cNvSpPr>
            <a:spLocks noGrp="1"/>
          </p:cNvSpPr>
          <p:nvPr>
            <p:ph type="sldNum" sz="quarter" idx="4"/>
          </p:nvPr>
        </p:nvSpPr>
        <p:spPr>
          <a:xfrm>
            <a:off x="8741906" y="6517642"/>
            <a:ext cx="402094" cy="217518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chemeClr val="bg1"/>
                </a:solidFill>
                <a:latin typeface="+mj-lt"/>
              </a:defRPr>
            </a:lvl1pPr>
          </a:lstStyle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843310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gallery dir="l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 userDrawn="1"/>
        </p:nvSpPr>
        <p:spPr bwMode="auto">
          <a:xfrm>
            <a:off x="8660610" y="6374606"/>
            <a:ext cx="478632" cy="389746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243" tIns="45622" rIns="91243" bIns="45622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</a:pPr>
            <a:endParaRPr kumimoji="1" lang="ru-RU" sz="1000" smtClean="0">
              <a:solidFill>
                <a:srgbClr val="00294F"/>
              </a:solidFill>
              <a:latin typeface="Tahoma" pitchFamily="34" charset="0"/>
              <a:ea typeface="PMingLiU" pitchFamily="18" charset="-120"/>
            </a:endParaRPr>
          </a:p>
        </p:txBody>
      </p:sp>
    </p:spTree>
    <p:extLst>
      <p:ext uri="{BB962C8B-B14F-4D97-AF65-F5344CB8AC3E}">
        <p14:creationId xmlns:p14="http://schemas.microsoft.com/office/powerpoint/2010/main" val="37377581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gallery dir="l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Основн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lide Number Placeholder 8"/>
          <p:cNvSpPr>
            <a:spLocks noGrp="1"/>
          </p:cNvSpPr>
          <p:nvPr>
            <p:ph type="sldNum" sz="quarter" idx="14"/>
          </p:nvPr>
        </p:nvSpPr>
        <p:spPr>
          <a:xfrm>
            <a:off x="8665706" y="6526188"/>
            <a:ext cx="402094" cy="217518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chemeClr val="bg1"/>
                </a:solidFill>
                <a:latin typeface="+mj-lt"/>
              </a:defRPr>
            </a:lvl1pPr>
          </a:lstStyle>
          <a:p>
            <a:fld id="{8E141AF1-466E-4D9F-B74C-45FFEB47CA13}" type="slidenum">
              <a:rPr lang="de-DE" smtClean="0">
                <a:solidFill>
                  <a:srgbClr val="FFFFFF"/>
                </a:solidFill>
              </a:rPr>
              <a:pPr/>
              <a:t>‹#›</a:t>
            </a:fld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261257" y="1"/>
            <a:ext cx="8612399" cy="897162"/>
          </a:xfrm>
          <a:prstGeom prst="rect">
            <a:avLst/>
          </a:prstGeom>
          <a:ln/>
          <a:effectLst>
            <a:outerShdw dist="17961" dir="2700000" algn="ctr" rotWithShape="0">
              <a:srgbClr val="FFFFFF"/>
            </a:outerShdw>
          </a:effectLst>
        </p:spPr>
        <p:txBody>
          <a:bodyPr lIns="91243" tIns="45622" rIns="91243" bIns="45622" anchor="ctr"/>
          <a:lstStyle>
            <a:lvl1pPr>
              <a:defRPr kumimoji="1" lang="ru-RU" sz="1800" kern="1200">
                <a:solidFill>
                  <a:srgbClr val="016EB3"/>
                </a:solidFill>
              </a:defRPr>
            </a:lvl1pPr>
          </a:lstStyle>
          <a:p>
            <a:pPr lvl="0" defTabSz="819005"/>
            <a:r>
              <a:rPr lang="ru-RU" dirty="0" smtClean="0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8496900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500"/>
            </a:lvl1pPr>
          </a:lstStyle>
          <a:p>
            <a:r>
              <a:rPr lang="en-US" dirty="0"/>
              <a:t>Click to edit Master title style</a:t>
            </a:r>
            <a:endParaRPr lang="fr-FR" dirty="0"/>
          </a:p>
        </p:txBody>
      </p:sp>
      <p:sp>
        <p:nvSpPr>
          <p:cNvPr id="3" name="Rectangle 2"/>
          <p:cNvSpPr/>
          <p:nvPr/>
        </p:nvSpPr>
        <p:spPr>
          <a:xfrm>
            <a:off x="0" y="905107"/>
            <a:ext cx="9144000" cy="34180"/>
          </a:xfrm>
          <a:prstGeom prst="rect">
            <a:avLst/>
          </a:prstGeom>
          <a:solidFill>
            <a:schemeClr val="accent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892521"/>
            <a:endParaRPr lang="en-US" dirty="0">
              <a:solidFill>
                <a:srgbClr val="003149"/>
              </a:solidFill>
            </a:endParaRPr>
          </a:p>
        </p:txBody>
      </p:sp>
      <p:sp>
        <p:nvSpPr>
          <p:cNvPr id="4" name="SlideNumber"/>
          <p:cNvSpPr/>
          <p:nvPr/>
        </p:nvSpPr>
        <p:spPr>
          <a:xfrm>
            <a:off x="8216375" y="6668489"/>
            <a:ext cx="300772" cy="86818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 defTabSz="892521"/>
            <a:fld id="{BB69BBE8-4DB2-4642-B003-B220ACD5A2FD}" type="slidenum">
              <a:rPr lang="en-US" sz="900" b="1" smtClean="0">
                <a:solidFill>
                  <a:srgbClr val="080808"/>
                </a:solidFill>
                <a:latin typeface="Verdana" pitchFamily="34" charset="0"/>
              </a:rPr>
              <a:pPr algn="ctr" defTabSz="892521"/>
              <a:t>‹#›</a:t>
            </a:fld>
            <a:endParaRPr lang="fr-FR" sz="900" b="1" dirty="0">
              <a:solidFill>
                <a:srgbClr val="080808"/>
              </a:solidFill>
            </a:endParaRPr>
          </a:p>
        </p:txBody>
      </p:sp>
      <p:cxnSp>
        <p:nvCxnSpPr>
          <p:cNvPr id="5" name="Straight Connector 4"/>
          <p:cNvCxnSpPr/>
          <p:nvPr/>
        </p:nvCxnSpPr>
        <p:spPr>
          <a:xfrm>
            <a:off x="0" y="6555697"/>
            <a:ext cx="9144000" cy="0"/>
          </a:xfrm>
          <a:prstGeom prst="line">
            <a:avLst/>
          </a:prstGeom>
          <a:ln w="12700">
            <a:solidFill>
              <a:srgbClr val="999999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6" name="Group 5"/>
          <p:cNvGrpSpPr/>
          <p:nvPr/>
        </p:nvGrpSpPr>
        <p:grpSpPr>
          <a:xfrm>
            <a:off x="8574091" y="6591936"/>
            <a:ext cx="385992" cy="239924"/>
            <a:chOff x="7277614" y="2396353"/>
            <a:chExt cx="1054802" cy="609493"/>
          </a:xfrm>
        </p:grpSpPr>
        <p:sp>
          <p:nvSpPr>
            <p:cNvPr id="7" name="Freeform 7"/>
            <p:cNvSpPr>
              <a:spLocks/>
            </p:cNvSpPr>
            <p:nvPr/>
          </p:nvSpPr>
          <p:spPr bwMode="auto">
            <a:xfrm>
              <a:off x="7277614" y="2396353"/>
              <a:ext cx="527401" cy="154241"/>
            </a:xfrm>
            <a:custGeom>
              <a:avLst/>
              <a:gdLst>
                <a:gd name="T0" fmla="*/ 0 w 691"/>
                <a:gd name="T1" fmla="*/ 200 h 200"/>
                <a:gd name="T2" fmla="*/ 691 w 691"/>
                <a:gd name="T3" fmla="*/ 200 h 200"/>
                <a:gd name="T4" fmla="*/ 346 w 691"/>
                <a:gd name="T5" fmla="*/ 0 h 200"/>
                <a:gd name="T6" fmla="*/ 0 w 691"/>
                <a:gd name="T7" fmla="*/ 200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91" h="200">
                  <a:moveTo>
                    <a:pt x="0" y="200"/>
                  </a:moveTo>
                  <a:lnTo>
                    <a:pt x="691" y="200"/>
                  </a:lnTo>
                  <a:lnTo>
                    <a:pt x="346" y="0"/>
                  </a:lnTo>
                  <a:lnTo>
                    <a:pt x="0" y="200"/>
                  </a:lnTo>
                  <a:close/>
                </a:path>
              </a:pathLst>
            </a:custGeom>
            <a:solidFill>
              <a:srgbClr val="FF0505"/>
            </a:solidFill>
            <a:ln w="1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892521"/>
              <a:endParaRPr lang="en-US" sz="1700" dirty="0">
                <a:solidFill>
                  <a:srgbClr val="003149"/>
                </a:solidFill>
              </a:endParaRPr>
            </a:p>
          </p:txBody>
        </p:sp>
        <p:sp>
          <p:nvSpPr>
            <p:cNvPr id="8" name="Freeform 8"/>
            <p:cNvSpPr>
              <a:spLocks/>
            </p:cNvSpPr>
            <p:nvPr/>
          </p:nvSpPr>
          <p:spPr bwMode="auto">
            <a:xfrm>
              <a:off x="7277614" y="2550591"/>
              <a:ext cx="263702" cy="452770"/>
            </a:xfrm>
            <a:custGeom>
              <a:avLst/>
              <a:gdLst>
                <a:gd name="T0" fmla="*/ 0 w 346"/>
                <a:gd name="T1" fmla="*/ 0 h 598"/>
                <a:gd name="T2" fmla="*/ 0 w 346"/>
                <a:gd name="T3" fmla="*/ 399 h 598"/>
                <a:gd name="T4" fmla="*/ 346 w 346"/>
                <a:gd name="T5" fmla="*/ 598 h 598"/>
                <a:gd name="T6" fmla="*/ 0 w 346"/>
                <a:gd name="T7" fmla="*/ 0 h 5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46" h="598">
                  <a:moveTo>
                    <a:pt x="0" y="0"/>
                  </a:moveTo>
                  <a:lnTo>
                    <a:pt x="0" y="399"/>
                  </a:lnTo>
                  <a:lnTo>
                    <a:pt x="346" y="59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505"/>
            </a:solidFill>
            <a:ln w="2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892521"/>
              <a:endParaRPr lang="en-US" sz="1700" dirty="0">
                <a:solidFill>
                  <a:srgbClr val="003149"/>
                </a:solidFill>
              </a:endParaRPr>
            </a:p>
          </p:txBody>
        </p:sp>
        <p:sp>
          <p:nvSpPr>
            <p:cNvPr id="9" name="Freeform 9"/>
            <p:cNvSpPr>
              <a:spLocks/>
            </p:cNvSpPr>
            <p:nvPr/>
          </p:nvSpPr>
          <p:spPr bwMode="auto">
            <a:xfrm>
              <a:off x="7541313" y="2550591"/>
              <a:ext cx="263702" cy="452770"/>
            </a:xfrm>
            <a:custGeom>
              <a:avLst/>
              <a:gdLst>
                <a:gd name="T0" fmla="*/ 0 w 345"/>
                <a:gd name="T1" fmla="*/ 598 h 598"/>
                <a:gd name="T2" fmla="*/ 345 w 345"/>
                <a:gd name="T3" fmla="*/ 0 h 598"/>
                <a:gd name="T4" fmla="*/ 345 w 345"/>
                <a:gd name="T5" fmla="*/ 399 h 598"/>
                <a:gd name="T6" fmla="*/ 0 w 345"/>
                <a:gd name="T7" fmla="*/ 598 h 5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45" h="598">
                  <a:moveTo>
                    <a:pt x="0" y="598"/>
                  </a:moveTo>
                  <a:lnTo>
                    <a:pt x="345" y="0"/>
                  </a:lnTo>
                  <a:lnTo>
                    <a:pt x="345" y="399"/>
                  </a:lnTo>
                  <a:lnTo>
                    <a:pt x="0" y="598"/>
                  </a:lnTo>
                  <a:close/>
                </a:path>
              </a:pathLst>
            </a:custGeom>
            <a:solidFill>
              <a:srgbClr val="FF0505"/>
            </a:solidFill>
            <a:ln w="1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892521"/>
              <a:endParaRPr lang="en-US" sz="1700" dirty="0">
                <a:solidFill>
                  <a:srgbClr val="003149"/>
                </a:solidFill>
              </a:endParaRPr>
            </a:p>
          </p:txBody>
        </p:sp>
        <p:sp>
          <p:nvSpPr>
            <p:cNvPr id="10" name="Freeform 7"/>
            <p:cNvSpPr>
              <a:spLocks/>
            </p:cNvSpPr>
            <p:nvPr/>
          </p:nvSpPr>
          <p:spPr bwMode="auto">
            <a:xfrm rot="10800000">
              <a:off x="7805015" y="2851605"/>
              <a:ext cx="527401" cy="154241"/>
            </a:xfrm>
            <a:custGeom>
              <a:avLst/>
              <a:gdLst>
                <a:gd name="T0" fmla="*/ 0 w 691"/>
                <a:gd name="T1" fmla="*/ 200 h 200"/>
                <a:gd name="T2" fmla="*/ 691 w 691"/>
                <a:gd name="T3" fmla="*/ 200 h 200"/>
                <a:gd name="T4" fmla="*/ 346 w 691"/>
                <a:gd name="T5" fmla="*/ 0 h 200"/>
                <a:gd name="T6" fmla="*/ 0 w 691"/>
                <a:gd name="T7" fmla="*/ 200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91" h="200">
                  <a:moveTo>
                    <a:pt x="0" y="200"/>
                  </a:moveTo>
                  <a:lnTo>
                    <a:pt x="691" y="200"/>
                  </a:lnTo>
                  <a:lnTo>
                    <a:pt x="346" y="0"/>
                  </a:lnTo>
                  <a:lnTo>
                    <a:pt x="0" y="200"/>
                  </a:lnTo>
                  <a:close/>
                </a:path>
              </a:pathLst>
            </a:custGeom>
            <a:solidFill>
              <a:srgbClr val="058CEC"/>
            </a:solidFill>
            <a:ln w="1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892521"/>
              <a:endParaRPr lang="en-US" sz="1700" dirty="0">
                <a:solidFill>
                  <a:srgbClr val="003149"/>
                </a:solidFill>
              </a:endParaRPr>
            </a:p>
          </p:txBody>
        </p:sp>
        <p:sp>
          <p:nvSpPr>
            <p:cNvPr id="11" name="Freeform 8"/>
            <p:cNvSpPr>
              <a:spLocks/>
            </p:cNvSpPr>
            <p:nvPr/>
          </p:nvSpPr>
          <p:spPr bwMode="auto">
            <a:xfrm rot="10800000">
              <a:off x="8068714" y="2398838"/>
              <a:ext cx="263702" cy="452770"/>
            </a:xfrm>
            <a:custGeom>
              <a:avLst/>
              <a:gdLst>
                <a:gd name="T0" fmla="*/ 0 w 346"/>
                <a:gd name="T1" fmla="*/ 0 h 598"/>
                <a:gd name="T2" fmla="*/ 0 w 346"/>
                <a:gd name="T3" fmla="*/ 399 h 598"/>
                <a:gd name="T4" fmla="*/ 346 w 346"/>
                <a:gd name="T5" fmla="*/ 598 h 598"/>
                <a:gd name="T6" fmla="*/ 0 w 346"/>
                <a:gd name="T7" fmla="*/ 0 h 5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46" h="598">
                  <a:moveTo>
                    <a:pt x="0" y="0"/>
                  </a:moveTo>
                  <a:lnTo>
                    <a:pt x="0" y="399"/>
                  </a:lnTo>
                  <a:lnTo>
                    <a:pt x="346" y="59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58CEC"/>
            </a:solidFill>
            <a:ln w="2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892521"/>
              <a:endParaRPr lang="en-US" sz="1700" dirty="0">
                <a:solidFill>
                  <a:srgbClr val="003149"/>
                </a:solidFill>
              </a:endParaRPr>
            </a:p>
          </p:txBody>
        </p:sp>
        <p:sp>
          <p:nvSpPr>
            <p:cNvPr id="12" name="Freeform 9"/>
            <p:cNvSpPr>
              <a:spLocks/>
            </p:cNvSpPr>
            <p:nvPr/>
          </p:nvSpPr>
          <p:spPr bwMode="auto">
            <a:xfrm rot="10800000">
              <a:off x="7805015" y="2398838"/>
              <a:ext cx="263702" cy="452770"/>
            </a:xfrm>
            <a:custGeom>
              <a:avLst/>
              <a:gdLst>
                <a:gd name="T0" fmla="*/ 0 w 345"/>
                <a:gd name="T1" fmla="*/ 598 h 598"/>
                <a:gd name="T2" fmla="*/ 345 w 345"/>
                <a:gd name="T3" fmla="*/ 0 h 598"/>
                <a:gd name="T4" fmla="*/ 345 w 345"/>
                <a:gd name="T5" fmla="*/ 399 h 598"/>
                <a:gd name="T6" fmla="*/ 0 w 345"/>
                <a:gd name="T7" fmla="*/ 598 h 5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45" h="598">
                  <a:moveTo>
                    <a:pt x="0" y="598"/>
                  </a:moveTo>
                  <a:lnTo>
                    <a:pt x="345" y="0"/>
                  </a:lnTo>
                  <a:lnTo>
                    <a:pt x="345" y="399"/>
                  </a:lnTo>
                  <a:lnTo>
                    <a:pt x="0" y="598"/>
                  </a:lnTo>
                  <a:close/>
                </a:path>
              </a:pathLst>
            </a:custGeom>
            <a:solidFill>
              <a:srgbClr val="058CEC"/>
            </a:solidFill>
            <a:ln w="1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892521"/>
              <a:endParaRPr lang="en-US" sz="1700" dirty="0">
                <a:solidFill>
                  <a:srgbClr val="003149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972291679"/>
      </p:ext>
    </p:extLst>
  </p:cSld>
  <p:clrMapOvr>
    <a:masterClrMapping/>
  </p:clrMapOvr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One Char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7"/>
          <p:cNvSpPr>
            <a:spLocks noGrp="1"/>
          </p:cNvSpPr>
          <p:nvPr>
            <p:ph type="pic" sz="quarter" idx="12" hasCustomPrompt="1"/>
          </p:nvPr>
        </p:nvSpPr>
        <p:spPr>
          <a:xfrm>
            <a:off x="353585" y="1292913"/>
            <a:ext cx="8438320" cy="5095600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>
            <a:normAutofit/>
          </a:bodyPr>
          <a:lstStyle>
            <a:lvl1pPr marL="246895" indent="-246895" algn="l" defTabSz="892285" rtl="0" eaLnBrk="1" fontAlgn="base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sz="2200" dirty="0">
                <a:solidFill>
                  <a:schemeClr val="accent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/>
              <a:t>Wizard Chart</a:t>
            </a:r>
          </a:p>
        </p:txBody>
      </p:sp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168404" y="53583"/>
            <a:ext cx="7835048" cy="834431"/>
          </a:xfrm>
        </p:spPr>
        <p:txBody>
          <a:bodyPr/>
          <a:lstStyle>
            <a:lvl1pPr>
              <a:defRPr sz="2500"/>
            </a:lvl1pPr>
          </a:lstStyle>
          <a:p>
            <a:r>
              <a:rPr lang="en-US" dirty="0"/>
              <a:t>Click to edit Master title style</a:t>
            </a:r>
            <a:endParaRPr lang="fr-FR" dirty="0"/>
          </a:p>
        </p:txBody>
      </p:sp>
      <p:sp>
        <p:nvSpPr>
          <p:cNvPr id="5" name="Rectangle 4"/>
          <p:cNvSpPr/>
          <p:nvPr/>
        </p:nvSpPr>
        <p:spPr>
          <a:xfrm>
            <a:off x="0" y="905107"/>
            <a:ext cx="9144000" cy="34180"/>
          </a:xfrm>
          <a:prstGeom prst="rect">
            <a:avLst/>
          </a:prstGeom>
          <a:solidFill>
            <a:schemeClr val="accent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892521"/>
            <a:endParaRPr lang="en-US" dirty="0">
              <a:solidFill>
                <a:srgbClr val="003149"/>
              </a:solidFill>
            </a:endParaRPr>
          </a:p>
        </p:txBody>
      </p:sp>
      <p:sp>
        <p:nvSpPr>
          <p:cNvPr id="6" name="SlideNumber"/>
          <p:cNvSpPr/>
          <p:nvPr/>
        </p:nvSpPr>
        <p:spPr>
          <a:xfrm>
            <a:off x="8216375" y="6668489"/>
            <a:ext cx="300772" cy="86818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 defTabSz="892521"/>
            <a:fld id="{BB69BBE8-4DB2-4642-B003-B220ACD5A2FD}" type="slidenum">
              <a:rPr lang="en-US" sz="900" b="1" smtClean="0">
                <a:solidFill>
                  <a:srgbClr val="080808"/>
                </a:solidFill>
                <a:latin typeface="Verdana" pitchFamily="34" charset="0"/>
              </a:rPr>
              <a:pPr algn="ctr" defTabSz="892521"/>
              <a:t>‹#›</a:t>
            </a:fld>
            <a:endParaRPr lang="fr-FR" sz="900" b="1" dirty="0">
              <a:solidFill>
                <a:srgbClr val="080808"/>
              </a:solidFill>
            </a:endParaRPr>
          </a:p>
        </p:txBody>
      </p:sp>
      <p:cxnSp>
        <p:nvCxnSpPr>
          <p:cNvPr id="7" name="Straight Connector 6"/>
          <p:cNvCxnSpPr/>
          <p:nvPr/>
        </p:nvCxnSpPr>
        <p:spPr>
          <a:xfrm>
            <a:off x="0" y="6555697"/>
            <a:ext cx="9144000" cy="0"/>
          </a:xfrm>
          <a:prstGeom prst="line">
            <a:avLst/>
          </a:prstGeom>
          <a:ln w="12700">
            <a:solidFill>
              <a:srgbClr val="999999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8" name="Group 7"/>
          <p:cNvGrpSpPr/>
          <p:nvPr/>
        </p:nvGrpSpPr>
        <p:grpSpPr>
          <a:xfrm>
            <a:off x="8574091" y="6591936"/>
            <a:ext cx="385992" cy="239924"/>
            <a:chOff x="7277614" y="2396353"/>
            <a:chExt cx="1054802" cy="609493"/>
          </a:xfrm>
        </p:grpSpPr>
        <p:sp>
          <p:nvSpPr>
            <p:cNvPr id="9" name="Freeform 7"/>
            <p:cNvSpPr>
              <a:spLocks/>
            </p:cNvSpPr>
            <p:nvPr/>
          </p:nvSpPr>
          <p:spPr bwMode="auto">
            <a:xfrm>
              <a:off x="7277614" y="2396353"/>
              <a:ext cx="527401" cy="154241"/>
            </a:xfrm>
            <a:custGeom>
              <a:avLst/>
              <a:gdLst>
                <a:gd name="T0" fmla="*/ 0 w 691"/>
                <a:gd name="T1" fmla="*/ 200 h 200"/>
                <a:gd name="T2" fmla="*/ 691 w 691"/>
                <a:gd name="T3" fmla="*/ 200 h 200"/>
                <a:gd name="T4" fmla="*/ 346 w 691"/>
                <a:gd name="T5" fmla="*/ 0 h 200"/>
                <a:gd name="T6" fmla="*/ 0 w 691"/>
                <a:gd name="T7" fmla="*/ 200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91" h="200">
                  <a:moveTo>
                    <a:pt x="0" y="200"/>
                  </a:moveTo>
                  <a:lnTo>
                    <a:pt x="691" y="200"/>
                  </a:lnTo>
                  <a:lnTo>
                    <a:pt x="346" y="0"/>
                  </a:lnTo>
                  <a:lnTo>
                    <a:pt x="0" y="200"/>
                  </a:lnTo>
                  <a:close/>
                </a:path>
              </a:pathLst>
            </a:custGeom>
            <a:solidFill>
              <a:srgbClr val="FF0505"/>
            </a:solidFill>
            <a:ln w="1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892521"/>
              <a:endParaRPr lang="en-US" sz="1700" dirty="0">
                <a:solidFill>
                  <a:srgbClr val="003149"/>
                </a:solidFill>
              </a:endParaRPr>
            </a:p>
          </p:txBody>
        </p:sp>
        <p:sp>
          <p:nvSpPr>
            <p:cNvPr id="10" name="Freeform 8"/>
            <p:cNvSpPr>
              <a:spLocks/>
            </p:cNvSpPr>
            <p:nvPr/>
          </p:nvSpPr>
          <p:spPr bwMode="auto">
            <a:xfrm>
              <a:off x="7277614" y="2550591"/>
              <a:ext cx="263702" cy="452770"/>
            </a:xfrm>
            <a:custGeom>
              <a:avLst/>
              <a:gdLst>
                <a:gd name="T0" fmla="*/ 0 w 346"/>
                <a:gd name="T1" fmla="*/ 0 h 598"/>
                <a:gd name="T2" fmla="*/ 0 w 346"/>
                <a:gd name="T3" fmla="*/ 399 h 598"/>
                <a:gd name="T4" fmla="*/ 346 w 346"/>
                <a:gd name="T5" fmla="*/ 598 h 598"/>
                <a:gd name="T6" fmla="*/ 0 w 346"/>
                <a:gd name="T7" fmla="*/ 0 h 5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46" h="598">
                  <a:moveTo>
                    <a:pt x="0" y="0"/>
                  </a:moveTo>
                  <a:lnTo>
                    <a:pt x="0" y="399"/>
                  </a:lnTo>
                  <a:lnTo>
                    <a:pt x="346" y="59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505"/>
            </a:solidFill>
            <a:ln w="2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892521"/>
              <a:endParaRPr lang="en-US" sz="1700" dirty="0">
                <a:solidFill>
                  <a:srgbClr val="003149"/>
                </a:solidFill>
              </a:endParaRPr>
            </a:p>
          </p:txBody>
        </p:sp>
        <p:sp>
          <p:nvSpPr>
            <p:cNvPr id="11" name="Freeform 9"/>
            <p:cNvSpPr>
              <a:spLocks/>
            </p:cNvSpPr>
            <p:nvPr/>
          </p:nvSpPr>
          <p:spPr bwMode="auto">
            <a:xfrm>
              <a:off x="7541313" y="2550591"/>
              <a:ext cx="263702" cy="452770"/>
            </a:xfrm>
            <a:custGeom>
              <a:avLst/>
              <a:gdLst>
                <a:gd name="T0" fmla="*/ 0 w 345"/>
                <a:gd name="T1" fmla="*/ 598 h 598"/>
                <a:gd name="T2" fmla="*/ 345 w 345"/>
                <a:gd name="T3" fmla="*/ 0 h 598"/>
                <a:gd name="T4" fmla="*/ 345 w 345"/>
                <a:gd name="T5" fmla="*/ 399 h 598"/>
                <a:gd name="T6" fmla="*/ 0 w 345"/>
                <a:gd name="T7" fmla="*/ 598 h 5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45" h="598">
                  <a:moveTo>
                    <a:pt x="0" y="598"/>
                  </a:moveTo>
                  <a:lnTo>
                    <a:pt x="345" y="0"/>
                  </a:lnTo>
                  <a:lnTo>
                    <a:pt x="345" y="399"/>
                  </a:lnTo>
                  <a:lnTo>
                    <a:pt x="0" y="598"/>
                  </a:lnTo>
                  <a:close/>
                </a:path>
              </a:pathLst>
            </a:custGeom>
            <a:solidFill>
              <a:srgbClr val="FF0505"/>
            </a:solidFill>
            <a:ln w="1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892521"/>
              <a:endParaRPr lang="en-US" sz="1700" dirty="0">
                <a:solidFill>
                  <a:srgbClr val="003149"/>
                </a:solidFill>
              </a:endParaRPr>
            </a:p>
          </p:txBody>
        </p:sp>
        <p:sp>
          <p:nvSpPr>
            <p:cNvPr id="12" name="Freeform 7"/>
            <p:cNvSpPr>
              <a:spLocks/>
            </p:cNvSpPr>
            <p:nvPr/>
          </p:nvSpPr>
          <p:spPr bwMode="auto">
            <a:xfrm rot="10800000">
              <a:off x="7805015" y="2851605"/>
              <a:ext cx="527401" cy="154241"/>
            </a:xfrm>
            <a:custGeom>
              <a:avLst/>
              <a:gdLst>
                <a:gd name="T0" fmla="*/ 0 w 691"/>
                <a:gd name="T1" fmla="*/ 200 h 200"/>
                <a:gd name="T2" fmla="*/ 691 w 691"/>
                <a:gd name="T3" fmla="*/ 200 h 200"/>
                <a:gd name="T4" fmla="*/ 346 w 691"/>
                <a:gd name="T5" fmla="*/ 0 h 200"/>
                <a:gd name="T6" fmla="*/ 0 w 691"/>
                <a:gd name="T7" fmla="*/ 200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91" h="200">
                  <a:moveTo>
                    <a:pt x="0" y="200"/>
                  </a:moveTo>
                  <a:lnTo>
                    <a:pt x="691" y="200"/>
                  </a:lnTo>
                  <a:lnTo>
                    <a:pt x="346" y="0"/>
                  </a:lnTo>
                  <a:lnTo>
                    <a:pt x="0" y="200"/>
                  </a:lnTo>
                  <a:close/>
                </a:path>
              </a:pathLst>
            </a:custGeom>
            <a:solidFill>
              <a:srgbClr val="058CEC"/>
            </a:solidFill>
            <a:ln w="1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892521"/>
              <a:endParaRPr lang="en-US" sz="1700" dirty="0">
                <a:solidFill>
                  <a:srgbClr val="003149"/>
                </a:solidFill>
              </a:endParaRPr>
            </a:p>
          </p:txBody>
        </p:sp>
        <p:sp>
          <p:nvSpPr>
            <p:cNvPr id="13" name="Freeform 8"/>
            <p:cNvSpPr>
              <a:spLocks/>
            </p:cNvSpPr>
            <p:nvPr/>
          </p:nvSpPr>
          <p:spPr bwMode="auto">
            <a:xfrm rot="10800000">
              <a:off x="8068714" y="2398838"/>
              <a:ext cx="263702" cy="452770"/>
            </a:xfrm>
            <a:custGeom>
              <a:avLst/>
              <a:gdLst>
                <a:gd name="T0" fmla="*/ 0 w 346"/>
                <a:gd name="T1" fmla="*/ 0 h 598"/>
                <a:gd name="T2" fmla="*/ 0 w 346"/>
                <a:gd name="T3" fmla="*/ 399 h 598"/>
                <a:gd name="T4" fmla="*/ 346 w 346"/>
                <a:gd name="T5" fmla="*/ 598 h 598"/>
                <a:gd name="T6" fmla="*/ 0 w 346"/>
                <a:gd name="T7" fmla="*/ 0 h 5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46" h="598">
                  <a:moveTo>
                    <a:pt x="0" y="0"/>
                  </a:moveTo>
                  <a:lnTo>
                    <a:pt x="0" y="399"/>
                  </a:lnTo>
                  <a:lnTo>
                    <a:pt x="346" y="59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58CEC"/>
            </a:solidFill>
            <a:ln w="2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892521"/>
              <a:endParaRPr lang="en-US" sz="1700" dirty="0">
                <a:solidFill>
                  <a:srgbClr val="003149"/>
                </a:solidFill>
              </a:endParaRPr>
            </a:p>
          </p:txBody>
        </p:sp>
        <p:sp>
          <p:nvSpPr>
            <p:cNvPr id="14" name="Freeform 9"/>
            <p:cNvSpPr>
              <a:spLocks/>
            </p:cNvSpPr>
            <p:nvPr/>
          </p:nvSpPr>
          <p:spPr bwMode="auto">
            <a:xfrm rot="10800000">
              <a:off x="7805015" y="2398838"/>
              <a:ext cx="263702" cy="452770"/>
            </a:xfrm>
            <a:custGeom>
              <a:avLst/>
              <a:gdLst>
                <a:gd name="T0" fmla="*/ 0 w 345"/>
                <a:gd name="T1" fmla="*/ 598 h 598"/>
                <a:gd name="T2" fmla="*/ 345 w 345"/>
                <a:gd name="T3" fmla="*/ 0 h 598"/>
                <a:gd name="T4" fmla="*/ 345 w 345"/>
                <a:gd name="T5" fmla="*/ 399 h 598"/>
                <a:gd name="T6" fmla="*/ 0 w 345"/>
                <a:gd name="T7" fmla="*/ 598 h 5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45" h="598">
                  <a:moveTo>
                    <a:pt x="0" y="598"/>
                  </a:moveTo>
                  <a:lnTo>
                    <a:pt x="345" y="0"/>
                  </a:lnTo>
                  <a:lnTo>
                    <a:pt x="345" y="399"/>
                  </a:lnTo>
                  <a:lnTo>
                    <a:pt x="0" y="598"/>
                  </a:lnTo>
                  <a:close/>
                </a:path>
              </a:pathLst>
            </a:custGeom>
            <a:solidFill>
              <a:srgbClr val="058CEC"/>
            </a:solidFill>
            <a:ln w="1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892521"/>
              <a:endParaRPr lang="en-US" sz="1700" dirty="0">
                <a:solidFill>
                  <a:srgbClr val="003149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609508676"/>
      </p:ext>
    </p:extLst>
  </p:cSld>
  <p:clrMapOvr>
    <a:masterClrMapping/>
  </p:clrMapOvr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wo Char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7"/>
          <p:cNvSpPr>
            <a:spLocks noGrp="1"/>
          </p:cNvSpPr>
          <p:nvPr>
            <p:ph type="pic" sz="quarter" idx="12" hasCustomPrompt="1"/>
          </p:nvPr>
        </p:nvSpPr>
        <p:spPr>
          <a:xfrm>
            <a:off x="353588" y="1406771"/>
            <a:ext cx="4004323" cy="5095600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>
            <a:normAutofit/>
          </a:bodyPr>
          <a:lstStyle>
            <a:lvl1pPr marL="246895" indent="-246895" algn="l" defTabSz="892285" rtl="0" eaLnBrk="1" fontAlgn="base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sz="2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/>
              <a:t>Wizard Chart</a:t>
            </a:r>
          </a:p>
        </p:txBody>
      </p:sp>
      <p:sp>
        <p:nvSpPr>
          <p:cNvPr id="5" name="Picture Placeholder 7"/>
          <p:cNvSpPr>
            <a:spLocks noGrp="1"/>
          </p:cNvSpPr>
          <p:nvPr>
            <p:ph type="pic" sz="quarter" idx="13" hasCustomPrompt="1"/>
          </p:nvPr>
        </p:nvSpPr>
        <p:spPr>
          <a:xfrm>
            <a:off x="4789076" y="1406771"/>
            <a:ext cx="4003071" cy="5095600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>
            <a:normAutofit/>
          </a:bodyPr>
          <a:lstStyle>
            <a:lvl1pPr marL="246895" indent="-246895" algn="l" defTabSz="892285" rtl="0" eaLnBrk="1" fontAlgn="base" latinLnBrk="0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altLang="zh-CN" sz="2200" kern="1200" noProof="1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/>
              <a:t>Wizard Chart</a:t>
            </a:r>
          </a:p>
        </p:txBody>
      </p:sp>
      <p:sp>
        <p:nvSpPr>
          <p:cNvPr id="6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355111" y="1206767"/>
            <a:ext cx="4003071" cy="419016"/>
          </a:xfrm>
          <a:blipFill dpi="0" rotWithShape="1">
            <a:blip r:embed="rId3" cstate="print"/>
            <a:srcRect/>
            <a:tile tx="0" ty="0" sx="100000" sy="100000" flip="none" algn="b"/>
          </a:blipFill>
        </p:spPr>
        <p:txBody>
          <a:bodyPr lIns="0" tIns="0" rIns="0" bIns="83163" anchor="b" anchorCtr="0">
            <a:normAutofit/>
          </a:bodyPr>
          <a:lstStyle>
            <a:lvl1pPr marL="0" indent="0" algn="ctr">
              <a:buNone/>
              <a:defRPr sz="1500" b="1" cap="all" baseline="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5"/>
          </p:nvPr>
        </p:nvSpPr>
        <p:spPr>
          <a:xfrm>
            <a:off x="4785930" y="1206767"/>
            <a:ext cx="4004406" cy="419016"/>
          </a:xfrm>
          <a:blipFill dpi="0" rotWithShape="1">
            <a:blip r:embed="rId3" cstate="print"/>
            <a:srcRect/>
            <a:tile tx="0" ty="0" sx="100000" sy="100000" flip="none" algn="b"/>
          </a:blipFill>
        </p:spPr>
        <p:txBody>
          <a:bodyPr lIns="0" tIns="0" rIns="0" bIns="83163" anchor="b" anchorCtr="0">
            <a:normAutofit/>
          </a:bodyPr>
          <a:lstStyle>
            <a:lvl1pPr marL="0" indent="0" algn="ctr">
              <a:buNone/>
              <a:defRPr sz="1500" b="1" cap="all" baseline="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168404" y="53583"/>
            <a:ext cx="7835048" cy="834431"/>
          </a:xfrm>
        </p:spPr>
        <p:txBody>
          <a:bodyPr/>
          <a:lstStyle>
            <a:lvl1pPr>
              <a:defRPr sz="2500"/>
            </a:lvl1pPr>
          </a:lstStyle>
          <a:p>
            <a:r>
              <a:rPr lang="en-US" dirty="0"/>
              <a:t>Click to edit Master title style</a:t>
            </a:r>
            <a:endParaRPr lang="fr-FR" dirty="0"/>
          </a:p>
        </p:txBody>
      </p:sp>
      <p:sp>
        <p:nvSpPr>
          <p:cNvPr id="9" name="Rectangle 8"/>
          <p:cNvSpPr/>
          <p:nvPr/>
        </p:nvSpPr>
        <p:spPr>
          <a:xfrm>
            <a:off x="0" y="905107"/>
            <a:ext cx="9144000" cy="34180"/>
          </a:xfrm>
          <a:prstGeom prst="rect">
            <a:avLst/>
          </a:prstGeom>
          <a:solidFill>
            <a:schemeClr val="accent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892521"/>
            <a:endParaRPr lang="en-US" dirty="0">
              <a:solidFill>
                <a:srgbClr val="003149"/>
              </a:solidFill>
            </a:endParaRPr>
          </a:p>
        </p:txBody>
      </p:sp>
      <p:sp>
        <p:nvSpPr>
          <p:cNvPr id="10" name="SlideNumber"/>
          <p:cNvSpPr/>
          <p:nvPr/>
        </p:nvSpPr>
        <p:spPr>
          <a:xfrm>
            <a:off x="8216375" y="6668489"/>
            <a:ext cx="300772" cy="86818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 defTabSz="892521"/>
            <a:fld id="{BB69BBE8-4DB2-4642-B003-B220ACD5A2FD}" type="slidenum">
              <a:rPr lang="en-US" sz="900" b="1" smtClean="0">
                <a:solidFill>
                  <a:srgbClr val="080808"/>
                </a:solidFill>
                <a:latin typeface="Verdana" pitchFamily="34" charset="0"/>
              </a:rPr>
              <a:pPr algn="ctr" defTabSz="892521"/>
              <a:t>‹#›</a:t>
            </a:fld>
            <a:endParaRPr lang="fr-FR" sz="900" b="1" dirty="0">
              <a:solidFill>
                <a:srgbClr val="080808"/>
              </a:solidFill>
            </a:endParaRPr>
          </a:p>
        </p:txBody>
      </p:sp>
      <p:cxnSp>
        <p:nvCxnSpPr>
          <p:cNvPr id="11" name="Straight Connector 10"/>
          <p:cNvCxnSpPr/>
          <p:nvPr/>
        </p:nvCxnSpPr>
        <p:spPr>
          <a:xfrm>
            <a:off x="0" y="6555697"/>
            <a:ext cx="9144000" cy="0"/>
          </a:xfrm>
          <a:prstGeom prst="line">
            <a:avLst/>
          </a:prstGeom>
          <a:ln w="12700">
            <a:solidFill>
              <a:srgbClr val="999999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12" name="Group 11"/>
          <p:cNvGrpSpPr/>
          <p:nvPr/>
        </p:nvGrpSpPr>
        <p:grpSpPr>
          <a:xfrm>
            <a:off x="8574091" y="6591936"/>
            <a:ext cx="385992" cy="239924"/>
            <a:chOff x="7277614" y="2396353"/>
            <a:chExt cx="1054802" cy="609493"/>
          </a:xfrm>
        </p:grpSpPr>
        <p:sp>
          <p:nvSpPr>
            <p:cNvPr id="13" name="Freeform 7"/>
            <p:cNvSpPr>
              <a:spLocks/>
            </p:cNvSpPr>
            <p:nvPr/>
          </p:nvSpPr>
          <p:spPr bwMode="auto">
            <a:xfrm>
              <a:off x="7277614" y="2396353"/>
              <a:ext cx="527401" cy="154241"/>
            </a:xfrm>
            <a:custGeom>
              <a:avLst/>
              <a:gdLst>
                <a:gd name="T0" fmla="*/ 0 w 691"/>
                <a:gd name="T1" fmla="*/ 200 h 200"/>
                <a:gd name="T2" fmla="*/ 691 w 691"/>
                <a:gd name="T3" fmla="*/ 200 h 200"/>
                <a:gd name="T4" fmla="*/ 346 w 691"/>
                <a:gd name="T5" fmla="*/ 0 h 200"/>
                <a:gd name="T6" fmla="*/ 0 w 691"/>
                <a:gd name="T7" fmla="*/ 200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91" h="200">
                  <a:moveTo>
                    <a:pt x="0" y="200"/>
                  </a:moveTo>
                  <a:lnTo>
                    <a:pt x="691" y="200"/>
                  </a:lnTo>
                  <a:lnTo>
                    <a:pt x="346" y="0"/>
                  </a:lnTo>
                  <a:lnTo>
                    <a:pt x="0" y="200"/>
                  </a:lnTo>
                  <a:close/>
                </a:path>
              </a:pathLst>
            </a:custGeom>
            <a:solidFill>
              <a:srgbClr val="FF0505"/>
            </a:solidFill>
            <a:ln w="1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892521"/>
              <a:endParaRPr lang="en-US" sz="1700" dirty="0">
                <a:solidFill>
                  <a:srgbClr val="003149"/>
                </a:solidFill>
              </a:endParaRPr>
            </a:p>
          </p:txBody>
        </p:sp>
        <p:sp>
          <p:nvSpPr>
            <p:cNvPr id="14" name="Freeform 8"/>
            <p:cNvSpPr>
              <a:spLocks/>
            </p:cNvSpPr>
            <p:nvPr/>
          </p:nvSpPr>
          <p:spPr bwMode="auto">
            <a:xfrm>
              <a:off x="7277614" y="2550591"/>
              <a:ext cx="263702" cy="452770"/>
            </a:xfrm>
            <a:custGeom>
              <a:avLst/>
              <a:gdLst>
                <a:gd name="T0" fmla="*/ 0 w 346"/>
                <a:gd name="T1" fmla="*/ 0 h 598"/>
                <a:gd name="T2" fmla="*/ 0 w 346"/>
                <a:gd name="T3" fmla="*/ 399 h 598"/>
                <a:gd name="T4" fmla="*/ 346 w 346"/>
                <a:gd name="T5" fmla="*/ 598 h 598"/>
                <a:gd name="T6" fmla="*/ 0 w 346"/>
                <a:gd name="T7" fmla="*/ 0 h 5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46" h="598">
                  <a:moveTo>
                    <a:pt x="0" y="0"/>
                  </a:moveTo>
                  <a:lnTo>
                    <a:pt x="0" y="399"/>
                  </a:lnTo>
                  <a:lnTo>
                    <a:pt x="346" y="59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505"/>
            </a:solidFill>
            <a:ln w="2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892521"/>
              <a:endParaRPr lang="en-US" sz="1700" dirty="0">
                <a:solidFill>
                  <a:srgbClr val="003149"/>
                </a:solidFill>
              </a:endParaRPr>
            </a:p>
          </p:txBody>
        </p:sp>
        <p:sp>
          <p:nvSpPr>
            <p:cNvPr id="15" name="Freeform 9"/>
            <p:cNvSpPr>
              <a:spLocks/>
            </p:cNvSpPr>
            <p:nvPr/>
          </p:nvSpPr>
          <p:spPr bwMode="auto">
            <a:xfrm>
              <a:off x="7541313" y="2550591"/>
              <a:ext cx="263702" cy="452770"/>
            </a:xfrm>
            <a:custGeom>
              <a:avLst/>
              <a:gdLst>
                <a:gd name="T0" fmla="*/ 0 w 345"/>
                <a:gd name="T1" fmla="*/ 598 h 598"/>
                <a:gd name="T2" fmla="*/ 345 w 345"/>
                <a:gd name="T3" fmla="*/ 0 h 598"/>
                <a:gd name="T4" fmla="*/ 345 w 345"/>
                <a:gd name="T5" fmla="*/ 399 h 598"/>
                <a:gd name="T6" fmla="*/ 0 w 345"/>
                <a:gd name="T7" fmla="*/ 598 h 5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45" h="598">
                  <a:moveTo>
                    <a:pt x="0" y="598"/>
                  </a:moveTo>
                  <a:lnTo>
                    <a:pt x="345" y="0"/>
                  </a:lnTo>
                  <a:lnTo>
                    <a:pt x="345" y="399"/>
                  </a:lnTo>
                  <a:lnTo>
                    <a:pt x="0" y="598"/>
                  </a:lnTo>
                  <a:close/>
                </a:path>
              </a:pathLst>
            </a:custGeom>
            <a:solidFill>
              <a:srgbClr val="FF0505"/>
            </a:solidFill>
            <a:ln w="1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892521"/>
              <a:endParaRPr lang="en-US" sz="1700" dirty="0">
                <a:solidFill>
                  <a:srgbClr val="003149"/>
                </a:solidFill>
              </a:endParaRPr>
            </a:p>
          </p:txBody>
        </p:sp>
        <p:sp>
          <p:nvSpPr>
            <p:cNvPr id="16" name="Freeform 7"/>
            <p:cNvSpPr>
              <a:spLocks/>
            </p:cNvSpPr>
            <p:nvPr/>
          </p:nvSpPr>
          <p:spPr bwMode="auto">
            <a:xfrm rot="10800000">
              <a:off x="7805015" y="2851605"/>
              <a:ext cx="527401" cy="154241"/>
            </a:xfrm>
            <a:custGeom>
              <a:avLst/>
              <a:gdLst>
                <a:gd name="T0" fmla="*/ 0 w 691"/>
                <a:gd name="T1" fmla="*/ 200 h 200"/>
                <a:gd name="T2" fmla="*/ 691 w 691"/>
                <a:gd name="T3" fmla="*/ 200 h 200"/>
                <a:gd name="T4" fmla="*/ 346 w 691"/>
                <a:gd name="T5" fmla="*/ 0 h 200"/>
                <a:gd name="T6" fmla="*/ 0 w 691"/>
                <a:gd name="T7" fmla="*/ 200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91" h="200">
                  <a:moveTo>
                    <a:pt x="0" y="200"/>
                  </a:moveTo>
                  <a:lnTo>
                    <a:pt x="691" y="200"/>
                  </a:lnTo>
                  <a:lnTo>
                    <a:pt x="346" y="0"/>
                  </a:lnTo>
                  <a:lnTo>
                    <a:pt x="0" y="200"/>
                  </a:lnTo>
                  <a:close/>
                </a:path>
              </a:pathLst>
            </a:custGeom>
            <a:solidFill>
              <a:srgbClr val="058CEC"/>
            </a:solidFill>
            <a:ln w="1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892521"/>
              <a:endParaRPr lang="en-US" sz="1700" dirty="0">
                <a:solidFill>
                  <a:srgbClr val="003149"/>
                </a:solidFill>
              </a:endParaRPr>
            </a:p>
          </p:txBody>
        </p:sp>
        <p:sp>
          <p:nvSpPr>
            <p:cNvPr id="17" name="Freeform 8"/>
            <p:cNvSpPr>
              <a:spLocks/>
            </p:cNvSpPr>
            <p:nvPr/>
          </p:nvSpPr>
          <p:spPr bwMode="auto">
            <a:xfrm rot="10800000">
              <a:off x="8068714" y="2398838"/>
              <a:ext cx="263702" cy="452770"/>
            </a:xfrm>
            <a:custGeom>
              <a:avLst/>
              <a:gdLst>
                <a:gd name="T0" fmla="*/ 0 w 346"/>
                <a:gd name="T1" fmla="*/ 0 h 598"/>
                <a:gd name="T2" fmla="*/ 0 w 346"/>
                <a:gd name="T3" fmla="*/ 399 h 598"/>
                <a:gd name="T4" fmla="*/ 346 w 346"/>
                <a:gd name="T5" fmla="*/ 598 h 598"/>
                <a:gd name="T6" fmla="*/ 0 w 346"/>
                <a:gd name="T7" fmla="*/ 0 h 5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46" h="598">
                  <a:moveTo>
                    <a:pt x="0" y="0"/>
                  </a:moveTo>
                  <a:lnTo>
                    <a:pt x="0" y="399"/>
                  </a:lnTo>
                  <a:lnTo>
                    <a:pt x="346" y="59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58CEC"/>
            </a:solidFill>
            <a:ln w="2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892521"/>
              <a:endParaRPr lang="en-US" sz="1700" dirty="0">
                <a:solidFill>
                  <a:srgbClr val="003149"/>
                </a:solidFill>
              </a:endParaRPr>
            </a:p>
          </p:txBody>
        </p:sp>
        <p:sp>
          <p:nvSpPr>
            <p:cNvPr id="18" name="Freeform 9"/>
            <p:cNvSpPr>
              <a:spLocks/>
            </p:cNvSpPr>
            <p:nvPr/>
          </p:nvSpPr>
          <p:spPr bwMode="auto">
            <a:xfrm rot="10800000">
              <a:off x="7805015" y="2398838"/>
              <a:ext cx="263702" cy="452770"/>
            </a:xfrm>
            <a:custGeom>
              <a:avLst/>
              <a:gdLst>
                <a:gd name="T0" fmla="*/ 0 w 345"/>
                <a:gd name="T1" fmla="*/ 598 h 598"/>
                <a:gd name="T2" fmla="*/ 345 w 345"/>
                <a:gd name="T3" fmla="*/ 0 h 598"/>
                <a:gd name="T4" fmla="*/ 345 w 345"/>
                <a:gd name="T5" fmla="*/ 399 h 598"/>
                <a:gd name="T6" fmla="*/ 0 w 345"/>
                <a:gd name="T7" fmla="*/ 598 h 5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45" h="598">
                  <a:moveTo>
                    <a:pt x="0" y="598"/>
                  </a:moveTo>
                  <a:lnTo>
                    <a:pt x="345" y="0"/>
                  </a:lnTo>
                  <a:lnTo>
                    <a:pt x="345" y="399"/>
                  </a:lnTo>
                  <a:lnTo>
                    <a:pt x="0" y="598"/>
                  </a:lnTo>
                  <a:close/>
                </a:path>
              </a:pathLst>
            </a:custGeom>
            <a:solidFill>
              <a:srgbClr val="058CEC"/>
            </a:solidFill>
            <a:ln w="1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892521"/>
              <a:endParaRPr lang="en-US" sz="1700" dirty="0">
                <a:solidFill>
                  <a:srgbClr val="003149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070424519"/>
      </p:ext>
    </p:extLst>
  </p:cSld>
  <p:clrMapOvr>
    <a:masterClrMapping/>
  </p:clrMapOvr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hree Char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7"/>
          <p:cNvSpPr>
            <a:spLocks noGrp="1"/>
          </p:cNvSpPr>
          <p:nvPr>
            <p:ph type="pic" sz="quarter" idx="12" hasCustomPrompt="1"/>
          </p:nvPr>
        </p:nvSpPr>
        <p:spPr>
          <a:xfrm>
            <a:off x="353588" y="1408225"/>
            <a:ext cx="2744041" cy="5095600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>
            <a:normAutofit/>
          </a:bodyPr>
          <a:lstStyle>
            <a:lvl1pPr marL="246895" indent="-246895" algn="l" defTabSz="892285" rtl="0" eaLnBrk="1" fontAlgn="base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sz="2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/>
              <a:t>Wizard Chart</a:t>
            </a:r>
          </a:p>
        </p:txBody>
      </p:sp>
      <p:sp>
        <p:nvSpPr>
          <p:cNvPr id="5" name="Picture Placeholder 7"/>
          <p:cNvSpPr>
            <a:spLocks noGrp="1"/>
          </p:cNvSpPr>
          <p:nvPr>
            <p:ph type="pic" sz="quarter" idx="13" hasCustomPrompt="1"/>
          </p:nvPr>
        </p:nvSpPr>
        <p:spPr>
          <a:xfrm>
            <a:off x="6064239" y="1408225"/>
            <a:ext cx="2744041" cy="5095600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>
            <a:normAutofit/>
          </a:bodyPr>
          <a:lstStyle>
            <a:lvl1pPr marL="246895" indent="-246895" algn="l" defTabSz="892285" rtl="0" eaLnBrk="1" fontAlgn="base" latinLnBrk="0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altLang="zh-CN" sz="2200" kern="1200" noProof="1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/>
              <a:t>Wizard Chart</a:t>
            </a:r>
          </a:p>
        </p:txBody>
      </p:sp>
      <p:sp>
        <p:nvSpPr>
          <p:cNvPr id="6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355115" y="1206767"/>
            <a:ext cx="2744041" cy="419016"/>
          </a:xfrm>
          <a:blipFill dpi="0" rotWithShape="1">
            <a:blip r:embed="rId3" cstate="print"/>
            <a:srcRect/>
            <a:tile tx="0" ty="0" sx="100000" sy="100000" flip="none" algn="b"/>
          </a:blipFill>
        </p:spPr>
        <p:txBody>
          <a:bodyPr lIns="0" tIns="0" rIns="0" bIns="83163" anchor="b" anchorCtr="0">
            <a:normAutofit/>
          </a:bodyPr>
          <a:lstStyle>
            <a:lvl1pPr marL="0" indent="0" algn="ctr">
              <a:buNone/>
              <a:defRPr sz="1500" b="1" cap="all" baseline="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5"/>
          </p:nvPr>
        </p:nvSpPr>
        <p:spPr>
          <a:xfrm>
            <a:off x="6061102" y="1206767"/>
            <a:ext cx="2744041" cy="419016"/>
          </a:xfrm>
          <a:blipFill dpi="0" rotWithShape="1">
            <a:blip r:embed="rId3" cstate="print"/>
            <a:srcRect/>
            <a:tile tx="0" ty="0" sx="100000" sy="100000" flip="none" algn="b"/>
          </a:blipFill>
        </p:spPr>
        <p:txBody>
          <a:bodyPr lIns="0" tIns="0" rIns="0" bIns="83163" anchor="b" anchorCtr="0">
            <a:normAutofit/>
          </a:bodyPr>
          <a:lstStyle>
            <a:lvl1pPr marL="0" indent="0" algn="ctr">
              <a:buNone/>
              <a:defRPr sz="1500" b="1" cap="all" baseline="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6" hasCustomPrompt="1"/>
          </p:nvPr>
        </p:nvSpPr>
        <p:spPr>
          <a:xfrm>
            <a:off x="3208912" y="1408225"/>
            <a:ext cx="2744041" cy="5095600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>
            <a:normAutofit/>
          </a:bodyPr>
          <a:lstStyle>
            <a:lvl1pPr marL="246895" indent="-246895" algn="l" defTabSz="892285" rtl="0" eaLnBrk="1" fontAlgn="base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sz="2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/>
              <a:t>Wizard Chart</a:t>
            </a:r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7"/>
          </p:nvPr>
        </p:nvSpPr>
        <p:spPr>
          <a:xfrm>
            <a:off x="3212142" y="1206767"/>
            <a:ext cx="2744041" cy="419016"/>
          </a:xfrm>
          <a:blipFill dpi="0" rotWithShape="1">
            <a:blip r:embed="rId3" cstate="print"/>
            <a:srcRect/>
            <a:tile tx="0" ty="0" sx="100000" sy="100000" flip="none" algn="b"/>
          </a:blipFill>
        </p:spPr>
        <p:txBody>
          <a:bodyPr lIns="0" tIns="0" rIns="0" bIns="83163" anchor="b" anchorCtr="0">
            <a:normAutofit/>
          </a:bodyPr>
          <a:lstStyle>
            <a:lvl1pPr marL="0" indent="0" algn="ctr">
              <a:buNone/>
              <a:defRPr sz="1500" b="1" cap="all" baseline="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168404" y="53583"/>
            <a:ext cx="7835048" cy="834431"/>
          </a:xfrm>
        </p:spPr>
        <p:txBody>
          <a:bodyPr/>
          <a:lstStyle>
            <a:lvl1pPr>
              <a:defRPr sz="2500"/>
            </a:lvl1pPr>
          </a:lstStyle>
          <a:p>
            <a:r>
              <a:rPr lang="en-US" dirty="0"/>
              <a:t>Click to edit Master title style</a:t>
            </a:r>
            <a:endParaRPr lang="fr-FR" dirty="0"/>
          </a:p>
        </p:txBody>
      </p:sp>
      <p:sp>
        <p:nvSpPr>
          <p:cNvPr id="11" name="Rectangle 10"/>
          <p:cNvSpPr/>
          <p:nvPr/>
        </p:nvSpPr>
        <p:spPr>
          <a:xfrm>
            <a:off x="0" y="905107"/>
            <a:ext cx="9144000" cy="34180"/>
          </a:xfrm>
          <a:prstGeom prst="rect">
            <a:avLst/>
          </a:prstGeom>
          <a:solidFill>
            <a:schemeClr val="accent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892521"/>
            <a:endParaRPr lang="en-US" dirty="0">
              <a:solidFill>
                <a:srgbClr val="003149"/>
              </a:solidFill>
            </a:endParaRPr>
          </a:p>
        </p:txBody>
      </p:sp>
      <p:sp>
        <p:nvSpPr>
          <p:cNvPr id="12" name="SlideNumber"/>
          <p:cNvSpPr/>
          <p:nvPr/>
        </p:nvSpPr>
        <p:spPr>
          <a:xfrm>
            <a:off x="8216375" y="6668489"/>
            <a:ext cx="300772" cy="86818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 defTabSz="892521"/>
            <a:fld id="{BB69BBE8-4DB2-4642-B003-B220ACD5A2FD}" type="slidenum">
              <a:rPr lang="en-US" sz="900" b="1" smtClean="0">
                <a:solidFill>
                  <a:srgbClr val="080808"/>
                </a:solidFill>
                <a:latin typeface="Verdana" pitchFamily="34" charset="0"/>
              </a:rPr>
              <a:pPr algn="ctr" defTabSz="892521"/>
              <a:t>‹#›</a:t>
            </a:fld>
            <a:endParaRPr lang="fr-FR" sz="900" b="1" dirty="0">
              <a:solidFill>
                <a:srgbClr val="080808"/>
              </a:solidFill>
            </a:endParaRPr>
          </a:p>
        </p:txBody>
      </p:sp>
      <p:cxnSp>
        <p:nvCxnSpPr>
          <p:cNvPr id="13" name="Straight Connector 12"/>
          <p:cNvCxnSpPr/>
          <p:nvPr/>
        </p:nvCxnSpPr>
        <p:spPr>
          <a:xfrm>
            <a:off x="0" y="6555697"/>
            <a:ext cx="9144000" cy="0"/>
          </a:xfrm>
          <a:prstGeom prst="line">
            <a:avLst/>
          </a:prstGeom>
          <a:ln w="12700">
            <a:solidFill>
              <a:srgbClr val="999999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14" name="Group 13"/>
          <p:cNvGrpSpPr/>
          <p:nvPr/>
        </p:nvGrpSpPr>
        <p:grpSpPr>
          <a:xfrm>
            <a:off x="8574091" y="6591936"/>
            <a:ext cx="385992" cy="239924"/>
            <a:chOff x="7277614" y="2396353"/>
            <a:chExt cx="1054802" cy="609493"/>
          </a:xfrm>
        </p:grpSpPr>
        <p:sp>
          <p:nvSpPr>
            <p:cNvPr id="15" name="Freeform 7"/>
            <p:cNvSpPr>
              <a:spLocks/>
            </p:cNvSpPr>
            <p:nvPr/>
          </p:nvSpPr>
          <p:spPr bwMode="auto">
            <a:xfrm>
              <a:off x="7277614" y="2396353"/>
              <a:ext cx="527401" cy="154241"/>
            </a:xfrm>
            <a:custGeom>
              <a:avLst/>
              <a:gdLst>
                <a:gd name="T0" fmla="*/ 0 w 691"/>
                <a:gd name="T1" fmla="*/ 200 h 200"/>
                <a:gd name="T2" fmla="*/ 691 w 691"/>
                <a:gd name="T3" fmla="*/ 200 h 200"/>
                <a:gd name="T4" fmla="*/ 346 w 691"/>
                <a:gd name="T5" fmla="*/ 0 h 200"/>
                <a:gd name="T6" fmla="*/ 0 w 691"/>
                <a:gd name="T7" fmla="*/ 200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91" h="200">
                  <a:moveTo>
                    <a:pt x="0" y="200"/>
                  </a:moveTo>
                  <a:lnTo>
                    <a:pt x="691" y="200"/>
                  </a:lnTo>
                  <a:lnTo>
                    <a:pt x="346" y="0"/>
                  </a:lnTo>
                  <a:lnTo>
                    <a:pt x="0" y="200"/>
                  </a:lnTo>
                  <a:close/>
                </a:path>
              </a:pathLst>
            </a:custGeom>
            <a:solidFill>
              <a:srgbClr val="FF0505"/>
            </a:solidFill>
            <a:ln w="1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892521"/>
              <a:endParaRPr lang="en-US" sz="1700" dirty="0">
                <a:solidFill>
                  <a:srgbClr val="003149"/>
                </a:solidFill>
              </a:endParaRPr>
            </a:p>
          </p:txBody>
        </p:sp>
        <p:sp>
          <p:nvSpPr>
            <p:cNvPr id="16" name="Freeform 8"/>
            <p:cNvSpPr>
              <a:spLocks/>
            </p:cNvSpPr>
            <p:nvPr/>
          </p:nvSpPr>
          <p:spPr bwMode="auto">
            <a:xfrm>
              <a:off x="7277614" y="2550591"/>
              <a:ext cx="263702" cy="452770"/>
            </a:xfrm>
            <a:custGeom>
              <a:avLst/>
              <a:gdLst>
                <a:gd name="T0" fmla="*/ 0 w 346"/>
                <a:gd name="T1" fmla="*/ 0 h 598"/>
                <a:gd name="T2" fmla="*/ 0 w 346"/>
                <a:gd name="T3" fmla="*/ 399 h 598"/>
                <a:gd name="T4" fmla="*/ 346 w 346"/>
                <a:gd name="T5" fmla="*/ 598 h 598"/>
                <a:gd name="T6" fmla="*/ 0 w 346"/>
                <a:gd name="T7" fmla="*/ 0 h 5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46" h="598">
                  <a:moveTo>
                    <a:pt x="0" y="0"/>
                  </a:moveTo>
                  <a:lnTo>
                    <a:pt x="0" y="399"/>
                  </a:lnTo>
                  <a:lnTo>
                    <a:pt x="346" y="59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505"/>
            </a:solidFill>
            <a:ln w="2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892521"/>
              <a:endParaRPr lang="en-US" sz="1700" dirty="0">
                <a:solidFill>
                  <a:srgbClr val="003149"/>
                </a:solidFill>
              </a:endParaRPr>
            </a:p>
          </p:txBody>
        </p:sp>
        <p:sp>
          <p:nvSpPr>
            <p:cNvPr id="17" name="Freeform 9"/>
            <p:cNvSpPr>
              <a:spLocks/>
            </p:cNvSpPr>
            <p:nvPr/>
          </p:nvSpPr>
          <p:spPr bwMode="auto">
            <a:xfrm>
              <a:off x="7541313" y="2550591"/>
              <a:ext cx="263702" cy="452770"/>
            </a:xfrm>
            <a:custGeom>
              <a:avLst/>
              <a:gdLst>
                <a:gd name="T0" fmla="*/ 0 w 345"/>
                <a:gd name="T1" fmla="*/ 598 h 598"/>
                <a:gd name="T2" fmla="*/ 345 w 345"/>
                <a:gd name="T3" fmla="*/ 0 h 598"/>
                <a:gd name="T4" fmla="*/ 345 w 345"/>
                <a:gd name="T5" fmla="*/ 399 h 598"/>
                <a:gd name="T6" fmla="*/ 0 w 345"/>
                <a:gd name="T7" fmla="*/ 598 h 5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45" h="598">
                  <a:moveTo>
                    <a:pt x="0" y="598"/>
                  </a:moveTo>
                  <a:lnTo>
                    <a:pt x="345" y="0"/>
                  </a:lnTo>
                  <a:lnTo>
                    <a:pt x="345" y="399"/>
                  </a:lnTo>
                  <a:lnTo>
                    <a:pt x="0" y="598"/>
                  </a:lnTo>
                  <a:close/>
                </a:path>
              </a:pathLst>
            </a:custGeom>
            <a:solidFill>
              <a:srgbClr val="FF0505"/>
            </a:solidFill>
            <a:ln w="1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892521"/>
              <a:endParaRPr lang="en-US" sz="1700" dirty="0">
                <a:solidFill>
                  <a:srgbClr val="003149"/>
                </a:solidFill>
              </a:endParaRPr>
            </a:p>
          </p:txBody>
        </p:sp>
        <p:sp>
          <p:nvSpPr>
            <p:cNvPr id="18" name="Freeform 7"/>
            <p:cNvSpPr>
              <a:spLocks/>
            </p:cNvSpPr>
            <p:nvPr/>
          </p:nvSpPr>
          <p:spPr bwMode="auto">
            <a:xfrm rot="10800000">
              <a:off x="7805015" y="2851605"/>
              <a:ext cx="527401" cy="154241"/>
            </a:xfrm>
            <a:custGeom>
              <a:avLst/>
              <a:gdLst>
                <a:gd name="T0" fmla="*/ 0 w 691"/>
                <a:gd name="T1" fmla="*/ 200 h 200"/>
                <a:gd name="T2" fmla="*/ 691 w 691"/>
                <a:gd name="T3" fmla="*/ 200 h 200"/>
                <a:gd name="T4" fmla="*/ 346 w 691"/>
                <a:gd name="T5" fmla="*/ 0 h 200"/>
                <a:gd name="T6" fmla="*/ 0 w 691"/>
                <a:gd name="T7" fmla="*/ 200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91" h="200">
                  <a:moveTo>
                    <a:pt x="0" y="200"/>
                  </a:moveTo>
                  <a:lnTo>
                    <a:pt x="691" y="200"/>
                  </a:lnTo>
                  <a:lnTo>
                    <a:pt x="346" y="0"/>
                  </a:lnTo>
                  <a:lnTo>
                    <a:pt x="0" y="200"/>
                  </a:lnTo>
                  <a:close/>
                </a:path>
              </a:pathLst>
            </a:custGeom>
            <a:solidFill>
              <a:srgbClr val="058CEC"/>
            </a:solidFill>
            <a:ln w="1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892521"/>
              <a:endParaRPr lang="en-US" sz="1700" dirty="0">
                <a:solidFill>
                  <a:srgbClr val="003149"/>
                </a:solidFill>
              </a:endParaRPr>
            </a:p>
          </p:txBody>
        </p:sp>
        <p:sp>
          <p:nvSpPr>
            <p:cNvPr id="19" name="Freeform 8"/>
            <p:cNvSpPr>
              <a:spLocks/>
            </p:cNvSpPr>
            <p:nvPr/>
          </p:nvSpPr>
          <p:spPr bwMode="auto">
            <a:xfrm rot="10800000">
              <a:off x="8068714" y="2398838"/>
              <a:ext cx="263702" cy="452770"/>
            </a:xfrm>
            <a:custGeom>
              <a:avLst/>
              <a:gdLst>
                <a:gd name="T0" fmla="*/ 0 w 346"/>
                <a:gd name="T1" fmla="*/ 0 h 598"/>
                <a:gd name="T2" fmla="*/ 0 w 346"/>
                <a:gd name="T3" fmla="*/ 399 h 598"/>
                <a:gd name="T4" fmla="*/ 346 w 346"/>
                <a:gd name="T5" fmla="*/ 598 h 598"/>
                <a:gd name="T6" fmla="*/ 0 w 346"/>
                <a:gd name="T7" fmla="*/ 0 h 5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46" h="598">
                  <a:moveTo>
                    <a:pt x="0" y="0"/>
                  </a:moveTo>
                  <a:lnTo>
                    <a:pt x="0" y="399"/>
                  </a:lnTo>
                  <a:lnTo>
                    <a:pt x="346" y="59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58CEC"/>
            </a:solidFill>
            <a:ln w="2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892521"/>
              <a:endParaRPr lang="en-US" sz="1700" dirty="0">
                <a:solidFill>
                  <a:srgbClr val="003149"/>
                </a:solidFill>
              </a:endParaRPr>
            </a:p>
          </p:txBody>
        </p:sp>
        <p:sp>
          <p:nvSpPr>
            <p:cNvPr id="20" name="Freeform 9"/>
            <p:cNvSpPr>
              <a:spLocks/>
            </p:cNvSpPr>
            <p:nvPr/>
          </p:nvSpPr>
          <p:spPr bwMode="auto">
            <a:xfrm rot="10800000">
              <a:off x="7805015" y="2398838"/>
              <a:ext cx="263702" cy="452770"/>
            </a:xfrm>
            <a:custGeom>
              <a:avLst/>
              <a:gdLst>
                <a:gd name="T0" fmla="*/ 0 w 345"/>
                <a:gd name="T1" fmla="*/ 598 h 598"/>
                <a:gd name="T2" fmla="*/ 345 w 345"/>
                <a:gd name="T3" fmla="*/ 0 h 598"/>
                <a:gd name="T4" fmla="*/ 345 w 345"/>
                <a:gd name="T5" fmla="*/ 399 h 598"/>
                <a:gd name="T6" fmla="*/ 0 w 345"/>
                <a:gd name="T7" fmla="*/ 598 h 5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45" h="598">
                  <a:moveTo>
                    <a:pt x="0" y="598"/>
                  </a:moveTo>
                  <a:lnTo>
                    <a:pt x="345" y="0"/>
                  </a:lnTo>
                  <a:lnTo>
                    <a:pt x="345" y="399"/>
                  </a:lnTo>
                  <a:lnTo>
                    <a:pt x="0" y="598"/>
                  </a:lnTo>
                  <a:close/>
                </a:path>
              </a:pathLst>
            </a:custGeom>
            <a:solidFill>
              <a:srgbClr val="058CEC"/>
            </a:solidFill>
            <a:ln w="1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892521"/>
              <a:endParaRPr lang="en-US" sz="1700" dirty="0">
                <a:solidFill>
                  <a:srgbClr val="003149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974088892"/>
      </p:ext>
    </p:extLst>
  </p:cSld>
  <p:clrMapOvr>
    <a:masterClrMapping/>
  </p:clrMapOvr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our Char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7"/>
          <p:cNvSpPr>
            <a:spLocks noGrp="1"/>
          </p:cNvSpPr>
          <p:nvPr>
            <p:ph type="pic" sz="quarter" idx="12" hasCustomPrompt="1"/>
          </p:nvPr>
        </p:nvSpPr>
        <p:spPr>
          <a:xfrm>
            <a:off x="353588" y="1292912"/>
            <a:ext cx="4004323" cy="2535079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>
            <a:normAutofit/>
          </a:bodyPr>
          <a:lstStyle>
            <a:lvl1pPr marL="246895" indent="-246895" algn="l" defTabSz="892285" rtl="0" eaLnBrk="1" fontAlgn="base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sz="2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/>
              <a:t>Wizard Chart</a:t>
            </a:r>
          </a:p>
        </p:txBody>
      </p:sp>
      <p:sp>
        <p:nvSpPr>
          <p:cNvPr id="5" name="Picture Placeholder 7"/>
          <p:cNvSpPr>
            <a:spLocks noGrp="1"/>
          </p:cNvSpPr>
          <p:nvPr>
            <p:ph type="pic" sz="quarter" idx="13" hasCustomPrompt="1"/>
          </p:nvPr>
        </p:nvSpPr>
        <p:spPr>
          <a:xfrm>
            <a:off x="4789076" y="1292912"/>
            <a:ext cx="4003071" cy="2535079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>
            <a:normAutofit/>
          </a:bodyPr>
          <a:lstStyle>
            <a:lvl1pPr marL="246895" indent="-246895" algn="l" defTabSz="892285" rtl="0" eaLnBrk="1" fontAlgn="base" latinLnBrk="0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altLang="zh-CN" sz="2200" kern="1200" noProof="1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/>
              <a:t>Wizard Chart</a:t>
            </a:r>
          </a:p>
        </p:txBody>
      </p:sp>
      <p:sp>
        <p:nvSpPr>
          <p:cNvPr id="6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355111" y="1093904"/>
            <a:ext cx="4003071" cy="419016"/>
          </a:xfrm>
          <a:blipFill dpi="0" rotWithShape="1">
            <a:blip r:embed="rId3" cstate="print"/>
            <a:srcRect/>
            <a:tile tx="0" ty="0" sx="100000" sy="100000" flip="none" algn="b"/>
          </a:blipFill>
        </p:spPr>
        <p:txBody>
          <a:bodyPr lIns="0" tIns="0" rIns="0" bIns="83163" anchor="b" anchorCtr="0">
            <a:normAutofit/>
          </a:bodyPr>
          <a:lstStyle>
            <a:lvl1pPr marL="0" indent="0" algn="ctr">
              <a:buNone/>
              <a:defRPr sz="1500" b="1" cap="all" baseline="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5"/>
          </p:nvPr>
        </p:nvSpPr>
        <p:spPr>
          <a:xfrm>
            <a:off x="4785930" y="1093904"/>
            <a:ext cx="4004406" cy="419016"/>
          </a:xfrm>
          <a:blipFill dpi="0" rotWithShape="1">
            <a:blip r:embed="rId3" cstate="print"/>
            <a:srcRect/>
            <a:tile tx="0" ty="0" sx="100000" sy="100000" flip="none" algn="b"/>
          </a:blipFill>
        </p:spPr>
        <p:txBody>
          <a:bodyPr lIns="0" tIns="0" rIns="0" bIns="83163" anchor="b" anchorCtr="0">
            <a:normAutofit/>
          </a:bodyPr>
          <a:lstStyle>
            <a:lvl1pPr marL="0" indent="0" algn="ctr">
              <a:buNone/>
              <a:defRPr sz="1500" b="1" cap="all" baseline="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6" hasCustomPrompt="1"/>
          </p:nvPr>
        </p:nvSpPr>
        <p:spPr>
          <a:xfrm>
            <a:off x="355115" y="3993909"/>
            <a:ext cx="4004323" cy="2535079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>
            <a:normAutofit/>
          </a:bodyPr>
          <a:lstStyle>
            <a:lvl1pPr marL="246895" indent="-246895" algn="l" defTabSz="892285" rtl="0" eaLnBrk="1" fontAlgn="base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sz="2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/>
              <a:t>Wizard Chart</a:t>
            </a:r>
          </a:p>
        </p:txBody>
      </p:sp>
      <p:sp>
        <p:nvSpPr>
          <p:cNvPr id="9" name="Picture Placeholder 7"/>
          <p:cNvSpPr>
            <a:spLocks noGrp="1"/>
          </p:cNvSpPr>
          <p:nvPr>
            <p:ph type="pic" sz="quarter" idx="17" hasCustomPrompt="1"/>
          </p:nvPr>
        </p:nvSpPr>
        <p:spPr>
          <a:xfrm>
            <a:off x="4785933" y="3993909"/>
            <a:ext cx="4003071" cy="2535079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>
            <a:normAutofit/>
          </a:bodyPr>
          <a:lstStyle>
            <a:lvl1pPr marL="246895" indent="-246895" algn="l" defTabSz="892285" rtl="0" eaLnBrk="1" fontAlgn="base" latinLnBrk="0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altLang="zh-CN" sz="2200" kern="1200" noProof="1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/>
              <a:t>Wizard Chart</a:t>
            </a:r>
          </a:p>
        </p:txBody>
      </p:sp>
      <p:sp>
        <p:nvSpPr>
          <p:cNvPr id="10" name="Text Placeholder 6"/>
          <p:cNvSpPr>
            <a:spLocks noGrp="1"/>
          </p:cNvSpPr>
          <p:nvPr>
            <p:ph type="body" sz="quarter" idx="18"/>
          </p:nvPr>
        </p:nvSpPr>
        <p:spPr>
          <a:xfrm>
            <a:off x="355111" y="3793939"/>
            <a:ext cx="4003071" cy="419016"/>
          </a:xfrm>
          <a:blipFill dpi="0" rotWithShape="1">
            <a:blip r:embed="rId3" cstate="print"/>
            <a:srcRect/>
            <a:tile tx="0" ty="0" sx="100000" sy="100000" flip="none" algn="b"/>
          </a:blipFill>
        </p:spPr>
        <p:txBody>
          <a:bodyPr lIns="0" tIns="0" rIns="0" bIns="83163" anchor="b" anchorCtr="0">
            <a:normAutofit/>
          </a:bodyPr>
          <a:lstStyle>
            <a:lvl1pPr marL="0" indent="0" algn="ctr">
              <a:buNone/>
              <a:defRPr sz="1500" b="1" cap="all" baseline="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19"/>
          </p:nvPr>
        </p:nvSpPr>
        <p:spPr>
          <a:xfrm>
            <a:off x="4785930" y="3793939"/>
            <a:ext cx="4004406" cy="419016"/>
          </a:xfrm>
          <a:blipFill dpi="0" rotWithShape="1">
            <a:blip r:embed="rId3" cstate="print"/>
            <a:srcRect/>
            <a:tile tx="0" ty="0" sx="100000" sy="100000" flip="none" algn="b"/>
          </a:blipFill>
        </p:spPr>
        <p:txBody>
          <a:bodyPr lIns="0" tIns="0" rIns="0" bIns="83163" anchor="b" anchorCtr="0">
            <a:normAutofit/>
          </a:bodyPr>
          <a:lstStyle>
            <a:lvl1pPr marL="0" indent="0" algn="ctr">
              <a:buNone/>
              <a:defRPr sz="1500" b="1" cap="all" baseline="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168404" y="53583"/>
            <a:ext cx="7835048" cy="834431"/>
          </a:xfrm>
        </p:spPr>
        <p:txBody>
          <a:bodyPr/>
          <a:lstStyle>
            <a:lvl1pPr>
              <a:defRPr sz="2500"/>
            </a:lvl1pPr>
          </a:lstStyle>
          <a:p>
            <a:r>
              <a:rPr lang="en-US" dirty="0"/>
              <a:t>Click to edit Master title style</a:t>
            </a:r>
            <a:endParaRPr lang="fr-FR" dirty="0"/>
          </a:p>
        </p:txBody>
      </p:sp>
      <p:sp>
        <p:nvSpPr>
          <p:cNvPr id="13" name="Rectangle 12"/>
          <p:cNvSpPr/>
          <p:nvPr/>
        </p:nvSpPr>
        <p:spPr>
          <a:xfrm>
            <a:off x="0" y="905107"/>
            <a:ext cx="9144000" cy="34180"/>
          </a:xfrm>
          <a:prstGeom prst="rect">
            <a:avLst/>
          </a:prstGeom>
          <a:solidFill>
            <a:schemeClr val="accent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892521"/>
            <a:endParaRPr lang="en-US" dirty="0">
              <a:solidFill>
                <a:srgbClr val="003149"/>
              </a:solidFill>
            </a:endParaRPr>
          </a:p>
        </p:txBody>
      </p:sp>
      <p:sp>
        <p:nvSpPr>
          <p:cNvPr id="14" name="SlideNumber"/>
          <p:cNvSpPr/>
          <p:nvPr/>
        </p:nvSpPr>
        <p:spPr>
          <a:xfrm>
            <a:off x="8216375" y="6668489"/>
            <a:ext cx="300772" cy="86818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 defTabSz="892521"/>
            <a:fld id="{BB69BBE8-4DB2-4642-B003-B220ACD5A2FD}" type="slidenum">
              <a:rPr lang="en-US" sz="900" b="1" smtClean="0">
                <a:solidFill>
                  <a:srgbClr val="080808"/>
                </a:solidFill>
                <a:latin typeface="Verdana" pitchFamily="34" charset="0"/>
              </a:rPr>
              <a:pPr algn="ctr" defTabSz="892521"/>
              <a:t>‹#›</a:t>
            </a:fld>
            <a:endParaRPr lang="fr-FR" sz="900" b="1" dirty="0">
              <a:solidFill>
                <a:srgbClr val="080808"/>
              </a:solidFill>
            </a:endParaRPr>
          </a:p>
        </p:txBody>
      </p:sp>
      <p:cxnSp>
        <p:nvCxnSpPr>
          <p:cNvPr id="15" name="Straight Connector 14"/>
          <p:cNvCxnSpPr/>
          <p:nvPr/>
        </p:nvCxnSpPr>
        <p:spPr>
          <a:xfrm>
            <a:off x="0" y="6555697"/>
            <a:ext cx="9144000" cy="0"/>
          </a:xfrm>
          <a:prstGeom prst="line">
            <a:avLst/>
          </a:prstGeom>
          <a:ln w="12700">
            <a:solidFill>
              <a:srgbClr val="999999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16" name="Group 15"/>
          <p:cNvGrpSpPr/>
          <p:nvPr/>
        </p:nvGrpSpPr>
        <p:grpSpPr>
          <a:xfrm>
            <a:off x="8574091" y="6591936"/>
            <a:ext cx="385992" cy="239924"/>
            <a:chOff x="7277614" y="2396353"/>
            <a:chExt cx="1054802" cy="609493"/>
          </a:xfrm>
        </p:grpSpPr>
        <p:sp>
          <p:nvSpPr>
            <p:cNvPr id="17" name="Freeform 7"/>
            <p:cNvSpPr>
              <a:spLocks/>
            </p:cNvSpPr>
            <p:nvPr/>
          </p:nvSpPr>
          <p:spPr bwMode="auto">
            <a:xfrm>
              <a:off x="7277614" y="2396353"/>
              <a:ext cx="527401" cy="154241"/>
            </a:xfrm>
            <a:custGeom>
              <a:avLst/>
              <a:gdLst>
                <a:gd name="T0" fmla="*/ 0 w 691"/>
                <a:gd name="T1" fmla="*/ 200 h 200"/>
                <a:gd name="T2" fmla="*/ 691 w 691"/>
                <a:gd name="T3" fmla="*/ 200 h 200"/>
                <a:gd name="T4" fmla="*/ 346 w 691"/>
                <a:gd name="T5" fmla="*/ 0 h 200"/>
                <a:gd name="T6" fmla="*/ 0 w 691"/>
                <a:gd name="T7" fmla="*/ 200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91" h="200">
                  <a:moveTo>
                    <a:pt x="0" y="200"/>
                  </a:moveTo>
                  <a:lnTo>
                    <a:pt x="691" y="200"/>
                  </a:lnTo>
                  <a:lnTo>
                    <a:pt x="346" y="0"/>
                  </a:lnTo>
                  <a:lnTo>
                    <a:pt x="0" y="200"/>
                  </a:lnTo>
                  <a:close/>
                </a:path>
              </a:pathLst>
            </a:custGeom>
            <a:solidFill>
              <a:srgbClr val="FF0505"/>
            </a:solidFill>
            <a:ln w="1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892521"/>
              <a:endParaRPr lang="en-US" sz="1700" dirty="0">
                <a:solidFill>
                  <a:srgbClr val="003149"/>
                </a:solidFill>
              </a:endParaRPr>
            </a:p>
          </p:txBody>
        </p:sp>
        <p:sp>
          <p:nvSpPr>
            <p:cNvPr id="18" name="Freeform 8"/>
            <p:cNvSpPr>
              <a:spLocks/>
            </p:cNvSpPr>
            <p:nvPr/>
          </p:nvSpPr>
          <p:spPr bwMode="auto">
            <a:xfrm>
              <a:off x="7277614" y="2550591"/>
              <a:ext cx="263702" cy="452770"/>
            </a:xfrm>
            <a:custGeom>
              <a:avLst/>
              <a:gdLst>
                <a:gd name="T0" fmla="*/ 0 w 346"/>
                <a:gd name="T1" fmla="*/ 0 h 598"/>
                <a:gd name="T2" fmla="*/ 0 w 346"/>
                <a:gd name="T3" fmla="*/ 399 h 598"/>
                <a:gd name="T4" fmla="*/ 346 w 346"/>
                <a:gd name="T5" fmla="*/ 598 h 598"/>
                <a:gd name="T6" fmla="*/ 0 w 346"/>
                <a:gd name="T7" fmla="*/ 0 h 5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46" h="598">
                  <a:moveTo>
                    <a:pt x="0" y="0"/>
                  </a:moveTo>
                  <a:lnTo>
                    <a:pt x="0" y="399"/>
                  </a:lnTo>
                  <a:lnTo>
                    <a:pt x="346" y="59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505"/>
            </a:solidFill>
            <a:ln w="2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892521"/>
              <a:endParaRPr lang="en-US" sz="1700" dirty="0">
                <a:solidFill>
                  <a:srgbClr val="003149"/>
                </a:solidFill>
              </a:endParaRPr>
            </a:p>
          </p:txBody>
        </p:sp>
        <p:sp>
          <p:nvSpPr>
            <p:cNvPr id="19" name="Freeform 9"/>
            <p:cNvSpPr>
              <a:spLocks/>
            </p:cNvSpPr>
            <p:nvPr/>
          </p:nvSpPr>
          <p:spPr bwMode="auto">
            <a:xfrm>
              <a:off x="7541313" y="2550591"/>
              <a:ext cx="263702" cy="452770"/>
            </a:xfrm>
            <a:custGeom>
              <a:avLst/>
              <a:gdLst>
                <a:gd name="T0" fmla="*/ 0 w 345"/>
                <a:gd name="T1" fmla="*/ 598 h 598"/>
                <a:gd name="T2" fmla="*/ 345 w 345"/>
                <a:gd name="T3" fmla="*/ 0 h 598"/>
                <a:gd name="T4" fmla="*/ 345 w 345"/>
                <a:gd name="T5" fmla="*/ 399 h 598"/>
                <a:gd name="T6" fmla="*/ 0 w 345"/>
                <a:gd name="T7" fmla="*/ 598 h 5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45" h="598">
                  <a:moveTo>
                    <a:pt x="0" y="598"/>
                  </a:moveTo>
                  <a:lnTo>
                    <a:pt x="345" y="0"/>
                  </a:lnTo>
                  <a:lnTo>
                    <a:pt x="345" y="399"/>
                  </a:lnTo>
                  <a:lnTo>
                    <a:pt x="0" y="598"/>
                  </a:lnTo>
                  <a:close/>
                </a:path>
              </a:pathLst>
            </a:custGeom>
            <a:solidFill>
              <a:srgbClr val="FF0505"/>
            </a:solidFill>
            <a:ln w="1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892521"/>
              <a:endParaRPr lang="en-US" sz="1700" dirty="0">
                <a:solidFill>
                  <a:srgbClr val="003149"/>
                </a:solidFill>
              </a:endParaRPr>
            </a:p>
          </p:txBody>
        </p:sp>
        <p:sp>
          <p:nvSpPr>
            <p:cNvPr id="20" name="Freeform 7"/>
            <p:cNvSpPr>
              <a:spLocks/>
            </p:cNvSpPr>
            <p:nvPr/>
          </p:nvSpPr>
          <p:spPr bwMode="auto">
            <a:xfrm rot="10800000">
              <a:off x="7805015" y="2851605"/>
              <a:ext cx="527401" cy="154241"/>
            </a:xfrm>
            <a:custGeom>
              <a:avLst/>
              <a:gdLst>
                <a:gd name="T0" fmla="*/ 0 w 691"/>
                <a:gd name="T1" fmla="*/ 200 h 200"/>
                <a:gd name="T2" fmla="*/ 691 w 691"/>
                <a:gd name="T3" fmla="*/ 200 h 200"/>
                <a:gd name="T4" fmla="*/ 346 w 691"/>
                <a:gd name="T5" fmla="*/ 0 h 200"/>
                <a:gd name="T6" fmla="*/ 0 w 691"/>
                <a:gd name="T7" fmla="*/ 200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91" h="200">
                  <a:moveTo>
                    <a:pt x="0" y="200"/>
                  </a:moveTo>
                  <a:lnTo>
                    <a:pt x="691" y="200"/>
                  </a:lnTo>
                  <a:lnTo>
                    <a:pt x="346" y="0"/>
                  </a:lnTo>
                  <a:lnTo>
                    <a:pt x="0" y="200"/>
                  </a:lnTo>
                  <a:close/>
                </a:path>
              </a:pathLst>
            </a:custGeom>
            <a:solidFill>
              <a:srgbClr val="058CEC"/>
            </a:solidFill>
            <a:ln w="1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892521"/>
              <a:endParaRPr lang="en-US" sz="1700" dirty="0">
                <a:solidFill>
                  <a:srgbClr val="003149"/>
                </a:solidFill>
              </a:endParaRPr>
            </a:p>
          </p:txBody>
        </p:sp>
        <p:sp>
          <p:nvSpPr>
            <p:cNvPr id="21" name="Freeform 8"/>
            <p:cNvSpPr>
              <a:spLocks/>
            </p:cNvSpPr>
            <p:nvPr/>
          </p:nvSpPr>
          <p:spPr bwMode="auto">
            <a:xfrm rot="10800000">
              <a:off x="8068714" y="2398838"/>
              <a:ext cx="263702" cy="452770"/>
            </a:xfrm>
            <a:custGeom>
              <a:avLst/>
              <a:gdLst>
                <a:gd name="T0" fmla="*/ 0 w 346"/>
                <a:gd name="T1" fmla="*/ 0 h 598"/>
                <a:gd name="T2" fmla="*/ 0 w 346"/>
                <a:gd name="T3" fmla="*/ 399 h 598"/>
                <a:gd name="T4" fmla="*/ 346 w 346"/>
                <a:gd name="T5" fmla="*/ 598 h 598"/>
                <a:gd name="T6" fmla="*/ 0 w 346"/>
                <a:gd name="T7" fmla="*/ 0 h 5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46" h="598">
                  <a:moveTo>
                    <a:pt x="0" y="0"/>
                  </a:moveTo>
                  <a:lnTo>
                    <a:pt x="0" y="399"/>
                  </a:lnTo>
                  <a:lnTo>
                    <a:pt x="346" y="59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58CEC"/>
            </a:solidFill>
            <a:ln w="2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892521"/>
              <a:endParaRPr lang="en-US" sz="1700" dirty="0">
                <a:solidFill>
                  <a:srgbClr val="003149"/>
                </a:solidFill>
              </a:endParaRPr>
            </a:p>
          </p:txBody>
        </p:sp>
        <p:sp>
          <p:nvSpPr>
            <p:cNvPr id="22" name="Freeform 9"/>
            <p:cNvSpPr>
              <a:spLocks/>
            </p:cNvSpPr>
            <p:nvPr/>
          </p:nvSpPr>
          <p:spPr bwMode="auto">
            <a:xfrm rot="10800000">
              <a:off x="7805015" y="2398838"/>
              <a:ext cx="263702" cy="452770"/>
            </a:xfrm>
            <a:custGeom>
              <a:avLst/>
              <a:gdLst>
                <a:gd name="T0" fmla="*/ 0 w 345"/>
                <a:gd name="T1" fmla="*/ 598 h 598"/>
                <a:gd name="T2" fmla="*/ 345 w 345"/>
                <a:gd name="T3" fmla="*/ 0 h 598"/>
                <a:gd name="T4" fmla="*/ 345 w 345"/>
                <a:gd name="T5" fmla="*/ 399 h 598"/>
                <a:gd name="T6" fmla="*/ 0 w 345"/>
                <a:gd name="T7" fmla="*/ 598 h 5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45" h="598">
                  <a:moveTo>
                    <a:pt x="0" y="598"/>
                  </a:moveTo>
                  <a:lnTo>
                    <a:pt x="345" y="0"/>
                  </a:lnTo>
                  <a:lnTo>
                    <a:pt x="345" y="399"/>
                  </a:lnTo>
                  <a:lnTo>
                    <a:pt x="0" y="598"/>
                  </a:lnTo>
                  <a:close/>
                </a:path>
              </a:pathLst>
            </a:custGeom>
            <a:solidFill>
              <a:srgbClr val="058CEC"/>
            </a:solidFill>
            <a:ln w="1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892521"/>
              <a:endParaRPr lang="en-US" sz="1700" dirty="0">
                <a:solidFill>
                  <a:srgbClr val="003149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82646695"/>
      </p:ext>
    </p:extLst>
  </p:cSld>
  <p:clrMapOvr>
    <a:masterClrMapping/>
  </p:clrMapOvr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13751" y="4223819"/>
            <a:ext cx="8199287" cy="539163"/>
          </a:xfrm>
          <a:prstGeom prst="rect">
            <a:avLst/>
          </a:prstGeom>
        </p:spPr>
        <p:txBody>
          <a:bodyPr lIns="0" rIns="0">
            <a:normAutofit/>
          </a:bodyPr>
          <a:lstStyle>
            <a:lvl1pPr marL="0" indent="0" algn="l">
              <a:buNone/>
              <a:defRPr sz="2500">
                <a:solidFill>
                  <a:srgbClr val="666666"/>
                </a:solidFill>
              </a:defRPr>
            </a:lvl1pPr>
            <a:lvl2pPr marL="4462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9252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3878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7850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3130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6775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238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5700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cxnSp>
        <p:nvCxnSpPr>
          <p:cNvPr id="12" name="Straight Connector 11"/>
          <p:cNvCxnSpPr/>
          <p:nvPr/>
        </p:nvCxnSpPr>
        <p:spPr>
          <a:xfrm>
            <a:off x="0" y="6555697"/>
            <a:ext cx="9144000" cy="0"/>
          </a:xfrm>
          <a:prstGeom prst="line">
            <a:avLst/>
          </a:prstGeom>
          <a:ln w="12700">
            <a:solidFill>
              <a:srgbClr val="999999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6362" y="147716"/>
            <a:ext cx="4605067" cy="32129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13751" y="3634110"/>
            <a:ext cx="8199287" cy="589709"/>
          </a:xfrm>
          <a:prstGeom prst="rect">
            <a:avLst/>
          </a:prstGeom>
        </p:spPr>
        <p:txBody>
          <a:bodyPr lIns="0" tIns="41582" rIns="0" bIns="41582" anchor="b" anchorCtr="0">
            <a:normAutofit/>
          </a:bodyPr>
          <a:lstStyle>
            <a:lvl1pPr>
              <a:defRPr sz="2900" b="1">
                <a:solidFill>
                  <a:schemeClr val="accent1">
                    <a:lumMod val="50000"/>
                  </a:schemeClr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313758" y="4952322"/>
            <a:ext cx="4605067" cy="539163"/>
          </a:xfrm>
        </p:spPr>
        <p:txBody>
          <a:bodyPr vert="horz" lIns="0" tIns="41582" rIns="0" bIns="41582" rtlCol="0" anchor="t" anchorCtr="0">
            <a:normAutofit/>
          </a:bodyPr>
          <a:lstStyle>
            <a:lvl1pPr marL="246895" indent="-246895">
              <a:buFont typeface="Arial" pitchFamily="34" charset="0"/>
              <a:buChar char="•"/>
              <a:defRPr lang="en-US" sz="2200" smtClean="0">
                <a:solidFill>
                  <a:srgbClr val="666666"/>
                </a:solidFill>
              </a:defRPr>
            </a:lvl1pPr>
            <a:lvl2pPr>
              <a:defRPr lang="en-US" smtClean="0">
                <a:solidFill>
                  <a:schemeClr val="tx1">
                    <a:tint val="75000"/>
                  </a:schemeClr>
                </a:solidFill>
              </a:defRPr>
            </a:lvl2pPr>
            <a:lvl3pPr>
              <a:defRPr lang="en-US" smtClean="0">
                <a:solidFill>
                  <a:schemeClr val="tx1">
                    <a:tint val="75000"/>
                  </a:schemeClr>
                </a:solidFill>
              </a:defRPr>
            </a:lvl3pPr>
            <a:lvl4pPr>
              <a:defRPr lang="en-US" smtClean="0">
                <a:solidFill>
                  <a:schemeClr val="tx1">
                    <a:tint val="75000"/>
                  </a:schemeClr>
                </a:solidFill>
              </a:defRPr>
            </a:lvl4pPr>
            <a:lvl5pPr>
              <a:defRPr lang="en-US">
                <a:solidFill>
                  <a:schemeClr val="tx1">
                    <a:tint val="75000"/>
                  </a:schemeClr>
                </a:solidFill>
              </a:defRPr>
            </a:lvl5pPr>
          </a:lstStyle>
          <a:p>
            <a:pPr marL="0" lvl="0" indent="0">
              <a:buNone/>
            </a:pPr>
            <a:r>
              <a:rPr lang="en-US"/>
              <a:t>Click to edit Master text styles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65728" y="5352692"/>
            <a:ext cx="2547317" cy="10942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65529921"/>
      </p:ext>
    </p:extLst>
  </p:cSld>
  <p:clrMapOvr>
    <a:masterClrMapping/>
  </p:clrMapOvr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68328942"/>
      </p:ext>
    </p:extLst>
  </p:cSld>
  <p:clrMapOvr>
    <a:masterClrMapping/>
  </p:clrMapOvr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500"/>
            </a:lvl1pPr>
          </a:lstStyle>
          <a:p>
            <a:r>
              <a:rPr lang="en-US" dirty="0"/>
              <a:t>Click to edit Master title style</a:t>
            </a:r>
            <a:endParaRPr lang="fr-FR" dirty="0"/>
          </a:p>
        </p:txBody>
      </p:sp>
      <p:sp>
        <p:nvSpPr>
          <p:cNvPr id="3" name="Rectangle 2"/>
          <p:cNvSpPr/>
          <p:nvPr/>
        </p:nvSpPr>
        <p:spPr>
          <a:xfrm>
            <a:off x="0" y="905107"/>
            <a:ext cx="9144000" cy="34180"/>
          </a:xfrm>
          <a:prstGeom prst="rect">
            <a:avLst/>
          </a:prstGeom>
          <a:solidFill>
            <a:schemeClr val="accent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893014"/>
            <a:endParaRPr lang="en-US" dirty="0">
              <a:solidFill>
                <a:srgbClr val="003149"/>
              </a:solidFill>
            </a:endParaRPr>
          </a:p>
        </p:txBody>
      </p:sp>
      <p:sp>
        <p:nvSpPr>
          <p:cNvPr id="4" name="SlideNumber"/>
          <p:cNvSpPr/>
          <p:nvPr/>
        </p:nvSpPr>
        <p:spPr>
          <a:xfrm>
            <a:off x="8216375" y="6668489"/>
            <a:ext cx="300772" cy="86818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 defTabSz="893014"/>
            <a:fld id="{BB69BBE8-4DB2-4642-B003-B220ACD5A2FD}" type="slidenum">
              <a:rPr lang="en-US" sz="900" b="1" smtClean="0">
                <a:solidFill>
                  <a:srgbClr val="080808"/>
                </a:solidFill>
                <a:latin typeface="Verdana" pitchFamily="34" charset="0"/>
              </a:rPr>
              <a:pPr algn="ctr" defTabSz="893014"/>
              <a:t>‹#›</a:t>
            </a:fld>
            <a:endParaRPr lang="fr-FR" sz="900" b="1" dirty="0">
              <a:solidFill>
                <a:srgbClr val="080808"/>
              </a:solidFill>
            </a:endParaRPr>
          </a:p>
        </p:txBody>
      </p:sp>
      <p:cxnSp>
        <p:nvCxnSpPr>
          <p:cNvPr id="5" name="Straight Connector 4"/>
          <p:cNvCxnSpPr/>
          <p:nvPr/>
        </p:nvCxnSpPr>
        <p:spPr>
          <a:xfrm>
            <a:off x="0" y="6555697"/>
            <a:ext cx="9144000" cy="0"/>
          </a:xfrm>
          <a:prstGeom prst="line">
            <a:avLst/>
          </a:prstGeom>
          <a:ln w="12700">
            <a:solidFill>
              <a:srgbClr val="999999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6" name="Group 5"/>
          <p:cNvGrpSpPr/>
          <p:nvPr/>
        </p:nvGrpSpPr>
        <p:grpSpPr>
          <a:xfrm>
            <a:off x="8574091" y="6591936"/>
            <a:ext cx="385992" cy="239924"/>
            <a:chOff x="7277614" y="2396353"/>
            <a:chExt cx="1054802" cy="609493"/>
          </a:xfrm>
        </p:grpSpPr>
        <p:sp>
          <p:nvSpPr>
            <p:cNvPr id="7" name="Freeform 7"/>
            <p:cNvSpPr>
              <a:spLocks/>
            </p:cNvSpPr>
            <p:nvPr/>
          </p:nvSpPr>
          <p:spPr bwMode="auto">
            <a:xfrm>
              <a:off x="7277614" y="2396353"/>
              <a:ext cx="527401" cy="154241"/>
            </a:xfrm>
            <a:custGeom>
              <a:avLst/>
              <a:gdLst>
                <a:gd name="T0" fmla="*/ 0 w 691"/>
                <a:gd name="T1" fmla="*/ 200 h 200"/>
                <a:gd name="T2" fmla="*/ 691 w 691"/>
                <a:gd name="T3" fmla="*/ 200 h 200"/>
                <a:gd name="T4" fmla="*/ 346 w 691"/>
                <a:gd name="T5" fmla="*/ 0 h 200"/>
                <a:gd name="T6" fmla="*/ 0 w 691"/>
                <a:gd name="T7" fmla="*/ 200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91" h="200">
                  <a:moveTo>
                    <a:pt x="0" y="200"/>
                  </a:moveTo>
                  <a:lnTo>
                    <a:pt x="691" y="200"/>
                  </a:lnTo>
                  <a:lnTo>
                    <a:pt x="346" y="0"/>
                  </a:lnTo>
                  <a:lnTo>
                    <a:pt x="0" y="200"/>
                  </a:lnTo>
                  <a:close/>
                </a:path>
              </a:pathLst>
            </a:custGeom>
            <a:solidFill>
              <a:srgbClr val="FF0505"/>
            </a:solidFill>
            <a:ln w="1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893014"/>
              <a:endParaRPr lang="en-US" sz="1700" dirty="0">
                <a:solidFill>
                  <a:srgbClr val="003149"/>
                </a:solidFill>
              </a:endParaRPr>
            </a:p>
          </p:txBody>
        </p:sp>
        <p:sp>
          <p:nvSpPr>
            <p:cNvPr id="8" name="Freeform 8"/>
            <p:cNvSpPr>
              <a:spLocks/>
            </p:cNvSpPr>
            <p:nvPr/>
          </p:nvSpPr>
          <p:spPr bwMode="auto">
            <a:xfrm>
              <a:off x="7277614" y="2550591"/>
              <a:ext cx="263702" cy="452770"/>
            </a:xfrm>
            <a:custGeom>
              <a:avLst/>
              <a:gdLst>
                <a:gd name="T0" fmla="*/ 0 w 346"/>
                <a:gd name="T1" fmla="*/ 0 h 598"/>
                <a:gd name="T2" fmla="*/ 0 w 346"/>
                <a:gd name="T3" fmla="*/ 399 h 598"/>
                <a:gd name="T4" fmla="*/ 346 w 346"/>
                <a:gd name="T5" fmla="*/ 598 h 598"/>
                <a:gd name="T6" fmla="*/ 0 w 346"/>
                <a:gd name="T7" fmla="*/ 0 h 5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46" h="598">
                  <a:moveTo>
                    <a:pt x="0" y="0"/>
                  </a:moveTo>
                  <a:lnTo>
                    <a:pt x="0" y="399"/>
                  </a:lnTo>
                  <a:lnTo>
                    <a:pt x="346" y="59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505"/>
            </a:solidFill>
            <a:ln w="2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893014"/>
              <a:endParaRPr lang="en-US" sz="1700" dirty="0">
                <a:solidFill>
                  <a:srgbClr val="003149"/>
                </a:solidFill>
              </a:endParaRPr>
            </a:p>
          </p:txBody>
        </p:sp>
        <p:sp>
          <p:nvSpPr>
            <p:cNvPr id="9" name="Freeform 9"/>
            <p:cNvSpPr>
              <a:spLocks/>
            </p:cNvSpPr>
            <p:nvPr/>
          </p:nvSpPr>
          <p:spPr bwMode="auto">
            <a:xfrm>
              <a:off x="7541313" y="2550591"/>
              <a:ext cx="263702" cy="452770"/>
            </a:xfrm>
            <a:custGeom>
              <a:avLst/>
              <a:gdLst>
                <a:gd name="T0" fmla="*/ 0 w 345"/>
                <a:gd name="T1" fmla="*/ 598 h 598"/>
                <a:gd name="T2" fmla="*/ 345 w 345"/>
                <a:gd name="T3" fmla="*/ 0 h 598"/>
                <a:gd name="T4" fmla="*/ 345 w 345"/>
                <a:gd name="T5" fmla="*/ 399 h 598"/>
                <a:gd name="T6" fmla="*/ 0 w 345"/>
                <a:gd name="T7" fmla="*/ 598 h 5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45" h="598">
                  <a:moveTo>
                    <a:pt x="0" y="598"/>
                  </a:moveTo>
                  <a:lnTo>
                    <a:pt x="345" y="0"/>
                  </a:lnTo>
                  <a:lnTo>
                    <a:pt x="345" y="399"/>
                  </a:lnTo>
                  <a:lnTo>
                    <a:pt x="0" y="598"/>
                  </a:lnTo>
                  <a:close/>
                </a:path>
              </a:pathLst>
            </a:custGeom>
            <a:solidFill>
              <a:srgbClr val="FF0505"/>
            </a:solidFill>
            <a:ln w="1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893014"/>
              <a:endParaRPr lang="en-US" sz="1700" dirty="0">
                <a:solidFill>
                  <a:srgbClr val="003149"/>
                </a:solidFill>
              </a:endParaRPr>
            </a:p>
          </p:txBody>
        </p:sp>
        <p:sp>
          <p:nvSpPr>
            <p:cNvPr id="10" name="Freeform 7"/>
            <p:cNvSpPr>
              <a:spLocks/>
            </p:cNvSpPr>
            <p:nvPr/>
          </p:nvSpPr>
          <p:spPr bwMode="auto">
            <a:xfrm rot="10800000">
              <a:off x="7805015" y="2851605"/>
              <a:ext cx="527401" cy="154241"/>
            </a:xfrm>
            <a:custGeom>
              <a:avLst/>
              <a:gdLst>
                <a:gd name="T0" fmla="*/ 0 w 691"/>
                <a:gd name="T1" fmla="*/ 200 h 200"/>
                <a:gd name="T2" fmla="*/ 691 w 691"/>
                <a:gd name="T3" fmla="*/ 200 h 200"/>
                <a:gd name="T4" fmla="*/ 346 w 691"/>
                <a:gd name="T5" fmla="*/ 0 h 200"/>
                <a:gd name="T6" fmla="*/ 0 w 691"/>
                <a:gd name="T7" fmla="*/ 200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91" h="200">
                  <a:moveTo>
                    <a:pt x="0" y="200"/>
                  </a:moveTo>
                  <a:lnTo>
                    <a:pt x="691" y="200"/>
                  </a:lnTo>
                  <a:lnTo>
                    <a:pt x="346" y="0"/>
                  </a:lnTo>
                  <a:lnTo>
                    <a:pt x="0" y="200"/>
                  </a:lnTo>
                  <a:close/>
                </a:path>
              </a:pathLst>
            </a:custGeom>
            <a:solidFill>
              <a:srgbClr val="058CEC"/>
            </a:solidFill>
            <a:ln w="1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893014"/>
              <a:endParaRPr lang="en-US" sz="1700" dirty="0">
                <a:solidFill>
                  <a:srgbClr val="003149"/>
                </a:solidFill>
              </a:endParaRPr>
            </a:p>
          </p:txBody>
        </p:sp>
        <p:sp>
          <p:nvSpPr>
            <p:cNvPr id="11" name="Freeform 8"/>
            <p:cNvSpPr>
              <a:spLocks/>
            </p:cNvSpPr>
            <p:nvPr/>
          </p:nvSpPr>
          <p:spPr bwMode="auto">
            <a:xfrm rot="10800000">
              <a:off x="8068714" y="2398838"/>
              <a:ext cx="263702" cy="452770"/>
            </a:xfrm>
            <a:custGeom>
              <a:avLst/>
              <a:gdLst>
                <a:gd name="T0" fmla="*/ 0 w 346"/>
                <a:gd name="T1" fmla="*/ 0 h 598"/>
                <a:gd name="T2" fmla="*/ 0 w 346"/>
                <a:gd name="T3" fmla="*/ 399 h 598"/>
                <a:gd name="T4" fmla="*/ 346 w 346"/>
                <a:gd name="T5" fmla="*/ 598 h 598"/>
                <a:gd name="T6" fmla="*/ 0 w 346"/>
                <a:gd name="T7" fmla="*/ 0 h 5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46" h="598">
                  <a:moveTo>
                    <a:pt x="0" y="0"/>
                  </a:moveTo>
                  <a:lnTo>
                    <a:pt x="0" y="399"/>
                  </a:lnTo>
                  <a:lnTo>
                    <a:pt x="346" y="59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58CEC"/>
            </a:solidFill>
            <a:ln w="2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893014"/>
              <a:endParaRPr lang="en-US" sz="1700" dirty="0">
                <a:solidFill>
                  <a:srgbClr val="003149"/>
                </a:solidFill>
              </a:endParaRPr>
            </a:p>
          </p:txBody>
        </p:sp>
        <p:sp>
          <p:nvSpPr>
            <p:cNvPr id="12" name="Freeform 9"/>
            <p:cNvSpPr>
              <a:spLocks/>
            </p:cNvSpPr>
            <p:nvPr/>
          </p:nvSpPr>
          <p:spPr bwMode="auto">
            <a:xfrm rot="10800000">
              <a:off x="7805015" y="2398838"/>
              <a:ext cx="263702" cy="452770"/>
            </a:xfrm>
            <a:custGeom>
              <a:avLst/>
              <a:gdLst>
                <a:gd name="T0" fmla="*/ 0 w 345"/>
                <a:gd name="T1" fmla="*/ 598 h 598"/>
                <a:gd name="T2" fmla="*/ 345 w 345"/>
                <a:gd name="T3" fmla="*/ 0 h 598"/>
                <a:gd name="T4" fmla="*/ 345 w 345"/>
                <a:gd name="T5" fmla="*/ 399 h 598"/>
                <a:gd name="T6" fmla="*/ 0 w 345"/>
                <a:gd name="T7" fmla="*/ 598 h 5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45" h="598">
                  <a:moveTo>
                    <a:pt x="0" y="598"/>
                  </a:moveTo>
                  <a:lnTo>
                    <a:pt x="345" y="0"/>
                  </a:lnTo>
                  <a:lnTo>
                    <a:pt x="345" y="399"/>
                  </a:lnTo>
                  <a:lnTo>
                    <a:pt x="0" y="598"/>
                  </a:lnTo>
                  <a:close/>
                </a:path>
              </a:pathLst>
            </a:custGeom>
            <a:solidFill>
              <a:srgbClr val="058CEC"/>
            </a:solidFill>
            <a:ln w="1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893014"/>
              <a:endParaRPr lang="en-US" sz="1700" dirty="0">
                <a:solidFill>
                  <a:srgbClr val="003149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902323038"/>
      </p:ext>
    </p:extLst>
  </p:cSld>
  <p:clrMapOvr>
    <a:masterClrMapping/>
  </p:clrMapOvr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One Char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7"/>
          <p:cNvSpPr>
            <a:spLocks noGrp="1"/>
          </p:cNvSpPr>
          <p:nvPr>
            <p:ph type="pic" sz="quarter" idx="12" hasCustomPrompt="1"/>
          </p:nvPr>
        </p:nvSpPr>
        <p:spPr>
          <a:xfrm>
            <a:off x="353585" y="1292913"/>
            <a:ext cx="8438320" cy="5095600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>
            <a:normAutofit/>
          </a:bodyPr>
          <a:lstStyle>
            <a:lvl1pPr marL="247031" indent="-247031" algn="l" defTabSz="892778" rtl="0" eaLnBrk="1" fontAlgn="base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sz="2200" dirty="0">
                <a:solidFill>
                  <a:schemeClr val="accent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/>
              <a:t>Wizard Chart</a:t>
            </a:r>
          </a:p>
        </p:txBody>
      </p:sp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168404" y="53577"/>
            <a:ext cx="7835048" cy="834431"/>
          </a:xfrm>
        </p:spPr>
        <p:txBody>
          <a:bodyPr/>
          <a:lstStyle>
            <a:lvl1pPr>
              <a:defRPr sz="2500"/>
            </a:lvl1pPr>
          </a:lstStyle>
          <a:p>
            <a:r>
              <a:rPr lang="en-US" dirty="0"/>
              <a:t>Click to edit Master title style</a:t>
            </a:r>
            <a:endParaRPr lang="fr-FR" dirty="0"/>
          </a:p>
        </p:txBody>
      </p:sp>
      <p:sp>
        <p:nvSpPr>
          <p:cNvPr id="5" name="Rectangle 4"/>
          <p:cNvSpPr/>
          <p:nvPr/>
        </p:nvSpPr>
        <p:spPr>
          <a:xfrm>
            <a:off x="0" y="905107"/>
            <a:ext cx="9144000" cy="34180"/>
          </a:xfrm>
          <a:prstGeom prst="rect">
            <a:avLst/>
          </a:prstGeom>
          <a:solidFill>
            <a:schemeClr val="accent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893014"/>
            <a:endParaRPr lang="en-US" dirty="0">
              <a:solidFill>
                <a:srgbClr val="003149"/>
              </a:solidFill>
            </a:endParaRPr>
          </a:p>
        </p:txBody>
      </p:sp>
      <p:sp>
        <p:nvSpPr>
          <p:cNvPr id="6" name="SlideNumber"/>
          <p:cNvSpPr/>
          <p:nvPr/>
        </p:nvSpPr>
        <p:spPr>
          <a:xfrm>
            <a:off x="8216375" y="6668489"/>
            <a:ext cx="300772" cy="86818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 defTabSz="893014"/>
            <a:fld id="{BB69BBE8-4DB2-4642-B003-B220ACD5A2FD}" type="slidenum">
              <a:rPr lang="en-US" sz="900" b="1" smtClean="0">
                <a:solidFill>
                  <a:srgbClr val="080808"/>
                </a:solidFill>
                <a:latin typeface="Verdana" pitchFamily="34" charset="0"/>
              </a:rPr>
              <a:pPr algn="ctr" defTabSz="893014"/>
              <a:t>‹#›</a:t>
            </a:fld>
            <a:endParaRPr lang="fr-FR" sz="900" b="1" dirty="0">
              <a:solidFill>
                <a:srgbClr val="080808"/>
              </a:solidFill>
            </a:endParaRPr>
          </a:p>
        </p:txBody>
      </p:sp>
      <p:cxnSp>
        <p:nvCxnSpPr>
          <p:cNvPr id="7" name="Straight Connector 6"/>
          <p:cNvCxnSpPr/>
          <p:nvPr/>
        </p:nvCxnSpPr>
        <p:spPr>
          <a:xfrm>
            <a:off x="0" y="6555697"/>
            <a:ext cx="9144000" cy="0"/>
          </a:xfrm>
          <a:prstGeom prst="line">
            <a:avLst/>
          </a:prstGeom>
          <a:ln w="12700">
            <a:solidFill>
              <a:srgbClr val="999999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8" name="Group 7"/>
          <p:cNvGrpSpPr/>
          <p:nvPr/>
        </p:nvGrpSpPr>
        <p:grpSpPr>
          <a:xfrm>
            <a:off x="8574091" y="6591936"/>
            <a:ext cx="385992" cy="239924"/>
            <a:chOff x="7277614" y="2396353"/>
            <a:chExt cx="1054802" cy="609493"/>
          </a:xfrm>
        </p:grpSpPr>
        <p:sp>
          <p:nvSpPr>
            <p:cNvPr id="9" name="Freeform 7"/>
            <p:cNvSpPr>
              <a:spLocks/>
            </p:cNvSpPr>
            <p:nvPr/>
          </p:nvSpPr>
          <p:spPr bwMode="auto">
            <a:xfrm>
              <a:off x="7277614" y="2396353"/>
              <a:ext cx="527401" cy="154241"/>
            </a:xfrm>
            <a:custGeom>
              <a:avLst/>
              <a:gdLst>
                <a:gd name="T0" fmla="*/ 0 w 691"/>
                <a:gd name="T1" fmla="*/ 200 h 200"/>
                <a:gd name="T2" fmla="*/ 691 w 691"/>
                <a:gd name="T3" fmla="*/ 200 h 200"/>
                <a:gd name="T4" fmla="*/ 346 w 691"/>
                <a:gd name="T5" fmla="*/ 0 h 200"/>
                <a:gd name="T6" fmla="*/ 0 w 691"/>
                <a:gd name="T7" fmla="*/ 200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91" h="200">
                  <a:moveTo>
                    <a:pt x="0" y="200"/>
                  </a:moveTo>
                  <a:lnTo>
                    <a:pt x="691" y="200"/>
                  </a:lnTo>
                  <a:lnTo>
                    <a:pt x="346" y="0"/>
                  </a:lnTo>
                  <a:lnTo>
                    <a:pt x="0" y="200"/>
                  </a:lnTo>
                  <a:close/>
                </a:path>
              </a:pathLst>
            </a:custGeom>
            <a:solidFill>
              <a:srgbClr val="FF0505"/>
            </a:solidFill>
            <a:ln w="1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893014"/>
              <a:endParaRPr lang="en-US" sz="1700" dirty="0">
                <a:solidFill>
                  <a:srgbClr val="003149"/>
                </a:solidFill>
              </a:endParaRPr>
            </a:p>
          </p:txBody>
        </p:sp>
        <p:sp>
          <p:nvSpPr>
            <p:cNvPr id="10" name="Freeform 8"/>
            <p:cNvSpPr>
              <a:spLocks/>
            </p:cNvSpPr>
            <p:nvPr/>
          </p:nvSpPr>
          <p:spPr bwMode="auto">
            <a:xfrm>
              <a:off x="7277614" y="2550591"/>
              <a:ext cx="263702" cy="452770"/>
            </a:xfrm>
            <a:custGeom>
              <a:avLst/>
              <a:gdLst>
                <a:gd name="T0" fmla="*/ 0 w 346"/>
                <a:gd name="T1" fmla="*/ 0 h 598"/>
                <a:gd name="T2" fmla="*/ 0 w 346"/>
                <a:gd name="T3" fmla="*/ 399 h 598"/>
                <a:gd name="T4" fmla="*/ 346 w 346"/>
                <a:gd name="T5" fmla="*/ 598 h 598"/>
                <a:gd name="T6" fmla="*/ 0 w 346"/>
                <a:gd name="T7" fmla="*/ 0 h 5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46" h="598">
                  <a:moveTo>
                    <a:pt x="0" y="0"/>
                  </a:moveTo>
                  <a:lnTo>
                    <a:pt x="0" y="399"/>
                  </a:lnTo>
                  <a:lnTo>
                    <a:pt x="346" y="59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505"/>
            </a:solidFill>
            <a:ln w="2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893014"/>
              <a:endParaRPr lang="en-US" sz="1700" dirty="0">
                <a:solidFill>
                  <a:srgbClr val="003149"/>
                </a:solidFill>
              </a:endParaRPr>
            </a:p>
          </p:txBody>
        </p:sp>
        <p:sp>
          <p:nvSpPr>
            <p:cNvPr id="11" name="Freeform 9"/>
            <p:cNvSpPr>
              <a:spLocks/>
            </p:cNvSpPr>
            <p:nvPr/>
          </p:nvSpPr>
          <p:spPr bwMode="auto">
            <a:xfrm>
              <a:off x="7541313" y="2550591"/>
              <a:ext cx="263702" cy="452770"/>
            </a:xfrm>
            <a:custGeom>
              <a:avLst/>
              <a:gdLst>
                <a:gd name="T0" fmla="*/ 0 w 345"/>
                <a:gd name="T1" fmla="*/ 598 h 598"/>
                <a:gd name="T2" fmla="*/ 345 w 345"/>
                <a:gd name="T3" fmla="*/ 0 h 598"/>
                <a:gd name="T4" fmla="*/ 345 w 345"/>
                <a:gd name="T5" fmla="*/ 399 h 598"/>
                <a:gd name="T6" fmla="*/ 0 w 345"/>
                <a:gd name="T7" fmla="*/ 598 h 5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45" h="598">
                  <a:moveTo>
                    <a:pt x="0" y="598"/>
                  </a:moveTo>
                  <a:lnTo>
                    <a:pt x="345" y="0"/>
                  </a:lnTo>
                  <a:lnTo>
                    <a:pt x="345" y="399"/>
                  </a:lnTo>
                  <a:lnTo>
                    <a:pt x="0" y="598"/>
                  </a:lnTo>
                  <a:close/>
                </a:path>
              </a:pathLst>
            </a:custGeom>
            <a:solidFill>
              <a:srgbClr val="FF0505"/>
            </a:solidFill>
            <a:ln w="1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893014"/>
              <a:endParaRPr lang="en-US" sz="1700" dirty="0">
                <a:solidFill>
                  <a:srgbClr val="003149"/>
                </a:solidFill>
              </a:endParaRPr>
            </a:p>
          </p:txBody>
        </p:sp>
        <p:sp>
          <p:nvSpPr>
            <p:cNvPr id="12" name="Freeform 7"/>
            <p:cNvSpPr>
              <a:spLocks/>
            </p:cNvSpPr>
            <p:nvPr/>
          </p:nvSpPr>
          <p:spPr bwMode="auto">
            <a:xfrm rot="10800000">
              <a:off x="7805015" y="2851605"/>
              <a:ext cx="527401" cy="154241"/>
            </a:xfrm>
            <a:custGeom>
              <a:avLst/>
              <a:gdLst>
                <a:gd name="T0" fmla="*/ 0 w 691"/>
                <a:gd name="T1" fmla="*/ 200 h 200"/>
                <a:gd name="T2" fmla="*/ 691 w 691"/>
                <a:gd name="T3" fmla="*/ 200 h 200"/>
                <a:gd name="T4" fmla="*/ 346 w 691"/>
                <a:gd name="T5" fmla="*/ 0 h 200"/>
                <a:gd name="T6" fmla="*/ 0 w 691"/>
                <a:gd name="T7" fmla="*/ 200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91" h="200">
                  <a:moveTo>
                    <a:pt x="0" y="200"/>
                  </a:moveTo>
                  <a:lnTo>
                    <a:pt x="691" y="200"/>
                  </a:lnTo>
                  <a:lnTo>
                    <a:pt x="346" y="0"/>
                  </a:lnTo>
                  <a:lnTo>
                    <a:pt x="0" y="200"/>
                  </a:lnTo>
                  <a:close/>
                </a:path>
              </a:pathLst>
            </a:custGeom>
            <a:solidFill>
              <a:srgbClr val="058CEC"/>
            </a:solidFill>
            <a:ln w="1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893014"/>
              <a:endParaRPr lang="en-US" sz="1700" dirty="0">
                <a:solidFill>
                  <a:srgbClr val="003149"/>
                </a:solidFill>
              </a:endParaRPr>
            </a:p>
          </p:txBody>
        </p:sp>
        <p:sp>
          <p:nvSpPr>
            <p:cNvPr id="13" name="Freeform 8"/>
            <p:cNvSpPr>
              <a:spLocks/>
            </p:cNvSpPr>
            <p:nvPr/>
          </p:nvSpPr>
          <p:spPr bwMode="auto">
            <a:xfrm rot="10800000">
              <a:off x="8068714" y="2398838"/>
              <a:ext cx="263702" cy="452770"/>
            </a:xfrm>
            <a:custGeom>
              <a:avLst/>
              <a:gdLst>
                <a:gd name="T0" fmla="*/ 0 w 346"/>
                <a:gd name="T1" fmla="*/ 0 h 598"/>
                <a:gd name="T2" fmla="*/ 0 w 346"/>
                <a:gd name="T3" fmla="*/ 399 h 598"/>
                <a:gd name="T4" fmla="*/ 346 w 346"/>
                <a:gd name="T5" fmla="*/ 598 h 598"/>
                <a:gd name="T6" fmla="*/ 0 w 346"/>
                <a:gd name="T7" fmla="*/ 0 h 5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46" h="598">
                  <a:moveTo>
                    <a:pt x="0" y="0"/>
                  </a:moveTo>
                  <a:lnTo>
                    <a:pt x="0" y="399"/>
                  </a:lnTo>
                  <a:lnTo>
                    <a:pt x="346" y="59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58CEC"/>
            </a:solidFill>
            <a:ln w="2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893014"/>
              <a:endParaRPr lang="en-US" sz="1700" dirty="0">
                <a:solidFill>
                  <a:srgbClr val="003149"/>
                </a:solidFill>
              </a:endParaRPr>
            </a:p>
          </p:txBody>
        </p:sp>
        <p:sp>
          <p:nvSpPr>
            <p:cNvPr id="14" name="Freeform 9"/>
            <p:cNvSpPr>
              <a:spLocks/>
            </p:cNvSpPr>
            <p:nvPr/>
          </p:nvSpPr>
          <p:spPr bwMode="auto">
            <a:xfrm rot="10800000">
              <a:off x="7805015" y="2398838"/>
              <a:ext cx="263702" cy="452770"/>
            </a:xfrm>
            <a:custGeom>
              <a:avLst/>
              <a:gdLst>
                <a:gd name="T0" fmla="*/ 0 w 345"/>
                <a:gd name="T1" fmla="*/ 598 h 598"/>
                <a:gd name="T2" fmla="*/ 345 w 345"/>
                <a:gd name="T3" fmla="*/ 0 h 598"/>
                <a:gd name="T4" fmla="*/ 345 w 345"/>
                <a:gd name="T5" fmla="*/ 399 h 598"/>
                <a:gd name="T6" fmla="*/ 0 w 345"/>
                <a:gd name="T7" fmla="*/ 598 h 5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45" h="598">
                  <a:moveTo>
                    <a:pt x="0" y="598"/>
                  </a:moveTo>
                  <a:lnTo>
                    <a:pt x="345" y="0"/>
                  </a:lnTo>
                  <a:lnTo>
                    <a:pt x="345" y="399"/>
                  </a:lnTo>
                  <a:lnTo>
                    <a:pt x="0" y="598"/>
                  </a:lnTo>
                  <a:close/>
                </a:path>
              </a:pathLst>
            </a:custGeom>
            <a:solidFill>
              <a:srgbClr val="058CEC"/>
            </a:solidFill>
            <a:ln w="1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893014"/>
              <a:endParaRPr lang="en-US" sz="1700" dirty="0">
                <a:solidFill>
                  <a:srgbClr val="003149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227733993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лайд &quot;Спасибо!&quot;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Line 27"/>
          <p:cNvSpPr>
            <a:spLocks noChangeShapeType="1"/>
          </p:cNvSpPr>
          <p:nvPr userDrawn="1"/>
        </p:nvSpPr>
        <p:spPr bwMode="auto">
          <a:xfrm>
            <a:off x="252000" y="5940000"/>
            <a:ext cx="8640000" cy="0"/>
          </a:xfrm>
          <a:prstGeom prst="line">
            <a:avLst/>
          </a:prstGeom>
          <a:noFill/>
          <a:ln w="28575">
            <a:solidFill>
              <a:srgbClr val="016EB3"/>
            </a:solidFill>
            <a:round/>
            <a:headEnd/>
            <a:tailEnd/>
          </a:ln>
          <a:effectLst/>
        </p:spPr>
        <p:txBody>
          <a:bodyPr wrap="none" lIns="91243" tIns="45622" rIns="91243" bIns="45622"/>
          <a:lstStyle/>
          <a:p>
            <a:pPr fontAlgn="base">
              <a:spcBef>
                <a:spcPct val="50000"/>
              </a:spcBef>
              <a:spcAft>
                <a:spcPct val="0"/>
              </a:spcAft>
              <a:defRPr/>
            </a:pPr>
            <a:endParaRPr kumimoji="1" lang="ru-RU" sz="1000" dirty="0">
              <a:solidFill>
                <a:srgbClr val="002766"/>
              </a:solidFill>
              <a:latin typeface="Tahoma" pitchFamily="34" charset="0"/>
              <a:ea typeface="PMingLiU" pitchFamily="18" charset="-120"/>
            </a:endParaRPr>
          </a:p>
        </p:txBody>
      </p:sp>
      <p:sp>
        <p:nvSpPr>
          <p:cNvPr id="9" name="Прямоугольник 8"/>
          <p:cNvSpPr/>
          <p:nvPr userDrawn="1"/>
        </p:nvSpPr>
        <p:spPr bwMode="auto">
          <a:xfrm>
            <a:off x="252000" y="190523"/>
            <a:ext cx="1623692" cy="606669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243" tIns="45622" rIns="91243" bIns="45622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</a:pPr>
            <a:endParaRPr kumimoji="1" lang="ru-RU" sz="1000" smtClean="0">
              <a:solidFill>
                <a:srgbClr val="00294F"/>
              </a:solidFill>
              <a:latin typeface="Tahoma" pitchFamily="34" charset="0"/>
              <a:ea typeface="PMingLiU" pitchFamily="18" charset="-120"/>
            </a:endParaRPr>
          </a:p>
        </p:txBody>
      </p:sp>
      <p:sp>
        <p:nvSpPr>
          <p:cNvPr id="10" name="Прямоугольник 9"/>
          <p:cNvSpPr/>
          <p:nvPr userDrawn="1"/>
        </p:nvSpPr>
        <p:spPr bwMode="auto">
          <a:xfrm>
            <a:off x="8429206" y="6327669"/>
            <a:ext cx="708444" cy="504825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243" tIns="45622" rIns="91243" bIns="45622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</a:pPr>
            <a:endParaRPr kumimoji="1" lang="ru-RU" sz="1000" smtClean="0">
              <a:solidFill>
                <a:srgbClr val="00294F"/>
              </a:solidFill>
              <a:latin typeface="Tahoma" pitchFamily="34" charset="0"/>
              <a:ea typeface="PMingLiU" pitchFamily="18" charset="-120"/>
            </a:endParaRPr>
          </a:p>
        </p:txBody>
      </p:sp>
      <p:sp>
        <p:nvSpPr>
          <p:cNvPr id="18" name="Текст 3"/>
          <p:cNvSpPr>
            <a:spLocks noGrp="1"/>
          </p:cNvSpPr>
          <p:nvPr>
            <p:ph type="body" sz="half" idx="10" hasCustomPrompt="1"/>
          </p:nvPr>
        </p:nvSpPr>
        <p:spPr>
          <a:xfrm>
            <a:off x="7200000" y="6210000"/>
            <a:ext cx="1656000" cy="396000"/>
          </a:xfrm>
        </p:spPr>
        <p:txBody>
          <a:bodyPr anchor="ctr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100">
                <a:solidFill>
                  <a:schemeClr val="tx2"/>
                </a:solidFill>
              </a:defRPr>
            </a:lvl1pPr>
            <a:lvl2pPr marL="456234" indent="0">
              <a:buNone/>
              <a:defRPr sz="1200"/>
            </a:lvl2pPr>
            <a:lvl3pPr marL="912468" indent="0">
              <a:buNone/>
              <a:defRPr sz="1000"/>
            </a:lvl3pPr>
            <a:lvl4pPr marL="1368700" indent="0">
              <a:buNone/>
              <a:defRPr sz="900"/>
            </a:lvl4pPr>
            <a:lvl5pPr marL="1824935" indent="0">
              <a:buNone/>
              <a:defRPr sz="900"/>
            </a:lvl5pPr>
            <a:lvl6pPr marL="2281167" indent="0">
              <a:buNone/>
              <a:defRPr sz="900"/>
            </a:lvl6pPr>
            <a:lvl7pPr marL="2737394" indent="0">
              <a:buNone/>
              <a:defRPr sz="900"/>
            </a:lvl7pPr>
            <a:lvl8pPr marL="3193635" indent="0">
              <a:buNone/>
              <a:defRPr sz="900"/>
            </a:lvl8pPr>
            <a:lvl9pPr marL="3649869" indent="0">
              <a:buNone/>
              <a:defRPr sz="900"/>
            </a:lvl9pPr>
          </a:lstStyle>
          <a:p>
            <a:pPr lvl="0"/>
            <a:r>
              <a:rPr lang="ru-RU" dirty="0" smtClean="0"/>
              <a:t>Телефон и </a:t>
            </a:r>
            <a:r>
              <a:rPr lang="en-US" dirty="0" smtClean="0"/>
              <a:t>e-mail</a:t>
            </a:r>
          </a:p>
        </p:txBody>
      </p:sp>
      <p:sp>
        <p:nvSpPr>
          <p:cNvPr id="21" name="Текст 3"/>
          <p:cNvSpPr>
            <a:spLocks noGrp="1"/>
          </p:cNvSpPr>
          <p:nvPr>
            <p:ph type="body" sz="half" idx="12" hasCustomPrompt="1"/>
          </p:nvPr>
        </p:nvSpPr>
        <p:spPr>
          <a:xfrm>
            <a:off x="2088000" y="3096000"/>
            <a:ext cx="4932000" cy="648000"/>
          </a:xfrm>
        </p:spPr>
        <p:txBody>
          <a:bodyPr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buNone/>
              <a:defRPr sz="3600">
                <a:solidFill>
                  <a:srgbClr val="016EB3"/>
                </a:solidFill>
              </a:defRPr>
            </a:lvl1pPr>
            <a:lvl2pPr marL="456234" indent="0">
              <a:buNone/>
              <a:defRPr sz="1200"/>
            </a:lvl2pPr>
            <a:lvl3pPr marL="912468" indent="0">
              <a:buNone/>
              <a:defRPr sz="1000"/>
            </a:lvl3pPr>
            <a:lvl4pPr marL="1368700" indent="0">
              <a:buNone/>
              <a:defRPr sz="900"/>
            </a:lvl4pPr>
            <a:lvl5pPr marL="1824935" indent="0">
              <a:buNone/>
              <a:defRPr sz="900"/>
            </a:lvl5pPr>
            <a:lvl6pPr marL="2281167" indent="0">
              <a:buNone/>
              <a:defRPr sz="900"/>
            </a:lvl6pPr>
            <a:lvl7pPr marL="2737394" indent="0">
              <a:buNone/>
              <a:defRPr sz="900"/>
            </a:lvl7pPr>
            <a:lvl8pPr marL="3193635" indent="0">
              <a:buNone/>
              <a:defRPr sz="900"/>
            </a:lvl8pPr>
            <a:lvl9pPr marL="3649869" indent="0">
              <a:buNone/>
              <a:defRPr sz="900"/>
            </a:lvl9pPr>
          </a:lstStyle>
          <a:p>
            <a:pPr lvl="0"/>
            <a:r>
              <a:rPr lang="ru-RU" dirty="0" smtClean="0"/>
              <a:t>Спасибо! / </a:t>
            </a:r>
            <a:r>
              <a:rPr lang="en-US" dirty="0" smtClean="0"/>
              <a:t>Thank you!</a:t>
            </a:r>
          </a:p>
        </p:txBody>
      </p:sp>
      <p:sp>
        <p:nvSpPr>
          <p:cNvPr id="28" name="Текст 27"/>
          <p:cNvSpPr>
            <a:spLocks noGrp="1"/>
          </p:cNvSpPr>
          <p:nvPr>
            <p:ph type="body" sz="quarter" idx="14" hasCustomPrompt="1"/>
          </p:nvPr>
        </p:nvSpPr>
        <p:spPr>
          <a:xfrm>
            <a:off x="5112000" y="6210000"/>
            <a:ext cx="2016000" cy="396000"/>
          </a:xfrm>
        </p:spPr>
        <p:txBody>
          <a:bodyPr anchor="ctr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10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ru-RU" dirty="0" smtClean="0"/>
              <a:t>Адрес компании</a:t>
            </a:r>
            <a:endParaRPr lang="ru-RU" dirty="0"/>
          </a:p>
        </p:txBody>
      </p:sp>
      <p:sp>
        <p:nvSpPr>
          <p:cNvPr id="30" name="Текст 29"/>
          <p:cNvSpPr>
            <a:spLocks noGrp="1"/>
          </p:cNvSpPr>
          <p:nvPr>
            <p:ph type="body" sz="quarter" idx="15" hasCustomPrompt="1"/>
          </p:nvPr>
        </p:nvSpPr>
        <p:spPr>
          <a:xfrm>
            <a:off x="2772000" y="6210000"/>
            <a:ext cx="2268000" cy="396000"/>
          </a:xfrm>
        </p:spPr>
        <p:txBody>
          <a:bodyPr anchor="ctr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10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ru-RU" dirty="0" smtClean="0"/>
              <a:t>Управление и Отдел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1107842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gallery dir="l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wo Char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7"/>
          <p:cNvSpPr>
            <a:spLocks noGrp="1"/>
          </p:cNvSpPr>
          <p:nvPr>
            <p:ph type="pic" sz="quarter" idx="12" hasCustomPrompt="1"/>
          </p:nvPr>
        </p:nvSpPr>
        <p:spPr>
          <a:xfrm>
            <a:off x="353585" y="1406771"/>
            <a:ext cx="4004323" cy="5095600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>
            <a:normAutofit/>
          </a:bodyPr>
          <a:lstStyle>
            <a:lvl1pPr marL="247031" indent="-247031" algn="l" defTabSz="892778" rtl="0" eaLnBrk="1" fontAlgn="base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sz="2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/>
              <a:t>Wizard Chart</a:t>
            </a:r>
          </a:p>
        </p:txBody>
      </p:sp>
      <p:sp>
        <p:nvSpPr>
          <p:cNvPr id="5" name="Picture Placeholder 7"/>
          <p:cNvSpPr>
            <a:spLocks noGrp="1"/>
          </p:cNvSpPr>
          <p:nvPr>
            <p:ph type="pic" sz="quarter" idx="13" hasCustomPrompt="1"/>
          </p:nvPr>
        </p:nvSpPr>
        <p:spPr>
          <a:xfrm>
            <a:off x="4789075" y="1406771"/>
            <a:ext cx="4003071" cy="5095600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>
            <a:normAutofit/>
          </a:bodyPr>
          <a:lstStyle>
            <a:lvl1pPr marL="247031" indent="-247031" algn="l" defTabSz="892778" rtl="0" eaLnBrk="1" fontAlgn="base" latinLnBrk="0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altLang="zh-CN" sz="2200" kern="1200" noProof="1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/>
              <a:t>Wizard Chart</a:t>
            </a:r>
          </a:p>
        </p:txBody>
      </p:sp>
      <p:sp>
        <p:nvSpPr>
          <p:cNvPr id="6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355111" y="1206767"/>
            <a:ext cx="4003071" cy="419016"/>
          </a:xfrm>
          <a:blipFill dpi="0" rotWithShape="1">
            <a:blip r:embed="rId3" cstate="print"/>
            <a:srcRect/>
            <a:tile tx="0" ty="0" sx="100000" sy="100000" flip="none" algn="b"/>
          </a:blipFill>
        </p:spPr>
        <p:txBody>
          <a:bodyPr lIns="0" tIns="0" rIns="0" bIns="83210" anchor="b" anchorCtr="0">
            <a:normAutofit/>
          </a:bodyPr>
          <a:lstStyle>
            <a:lvl1pPr marL="0" indent="0" algn="ctr">
              <a:buNone/>
              <a:defRPr sz="1500" b="1" cap="all" baseline="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5"/>
          </p:nvPr>
        </p:nvSpPr>
        <p:spPr>
          <a:xfrm>
            <a:off x="4785930" y="1206767"/>
            <a:ext cx="4004406" cy="419016"/>
          </a:xfrm>
          <a:blipFill dpi="0" rotWithShape="1">
            <a:blip r:embed="rId3" cstate="print"/>
            <a:srcRect/>
            <a:tile tx="0" ty="0" sx="100000" sy="100000" flip="none" algn="b"/>
          </a:blipFill>
        </p:spPr>
        <p:txBody>
          <a:bodyPr lIns="0" tIns="0" rIns="0" bIns="83210" anchor="b" anchorCtr="0">
            <a:normAutofit/>
          </a:bodyPr>
          <a:lstStyle>
            <a:lvl1pPr marL="0" indent="0" algn="ctr">
              <a:buNone/>
              <a:defRPr sz="1500" b="1" cap="all" baseline="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168404" y="53577"/>
            <a:ext cx="7835048" cy="834431"/>
          </a:xfrm>
        </p:spPr>
        <p:txBody>
          <a:bodyPr/>
          <a:lstStyle>
            <a:lvl1pPr>
              <a:defRPr sz="2500"/>
            </a:lvl1pPr>
          </a:lstStyle>
          <a:p>
            <a:r>
              <a:rPr lang="en-US" dirty="0"/>
              <a:t>Click to edit Master title style</a:t>
            </a:r>
            <a:endParaRPr lang="fr-FR" dirty="0"/>
          </a:p>
        </p:txBody>
      </p:sp>
      <p:sp>
        <p:nvSpPr>
          <p:cNvPr id="9" name="Rectangle 8"/>
          <p:cNvSpPr/>
          <p:nvPr/>
        </p:nvSpPr>
        <p:spPr>
          <a:xfrm>
            <a:off x="0" y="905107"/>
            <a:ext cx="9144000" cy="34180"/>
          </a:xfrm>
          <a:prstGeom prst="rect">
            <a:avLst/>
          </a:prstGeom>
          <a:solidFill>
            <a:schemeClr val="accent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893014"/>
            <a:endParaRPr lang="en-US" dirty="0">
              <a:solidFill>
                <a:srgbClr val="003149"/>
              </a:solidFill>
            </a:endParaRPr>
          </a:p>
        </p:txBody>
      </p:sp>
      <p:sp>
        <p:nvSpPr>
          <p:cNvPr id="10" name="SlideNumber"/>
          <p:cNvSpPr/>
          <p:nvPr/>
        </p:nvSpPr>
        <p:spPr>
          <a:xfrm>
            <a:off x="8216375" y="6668489"/>
            <a:ext cx="300772" cy="86818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 defTabSz="893014"/>
            <a:fld id="{BB69BBE8-4DB2-4642-B003-B220ACD5A2FD}" type="slidenum">
              <a:rPr lang="en-US" sz="900" b="1" smtClean="0">
                <a:solidFill>
                  <a:srgbClr val="080808"/>
                </a:solidFill>
                <a:latin typeface="Verdana" pitchFamily="34" charset="0"/>
              </a:rPr>
              <a:pPr algn="ctr" defTabSz="893014"/>
              <a:t>‹#›</a:t>
            </a:fld>
            <a:endParaRPr lang="fr-FR" sz="900" b="1" dirty="0">
              <a:solidFill>
                <a:srgbClr val="080808"/>
              </a:solidFill>
            </a:endParaRPr>
          </a:p>
        </p:txBody>
      </p:sp>
      <p:cxnSp>
        <p:nvCxnSpPr>
          <p:cNvPr id="11" name="Straight Connector 10"/>
          <p:cNvCxnSpPr/>
          <p:nvPr/>
        </p:nvCxnSpPr>
        <p:spPr>
          <a:xfrm>
            <a:off x="0" y="6555697"/>
            <a:ext cx="9144000" cy="0"/>
          </a:xfrm>
          <a:prstGeom prst="line">
            <a:avLst/>
          </a:prstGeom>
          <a:ln w="12700">
            <a:solidFill>
              <a:srgbClr val="999999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12" name="Group 11"/>
          <p:cNvGrpSpPr/>
          <p:nvPr/>
        </p:nvGrpSpPr>
        <p:grpSpPr>
          <a:xfrm>
            <a:off x="8574091" y="6591936"/>
            <a:ext cx="385992" cy="239924"/>
            <a:chOff x="7277614" y="2396353"/>
            <a:chExt cx="1054802" cy="609493"/>
          </a:xfrm>
        </p:grpSpPr>
        <p:sp>
          <p:nvSpPr>
            <p:cNvPr id="13" name="Freeform 7"/>
            <p:cNvSpPr>
              <a:spLocks/>
            </p:cNvSpPr>
            <p:nvPr/>
          </p:nvSpPr>
          <p:spPr bwMode="auto">
            <a:xfrm>
              <a:off x="7277614" y="2396353"/>
              <a:ext cx="527401" cy="154241"/>
            </a:xfrm>
            <a:custGeom>
              <a:avLst/>
              <a:gdLst>
                <a:gd name="T0" fmla="*/ 0 w 691"/>
                <a:gd name="T1" fmla="*/ 200 h 200"/>
                <a:gd name="T2" fmla="*/ 691 w 691"/>
                <a:gd name="T3" fmla="*/ 200 h 200"/>
                <a:gd name="T4" fmla="*/ 346 w 691"/>
                <a:gd name="T5" fmla="*/ 0 h 200"/>
                <a:gd name="T6" fmla="*/ 0 w 691"/>
                <a:gd name="T7" fmla="*/ 200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91" h="200">
                  <a:moveTo>
                    <a:pt x="0" y="200"/>
                  </a:moveTo>
                  <a:lnTo>
                    <a:pt x="691" y="200"/>
                  </a:lnTo>
                  <a:lnTo>
                    <a:pt x="346" y="0"/>
                  </a:lnTo>
                  <a:lnTo>
                    <a:pt x="0" y="200"/>
                  </a:lnTo>
                  <a:close/>
                </a:path>
              </a:pathLst>
            </a:custGeom>
            <a:solidFill>
              <a:srgbClr val="FF0505"/>
            </a:solidFill>
            <a:ln w="1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893014"/>
              <a:endParaRPr lang="en-US" sz="1700" dirty="0">
                <a:solidFill>
                  <a:srgbClr val="003149"/>
                </a:solidFill>
              </a:endParaRPr>
            </a:p>
          </p:txBody>
        </p:sp>
        <p:sp>
          <p:nvSpPr>
            <p:cNvPr id="14" name="Freeform 8"/>
            <p:cNvSpPr>
              <a:spLocks/>
            </p:cNvSpPr>
            <p:nvPr/>
          </p:nvSpPr>
          <p:spPr bwMode="auto">
            <a:xfrm>
              <a:off x="7277614" y="2550591"/>
              <a:ext cx="263702" cy="452770"/>
            </a:xfrm>
            <a:custGeom>
              <a:avLst/>
              <a:gdLst>
                <a:gd name="T0" fmla="*/ 0 w 346"/>
                <a:gd name="T1" fmla="*/ 0 h 598"/>
                <a:gd name="T2" fmla="*/ 0 w 346"/>
                <a:gd name="T3" fmla="*/ 399 h 598"/>
                <a:gd name="T4" fmla="*/ 346 w 346"/>
                <a:gd name="T5" fmla="*/ 598 h 598"/>
                <a:gd name="T6" fmla="*/ 0 w 346"/>
                <a:gd name="T7" fmla="*/ 0 h 5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46" h="598">
                  <a:moveTo>
                    <a:pt x="0" y="0"/>
                  </a:moveTo>
                  <a:lnTo>
                    <a:pt x="0" y="399"/>
                  </a:lnTo>
                  <a:lnTo>
                    <a:pt x="346" y="59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505"/>
            </a:solidFill>
            <a:ln w="2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893014"/>
              <a:endParaRPr lang="en-US" sz="1700" dirty="0">
                <a:solidFill>
                  <a:srgbClr val="003149"/>
                </a:solidFill>
              </a:endParaRPr>
            </a:p>
          </p:txBody>
        </p:sp>
        <p:sp>
          <p:nvSpPr>
            <p:cNvPr id="15" name="Freeform 9"/>
            <p:cNvSpPr>
              <a:spLocks/>
            </p:cNvSpPr>
            <p:nvPr/>
          </p:nvSpPr>
          <p:spPr bwMode="auto">
            <a:xfrm>
              <a:off x="7541313" y="2550591"/>
              <a:ext cx="263702" cy="452770"/>
            </a:xfrm>
            <a:custGeom>
              <a:avLst/>
              <a:gdLst>
                <a:gd name="T0" fmla="*/ 0 w 345"/>
                <a:gd name="T1" fmla="*/ 598 h 598"/>
                <a:gd name="T2" fmla="*/ 345 w 345"/>
                <a:gd name="T3" fmla="*/ 0 h 598"/>
                <a:gd name="T4" fmla="*/ 345 w 345"/>
                <a:gd name="T5" fmla="*/ 399 h 598"/>
                <a:gd name="T6" fmla="*/ 0 w 345"/>
                <a:gd name="T7" fmla="*/ 598 h 5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45" h="598">
                  <a:moveTo>
                    <a:pt x="0" y="598"/>
                  </a:moveTo>
                  <a:lnTo>
                    <a:pt x="345" y="0"/>
                  </a:lnTo>
                  <a:lnTo>
                    <a:pt x="345" y="399"/>
                  </a:lnTo>
                  <a:lnTo>
                    <a:pt x="0" y="598"/>
                  </a:lnTo>
                  <a:close/>
                </a:path>
              </a:pathLst>
            </a:custGeom>
            <a:solidFill>
              <a:srgbClr val="FF0505"/>
            </a:solidFill>
            <a:ln w="1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893014"/>
              <a:endParaRPr lang="en-US" sz="1700" dirty="0">
                <a:solidFill>
                  <a:srgbClr val="003149"/>
                </a:solidFill>
              </a:endParaRPr>
            </a:p>
          </p:txBody>
        </p:sp>
        <p:sp>
          <p:nvSpPr>
            <p:cNvPr id="16" name="Freeform 7"/>
            <p:cNvSpPr>
              <a:spLocks/>
            </p:cNvSpPr>
            <p:nvPr/>
          </p:nvSpPr>
          <p:spPr bwMode="auto">
            <a:xfrm rot="10800000">
              <a:off x="7805015" y="2851605"/>
              <a:ext cx="527401" cy="154241"/>
            </a:xfrm>
            <a:custGeom>
              <a:avLst/>
              <a:gdLst>
                <a:gd name="T0" fmla="*/ 0 w 691"/>
                <a:gd name="T1" fmla="*/ 200 h 200"/>
                <a:gd name="T2" fmla="*/ 691 w 691"/>
                <a:gd name="T3" fmla="*/ 200 h 200"/>
                <a:gd name="T4" fmla="*/ 346 w 691"/>
                <a:gd name="T5" fmla="*/ 0 h 200"/>
                <a:gd name="T6" fmla="*/ 0 w 691"/>
                <a:gd name="T7" fmla="*/ 200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91" h="200">
                  <a:moveTo>
                    <a:pt x="0" y="200"/>
                  </a:moveTo>
                  <a:lnTo>
                    <a:pt x="691" y="200"/>
                  </a:lnTo>
                  <a:lnTo>
                    <a:pt x="346" y="0"/>
                  </a:lnTo>
                  <a:lnTo>
                    <a:pt x="0" y="200"/>
                  </a:lnTo>
                  <a:close/>
                </a:path>
              </a:pathLst>
            </a:custGeom>
            <a:solidFill>
              <a:srgbClr val="058CEC"/>
            </a:solidFill>
            <a:ln w="1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893014"/>
              <a:endParaRPr lang="en-US" sz="1700" dirty="0">
                <a:solidFill>
                  <a:srgbClr val="003149"/>
                </a:solidFill>
              </a:endParaRPr>
            </a:p>
          </p:txBody>
        </p:sp>
        <p:sp>
          <p:nvSpPr>
            <p:cNvPr id="17" name="Freeform 8"/>
            <p:cNvSpPr>
              <a:spLocks/>
            </p:cNvSpPr>
            <p:nvPr/>
          </p:nvSpPr>
          <p:spPr bwMode="auto">
            <a:xfrm rot="10800000">
              <a:off x="8068714" y="2398838"/>
              <a:ext cx="263702" cy="452770"/>
            </a:xfrm>
            <a:custGeom>
              <a:avLst/>
              <a:gdLst>
                <a:gd name="T0" fmla="*/ 0 w 346"/>
                <a:gd name="T1" fmla="*/ 0 h 598"/>
                <a:gd name="T2" fmla="*/ 0 w 346"/>
                <a:gd name="T3" fmla="*/ 399 h 598"/>
                <a:gd name="T4" fmla="*/ 346 w 346"/>
                <a:gd name="T5" fmla="*/ 598 h 598"/>
                <a:gd name="T6" fmla="*/ 0 w 346"/>
                <a:gd name="T7" fmla="*/ 0 h 5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46" h="598">
                  <a:moveTo>
                    <a:pt x="0" y="0"/>
                  </a:moveTo>
                  <a:lnTo>
                    <a:pt x="0" y="399"/>
                  </a:lnTo>
                  <a:lnTo>
                    <a:pt x="346" y="59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58CEC"/>
            </a:solidFill>
            <a:ln w="2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893014"/>
              <a:endParaRPr lang="en-US" sz="1700" dirty="0">
                <a:solidFill>
                  <a:srgbClr val="003149"/>
                </a:solidFill>
              </a:endParaRPr>
            </a:p>
          </p:txBody>
        </p:sp>
        <p:sp>
          <p:nvSpPr>
            <p:cNvPr id="18" name="Freeform 9"/>
            <p:cNvSpPr>
              <a:spLocks/>
            </p:cNvSpPr>
            <p:nvPr/>
          </p:nvSpPr>
          <p:spPr bwMode="auto">
            <a:xfrm rot="10800000">
              <a:off x="7805015" y="2398838"/>
              <a:ext cx="263702" cy="452770"/>
            </a:xfrm>
            <a:custGeom>
              <a:avLst/>
              <a:gdLst>
                <a:gd name="T0" fmla="*/ 0 w 345"/>
                <a:gd name="T1" fmla="*/ 598 h 598"/>
                <a:gd name="T2" fmla="*/ 345 w 345"/>
                <a:gd name="T3" fmla="*/ 0 h 598"/>
                <a:gd name="T4" fmla="*/ 345 w 345"/>
                <a:gd name="T5" fmla="*/ 399 h 598"/>
                <a:gd name="T6" fmla="*/ 0 w 345"/>
                <a:gd name="T7" fmla="*/ 598 h 5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45" h="598">
                  <a:moveTo>
                    <a:pt x="0" y="598"/>
                  </a:moveTo>
                  <a:lnTo>
                    <a:pt x="345" y="0"/>
                  </a:lnTo>
                  <a:lnTo>
                    <a:pt x="345" y="399"/>
                  </a:lnTo>
                  <a:lnTo>
                    <a:pt x="0" y="598"/>
                  </a:lnTo>
                  <a:close/>
                </a:path>
              </a:pathLst>
            </a:custGeom>
            <a:solidFill>
              <a:srgbClr val="058CEC"/>
            </a:solidFill>
            <a:ln w="1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893014"/>
              <a:endParaRPr lang="en-US" sz="1700" dirty="0">
                <a:solidFill>
                  <a:srgbClr val="003149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846111684"/>
      </p:ext>
    </p:extLst>
  </p:cSld>
  <p:clrMapOvr>
    <a:masterClrMapping/>
  </p:clrMapOvr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hree Char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7"/>
          <p:cNvSpPr>
            <a:spLocks noGrp="1"/>
          </p:cNvSpPr>
          <p:nvPr>
            <p:ph type="pic" sz="quarter" idx="12" hasCustomPrompt="1"/>
          </p:nvPr>
        </p:nvSpPr>
        <p:spPr>
          <a:xfrm>
            <a:off x="353585" y="1408225"/>
            <a:ext cx="2744041" cy="5095600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>
            <a:normAutofit/>
          </a:bodyPr>
          <a:lstStyle>
            <a:lvl1pPr marL="247031" indent="-247031" algn="l" defTabSz="892778" rtl="0" eaLnBrk="1" fontAlgn="base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sz="2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/>
              <a:t>Wizard Chart</a:t>
            </a:r>
          </a:p>
        </p:txBody>
      </p:sp>
      <p:sp>
        <p:nvSpPr>
          <p:cNvPr id="5" name="Picture Placeholder 7"/>
          <p:cNvSpPr>
            <a:spLocks noGrp="1"/>
          </p:cNvSpPr>
          <p:nvPr>
            <p:ph type="pic" sz="quarter" idx="13" hasCustomPrompt="1"/>
          </p:nvPr>
        </p:nvSpPr>
        <p:spPr>
          <a:xfrm>
            <a:off x="6064239" y="1408225"/>
            <a:ext cx="2744041" cy="5095600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>
            <a:normAutofit/>
          </a:bodyPr>
          <a:lstStyle>
            <a:lvl1pPr marL="247031" indent="-247031" algn="l" defTabSz="892778" rtl="0" eaLnBrk="1" fontAlgn="base" latinLnBrk="0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altLang="zh-CN" sz="2200" kern="1200" noProof="1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/>
              <a:t>Wizard Chart</a:t>
            </a:r>
          </a:p>
        </p:txBody>
      </p:sp>
      <p:sp>
        <p:nvSpPr>
          <p:cNvPr id="6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355111" y="1206767"/>
            <a:ext cx="2744041" cy="419016"/>
          </a:xfrm>
          <a:blipFill dpi="0" rotWithShape="1">
            <a:blip r:embed="rId3" cstate="print"/>
            <a:srcRect/>
            <a:tile tx="0" ty="0" sx="100000" sy="100000" flip="none" algn="b"/>
          </a:blipFill>
        </p:spPr>
        <p:txBody>
          <a:bodyPr lIns="0" tIns="0" rIns="0" bIns="83210" anchor="b" anchorCtr="0">
            <a:normAutofit/>
          </a:bodyPr>
          <a:lstStyle>
            <a:lvl1pPr marL="0" indent="0" algn="ctr">
              <a:buNone/>
              <a:defRPr sz="1500" b="1" cap="all" baseline="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5"/>
          </p:nvPr>
        </p:nvSpPr>
        <p:spPr>
          <a:xfrm>
            <a:off x="6061102" y="1206767"/>
            <a:ext cx="2744041" cy="419016"/>
          </a:xfrm>
          <a:blipFill dpi="0" rotWithShape="1">
            <a:blip r:embed="rId3" cstate="print"/>
            <a:srcRect/>
            <a:tile tx="0" ty="0" sx="100000" sy="100000" flip="none" algn="b"/>
          </a:blipFill>
        </p:spPr>
        <p:txBody>
          <a:bodyPr lIns="0" tIns="0" rIns="0" bIns="83210" anchor="b" anchorCtr="0">
            <a:normAutofit/>
          </a:bodyPr>
          <a:lstStyle>
            <a:lvl1pPr marL="0" indent="0" algn="ctr">
              <a:buNone/>
              <a:defRPr sz="1500" b="1" cap="all" baseline="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6" hasCustomPrompt="1"/>
          </p:nvPr>
        </p:nvSpPr>
        <p:spPr>
          <a:xfrm>
            <a:off x="3208912" y="1408225"/>
            <a:ext cx="2744041" cy="5095600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>
            <a:normAutofit/>
          </a:bodyPr>
          <a:lstStyle>
            <a:lvl1pPr marL="247031" indent="-247031" algn="l" defTabSz="892778" rtl="0" eaLnBrk="1" fontAlgn="base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sz="2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/>
              <a:t>Wizard Chart</a:t>
            </a:r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7"/>
          </p:nvPr>
        </p:nvSpPr>
        <p:spPr>
          <a:xfrm>
            <a:off x="3212142" y="1206767"/>
            <a:ext cx="2744041" cy="419016"/>
          </a:xfrm>
          <a:blipFill dpi="0" rotWithShape="1">
            <a:blip r:embed="rId3" cstate="print"/>
            <a:srcRect/>
            <a:tile tx="0" ty="0" sx="100000" sy="100000" flip="none" algn="b"/>
          </a:blipFill>
        </p:spPr>
        <p:txBody>
          <a:bodyPr lIns="0" tIns="0" rIns="0" bIns="83210" anchor="b" anchorCtr="0">
            <a:normAutofit/>
          </a:bodyPr>
          <a:lstStyle>
            <a:lvl1pPr marL="0" indent="0" algn="ctr">
              <a:buNone/>
              <a:defRPr sz="1500" b="1" cap="all" baseline="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168404" y="53577"/>
            <a:ext cx="7835048" cy="834431"/>
          </a:xfrm>
        </p:spPr>
        <p:txBody>
          <a:bodyPr/>
          <a:lstStyle>
            <a:lvl1pPr>
              <a:defRPr sz="2500"/>
            </a:lvl1pPr>
          </a:lstStyle>
          <a:p>
            <a:r>
              <a:rPr lang="en-US" dirty="0"/>
              <a:t>Click to edit Master title style</a:t>
            </a:r>
            <a:endParaRPr lang="fr-FR" dirty="0"/>
          </a:p>
        </p:txBody>
      </p:sp>
      <p:sp>
        <p:nvSpPr>
          <p:cNvPr id="11" name="Rectangle 10"/>
          <p:cNvSpPr/>
          <p:nvPr/>
        </p:nvSpPr>
        <p:spPr>
          <a:xfrm>
            <a:off x="0" y="905107"/>
            <a:ext cx="9144000" cy="34180"/>
          </a:xfrm>
          <a:prstGeom prst="rect">
            <a:avLst/>
          </a:prstGeom>
          <a:solidFill>
            <a:schemeClr val="accent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893014"/>
            <a:endParaRPr lang="en-US" dirty="0">
              <a:solidFill>
                <a:srgbClr val="003149"/>
              </a:solidFill>
            </a:endParaRPr>
          </a:p>
        </p:txBody>
      </p:sp>
      <p:sp>
        <p:nvSpPr>
          <p:cNvPr id="12" name="SlideNumber"/>
          <p:cNvSpPr/>
          <p:nvPr/>
        </p:nvSpPr>
        <p:spPr>
          <a:xfrm>
            <a:off x="8216375" y="6668489"/>
            <a:ext cx="300772" cy="86818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 defTabSz="893014"/>
            <a:fld id="{BB69BBE8-4DB2-4642-B003-B220ACD5A2FD}" type="slidenum">
              <a:rPr lang="en-US" sz="900" b="1" smtClean="0">
                <a:solidFill>
                  <a:srgbClr val="080808"/>
                </a:solidFill>
                <a:latin typeface="Verdana" pitchFamily="34" charset="0"/>
              </a:rPr>
              <a:pPr algn="ctr" defTabSz="893014"/>
              <a:t>‹#›</a:t>
            </a:fld>
            <a:endParaRPr lang="fr-FR" sz="900" b="1" dirty="0">
              <a:solidFill>
                <a:srgbClr val="080808"/>
              </a:solidFill>
            </a:endParaRPr>
          </a:p>
        </p:txBody>
      </p:sp>
      <p:cxnSp>
        <p:nvCxnSpPr>
          <p:cNvPr id="13" name="Straight Connector 12"/>
          <p:cNvCxnSpPr/>
          <p:nvPr/>
        </p:nvCxnSpPr>
        <p:spPr>
          <a:xfrm>
            <a:off x="0" y="6555697"/>
            <a:ext cx="9144000" cy="0"/>
          </a:xfrm>
          <a:prstGeom prst="line">
            <a:avLst/>
          </a:prstGeom>
          <a:ln w="12700">
            <a:solidFill>
              <a:srgbClr val="999999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14" name="Group 13"/>
          <p:cNvGrpSpPr/>
          <p:nvPr/>
        </p:nvGrpSpPr>
        <p:grpSpPr>
          <a:xfrm>
            <a:off x="8574091" y="6591936"/>
            <a:ext cx="385992" cy="239924"/>
            <a:chOff x="7277614" y="2396353"/>
            <a:chExt cx="1054802" cy="609493"/>
          </a:xfrm>
        </p:grpSpPr>
        <p:sp>
          <p:nvSpPr>
            <p:cNvPr id="15" name="Freeform 7"/>
            <p:cNvSpPr>
              <a:spLocks/>
            </p:cNvSpPr>
            <p:nvPr/>
          </p:nvSpPr>
          <p:spPr bwMode="auto">
            <a:xfrm>
              <a:off x="7277614" y="2396353"/>
              <a:ext cx="527401" cy="154241"/>
            </a:xfrm>
            <a:custGeom>
              <a:avLst/>
              <a:gdLst>
                <a:gd name="T0" fmla="*/ 0 w 691"/>
                <a:gd name="T1" fmla="*/ 200 h 200"/>
                <a:gd name="T2" fmla="*/ 691 w 691"/>
                <a:gd name="T3" fmla="*/ 200 h 200"/>
                <a:gd name="T4" fmla="*/ 346 w 691"/>
                <a:gd name="T5" fmla="*/ 0 h 200"/>
                <a:gd name="T6" fmla="*/ 0 w 691"/>
                <a:gd name="T7" fmla="*/ 200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91" h="200">
                  <a:moveTo>
                    <a:pt x="0" y="200"/>
                  </a:moveTo>
                  <a:lnTo>
                    <a:pt x="691" y="200"/>
                  </a:lnTo>
                  <a:lnTo>
                    <a:pt x="346" y="0"/>
                  </a:lnTo>
                  <a:lnTo>
                    <a:pt x="0" y="200"/>
                  </a:lnTo>
                  <a:close/>
                </a:path>
              </a:pathLst>
            </a:custGeom>
            <a:solidFill>
              <a:srgbClr val="FF0505"/>
            </a:solidFill>
            <a:ln w="1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893014"/>
              <a:endParaRPr lang="en-US" sz="1700" dirty="0">
                <a:solidFill>
                  <a:srgbClr val="003149"/>
                </a:solidFill>
              </a:endParaRPr>
            </a:p>
          </p:txBody>
        </p:sp>
        <p:sp>
          <p:nvSpPr>
            <p:cNvPr id="16" name="Freeform 8"/>
            <p:cNvSpPr>
              <a:spLocks/>
            </p:cNvSpPr>
            <p:nvPr/>
          </p:nvSpPr>
          <p:spPr bwMode="auto">
            <a:xfrm>
              <a:off x="7277614" y="2550591"/>
              <a:ext cx="263702" cy="452770"/>
            </a:xfrm>
            <a:custGeom>
              <a:avLst/>
              <a:gdLst>
                <a:gd name="T0" fmla="*/ 0 w 346"/>
                <a:gd name="T1" fmla="*/ 0 h 598"/>
                <a:gd name="T2" fmla="*/ 0 w 346"/>
                <a:gd name="T3" fmla="*/ 399 h 598"/>
                <a:gd name="T4" fmla="*/ 346 w 346"/>
                <a:gd name="T5" fmla="*/ 598 h 598"/>
                <a:gd name="T6" fmla="*/ 0 w 346"/>
                <a:gd name="T7" fmla="*/ 0 h 5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46" h="598">
                  <a:moveTo>
                    <a:pt x="0" y="0"/>
                  </a:moveTo>
                  <a:lnTo>
                    <a:pt x="0" y="399"/>
                  </a:lnTo>
                  <a:lnTo>
                    <a:pt x="346" y="59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505"/>
            </a:solidFill>
            <a:ln w="2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893014"/>
              <a:endParaRPr lang="en-US" sz="1700" dirty="0">
                <a:solidFill>
                  <a:srgbClr val="003149"/>
                </a:solidFill>
              </a:endParaRPr>
            </a:p>
          </p:txBody>
        </p:sp>
        <p:sp>
          <p:nvSpPr>
            <p:cNvPr id="17" name="Freeform 9"/>
            <p:cNvSpPr>
              <a:spLocks/>
            </p:cNvSpPr>
            <p:nvPr/>
          </p:nvSpPr>
          <p:spPr bwMode="auto">
            <a:xfrm>
              <a:off x="7541313" y="2550591"/>
              <a:ext cx="263702" cy="452770"/>
            </a:xfrm>
            <a:custGeom>
              <a:avLst/>
              <a:gdLst>
                <a:gd name="T0" fmla="*/ 0 w 345"/>
                <a:gd name="T1" fmla="*/ 598 h 598"/>
                <a:gd name="T2" fmla="*/ 345 w 345"/>
                <a:gd name="T3" fmla="*/ 0 h 598"/>
                <a:gd name="T4" fmla="*/ 345 w 345"/>
                <a:gd name="T5" fmla="*/ 399 h 598"/>
                <a:gd name="T6" fmla="*/ 0 w 345"/>
                <a:gd name="T7" fmla="*/ 598 h 5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45" h="598">
                  <a:moveTo>
                    <a:pt x="0" y="598"/>
                  </a:moveTo>
                  <a:lnTo>
                    <a:pt x="345" y="0"/>
                  </a:lnTo>
                  <a:lnTo>
                    <a:pt x="345" y="399"/>
                  </a:lnTo>
                  <a:lnTo>
                    <a:pt x="0" y="598"/>
                  </a:lnTo>
                  <a:close/>
                </a:path>
              </a:pathLst>
            </a:custGeom>
            <a:solidFill>
              <a:srgbClr val="FF0505"/>
            </a:solidFill>
            <a:ln w="1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893014"/>
              <a:endParaRPr lang="en-US" sz="1700" dirty="0">
                <a:solidFill>
                  <a:srgbClr val="003149"/>
                </a:solidFill>
              </a:endParaRPr>
            </a:p>
          </p:txBody>
        </p:sp>
        <p:sp>
          <p:nvSpPr>
            <p:cNvPr id="18" name="Freeform 7"/>
            <p:cNvSpPr>
              <a:spLocks/>
            </p:cNvSpPr>
            <p:nvPr/>
          </p:nvSpPr>
          <p:spPr bwMode="auto">
            <a:xfrm rot="10800000">
              <a:off x="7805015" y="2851605"/>
              <a:ext cx="527401" cy="154241"/>
            </a:xfrm>
            <a:custGeom>
              <a:avLst/>
              <a:gdLst>
                <a:gd name="T0" fmla="*/ 0 w 691"/>
                <a:gd name="T1" fmla="*/ 200 h 200"/>
                <a:gd name="T2" fmla="*/ 691 w 691"/>
                <a:gd name="T3" fmla="*/ 200 h 200"/>
                <a:gd name="T4" fmla="*/ 346 w 691"/>
                <a:gd name="T5" fmla="*/ 0 h 200"/>
                <a:gd name="T6" fmla="*/ 0 w 691"/>
                <a:gd name="T7" fmla="*/ 200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91" h="200">
                  <a:moveTo>
                    <a:pt x="0" y="200"/>
                  </a:moveTo>
                  <a:lnTo>
                    <a:pt x="691" y="200"/>
                  </a:lnTo>
                  <a:lnTo>
                    <a:pt x="346" y="0"/>
                  </a:lnTo>
                  <a:lnTo>
                    <a:pt x="0" y="200"/>
                  </a:lnTo>
                  <a:close/>
                </a:path>
              </a:pathLst>
            </a:custGeom>
            <a:solidFill>
              <a:srgbClr val="058CEC"/>
            </a:solidFill>
            <a:ln w="1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893014"/>
              <a:endParaRPr lang="en-US" sz="1700" dirty="0">
                <a:solidFill>
                  <a:srgbClr val="003149"/>
                </a:solidFill>
              </a:endParaRPr>
            </a:p>
          </p:txBody>
        </p:sp>
        <p:sp>
          <p:nvSpPr>
            <p:cNvPr id="19" name="Freeform 8"/>
            <p:cNvSpPr>
              <a:spLocks/>
            </p:cNvSpPr>
            <p:nvPr/>
          </p:nvSpPr>
          <p:spPr bwMode="auto">
            <a:xfrm rot="10800000">
              <a:off x="8068714" y="2398838"/>
              <a:ext cx="263702" cy="452770"/>
            </a:xfrm>
            <a:custGeom>
              <a:avLst/>
              <a:gdLst>
                <a:gd name="T0" fmla="*/ 0 w 346"/>
                <a:gd name="T1" fmla="*/ 0 h 598"/>
                <a:gd name="T2" fmla="*/ 0 w 346"/>
                <a:gd name="T3" fmla="*/ 399 h 598"/>
                <a:gd name="T4" fmla="*/ 346 w 346"/>
                <a:gd name="T5" fmla="*/ 598 h 598"/>
                <a:gd name="T6" fmla="*/ 0 w 346"/>
                <a:gd name="T7" fmla="*/ 0 h 5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46" h="598">
                  <a:moveTo>
                    <a:pt x="0" y="0"/>
                  </a:moveTo>
                  <a:lnTo>
                    <a:pt x="0" y="399"/>
                  </a:lnTo>
                  <a:lnTo>
                    <a:pt x="346" y="59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58CEC"/>
            </a:solidFill>
            <a:ln w="2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893014"/>
              <a:endParaRPr lang="en-US" sz="1700" dirty="0">
                <a:solidFill>
                  <a:srgbClr val="003149"/>
                </a:solidFill>
              </a:endParaRPr>
            </a:p>
          </p:txBody>
        </p:sp>
        <p:sp>
          <p:nvSpPr>
            <p:cNvPr id="20" name="Freeform 9"/>
            <p:cNvSpPr>
              <a:spLocks/>
            </p:cNvSpPr>
            <p:nvPr/>
          </p:nvSpPr>
          <p:spPr bwMode="auto">
            <a:xfrm rot="10800000">
              <a:off x="7805015" y="2398838"/>
              <a:ext cx="263702" cy="452770"/>
            </a:xfrm>
            <a:custGeom>
              <a:avLst/>
              <a:gdLst>
                <a:gd name="T0" fmla="*/ 0 w 345"/>
                <a:gd name="T1" fmla="*/ 598 h 598"/>
                <a:gd name="T2" fmla="*/ 345 w 345"/>
                <a:gd name="T3" fmla="*/ 0 h 598"/>
                <a:gd name="T4" fmla="*/ 345 w 345"/>
                <a:gd name="T5" fmla="*/ 399 h 598"/>
                <a:gd name="T6" fmla="*/ 0 w 345"/>
                <a:gd name="T7" fmla="*/ 598 h 5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45" h="598">
                  <a:moveTo>
                    <a:pt x="0" y="598"/>
                  </a:moveTo>
                  <a:lnTo>
                    <a:pt x="345" y="0"/>
                  </a:lnTo>
                  <a:lnTo>
                    <a:pt x="345" y="399"/>
                  </a:lnTo>
                  <a:lnTo>
                    <a:pt x="0" y="598"/>
                  </a:lnTo>
                  <a:close/>
                </a:path>
              </a:pathLst>
            </a:custGeom>
            <a:solidFill>
              <a:srgbClr val="058CEC"/>
            </a:solidFill>
            <a:ln w="1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893014"/>
              <a:endParaRPr lang="en-US" sz="1700" dirty="0">
                <a:solidFill>
                  <a:srgbClr val="003149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802182350"/>
      </p:ext>
    </p:extLst>
  </p:cSld>
  <p:clrMapOvr>
    <a:masterClrMapping/>
  </p:clrMapOvr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our Char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7"/>
          <p:cNvSpPr>
            <a:spLocks noGrp="1"/>
          </p:cNvSpPr>
          <p:nvPr>
            <p:ph type="pic" sz="quarter" idx="12" hasCustomPrompt="1"/>
          </p:nvPr>
        </p:nvSpPr>
        <p:spPr>
          <a:xfrm>
            <a:off x="353585" y="1292912"/>
            <a:ext cx="4004323" cy="2535079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>
            <a:normAutofit/>
          </a:bodyPr>
          <a:lstStyle>
            <a:lvl1pPr marL="247031" indent="-247031" algn="l" defTabSz="892778" rtl="0" eaLnBrk="1" fontAlgn="base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sz="2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/>
              <a:t>Wizard Chart</a:t>
            </a:r>
          </a:p>
        </p:txBody>
      </p:sp>
      <p:sp>
        <p:nvSpPr>
          <p:cNvPr id="5" name="Picture Placeholder 7"/>
          <p:cNvSpPr>
            <a:spLocks noGrp="1"/>
          </p:cNvSpPr>
          <p:nvPr>
            <p:ph type="pic" sz="quarter" idx="13" hasCustomPrompt="1"/>
          </p:nvPr>
        </p:nvSpPr>
        <p:spPr>
          <a:xfrm>
            <a:off x="4789075" y="1292912"/>
            <a:ext cx="4003071" cy="2535079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>
            <a:normAutofit/>
          </a:bodyPr>
          <a:lstStyle>
            <a:lvl1pPr marL="247031" indent="-247031" algn="l" defTabSz="892778" rtl="0" eaLnBrk="1" fontAlgn="base" latinLnBrk="0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altLang="zh-CN" sz="2200" kern="1200" noProof="1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/>
              <a:t>Wizard Chart</a:t>
            </a:r>
          </a:p>
        </p:txBody>
      </p:sp>
      <p:sp>
        <p:nvSpPr>
          <p:cNvPr id="6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355111" y="1093904"/>
            <a:ext cx="4003071" cy="419016"/>
          </a:xfrm>
          <a:blipFill dpi="0" rotWithShape="1">
            <a:blip r:embed="rId3" cstate="print"/>
            <a:srcRect/>
            <a:tile tx="0" ty="0" sx="100000" sy="100000" flip="none" algn="b"/>
          </a:blipFill>
        </p:spPr>
        <p:txBody>
          <a:bodyPr lIns="0" tIns="0" rIns="0" bIns="83210" anchor="b" anchorCtr="0">
            <a:normAutofit/>
          </a:bodyPr>
          <a:lstStyle>
            <a:lvl1pPr marL="0" indent="0" algn="ctr">
              <a:buNone/>
              <a:defRPr sz="1500" b="1" cap="all" baseline="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5"/>
          </p:nvPr>
        </p:nvSpPr>
        <p:spPr>
          <a:xfrm>
            <a:off x="4785930" y="1093904"/>
            <a:ext cx="4004406" cy="419016"/>
          </a:xfrm>
          <a:blipFill dpi="0" rotWithShape="1">
            <a:blip r:embed="rId3" cstate="print"/>
            <a:srcRect/>
            <a:tile tx="0" ty="0" sx="100000" sy="100000" flip="none" algn="b"/>
          </a:blipFill>
        </p:spPr>
        <p:txBody>
          <a:bodyPr lIns="0" tIns="0" rIns="0" bIns="83210" anchor="b" anchorCtr="0">
            <a:normAutofit/>
          </a:bodyPr>
          <a:lstStyle>
            <a:lvl1pPr marL="0" indent="0" algn="ctr">
              <a:buNone/>
              <a:defRPr sz="1500" b="1" cap="all" baseline="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6" hasCustomPrompt="1"/>
          </p:nvPr>
        </p:nvSpPr>
        <p:spPr>
          <a:xfrm>
            <a:off x="355111" y="3993909"/>
            <a:ext cx="4004323" cy="2535079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>
            <a:normAutofit/>
          </a:bodyPr>
          <a:lstStyle>
            <a:lvl1pPr marL="247031" indent="-247031" algn="l" defTabSz="892778" rtl="0" eaLnBrk="1" fontAlgn="base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sz="2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/>
              <a:t>Wizard Chart</a:t>
            </a:r>
          </a:p>
        </p:txBody>
      </p:sp>
      <p:sp>
        <p:nvSpPr>
          <p:cNvPr id="9" name="Picture Placeholder 7"/>
          <p:cNvSpPr>
            <a:spLocks noGrp="1"/>
          </p:cNvSpPr>
          <p:nvPr>
            <p:ph type="pic" sz="quarter" idx="17" hasCustomPrompt="1"/>
          </p:nvPr>
        </p:nvSpPr>
        <p:spPr>
          <a:xfrm>
            <a:off x="4785930" y="3993909"/>
            <a:ext cx="4003071" cy="2535079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>
            <a:normAutofit/>
          </a:bodyPr>
          <a:lstStyle>
            <a:lvl1pPr marL="247031" indent="-247031" algn="l" defTabSz="892778" rtl="0" eaLnBrk="1" fontAlgn="base" latinLnBrk="0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altLang="zh-CN" sz="2200" kern="1200" noProof="1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/>
              <a:t>Wizard Chart</a:t>
            </a:r>
          </a:p>
        </p:txBody>
      </p:sp>
      <p:sp>
        <p:nvSpPr>
          <p:cNvPr id="10" name="Text Placeholder 6"/>
          <p:cNvSpPr>
            <a:spLocks noGrp="1"/>
          </p:cNvSpPr>
          <p:nvPr>
            <p:ph type="body" sz="quarter" idx="18"/>
          </p:nvPr>
        </p:nvSpPr>
        <p:spPr>
          <a:xfrm>
            <a:off x="355111" y="3793937"/>
            <a:ext cx="4003071" cy="419016"/>
          </a:xfrm>
          <a:blipFill dpi="0" rotWithShape="1">
            <a:blip r:embed="rId3" cstate="print"/>
            <a:srcRect/>
            <a:tile tx="0" ty="0" sx="100000" sy="100000" flip="none" algn="b"/>
          </a:blipFill>
        </p:spPr>
        <p:txBody>
          <a:bodyPr lIns="0" tIns="0" rIns="0" bIns="83210" anchor="b" anchorCtr="0">
            <a:normAutofit/>
          </a:bodyPr>
          <a:lstStyle>
            <a:lvl1pPr marL="0" indent="0" algn="ctr">
              <a:buNone/>
              <a:defRPr sz="1500" b="1" cap="all" baseline="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19"/>
          </p:nvPr>
        </p:nvSpPr>
        <p:spPr>
          <a:xfrm>
            <a:off x="4785930" y="3793937"/>
            <a:ext cx="4004406" cy="419016"/>
          </a:xfrm>
          <a:blipFill dpi="0" rotWithShape="1">
            <a:blip r:embed="rId3" cstate="print"/>
            <a:srcRect/>
            <a:tile tx="0" ty="0" sx="100000" sy="100000" flip="none" algn="b"/>
          </a:blipFill>
        </p:spPr>
        <p:txBody>
          <a:bodyPr lIns="0" tIns="0" rIns="0" bIns="83210" anchor="b" anchorCtr="0">
            <a:normAutofit/>
          </a:bodyPr>
          <a:lstStyle>
            <a:lvl1pPr marL="0" indent="0" algn="ctr">
              <a:buNone/>
              <a:defRPr sz="1500" b="1" cap="all" baseline="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168404" y="53577"/>
            <a:ext cx="7835048" cy="834431"/>
          </a:xfrm>
        </p:spPr>
        <p:txBody>
          <a:bodyPr/>
          <a:lstStyle>
            <a:lvl1pPr>
              <a:defRPr sz="2500"/>
            </a:lvl1pPr>
          </a:lstStyle>
          <a:p>
            <a:r>
              <a:rPr lang="en-US" dirty="0"/>
              <a:t>Click to edit Master title style</a:t>
            </a:r>
            <a:endParaRPr lang="fr-FR" dirty="0"/>
          </a:p>
        </p:txBody>
      </p:sp>
      <p:sp>
        <p:nvSpPr>
          <p:cNvPr id="13" name="Rectangle 12"/>
          <p:cNvSpPr/>
          <p:nvPr/>
        </p:nvSpPr>
        <p:spPr>
          <a:xfrm>
            <a:off x="0" y="905107"/>
            <a:ext cx="9144000" cy="34180"/>
          </a:xfrm>
          <a:prstGeom prst="rect">
            <a:avLst/>
          </a:prstGeom>
          <a:solidFill>
            <a:schemeClr val="accent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893014"/>
            <a:endParaRPr lang="en-US" dirty="0">
              <a:solidFill>
                <a:srgbClr val="003149"/>
              </a:solidFill>
            </a:endParaRPr>
          </a:p>
        </p:txBody>
      </p:sp>
      <p:sp>
        <p:nvSpPr>
          <p:cNvPr id="14" name="SlideNumber"/>
          <p:cNvSpPr/>
          <p:nvPr/>
        </p:nvSpPr>
        <p:spPr>
          <a:xfrm>
            <a:off x="8216375" y="6668489"/>
            <a:ext cx="300772" cy="86818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 defTabSz="893014"/>
            <a:fld id="{BB69BBE8-4DB2-4642-B003-B220ACD5A2FD}" type="slidenum">
              <a:rPr lang="en-US" sz="900" b="1" smtClean="0">
                <a:solidFill>
                  <a:srgbClr val="080808"/>
                </a:solidFill>
                <a:latin typeface="Verdana" pitchFamily="34" charset="0"/>
              </a:rPr>
              <a:pPr algn="ctr" defTabSz="893014"/>
              <a:t>‹#›</a:t>
            </a:fld>
            <a:endParaRPr lang="fr-FR" sz="900" b="1" dirty="0">
              <a:solidFill>
                <a:srgbClr val="080808"/>
              </a:solidFill>
            </a:endParaRPr>
          </a:p>
        </p:txBody>
      </p:sp>
      <p:cxnSp>
        <p:nvCxnSpPr>
          <p:cNvPr id="15" name="Straight Connector 14"/>
          <p:cNvCxnSpPr/>
          <p:nvPr/>
        </p:nvCxnSpPr>
        <p:spPr>
          <a:xfrm>
            <a:off x="0" y="6555697"/>
            <a:ext cx="9144000" cy="0"/>
          </a:xfrm>
          <a:prstGeom prst="line">
            <a:avLst/>
          </a:prstGeom>
          <a:ln w="12700">
            <a:solidFill>
              <a:srgbClr val="999999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16" name="Group 15"/>
          <p:cNvGrpSpPr/>
          <p:nvPr/>
        </p:nvGrpSpPr>
        <p:grpSpPr>
          <a:xfrm>
            <a:off x="8574091" y="6591936"/>
            <a:ext cx="385992" cy="239924"/>
            <a:chOff x="7277614" y="2396353"/>
            <a:chExt cx="1054802" cy="609493"/>
          </a:xfrm>
        </p:grpSpPr>
        <p:sp>
          <p:nvSpPr>
            <p:cNvPr id="17" name="Freeform 7"/>
            <p:cNvSpPr>
              <a:spLocks/>
            </p:cNvSpPr>
            <p:nvPr/>
          </p:nvSpPr>
          <p:spPr bwMode="auto">
            <a:xfrm>
              <a:off x="7277614" y="2396353"/>
              <a:ext cx="527401" cy="154241"/>
            </a:xfrm>
            <a:custGeom>
              <a:avLst/>
              <a:gdLst>
                <a:gd name="T0" fmla="*/ 0 w 691"/>
                <a:gd name="T1" fmla="*/ 200 h 200"/>
                <a:gd name="T2" fmla="*/ 691 w 691"/>
                <a:gd name="T3" fmla="*/ 200 h 200"/>
                <a:gd name="T4" fmla="*/ 346 w 691"/>
                <a:gd name="T5" fmla="*/ 0 h 200"/>
                <a:gd name="T6" fmla="*/ 0 w 691"/>
                <a:gd name="T7" fmla="*/ 200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91" h="200">
                  <a:moveTo>
                    <a:pt x="0" y="200"/>
                  </a:moveTo>
                  <a:lnTo>
                    <a:pt x="691" y="200"/>
                  </a:lnTo>
                  <a:lnTo>
                    <a:pt x="346" y="0"/>
                  </a:lnTo>
                  <a:lnTo>
                    <a:pt x="0" y="200"/>
                  </a:lnTo>
                  <a:close/>
                </a:path>
              </a:pathLst>
            </a:custGeom>
            <a:solidFill>
              <a:srgbClr val="FF0505"/>
            </a:solidFill>
            <a:ln w="1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893014"/>
              <a:endParaRPr lang="en-US" sz="1700" dirty="0">
                <a:solidFill>
                  <a:srgbClr val="003149"/>
                </a:solidFill>
              </a:endParaRPr>
            </a:p>
          </p:txBody>
        </p:sp>
        <p:sp>
          <p:nvSpPr>
            <p:cNvPr id="18" name="Freeform 8"/>
            <p:cNvSpPr>
              <a:spLocks/>
            </p:cNvSpPr>
            <p:nvPr/>
          </p:nvSpPr>
          <p:spPr bwMode="auto">
            <a:xfrm>
              <a:off x="7277614" y="2550591"/>
              <a:ext cx="263702" cy="452770"/>
            </a:xfrm>
            <a:custGeom>
              <a:avLst/>
              <a:gdLst>
                <a:gd name="T0" fmla="*/ 0 w 346"/>
                <a:gd name="T1" fmla="*/ 0 h 598"/>
                <a:gd name="T2" fmla="*/ 0 w 346"/>
                <a:gd name="T3" fmla="*/ 399 h 598"/>
                <a:gd name="T4" fmla="*/ 346 w 346"/>
                <a:gd name="T5" fmla="*/ 598 h 598"/>
                <a:gd name="T6" fmla="*/ 0 w 346"/>
                <a:gd name="T7" fmla="*/ 0 h 5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46" h="598">
                  <a:moveTo>
                    <a:pt x="0" y="0"/>
                  </a:moveTo>
                  <a:lnTo>
                    <a:pt x="0" y="399"/>
                  </a:lnTo>
                  <a:lnTo>
                    <a:pt x="346" y="59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505"/>
            </a:solidFill>
            <a:ln w="2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893014"/>
              <a:endParaRPr lang="en-US" sz="1700" dirty="0">
                <a:solidFill>
                  <a:srgbClr val="003149"/>
                </a:solidFill>
              </a:endParaRPr>
            </a:p>
          </p:txBody>
        </p:sp>
        <p:sp>
          <p:nvSpPr>
            <p:cNvPr id="19" name="Freeform 9"/>
            <p:cNvSpPr>
              <a:spLocks/>
            </p:cNvSpPr>
            <p:nvPr/>
          </p:nvSpPr>
          <p:spPr bwMode="auto">
            <a:xfrm>
              <a:off x="7541313" y="2550591"/>
              <a:ext cx="263702" cy="452770"/>
            </a:xfrm>
            <a:custGeom>
              <a:avLst/>
              <a:gdLst>
                <a:gd name="T0" fmla="*/ 0 w 345"/>
                <a:gd name="T1" fmla="*/ 598 h 598"/>
                <a:gd name="T2" fmla="*/ 345 w 345"/>
                <a:gd name="T3" fmla="*/ 0 h 598"/>
                <a:gd name="T4" fmla="*/ 345 w 345"/>
                <a:gd name="T5" fmla="*/ 399 h 598"/>
                <a:gd name="T6" fmla="*/ 0 w 345"/>
                <a:gd name="T7" fmla="*/ 598 h 5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45" h="598">
                  <a:moveTo>
                    <a:pt x="0" y="598"/>
                  </a:moveTo>
                  <a:lnTo>
                    <a:pt x="345" y="0"/>
                  </a:lnTo>
                  <a:lnTo>
                    <a:pt x="345" y="399"/>
                  </a:lnTo>
                  <a:lnTo>
                    <a:pt x="0" y="598"/>
                  </a:lnTo>
                  <a:close/>
                </a:path>
              </a:pathLst>
            </a:custGeom>
            <a:solidFill>
              <a:srgbClr val="FF0505"/>
            </a:solidFill>
            <a:ln w="1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893014"/>
              <a:endParaRPr lang="en-US" sz="1700" dirty="0">
                <a:solidFill>
                  <a:srgbClr val="003149"/>
                </a:solidFill>
              </a:endParaRPr>
            </a:p>
          </p:txBody>
        </p:sp>
        <p:sp>
          <p:nvSpPr>
            <p:cNvPr id="20" name="Freeform 7"/>
            <p:cNvSpPr>
              <a:spLocks/>
            </p:cNvSpPr>
            <p:nvPr/>
          </p:nvSpPr>
          <p:spPr bwMode="auto">
            <a:xfrm rot="10800000">
              <a:off x="7805015" y="2851605"/>
              <a:ext cx="527401" cy="154241"/>
            </a:xfrm>
            <a:custGeom>
              <a:avLst/>
              <a:gdLst>
                <a:gd name="T0" fmla="*/ 0 w 691"/>
                <a:gd name="T1" fmla="*/ 200 h 200"/>
                <a:gd name="T2" fmla="*/ 691 w 691"/>
                <a:gd name="T3" fmla="*/ 200 h 200"/>
                <a:gd name="T4" fmla="*/ 346 w 691"/>
                <a:gd name="T5" fmla="*/ 0 h 200"/>
                <a:gd name="T6" fmla="*/ 0 w 691"/>
                <a:gd name="T7" fmla="*/ 200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91" h="200">
                  <a:moveTo>
                    <a:pt x="0" y="200"/>
                  </a:moveTo>
                  <a:lnTo>
                    <a:pt x="691" y="200"/>
                  </a:lnTo>
                  <a:lnTo>
                    <a:pt x="346" y="0"/>
                  </a:lnTo>
                  <a:lnTo>
                    <a:pt x="0" y="200"/>
                  </a:lnTo>
                  <a:close/>
                </a:path>
              </a:pathLst>
            </a:custGeom>
            <a:solidFill>
              <a:srgbClr val="058CEC"/>
            </a:solidFill>
            <a:ln w="1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893014"/>
              <a:endParaRPr lang="en-US" sz="1700" dirty="0">
                <a:solidFill>
                  <a:srgbClr val="003149"/>
                </a:solidFill>
              </a:endParaRPr>
            </a:p>
          </p:txBody>
        </p:sp>
        <p:sp>
          <p:nvSpPr>
            <p:cNvPr id="21" name="Freeform 8"/>
            <p:cNvSpPr>
              <a:spLocks/>
            </p:cNvSpPr>
            <p:nvPr/>
          </p:nvSpPr>
          <p:spPr bwMode="auto">
            <a:xfrm rot="10800000">
              <a:off x="8068714" y="2398838"/>
              <a:ext cx="263702" cy="452770"/>
            </a:xfrm>
            <a:custGeom>
              <a:avLst/>
              <a:gdLst>
                <a:gd name="T0" fmla="*/ 0 w 346"/>
                <a:gd name="T1" fmla="*/ 0 h 598"/>
                <a:gd name="T2" fmla="*/ 0 w 346"/>
                <a:gd name="T3" fmla="*/ 399 h 598"/>
                <a:gd name="T4" fmla="*/ 346 w 346"/>
                <a:gd name="T5" fmla="*/ 598 h 598"/>
                <a:gd name="T6" fmla="*/ 0 w 346"/>
                <a:gd name="T7" fmla="*/ 0 h 5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46" h="598">
                  <a:moveTo>
                    <a:pt x="0" y="0"/>
                  </a:moveTo>
                  <a:lnTo>
                    <a:pt x="0" y="399"/>
                  </a:lnTo>
                  <a:lnTo>
                    <a:pt x="346" y="59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58CEC"/>
            </a:solidFill>
            <a:ln w="2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893014"/>
              <a:endParaRPr lang="en-US" sz="1700" dirty="0">
                <a:solidFill>
                  <a:srgbClr val="003149"/>
                </a:solidFill>
              </a:endParaRPr>
            </a:p>
          </p:txBody>
        </p:sp>
        <p:sp>
          <p:nvSpPr>
            <p:cNvPr id="22" name="Freeform 9"/>
            <p:cNvSpPr>
              <a:spLocks/>
            </p:cNvSpPr>
            <p:nvPr/>
          </p:nvSpPr>
          <p:spPr bwMode="auto">
            <a:xfrm rot="10800000">
              <a:off x="7805015" y="2398838"/>
              <a:ext cx="263702" cy="452770"/>
            </a:xfrm>
            <a:custGeom>
              <a:avLst/>
              <a:gdLst>
                <a:gd name="T0" fmla="*/ 0 w 345"/>
                <a:gd name="T1" fmla="*/ 598 h 598"/>
                <a:gd name="T2" fmla="*/ 345 w 345"/>
                <a:gd name="T3" fmla="*/ 0 h 598"/>
                <a:gd name="T4" fmla="*/ 345 w 345"/>
                <a:gd name="T5" fmla="*/ 399 h 598"/>
                <a:gd name="T6" fmla="*/ 0 w 345"/>
                <a:gd name="T7" fmla="*/ 598 h 5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45" h="598">
                  <a:moveTo>
                    <a:pt x="0" y="598"/>
                  </a:moveTo>
                  <a:lnTo>
                    <a:pt x="345" y="0"/>
                  </a:lnTo>
                  <a:lnTo>
                    <a:pt x="345" y="399"/>
                  </a:lnTo>
                  <a:lnTo>
                    <a:pt x="0" y="598"/>
                  </a:lnTo>
                  <a:close/>
                </a:path>
              </a:pathLst>
            </a:custGeom>
            <a:solidFill>
              <a:srgbClr val="058CEC"/>
            </a:solidFill>
            <a:ln w="1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893014"/>
              <a:endParaRPr lang="en-US" sz="1700" dirty="0">
                <a:solidFill>
                  <a:srgbClr val="003149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945892035"/>
      </p:ext>
    </p:extLst>
  </p:cSld>
  <p:clrMapOvr>
    <a:masterClrMapping/>
  </p:clrMapOvr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13751" y="4223813"/>
            <a:ext cx="8199287" cy="539163"/>
          </a:xfrm>
          <a:prstGeom prst="rect">
            <a:avLst/>
          </a:prstGeom>
        </p:spPr>
        <p:txBody>
          <a:bodyPr lIns="0" rIns="0">
            <a:normAutofit/>
          </a:bodyPr>
          <a:lstStyle>
            <a:lvl1pPr marL="0" indent="0" algn="l">
              <a:buNone/>
              <a:defRPr sz="2500">
                <a:solidFill>
                  <a:srgbClr val="666666"/>
                </a:solidFill>
              </a:defRPr>
            </a:lvl1pPr>
            <a:lvl2pPr marL="44650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930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3952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7860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3253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6790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2554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5720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cxnSp>
        <p:nvCxnSpPr>
          <p:cNvPr id="12" name="Straight Connector 11"/>
          <p:cNvCxnSpPr/>
          <p:nvPr/>
        </p:nvCxnSpPr>
        <p:spPr>
          <a:xfrm>
            <a:off x="0" y="6555697"/>
            <a:ext cx="9144000" cy="0"/>
          </a:xfrm>
          <a:prstGeom prst="line">
            <a:avLst/>
          </a:prstGeom>
          <a:ln w="12700">
            <a:solidFill>
              <a:srgbClr val="999999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6356" y="147710"/>
            <a:ext cx="4605067" cy="32129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13751" y="3634104"/>
            <a:ext cx="8199287" cy="589709"/>
          </a:xfrm>
          <a:prstGeom prst="rect">
            <a:avLst/>
          </a:prstGeom>
        </p:spPr>
        <p:txBody>
          <a:bodyPr lIns="0" tIns="41605" rIns="0" bIns="41605" anchor="b" anchorCtr="0">
            <a:normAutofit/>
          </a:bodyPr>
          <a:lstStyle>
            <a:lvl1pPr>
              <a:defRPr sz="2900" b="1">
                <a:solidFill>
                  <a:schemeClr val="accent1">
                    <a:lumMod val="50000"/>
                  </a:schemeClr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313752" y="4952322"/>
            <a:ext cx="4605067" cy="539163"/>
          </a:xfrm>
        </p:spPr>
        <p:txBody>
          <a:bodyPr vert="horz" lIns="0" tIns="41605" rIns="0" bIns="41605" rtlCol="0" anchor="t" anchorCtr="0">
            <a:normAutofit/>
          </a:bodyPr>
          <a:lstStyle>
            <a:lvl1pPr marL="247031" indent="-247031">
              <a:buFont typeface="Arial" pitchFamily="34" charset="0"/>
              <a:buChar char="•"/>
              <a:defRPr lang="en-US" sz="2200" smtClean="0">
                <a:solidFill>
                  <a:srgbClr val="666666"/>
                </a:solidFill>
              </a:defRPr>
            </a:lvl1pPr>
            <a:lvl2pPr>
              <a:defRPr lang="en-US" smtClean="0">
                <a:solidFill>
                  <a:schemeClr val="tx1">
                    <a:tint val="75000"/>
                  </a:schemeClr>
                </a:solidFill>
              </a:defRPr>
            </a:lvl2pPr>
            <a:lvl3pPr>
              <a:defRPr lang="en-US" smtClean="0">
                <a:solidFill>
                  <a:schemeClr val="tx1">
                    <a:tint val="75000"/>
                  </a:schemeClr>
                </a:solidFill>
              </a:defRPr>
            </a:lvl3pPr>
            <a:lvl4pPr>
              <a:defRPr lang="en-US" smtClean="0">
                <a:solidFill>
                  <a:schemeClr val="tx1">
                    <a:tint val="75000"/>
                  </a:schemeClr>
                </a:solidFill>
              </a:defRPr>
            </a:lvl4pPr>
            <a:lvl5pPr>
              <a:defRPr lang="en-US">
                <a:solidFill>
                  <a:schemeClr val="tx1">
                    <a:tint val="75000"/>
                  </a:schemeClr>
                </a:solidFill>
              </a:defRPr>
            </a:lvl5pPr>
          </a:lstStyle>
          <a:p>
            <a:pPr marL="0" lvl="0" indent="0">
              <a:buNone/>
            </a:pPr>
            <a:r>
              <a:rPr lang="en-US"/>
              <a:t>Click to edit Master text styles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65722" y="5352686"/>
            <a:ext cx="2547317" cy="10942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81255968"/>
      </p:ext>
    </p:extLst>
  </p:cSld>
  <p:clrMapOvr>
    <a:masterClrMapping/>
  </p:clrMapOvr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19209293"/>
      </p:ext>
    </p:extLst>
  </p:cSld>
  <p:clrMapOvr>
    <a:masterClrMapping/>
  </p:clrMapOvr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07266" name="Rectangle 2"/>
          <p:cNvSpPr>
            <a:spLocks noGrp="1" noChangeArrowheads="1"/>
          </p:cNvSpPr>
          <p:nvPr>
            <p:ph type="subTitle" idx="1"/>
          </p:nvPr>
        </p:nvSpPr>
        <p:spPr>
          <a:xfrm>
            <a:off x="2935485" y="5737225"/>
            <a:ext cx="5522912" cy="270843"/>
          </a:xfrm>
          <a:effectLst>
            <a:outerShdw dist="17961" dir="2700000" algn="ctr" rotWithShape="0">
              <a:srgbClr val="FFFFFF"/>
            </a:outerShdw>
          </a:effectLst>
        </p:spPr>
        <p:txBody>
          <a:bodyPr>
            <a:spAutoFit/>
          </a:bodyPr>
          <a:lstStyle>
            <a:lvl1pPr marL="0" indent="0" algn="r" defTabSz="820738">
              <a:spcBef>
                <a:spcPct val="0"/>
              </a:spcBef>
              <a:buClrTx/>
              <a:buFontTx/>
              <a:buNone/>
              <a:defRPr sz="1600">
                <a:solidFill>
                  <a:schemeClr val="tx2"/>
                </a:solidFill>
              </a:defRPr>
            </a:lvl1pPr>
          </a:lstStyle>
          <a:p>
            <a:r>
              <a:rPr lang="ru-RU" smtClean="0"/>
              <a:t>Образец подзаголовка</a:t>
            </a:r>
            <a:endParaRPr lang="en-US" dirty="0"/>
          </a:p>
        </p:txBody>
      </p:sp>
      <p:sp>
        <p:nvSpPr>
          <p:cNvPr id="907267" name="Rectangle 3"/>
          <p:cNvSpPr>
            <a:spLocks noGrp="1" noChangeArrowheads="1"/>
          </p:cNvSpPr>
          <p:nvPr>
            <p:ph type="ctrTitle" sz="quarter"/>
          </p:nvPr>
        </p:nvSpPr>
        <p:spPr>
          <a:xfrm>
            <a:off x="3032589" y="5183188"/>
            <a:ext cx="5522912" cy="452437"/>
          </a:xfrm>
          <a:prstGeom prst="rect">
            <a:avLst/>
          </a:prstGeom>
          <a:ln/>
          <a:effectLst>
            <a:outerShdw dist="17961" dir="2700000" algn="ctr" rotWithShape="0">
              <a:srgbClr val="FFFFFF"/>
            </a:outerShdw>
          </a:effectLst>
        </p:spPr>
        <p:txBody>
          <a:bodyPr anchor="b"/>
          <a:lstStyle>
            <a:lvl1pPr algn="r" defTabSz="820738">
              <a:defRPr sz="2400">
                <a:solidFill>
                  <a:schemeClr val="tx2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en-US"/>
          </a:p>
        </p:txBody>
      </p:sp>
      <p:pic>
        <p:nvPicPr>
          <p:cNvPr id="2" name="Рисунок 1"/>
          <p:cNvPicPr>
            <a:picLocks noChangeAspect="1"/>
          </p:cNvPicPr>
          <p:nvPr userDrawn="1"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2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0709" y="505803"/>
            <a:ext cx="5230821" cy="3804234"/>
          </a:xfrm>
          <a:prstGeom prst="rect">
            <a:avLst/>
          </a:prstGeom>
        </p:spPr>
      </p:pic>
      <p:pic>
        <p:nvPicPr>
          <p:cNvPr id="7" name="Picture 2"/>
          <p:cNvPicPr>
            <a:picLocks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68000" y="3096000"/>
            <a:ext cx="3564000" cy="2066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220201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Основн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414000" y="1638000"/>
            <a:ext cx="8316000" cy="4467600"/>
          </a:xfrm>
        </p:spPr>
        <p:txBody>
          <a:bodyPr/>
          <a:lstStyle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de-DE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4"/>
          </p:nvPr>
        </p:nvSpPr>
        <p:spPr>
          <a:xfrm>
            <a:off x="8665706" y="6526182"/>
            <a:ext cx="402094" cy="217518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chemeClr val="bg1"/>
                </a:solidFill>
                <a:latin typeface="+mj-lt"/>
              </a:defRPr>
            </a:lvl1pPr>
          </a:lstStyle>
          <a:p>
            <a:fld id="{8E141AF1-466E-4D9F-B74C-45FFEB47CA13}" type="slidenum">
              <a:rPr lang="de-DE" smtClean="0">
                <a:solidFill>
                  <a:srgbClr val="FFFFFF"/>
                </a:solidFill>
              </a:rPr>
              <a:pPr/>
              <a:t>‹#›</a:t>
            </a:fld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1652954" y="1"/>
            <a:ext cx="7220702" cy="897162"/>
          </a:xfrm>
          <a:prstGeom prst="rect">
            <a:avLst/>
          </a:prstGeom>
          <a:ln/>
          <a:effectLst>
            <a:outerShdw dist="17961" dir="2700000" algn="ctr" rotWithShape="0">
              <a:srgbClr val="FFFFFF"/>
            </a:outerShdw>
          </a:effectLst>
        </p:spPr>
        <p:txBody>
          <a:bodyPr anchor="ctr"/>
          <a:lstStyle>
            <a:lvl1pPr>
              <a:defRPr kumimoji="1" lang="ru-RU" sz="1700" kern="1200">
                <a:solidFill>
                  <a:srgbClr val="016EB3"/>
                </a:solidFill>
              </a:defRPr>
            </a:lvl1pPr>
          </a:lstStyle>
          <a:p>
            <a:pPr lvl="0" defTabSz="820738"/>
            <a:r>
              <a:rPr lang="ru-RU" smtClean="0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60323089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 userDrawn="1"/>
        </p:nvSpPr>
        <p:spPr bwMode="auto">
          <a:xfrm>
            <a:off x="8660606" y="6374606"/>
            <a:ext cx="478632" cy="389746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defTabSz="912804" fontAlgn="base">
              <a:spcBef>
                <a:spcPct val="50000"/>
              </a:spcBef>
              <a:spcAft>
                <a:spcPct val="0"/>
              </a:spcAft>
            </a:pPr>
            <a:endParaRPr kumimoji="1" lang="ru-RU" sz="1000" dirty="0" smtClean="0">
              <a:solidFill>
                <a:srgbClr val="00294F"/>
              </a:solidFill>
              <a:latin typeface="Tahoma" pitchFamily="34" charset="0"/>
              <a:ea typeface="PMingLiU" pitchFamily="18" charset="-120"/>
            </a:endParaRPr>
          </a:p>
        </p:txBody>
      </p:sp>
    </p:spTree>
    <p:extLst>
      <p:ext uri="{BB962C8B-B14F-4D97-AF65-F5344CB8AC3E}">
        <p14:creationId xmlns:p14="http://schemas.microsoft.com/office/powerpoint/2010/main" val="59557398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лайд &quot;Спасибо!&quot;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Line 27"/>
          <p:cNvSpPr>
            <a:spLocks noChangeShapeType="1"/>
          </p:cNvSpPr>
          <p:nvPr userDrawn="1"/>
        </p:nvSpPr>
        <p:spPr bwMode="auto">
          <a:xfrm>
            <a:off x="252000" y="5940000"/>
            <a:ext cx="8640000" cy="0"/>
          </a:xfrm>
          <a:prstGeom prst="line">
            <a:avLst/>
          </a:prstGeom>
          <a:noFill/>
          <a:ln w="28575">
            <a:solidFill>
              <a:srgbClr val="016EB3"/>
            </a:solidFill>
            <a:round/>
            <a:headEnd/>
            <a:tailEnd/>
          </a:ln>
          <a:effectLst/>
        </p:spPr>
        <p:txBody>
          <a:bodyPr wrap="none"/>
          <a:lstStyle/>
          <a:p>
            <a:pPr defTabSz="912804" fontAlgn="base">
              <a:spcBef>
                <a:spcPct val="50000"/>
              </a:spcBef>
              <a:spcAft>
                <a:spcPct val="0"/>
              </a:spcAft>
              <a:defRPr/>
            </a:pPr>
            <a:endParaRPr kumimoji="1" lang="ru-RU" sz="1000" dirty="0">
              <a:solidFill>
                <a:srgbClr val="002766"/>
              </a:solidFill>
              <a:latin typeface="Tahoma" pitchFamily="34" charset="0"/>
              <a:ea typeface="PMingLiU" pitchFamily="18" charset="-120"/>
            </a:endParaRPr>
          </a:p>
        </p:txBody>
      </p:sp>
      <p:sp>
        <p:nvSpPr>
          <p:cNvPr id="9" name="Прямоугольник 8"/>
          <p:cNvSpPr/>
          <p:nvPr userDrawn="1"/>
        </p:nvSpPr>
        <p:spPr bwMode="auto">
          <a:xfrm>
            <a:off x="252000" y="190500"/>
            <a:ext cx="1623692" cy="606669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defTabSz="912804" fontAlgn="base">
              <a:spcBef>
                <a:spcPct val="50000"/>
              </a:spcBef>
              <a:spcAft>
                <a:spcPct val="0"/>
              </a:spcAft>
            </a:pPr>
            <a:endParaRPr kumimoji="1" lang="ru-RU" sz="1000" dirty="0" smtClean="0">
              <a:solidFill>
                <a:srgbClr val="00294F"/>
              </a:solidFill>
              <a:latin typeface="Tahoma" pitchFamily="34" charset="0"/>
              <a:ea typeface="PMingLiU" pitchFamily="18" charset="-120"/>
            </a:endParaRPr>
          </a:p>
        </p:txBody>
      </p:sp>
      <p:sp>
        <p:nvSpPr>
          <p:cNvPr id="10" name="Прямоугольник 9"/>
          <p:cNvSpPr/>
          <p:nvPr userDrawn="1"/>
        </p:nvSpPr>
        <p:spPr bwMode="auto">
          <a:xfrm>
            <a:off x="8429206" y="6327669"/>
            <a:ext cx="708444" cy="504825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defTabSz="912804" fontAlgn="base">
              <a:spcBef>
                <a:spcPct val="50000"/>
              </a:spcBef>
              <a:spcAft>
                <a:spcPct val="0"/>
              </a:spcAft>
            </a:pPr>
            <a:endParaRPr kumimoji="1" lang="ru-RU" sz="1000" dirty="0" smtClean="0">
              <a:solidFill>
                <a:srgbClr val="00294F"/>
              </a:solidFill>
              <a:latin typeface="Tahoma" pitchFamily="34" charset="0"/>
              <a:ea typeface="PMingLiU" pitchFamily="18" charset="-120"/>
            </a:endParaRPr>
          </a:p>
        </p:txBody>
      </p:sp>
      <p:sp>
        <p:nvSpPr>
          <p:cNvPr id="18" name="Текст 3"/>
          <p:cNvSpPr>
            <a:spLocks noGrp="1"/>
          </p:cNvSpPr>
          <p:nvPr>
            <p:ph type="body" sz="half" idx="10" hasCustomPrompt="1"/>
          </p:nvPr>
        </p:nvSpPr>
        <p:spPr>
          <a:xfrm>
            <a:off x="7200000" y="6210000"/>
            <a:ext cx="1656000" cy="396000"/>
          </a:xfrm>
        </p:spPr>
        <p:txBody>
          <a:bodyPr anchor="ctr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100">
                <a:solidFill>
                  <a:schemeClr val="tx2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dirty="0" smtClean="0"/>
              <a:t>Телефон и </a:t>
            </a:r>
            <a:r>
              <a:rPr lang="en-US" dirty="0" smtClean="0"/>
              <a:t>e-mail</a:t>
            </a:r>
          </a:p>
        </p:txBody>
      </p:sp>
      <p:sp>
        <p:nvSpPr>
          <p:cNvPr id="21" name="Текст 3"/>
          <p:cNvSpPr>
            <a:spLocks noGrp="1"/>
          </p:cNvSpPr>
          <p:nvPr>
            <p:ph type="body" sz="half" idx="12" hasCustomPrompt="1"/>
          </p:nvPr>
        </p:nvSpPr>
        <p:spPr>
          <a:xfrm>
            <a:off x="2088000" y="3096000"/>
            <a:ext cx="4932000" cy="648000"/>
          </a:xfrm>
        </p:spPr>
        <p:txBody>
          <a:bodyPr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buNone/>
              <a:defRPr sz="3600">
                <a:solidFill>
                  <a:srgbClr val="016EB3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dirty="0" smtClean="0"/>
              <a:t>Спасибо! / </a:t>
            </a:r>
            <a:r>
              <a:rPr lang="en-US" dirty="0" smtClean="0"/>
              <a:t>Thank you!</a:t>
            </a:r>
          </a:p>
        </p:txBody>
      </p:sp>
      <p:sp>
        <p:nvSpPr>
          <p:cNvPr id="28" name="Текст 27"/>
          <p:cNvSpPr>
            <a:spLocks noGrp="1"/>
          </p:cNvSpPr>
          <p:nvPr>
            <p:ph type="body" sz="quarter" idx="14" hasCustomPrompt="1"/>
          </p:nvPr>
        </p:nvSpPr>
        <p:spPr>
          <a:xfrm>
            <a:off x="5112000" y="6210000"/>
            <a:ext cx="2016000" cy="396000"/>
          </a:xfrm>
        </p:spPr>
        <p:txBody>
          <a:bodyPr anchor="ctr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10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ru-RU" dirty="0" smtClean="0"/>
              <a:t>Адрес компании</a:t>
            </a:r>
            <a:endParaRPr lang="ru-RU" dirty="0"/>
          </a:p>
        </p:txBody>
      </p:sp>
      <p:sp>
        <p:nvSpPr>
          <p:cNvPr id="30" name="Текст 29"/>
          <p:cNvSpPr>
            <a:spLocks noGrp="1"/>
          </p:cNvSpPr>
          <p:nvPr>
            <p:ph type="body" sz="quarter" idx="15" hasCustomPrompt="1"/>
          </p:nvPr>
        </p:nvSpPr>
        <p:spPr>
          <a:xfrm>
            <a:off x="2772000" y="6210000"/>
            <a:ext cx="2268000" cy="396000"/>
          </a:xfrm>
        </p:spPr>
        <p:txBody>
          <a:bodyPr anchor="ctr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10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ru-RU" dirty="0" smtClean="0"/>
              <a:t>Управление и Отдел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39404919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31775" y="306675"/>
            <a:ext cx="6742113" cy="739775"/>
          </a:xfrm>
          <a:prstGeom prst="rect">
            <a:avLst/>
          </a:prstGeom>
        </p:spPr>
        <p:txBody>
          <a:bodyPr/>
          <a:lstStyle>
            <a:lvl1pPr>
              <a:defRPr sz="2500"/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15" name="Rectangle 4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EFF660B-5916-42E2-9D88-953A3CB16BD3}" type="slidenum">
              <a:rPr lang="en-US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0999970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31778" y="306698"/>
            <a:ext cx="6742113" cy="739775"/>
          </a:xfrm>
          <a:prstGeom prst="rect">
            <a:avLst/>
          </a:prstGeom>
        </p:spPr>
        <p:txBody>
          <a:bodyPr lIns="91243" tIns="45622" rIns="91243" bIns="45622"/>
          <a:lstStyle>
            <a:lvl1pPr>
              <a:defRPr sz="2500"/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15" name="Rectangle 4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EFF660B-5916-42E2-9D88-953A3CB16BD3}" type="slidenum">
              <a:rPr lang="en-US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276029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gallery dir="l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Основн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414000" y="1638000"/>
            <a:ext cx="8316000" cy="4467600"/>
          </a:xfrm>
        </p:spPr>
        <p:txBody>
          <a:bodyPr/>
          <a:lstStyle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de-DE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4"/>
          </p:nvPr>
        </p:nvSpPr>
        <p:spPr>
          <a:xfrm>
            <a:off x="8665706" y="6526182"/>
            <a:ext cx="402094" cy="217518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chemeClr val="bg1"/>
                </a:solidFill>
                <a:latin typeface="+mj-lt"/>
              </a:defRPr>
            </a:lvl1pPr>
          </a:lstStyle>
          <a:p>
            <a:fld id="{8E141AF1-466E-4D9F-B74C-45FFEB47CA13}" type="slidenum">
              <a:rPr lang="de-DE" smtClean="0">
                <a:solidFill>
                  <a:srgbClr val="FFFFFF"/>
                </a:solidFill>
              </a:rPr>
              <a:pPr/>
              <a:t>‹#›</a:t>
            </a:fld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1652954" y="1"/>
            <a:ext cx="7220702" cy="897162"/>
          </a:xfrm>
          <a:prstGeom prst="rect">
            <a:avLst/>
          </a:prstGeom>
          <a:ln/>
          <a:effectLst>
            <a:outerShdw dist="17961" dir="2700000" algn="ctr" rotWithShape="0">
              <a:srgbClr val="FFFFFF"/>
            </a:outerShdw>
          </a:effectLst>
        </p:spPr>
        <p:txBody>
          <a:bodyPr anchor="ctr"/>
          <a:lstStyle>
            <a:lvl1pPr>
              <a:defRPr kumimoji="1" lang="ru-RU" sz="1700" kern="1200">
                <a:solidFill>
                  <a:srgbClr val="016EB3"/>
                </a:solidFill>
              </a:defRPr>
            </a:lvl1pPr>
          </a:lstStyle>
          <a:p>
            <a:pPr lvl="0" defTabSz="820738"/>
            <a:r>
              <a:rPr lang="ru-RU" smtClean="0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85281085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31775" y="123825"/>
            <a:ext cx="6742113" cy="657225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715E4BD-578A-4F4A-9E92-1B4DB10B5101}" type="slidenum">
              <a:rPr lang="en-US">
                <a:solidFill>
                  <a:srgbClr val="A0A1A6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A0A1A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8933123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Основн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lide Number Placeholder 8"/>
          <p:cNvSpPr>
            <a:spLocks noGrp="1"/>
          </p:cNvSpPr>
          <p:nvPr>
            <p:ph type="sldNum" sz="quarter" idx="14"/>
          </p:nvPr>
        </p:nvSpPr>
        <p:spPr>
          <a:xfrm>
            <a:off x="8665706" y="6526182"/>
            <a:ext cx="402094" cy="217518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chemeClr val="bg1"/>
                </a:solidFill>
                <a:latin typeface="+mj-lt"/>
              </a:defRPr>
            </a:lvl1pPr>
          </a:lstStyle>
          <a:p>
            <a:fld id="{8E141AF1-466E-4D9F-B74C-45FFEB47CA13}" type="slidenum">
              <a:rPr lang="de-DE" smtClean="0">
                <a:solidFill>
                  <a:srgbClr val="FFFFFF"/>
                </a:solidFill>
              </a:rPr>
              <a:pPr/>
              <a:t>‹#›</a:t>
            </a:fld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261257" y="1"/>
            <a:ext cx="8612399" cy="897162"/>
          </a:xfrm>
          <a:prstGeom prst="rect">
            <a:avLst/>
          </a:prstGeom>
          <a:ln/>
          <a:effectLst>
            <a:outerShdw dist="17961" dir="2700000" algn="ctr" rotWithShape="0">
              <a:srgbClr val="FFFFFF"/>
            </a:outerShdw>
          </a:effectLst>
        </p:spPr>
        <p:txBody>
          <a:bodyPr anchor="ctr"/>
          <a:lstStyle>
            <a:lvl1pPr>
              <a:defRPr kumimoji="1" lang="ru-RU" sz="1800" kern="1200">
                <a:solidFill>
                  <a:srgbClr val="016EB3"/>
                </a:solidFill>
              </a:defRPr>
            </a:lvl1pPr>
          </a:lstStyle>
          <a:p>
            <a:pPr lvl="0" defTabSz="820738"/>
            <a:r>
              <a:rPr lang="ru-RU" dirty="0" smtClean="0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75535243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07266" name="Rectangle 2"/>
          <p:cNvSpPr>
            <a:spLocks noGrp="1" noChangeArrowheads="1"/>
          </p:cNvSpPr>
          <p:nvPr>
            <p:ph type="subTitle" idx="1"/>
          </p:nvPr>
        </p:nvSpPr>
        <p:spPr>
          <a:xfrm>
            <a:off x="2935485" y="5737225"/>
            <a:ext cx="5522912" cy="270843"/>
          </a:xfrm>
          <a:effectLst>
            <a:outerShdw dist="17961" dir="2700000" algn="ctr" rotWithShape="0">
              <a:srgbClr val="FFFFFF"/>
            </a:outerShdw>
          </a:effectLst>
        </p:spPr>
        <p:txBody>
          <a:bodyPr>
            <a:spAutoFit/>
          </a:bodyPr>
          <a:lstStyle>
            <a:lvl1pPr marL="0" indent="0" algn="r" defTabSz="820738">
              <a:spcBef>
                <a:spcPct val="0"/>
              </a:spcBef>
              <a:buClrTx/>
              <a:buFontTx/>
              <a:buNone/>
              <a:defRPr sz="1600">
                <a:solidFill>
                  <a:schemeClr val="tx2"/>
                </a:solidFill>
              </a:defRPr>
            </a:lvl1pPr>
          </a:lstStyle>
          <a:p>
            <a:r>
              <a:rPr lang="ru-RU" smtClean="0"/>
              <a:t>Образец подзаголовка</a:t>
            </a:r>
            <a:endParaRPr lang="en-US" dirty="0"/>
          </a:p>
        </p:txBody>
      </p:sp>
      <p:sp>
        <p:nvSpPr>
          <p:cNvPr id="907267" name="Rectangle 3"/>
          <p:cNvSpPr>
            <a:spLocks noGrp="1" noChangeArrowheads="1"/>
          </p:cNvSpPr>
          <p:nvPr>
            <p:ph type="ctrTitle" sz="quarter"/>
          </p:nvPr>
        </p:nvSpPr>
        <p:spPr>
          <a:xfrm>
            <a:off x="3032589" y="5183188"/>
            <a:ext cx="5522912" cy="452437"/>
          </a:xfrm>
          <a:prstGeom prst="rect">
            <a:avLst/>
          </a:prstGeom>
          <a:ln/>
          <a:effectLst>
            <a:outerShdw dist="17961" dir="2700000" algn="ctr" rotWithShape="0">
              <a:srgbClr val="FFFFFF"/>
            </a:outerShdw>
          </a:effectLst>
        </p:spPr>
        <p:txBody>
          <a:bodyPr anchor="b"/>
          <a:lstStyle>
            <a:lvl1pPr algn="r" defTabSz="820738">
              <a:defRPr sz="2400">
                <a:solidFill>
                  <a:schemeClr val="tx2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en-US"/>
          </a:p>
        </p:txBody>
      </p:sp>
      <p:pic>
        <p:nvPicPr>
          <p:cNvPr id="2" name="Рисунок 1"/>
          <p:cNvPicPr>
            <a:picLocks noChangeAspect="1"/>
          </p:cNvPicPr>
          <p:nvPr userDrawn="1"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2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0709" y="505803"/>
            <a:ext cx="5230821" cy="3804234"/>
          </a:xfrm>
          <a:prstGeom prst="rect">
            <a:avLst/>
          </a:prstGeom>
        </p:spPr>
      </p:pic>
      <p:pic>
        <p:nvPicPr>
          <p:cNvPr id="7" name="Picture 2"/>
          <p:cNvPicPr>
            <a:picLocks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68000" y="3096000"/>
            <a:ext cx="3564000" cy="2066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24057862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Основн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414000" y="1638000"/>
            <a:ext cx="8316000" cy="4467600"/>
          </a:xfrm>
        </p:spPr>
        <p:txBody>
          <a:bodyPr/>
          <a:lstStyle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de-DE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4"/>
          </p:nvPr>
        </p:nvSpPr>
        <p:spPr>
          <a:xfrm>
            <a:off x="8665706" y="6526182"/>
            <a:ext cx="402094" cy="217518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chemeClr val="bg1"/>
                </a:solidFill>
                <a:latin typeface="+mj-lt"/>
              </a:defRPr>
            </a:lvl1pPr>
          </a:lstStyle>
          <a:p>
            <a:fld id="{8E141AF1-466E-4D9F-B74C-45FFEB47CA13}" type="slidenum">
              <a:rPr lang="de-DE" smtClean="0">
                <a:solidFill>
                  <a:srgbClr val="FFFFFF"/>
                </a:solidFill>
              </a:rPr>
              <a:pPr/>
              <a:t>‹#›</a:t>
            </a:fld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1652954" y="1"/>
            <a:ext cx="7220702" cy="897162"/>
          </a:xfrm>
          <a:prstGeom prst="rect">
            <a:avLst/>
          </a:prstGeom>
          <a:ln/>
          <a:effectLst>
            <a:outerShdw dist="17961" dir="2700000" algn="ctr" rotWithShape="0">
              <a:srgbClr val="FFFFFF"/>
            </a:outerShdw>
          </a:effectLst>
        </p:spPr>
        <p:txBody>
          <a:bodyPr anchor="ctr"/>
          <a:lstStyle>
            <a:lvl1pPr>
              <a:defRPr kumimoji="1" lang="ru-RU" sz="1700" kern="1200">
                <a:solidFill>
                  <a:srgbClr val="016EB3"/>
                </a:solidFill>
              </a:defRPr>
            </a:lvl1pPr>
          </a:lstStyle>
          <a:p>
            <a:pPr lvl="0" defTabSz="820738"/>
            <a:r>
              <a:rPr lang="ru-RU" smtClean="0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01047262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 userDrawn="1"/>
        </p:nvSpPr>
        <p:spPr bwMode="auto">
          <a:xfrm>
            <a:off x="8660606" y="6374606"/>
            <a:ext cx="478632" cy="389746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defTabSz="912804" fontAlgn="base">
              <a:spcBef>
                <a:spcPct val="50000"/>
              </a:spcBef>
              <a:spcAft>
                <a:spcPct val="0"/>
              </a:spcAft>
            </a:pPr>
            <a:endParaRPr kumimoji="1" lang="ru-RU" sz="1000" dirty="0" smtClean="0">
              <a:solidFill>
                <a:srgbClr val="00294F"/>
              </a:solidFill>
              <a:latin typeface="Tahoma" pitchFamily="34" charset="0"/>
              <a:ea typeface="PMingLiU" pitchFamily="18" charset="-120"/>
            </a:endParaRPr>
          </a:p>
        </p:txBody>
      </p:sp>
    </p:spTree>
    <p:extLst>
      <p:ext uri="{BB962C8B-B14F-4D97-AF65-F5344CB8AC3E}">
        <p14:creationId xmlns:p14="http://schemas.microsoft.com/office/powerpoint/2010/main" val="367194300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лайд &quot;Спасибо!&quot;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Line 27"/>
          <p:cNvSpPr>
            <a:spLocks noChangeShapeType="1"/>
          </p:cNvSpPr>
          <p:nvPr userDrawn="1"/>
        </p:nvSpPr>
        <p:spPr bwMode="auto">
          <a:xfrm>
            <a:off x="252000" y="5940000"/>
            <a:ext cx="8640000" cy="0"/>
          </a:xfrm>
          <a:prstGeom prst="line">
            <a:avLst/>
          </a:prstGeom>
          <a:noFill/>
          <a:ln w="28575">
            <a:solidFill>
              <a:srgbClr val="016EB3"/>
            </a:solidFill>
            <a:round/>
            <a:headEnd/>
            <a:tailEnd/>
          </a:ln>
          <a:effectLst/>
        </p:spPr>
        <p:txBody>
          <a:bodyPr wrap="none"/>
          <a:lstStyle/>
          <a:p>
            <a:pPr defTabSz="912804" fontAlgn="base">
              <a:spcBef>
                <a:spcPct val="50000"/>
              </a:spcBef>
              <a:spcAft>
                <a:spcPct val="0"/>
              </a:spcAft>
              <a:defRPr/>
            </a:pPr>
            <a:endParaRPr kumimoji="1" lang="ru-RU" sz="1000" dirty="0">
              <a:solidFill>
                <a:srgbClr val="002766"/>
              </a:solidFill>
              <a:latin typeface="Tahoma" pitchFamily="34" charset="0"/>
              <a:ea typeface="PMingLiU" pitchFamily="18" charset="-120"/>
            </a:endParaRPr>
          </a:p>
        </p:txBody>
      </p:sp>
      <p:sp>
        <p:nvSpPr>
          <p:cNvPr id="9" name="Прямоугольник 8"/>
          <p:cNvSpPr/>
          <p:nvPr userDrawn="1"/>
        </p:nvSpPr>
        <p:spPr bwMode="auto">
          <a:xfrm>
            <a:off x="252000" y="190500"/>
            <a:ext cx="1623692" cy="606669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defTabSz="912804" fontAlgn="base">
              <a:spcBef>
                <a:spcPct val="50000"/>
              </a:spcBef>
              <a:spcAft>
                <a:spcPct val="0"/>
              </a:spcAft>
            </a:pPr>
            <a:endParaRPr kumimoji="1" lang="ru-RU" sz="1000" dirty="0" smtClean="0">
              <a:solidFill>
                <a:srgbClr val="00294F"/>
              </a:solidFill>
              <a:latin typeface="Tahoma" pitchFamily="34" charset="0"/>
              <a:ea typeface="PMingLiU" pitchFamily="18" charset="-120"/>
            </a:endParaRPr>
          </a:p>
        </p:txBody>
      </p:sp>
      <p:sp>
        <p:nvSpPr>
          <p:cNvPr id="10" name="Прямоугольник 9"/>
          <p:cNvSpPr/>
          <p:nvPr userDrawn="1"/>
        </p:nvSpPr>
        <p:spPr bwMode="auto">
          <a:xfrm>
            <a:off x="8429206" y="6327669"/>
            <a:ext cx="708444" cy="504825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defTabSz="912804" fontAlgn="base">
              <a:spcBef>
                <a:spcPct val="50000"/>
              </a:spcBef>
              <a:spcAft>
                <a:spcPct val="0"/>
              </a:spcAft>
            </a:pPr>
            <a:endParaRPr kumimoji="1" lang="ru-RU" sz="1000" dirty="0" smtClean="0">
              <a:solidFill>
                <a:srgbClr val="00294F"/>
              </a:solidFill>
              <a:latin typeface="Tahoma" pitchFamily="34" charset="0"/>
              <a:ea typeface="PMingLiU" pitchFamily="18" charset="-120"/>
            </a:endParaRPr>
          </a:p>
        </p:txBody>
      </p:sp>
      <p:sp>
        <p:nvSpPr>
          <p:cNvPr id="18" name="Текст 3"/>
          <p:cNvSpPr>
            <a:spLocks noGrp="1"/>
          </p:cNvSpPr>
          <p:nvPr>
            <p:ph type="body" sz="half" idx="10" hasCustomPrompt="1"/>
          </p:nvPr>
        </p:nvSpPr>
        <p:spPr>
          <a:xfrm>
            <a:off x="7200000" y="6210000"/>
            <a:ext cx="1656000" cy="396000"/>
          </a:xfrm>
        </p:spPr>
        <p:txBody>
          <a:bodyPr anchor="ctr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100">
                <a:solidFill>
                  <a:schemeClr val="tx2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dirty="0" smtClean="0"/>
              <a:t>Телефон и </a:t>
            </a:r>
            <a:r>
              <a:rPr lang="en-US" dirty="0" smtClean="0"/>
              <a:t>e-mail</a:t>
            </a:r>
          </a:p>
        </p:txBody>
      </p:sp>
      <p:sp>
        <p:nvSpPr>
          <p:cNvPr id="21" name="Текст 3"/>
          <p:cNvSpPr>
            <a:spLocks noGrp="1"/>
          </p:cNvSpPr>
          <p:nvPr>
            <p:ph type="body" sz="half" idx="12" hasCustomPrompt="1"/>
          </p:nvPr>
        </p:nvSpPr>
        <p:spPr>
          <a:xfrm>
            <a:off x="2088000" y="3096000"/>
            <a:ext cx="4932000" cy="648000"/>
          </a:xfrm>
        </p:spPr>
        <p:txBody>
          <a:bodyPr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buNone/>
              <a:defRPr sz="3600">
                <a:solidFill>
                  <a:srgbClr val="016EB3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dirty="0" smtClean="0"/>
              <a:t>Спасибо! / </a:t>
            </a:r>
            <a:r>
              <a:rPr lang="en-US" dirty="0" smtClean="0"/>
              <a:t>Thank you!</a:t>
            </a:r>
          </a:p>
        </p:txBody>
      </p:sp>
      <p:sp>
        <p:nvSpPr>
          <p:cNvPr id="28" name="Текст 27"/>
          <p:cNvSpPr>
            <a:spLocks noGrp="1"/>
          </p:cNvSpPr>
          <p:nvPr>
            <p:ph type="body" sz="quarter" idx="14" hasCustomPrompt="1"/>
          </p:nvPr>
        </p:nvSpPr>
        <p:spPr>
          <a:xfrm>
            <a:off x="5112000" y="6210000"/>
            <a:ext cx="2016000" cy="396000"/>
          </a:xfrm>
        </p:spPr>
        <p:txBody>
          <a:bodyPr anchor="ctr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10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ru-RU" dirty="0" smtClean="0"/>
              <a:t>Адрес компании</a:t>
            </a:r>
            <a:endParaRPr lang="ru-RU" dirty="0"/>
          </a:p>
        </p:txBody>
      </p:sp>
      <p:sp>
        <p:nvSpPr>
          <p:cNvPr id="30" name="Текст 29"/>
          <p:cNvSpPr>
            <a:spLocks noGrp="1"/>
          </p:cNvSpPr>
          <p:nvPr>
            <p:ph type="body" sz="quarter" idx="15" hasCustomPrompt="1"/>
          </p:nvPr>
        </p:nvSpPr>
        <p:spPr>
          <a:xfrm>
            <a:off x="2772000" y="6210000"/>
            <a:ext cx="2268000" cy="396000"/>
          </a:xfrm>
        </p:spPr>
        <p:txBody>
          <a:bodyPr anchor="ctr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10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ru-RU" dirty="0" smtClean="0"/>
              <a:t>Управление и Отдел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41696727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31775" y="306675"/>
            <a:ext cx="6742113" cy="739775"/>
          </a:xfrm>
          <a:prstGeom prst="rect">
            <a:avLst/>
          </a:prstGeom>
        </p:spPr>
        <p:txBody>
          <a:bodyPr/>
          <a:lstStyle>
            <a:lvl1pPr>
              <a:defRPr sz="2500"/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15" name="Rectangle 4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EFF660B-5916-42E2-9D88-953A3CB16BD3}" type="slidenum">
              <a:rPr lang="en-US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6708461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Основн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414000" y="1638000"/>
            <a:ext cx="8316000" cy="4467600"/>
          </a:xfrm>
        </p:spPr>
        <p:txBody>
          <a:bodyPr/>
          <a:lstStyle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de-DE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4"/>
          </p:nvPr>
        </p:nvSpPr>
        <p:spPr>
          <a:xfrm>
            <a:off x="8665706" y="6526182"/>
            <a:ext cx="402094" cy="217518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chemeClr val="bg1"/>
                </a:solidFill>
                <a:latin typeface="+mj-lt"/>
              </a:defRPr>
            </a:lvl1pPr>
          </a:lstStyle>
          <a:p>
            <a:fld id="{8E141AF1-466E-4D9F-B74C-45FFEB47CA13}" type="slidenum">
              <a:rPr lang="de-DE" smtClean="0">
                <a:solidFill>
                  <a:srgbClr val="FFFFFF"/>
                </a:solidFill>
              </a:rPr>
              <a:pPr/>
              <a:t>‹#›</a:t>
            </a:fld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1652954" y="1"/>
            <a:ext cx="7220702" cy="897162"/>
          </a:xfrm>
          <a:prstGeom prst="rect">
            <a:avLst/>
          </a:prstGeom>
          <a:ln/>
          <a:effectLst>
            <a:outerShdw dist="17961" dir="2700000" algn="ctr" rotWithShape="0">
              <a:srgbClr val="FFFFFF"/>
            </a:outerShdw>
          </a:effectLst>
        </p:spPr>
        <p:txBody>
          <a:bodyPr anchor="ctr"/>
          <a:lstStyle>
            <a:lvl1pPr>
              <a:defRPr kumimoji="1" lang="ru-RU" sz="1700" kern="1200">
                <a:solidFill>
                  <a:srgbClr val="016EB3"/>
                </a:solidFill>
              </a:defRPr>
            </a:lvl1pPr>
          </a:lstStyle>
          <a:p>
            <a:pPr lvl="0" defTabSz="820738"/>
            <a:r>
              <a:rPr lang="ru-RU" smtClean="0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61873137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31775" y="123825"/>
            <a:ext cx="6742113" cy="657225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715E4BD-578A-4F4A-9E92-1B4DB10B5101}" type="slidenum">
              <a:rPr lang="en-US">
                <a:solidFill>
                  <a:srgbClr val="A0A1A6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A0A1A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4257569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Основн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414000" y="1638000"/>
            <a:ext cx="8316000" cy="4467600"/>
          </a:xfrm>
        </p:spPr>
        <p:txBody>
          <a:bodyPr/>
          <a:lstStyle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de-DE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4"/>
          </p:nvPr>
        </p:nvSpPr>
        <p:spPr>
          <a:xfrm>
            <a:off x="8665706" y="6526188"/>
            <a:ext cx="402094" cy="217518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chemeClr val="bg1"/>
                </a:solidFill>
                <a:latin typeface="+mj-lt"/>
              </a:defRPr>
            </a:lvl1pPr>
          </a:lstStyle>
          <a:p>
            <a:fld id="{8E141AF1-466E-4D9F-B74C-45FFEB47CA13}" type="slidenum">
              <a:rPr lang="de-DE" smtClean="0">
                <a:solidFill>
                  <a:srgbClr val="FFFFFF"/>
                </a:solidFill>
              </a:rPr>
              <a:pPr/>
              <a:t>‹#›</a:t>
            </a:fld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1652954" y="1"/>
            <a:ext cx="7220702" cy="897162"/>
          </a:xfrm>
          <a:prstGeom prst="rect">
            <a:avLst/>
          </a:prstGeom>
          <a:ln/>
          <a:effectLst>
            <a:outerShdw dist="17961" dir="2700000" algn="ctr" rotWithShape="0">
              <a:srgbClr val="FFFFFF"/>
            </a:outerShdw>
          </a:effectLst>
        </p:spPr>
        <p:txBody>
          <a:bodyPr lIns="91243" tIns="45622" rIns="91243" bIns="45622" anchor="ctr"/>
          <a:lstStyle>
            <a:lvl1pPr>
              <a:defRPr kumimoji="1" lang="ru-RU" sz="1700" kern="1200">
                <a:solidFill>
                  <a:srgbClr val="016EB3"/>
                </a:solidFill>
              </a:defRPr>
            </a:lvl1pPr>
          </a:lstStyle>
          <a:p>
            <a:pPr lvl="0" defTabSz="819005"/>
            <a:r>
              <a:rPr lang="ru-RU" smtClean="0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7705732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gallery dir="l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Основн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lide Number Placeholder 8"/>
          <p:cNvSpPr>
            <a:spLocks noGrp="1"/>
          </p:cNvSpPr>
          <p:nvPr>
            <p:ph type="sldNum" sz="quarter" idx="14"/>
          </p:nvPr>
        </p:nvSpPr>
        <p:spPr>
          <a:xfrm>
            <a:off x="8665706" y="6526182"/>
            <a:ext cx="402094" cy="217518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chemeClr val="bg1"/>
                </a:solidFill>
                <a:latin typeface="+mj-lt"/>
              </a:defRPr>
            </a:lvl1pPr>
          </a:lstStyle>
          <a:p>
            <a:fld id="{8E141AF1-466E-4D9F-B74C-45FFEB47CA13}" type="slidenum">
              <a:rPr lang="de-DE" smtClean="0">
                <a:solidFill>
                  <a:srgbClr val="FFFFFF"/>
                </a:solidFill>
              </a:rPr>
              <a:pPr/>
              <a:t>‹#›</a:t>
            </a:fld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261257" y="1"/>
            <a:ext cx="8612399" cy="897162"/>
          </a:xfrm>
          <a:prstGeom prst="rect">
            <a:avLst/>
          </a:prstGeom>
          <a:ln/>
          <a:effectLst>
            <a:outerShdw dist="17961" dir="2700000" algn="ctr" rotWithShape="0">
              <a:srgbClr val="FFFFFF"/>
            </a:outerShdw>
          </a:effectLst>
        </p:spPr>
        <p:txBody>
          <a:bodyPr anchor="ctr"/>
          <a:lstStyle>
            <a:lvl1pPr>
              <a:defRPr kumimoji="1" lang="ru-RU" sz="1800" kern="1200">
                <a:solidFill>
                  <a:srgbClr val="016EB3"/>
                </a:solidFill>
              </a:defRPr>
            </a:lvl1pPr>
          </a:lstStyle>
          <a:p>
            <a:pPr lvl="0" defTabSz="820738"/>
            <a:r>
              <a:rPr lang="ru-RU" dirty="0" smtClean="0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57434907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07266" name="Rectangle 2"/>
          <p:cNvSpPr>
            <a:spLocks noGrp="1" noChangeArrowheads="1"/>
          </p:cNvSpPr>
          <p:nvPr>
            <p:ph type="subTitle" idx="1"/>
          </p:nvPr>
        </p:nvSpPr>
        <p:spPr>
          <a:xfrm>
            <a:off x="2935485" y="5737225"/>
            <a:ext cx="5522912" cy="270843"/>
          </a:xfrm>
          <a:effectLst>
            <a:outerShdw dist="17961" dir="2700000" algn="ctr" rotWithShape="0">
              <a:srgbClr val="FFFFFF"/>
            </a:outerShdw>
          </a:effectLst>
        </p:spPr>
        <p:txBody>
          <a:bodyPr>
            <a:spAutoFit/>
          </a:bodyPr>
          <a:lstStyle>
            <a:lvl1pPr marL="0" indent="0" algn="r" defTabSz="820738">
              <a:spcBef>
                <a:spcPct val="0"/>
              </a:spcBef>
              <a:buClrTx/>
              <a:buFontTx/>
              <a:buNone/>
              <a:defRPr sz="1600">
                <a:solidFill>
                  <a:schemeClr val="tx2"/>
                </a:solidFill>
              </a:defRPr>
            </a:lvl1pPr>
          </a:lstStyle>
          <a:p>
            <a:r>
              <a:rPr lang="ru-RU" smtClean="0"/>
              <a:t>Образец подзаголовка</a:t>
            </a:r>
            <a:endParaRPr lang="en-US" dirty="0"/>
          </a:p>
        </p:txBody>
      </p:sp>
      <p:sp>
        <p:nvSpPr>
          <p:cNvPr id="907267" name="Rectangle 3"/>
          <p:cNvSpPr>
            <a:spLocks noGrp="1" noChangeArrowheads="1"/>
          </p:cNvSpPr>
          <p:nvPr>
            <p:ph type="ctrTitle" sz="quarter"/>
          </p:nvPr>
        </p:nvSpPr>
        <p:spPr>
          <a:xfrm>
            <a:off x="3032589" y="5183188"/>
            <a:ext cx="5522912" cy="452437"/>
          </a:xfrm>
          <a:prstGeom prst="rect">
            <a:avLst/>
          </a:prstGeom>
          <a:ln/>
          <a:effectLst>
            <a:outerShdw dist="17961" dir="2700000" algn="ctr" rotWithShape="0">
              <a:srgbClr val="FFFFFF"/>
            </a:outerShdw>
          </a:effectLst>
        </p:spPr>
        <p:txBody>
          <a:bodyPr anchor="b"/>
          <a:lstStyle>
            <a:lvl1pPr algn="r" defTabSz="820738">
              <a:defRPr sz="2400">
                <a:solidFill>
                  <a:schemeClr val="tx2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en-US"/>
          </a:p>
        </p:txBody>
      </p:sp>
      <p:pic>
        <p:nvPicPr>
          <p:cNvPr id="2" name="Рисунок 1"/>
          <p:cNvPicPr>
            <a:picLocks noChangeAspect="1"/>
          </p:cNvPicPr>
          <p:nvPr userDrawn="1"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2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0709" y="505803"/>
            <a:ext cx="5230821" cy="3804234"/>
          </a:xfrm>
          <a:prstGeom prst="rect">
            <a:avLst/>
          </a:prstGeom>
        </p:spPr>
      </p:pic>
      <p:pic>
        <p:nvPicPr>
          <p:cNvPr id="7" name="Picture 2"/>
          <p:cNvPicPr>
            <a:picLocks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68000" y="3096000"/>
            <a:ext cx="3564000" cy="2066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53103157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Основн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414000" y="1638000"/>
            <a:ext cx="8316000" cy="4467600"/>
          </a:xfrm>
        </p:spPr>
        <p:txBody>
          <a:bodyPr/>
          <a:lstStyle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de-DE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4"/>
          </p:nvPr>
        </p:nvSpPr>
        <p:spPr>
          <a:xfrm>
            <a:off x="8665706" y="6526182"/>
            <a:ext cx="402094" cy="217518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chemeClr val="bg1"/>
                </a:solidFill>
                <a:latin typeface="+mj-lt"/>
              </a:defRPr>
            </a:lvl1pPr>
          </a:lstStyle>
          <a:p>
            <a:fld id="{8E141AF1-466E-4D9F-B74C-45FFEB47CA13}" type="slidenum">
              <a:rPr lang="de-DE" smtClean="0">
                <a:solidFill>
                  <a:srgbClr val="FFFFFF"/>
                </a:solidFill>
              </a:rPr>
              <a:pPr/>
              <a:t>‹#›</a:t>
            </a:fld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1652954" y="1"/>
            <a:ext cx="7220702" cy="897162"/>
          </a:xfrm>
          <a:prstGeom prst="rect">
            <a:avLst/>
          </a:prstGeom>
          <a:ln/>
          <a:effectLst>
            <a:outerShdw dist="17961" dir="2700000" algn="ctr" rotWithShape="0">
              <a:srgbClr val="FFFFFF"/>
            </a:outerShdw>
          </a:effectLst>
        </p:spPr>
        <p:txBody>
          <a:bodyPr anchor="ctr"/>
          <a:lstStyle>
            <a:lvl1pPr>
              <a:defRPr kumimoji="1" lang="ru-RU" sz="1700" kern="1200">
                <a:solidFill>
                  <a:srgbClr val="016EB3"/>
                </a:solidFill>
              </a:defRPr>
            </a:lvl1pPr>
          </a:lstStyle>
          <a:p>
            <a:pPr lvl="0" defTabSz="820738"/>
            <a:r>
              <a:rPr lang="ru-RU" smtClean="0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98407633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 userDrawn="1"/>
        </p:nvSpPr>
        <p:spPr bwMode="auto">
          <a:xfrm>
            <a:off x="8660606" y="6374606"/>
            <a:ext cx="478632" cy="389746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defTabSz="912804" fontAlgn="base">
              <a:spcBef>
                <a:spcPct val="50000"/>
              </a:spcBef>
              <a:spcAft>
                <a:spcPct val="0"/>
              </a:spcAft>
            </a:pPr>
            <a:endParaRPr kumimoji="1" lang="ru-RU" sz="1000" dirty="0" smtClean="0">
              <a:solidFill>
                <a:srgbClr val="00294F"/>
              </a:solidFill>
              <a:latin typeface="Tahoma" pitchFamily="34" charset="0"/>
              <a:ea typeface="PMingLiU" pitchFamily="18" charset="-120"/>
            </a:endParaRPr>
          </a:p>
        </p:txBody>
      </p:sp>
    </p:spTree>
    <p:extLst>
      <p:ext uri="{BB962C8B-B14F-4D97-AF65-F5344CB8AC3E}">
        <p14:creationId xmlns:p14="http://schemas.microsoft.com/office/powerpoint/2010/main" val="218781809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лайд &quot;Спасибо!&quot;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Line 27"/>
          <p:cNvSpPr>
            <a:spLocks noChangeShapeType="1"/>
          </p:cNvSpPr>
          <p:nvPr userDrawn="1"/>
        </p:nvSpPr>
        <p:spPr bwMode="auto">
          <a:xfrm>
            <a:off x="252000" y="5940000"/>
            <a:ext cx="8640000" cy="0"/>
          </a:xfrm>
          <a:prstGeom prst="line">
            <a:avLst/>
          </a:prstGeom>
          <a:noFill/>
          <a:ln w="28575">
            <a:solidFill>
              <a:srgbClr val="016EB3"/>
            </a:solidFill>
            <a:round/>
            <a:headEnd/>
            <a:tailEnd/>
          </a:ln>
          <a:effectLst/>
        </p:spPr>
        <p:txBody>
          <a:bodyPr wrap="none"/>
          <a:lstStyle/>
          <a:p>
            <a:pPr defTabSz="912804" fontAlgn="base">
              <a:spcBef>
                <a:spcPct val="50000"/>
              </a:spcBef>
              <a:spcAft>
                <a:spcPct val="0"/>
              </a:spcAft>
              <a:defRPr/>
            </a:pPr>
            <a:endParaRPr kumimoji="1" lang="ru-RU" sz="1000" dirty="0">
              <a:solidFill>
                <a:srgbClr val="002766"/>
              </a:solidFill>
              <a:latin typeface="Tahoma" pitchFamily="34" charset="0"/>
              <a:ea typeface="PMingLiU" pitchFamily="18" charset="-120"/>
            </a:endParaRPr>
          </a:p>
        </p:txBody>
      </p:sp>
      <p:sp>
        <p:nvSpPr>
          <p:cNvPr id="9" name="Прямоугольник 8"/>
          <p:cNvSpPr/>
          <p:nvPr userDrawn="1"/>
        </p:nvSpPr>
        <p:spPr bwMode="auto">
          <a:xfrm>
            <a:off x="252000" y="190500"/>
            <a:ext cx="1623692" cy="606669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defTabSz="912804" fontAlgn="base">
              <a:spcBef>
                <a:spcPct val="50000"/>
              </a:spcBef>
              <a:spcAft>
                <a:spcPct val="0"/>
              </a:spcAft>
            </a:pPr>
            <a:endParaRPr kumimoji="1" lang="ru-RU" sz="1000" dirty="0" smtClean="0">
              <a:solidFill>
                <a:srgbClr val="00294F"/>
              </a:solidFill>
              <a:latin typeface="Tahoma" pitchFamily="34" charset="0"/>
              <a:ea typeface="PMingLiU" pitchFamily="18" charset="-120"/>
            </a:endParaRPr>
          </a:p>
        </p:txBody>
      </p:sp>
      <p:sp>
        <p:nvSpPr>
          <p:cNvPr id="10" name="Прямоугольник 9"/>
          <p:cNvSpPr/>
          <p:nvPr userDrawn="1"/>
        </p:nvSpPr>
        <p:spPr bwMode="auto">
          <a:xfrm>
            <a:off x="8429206" y="6327669"/>
            <a:ext cx="708444" cy="504825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defTabSz="912804" fontAlgn="base">
              <a:spcBef>
                <a:spcPct val="50000"/>
              </a:spcBef>
              <a:spcAft>
                <a:spcPct val="0"/>
              </a:spcAft>
            </a:pPr>
            <a:endParaRPr kumimoji="1" lang="ru-RU" sz="1000" dirty="0" smtClean="0">
              <a:solidFill>
                <a:srgbClr val="00294F"/>
              </a:solidFill>
              <a:latin typeface="Tahoma" pitchFamily="34" charset="0"/>
              <a:ea typeface="PMingLiU" pitchFamily="18" charset="-120"/>
            </a:endParaRPr>
          </a:p>
        </p:txBody>
      </p:sp>
      <p:sp>
        <p:nvSpPr>
          <p:cNvPr id="18" name="Текст 3"/>
          <p:cNvSpPr>
            <a:spLocks noGrp="1"/>
          </p:cNvSpPr>
          <p:nvPr>
            <p:ph type="body" sz="half" idx="10" hasCustomPrompt="1"/>
          </p:nvPr>
        </p:nvSpPr>
        <p:spPr>
          <a:xfrm>
            <a:off x="7200000" y="6210000"/>
            <a:ext cx="1656000" cy="396000"/>
          </a:xfrm>
        </p:spPr>
        <p:txBody>
          <a:bodyPr anchor="ctr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100">
                <a:solidFill>
                  <a:schemeClr val="tx2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dirty="0" smtClean="0"/>
              <a:t>Телефон и </a:t>
            </a:r>
            <a:r>
              <a:rPr lang="en-US" dirty="0" smtClean="0"/>
              <a:t>e-mail</a:t>
            </a:r>
          </a:p>
        </p:txBody>
      </p:sp>
      <p:sp>
        <p:nvSpPr>
          <p:cNvPr id="21" name="Текст 3"/>
          <p:cNvSpPr>
            <a:spLocks noGrp="1"/>
          </p:cNvSpPr>
          <p:nvPr>
            <p:ph type="body" sz="half" idx="12" hasCustomPrompt="1"/>
          </p:nvPr>
        </p:nvSpPr>
        <p:spPr>
          <a:xfrm>
            <a:off x="2088000" y="3096000"/>
            <a:ext cx="4932000" cy="648000"/>
          </a:xfrm>
        </p:spPr>
        <p:txBody>
          <a:bodyPr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buNone/>
              <a:defRPr sz="3600">
                <a:solidFill>
                  <a:srgbClr val="016EB3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dirty="0" smtClean="0"/>
              <a:t>Спасибо! / </a:t>
            </a:r>
            <a:r>
              <a:rPr lang="en-US" dirty="0" smtClean="0"/>
              <a:t>Thank you!</a:t>
            </a:r>
          </a:p>
        </p:txBody>
      </p:sp>
      <p:sp>
        <p:nvSpPr>
          <p:cNvPr id="28" name="Текст 27"/>
          <p:cNvSpPr>
            <a:spLocks noGrp="1"/>
          </p:cNvSpPr>
          <p:nvPr>
            <p:ph type="body" sz="quarter" idx="14" hasCustomPrompt="1"/>
          </p:nvPr>
        </p:nvSpPr>
        <p:spPr>
          <a:xfrm>
            <a:off x="5112000" y="6210000"/>
            <a:ext cx="2016000" cy="396000"/>
          </a:xfrm>
        </p:spPr>
        <p:txBody>
          <a:bodyPr anchor="ctr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10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ru-RU" dirty="0" smtClean="0"/>
              <a:t>Адрес компании</a:t>
            </a:r>
            <a:endParaRPr lang="ru-RU" dirty="0"/>
          </a:p>
        </p:txBody>
      </p:sp>
      <p:sp>
        <p:nvSpPr>
          <p:cNvPr id="30" name="Текст 29"/>
          <p:cNvSpPr>
            <a:spLocks noGrp="1"/>
          </p:cNvSpPr>
          <p:nvPr>
            <p:ph type="body" sz="quarter" idx="15" hasCustomPrompt="1"/>
          </p:nvPr>
        </p:nvSpPr>
        <p:spPr>
          <a:xfrm>
            <a:off x="2772000" y="6210000"/>
            <a:ext cx="2268000" cy="396000"/>
          </a:xfrm>
        </p:spPr>
        <p:txBody>
          <a:bodyPr anchor="ctr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10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ru-RU" dirty="0" smtClean="0"/>
              <a:t>Управление и Отдел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4027721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31775" y="306675"/>
            <a:ext cx="6742113" cy="739775"/>
          </a:xfrm>
          <a:prstGeom prst="rect">
            <a:avLst/>
          </a:prstGeom>
        </p:spPr>
        <p:txBody>
          <a:bodyPr/>
          <a:lstStyle>
            <a:lvl1pPr>
              <a:defRPr sz="2500"/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15" name="Rectangle 4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EFF660B-5916-42E2-9D88-953A3CB16BD3}" type="slidenum">
              <a:rPr lang="en-US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8151852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Основн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414000" y="1638000"/>
            <a:ext cx="8316000" cy="4467600"/>
          </a:xfrm>
        </p:spPr>
        <p:txBody>
          <a:bodyPr/>
          <a:lstStyle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de-DE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4"/>
          </p:nvPr>
        </p:nvSpPr>
        <p:spPr>
          <a:xfrm>
            <a:off x="8665706" y="6526182"/>
            <a:ext cx="402094" cy="217518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chemeClr val="bg1"/>
                </a:solidFill>
                <a:latin typeface="+mj-lt"/>
              </a:defRPr>
            </a:lvl1pPr>
          </a:lstStyle>
          <a:p>
            <a:fld id="{8E141AF1-466E-4D9F-B74C-45FFEB47CA13}" type="slidenum">
              <a:rPr lang="de-DE" smtClean="0">
                <a:solidFill>
                  <a:srgbClr val="FFFFFF"/>
                </a:solidFill>
              </a:rPr>
              <a:pPr/>
              <a:t>‹#›</a:t>
            </a:fld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1652954" y="1"/>
            <a:ext cx="7220702" cy="897162"/>
          </a:xfrm>
          <a:prstGeom prst="rect">
            <a:avLst/>
          </a:prstGeom>
          <a:ln/>
          <a:effectLst>
            <a:outerShdw dist="17961" dir="2700000" algn="ctr" rotWithShape="0">
              <a:srgbClr val="FFFFFF"/>
            </a:outerShdw>
          </a:effectLst>
        </p:spPr>
        <p:txBody>
          <a:bodyPr anchor="ctr"/>
          <a:lstStyle>
            <a:lvl1pPr>
              <a:defRPr kumimoji="1" lang="ru-RU" sz="1700" kern="1200">
                <a:solidFill>
                  <a:srgbClr val="016EB3"/>
                </a:solidFill>
              </a:defRPr>
            </a:lvl1pPr>
          </a:lstStyle>
          <a:p>
            <a:pPr lvl="0" defTabSz="820738"/>
            <a:r>
              <a:rPr lang="ru-RU" smtClean="0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64331797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31775" y="123825"/>
            <a:ext cx="6742113" cy="657225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715E4BD-578A-4F4A-9E92-1B4DB10B5101}" type="slidenum">
              <a:rPr lang="en-US">
                <a:solidFill>
                  <a:srgbClr val="A0A1A6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A0A1A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5682651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Основн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lide Number Placeholder 8"/>
          <p:cNvSpPr>
            <a:spLocks noGrp="1"/>
          </p:cNvSpPr>
          <p:nvPr>
            <p:ph type="sldNum" sz="quarter" idx="14"/>
          </p:nvPr>
        </p:nvSpPr>
        <p:spPr>
          <a:xfrm>
            <a:off x="8665706" y="6526182"/>
            <a:ext cx="402094" cy="217518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chemeClr val="bg1"/>
                </a:solidFill>
                <a:latin typeface="+mj-lt"/>
              </a:defRPr>
            </a:lvl1pPr>
          </a:lstStyle>
          <a:p>
            <a:fld id="{8E141AF1-466E-4D9F-B74C-45FFEB47CA13}" type="slidenum">
              <a:rPr lang="de-DE" smtClean="0">
                <a:solidFill>
                  <a:srgbClr val="FFFFFF"/>
                </a:solidFill>
              </a:rPr>
              <a:pPr/>
              <a:t>‹#›</a:t>
            </a:fld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261257" y="1"/>
            <a:ext cx="8612399" cy="897162"/>
          </a:xfrm>
          <a:prstGeom prst="rect">
            <a:avLst/>
          </a:prstGeom>
          <a:ln/>
          <a:effectLst>
            <a:outerShdw dist="17961" dir="2700000" algn="ctr" rotWithShape="0">
              <a:srgbClr val="FFFFFF"/>
            </a:outerShdw>
          </a:effectLst>
        </p:spPr>
        <p:txBody>
          <a:bodyPr anchor="ctr"/>
          <a:lstStyle>
            <a:lvl1pPr>
              <a:defRPr kumimoji="1" lang="ru-RU" sz="1800" kern="1200">
                <a:solidFill>
                  <a:srgbClr val="016EB3"/>
                </a:solidFill>
              </a:defRPr>
            </a:lvl1pPr>
          </a:lstStyle>
          <a:p>
            <a:pPr lvl="0" defTabSz="820738"/>
            <a:r>
              <a:rPr lang="ru-RU" dirty="0" smtClean="0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39491226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07266" name="Rectangle 2"/>
          <p:cNvSpPr>
            <a:spLocks noGrp="1" noChangeArrowheads="1"/>
          </p:cNvSpPr>
          <p:nvPr>
            <p:ph type="subTitle" idx="1"/>
          </p:nvPr>
        </p:nvSpPr>
        <p:spPr>
          <a:xfrm>
            <a:off x="2935485" y="5737225"/>
            <a:ext cx="5522912" cy="270843"/>
          </a:xfrm>
          <a:effectLst>
            <a:outerShdw dist="17961" dir="2700000" algn="ctr" rotWithShape="0">
              <a:srgbClr val="FFFFFF"/>
            </a:outerShdw>
          </a:effectLst>
        </p:spPr>
        <p:txBody>
          <a:bodyPr>
            <a:spAutoFit/>
          </a:bodyPr>
          <a:lstStyle>
            <a:lvl1pPr marL="0" indent="0" algn="r" defTabSz="820738">
              <a:spcBef>
                <a:spcPct val="0"/>
              </a:spcBef>
              <a:buClrTx/>
              <a:buFontTx/>
              <a:buNone/>
              <a:defRPr sz="1600">
                <a:solidFill>
                  <a:schemeClr val="tx2"/>
                </a:solidFill>
              </a:defRPr>
            </a:lvl1pPr>
          </a:lstStyle>
          <a:p>
            <a:r>
              <a:rPr lang="ru-RU" smtClean="0"/>
              <a:t>Образец подзаголовка</a:t>
            </a:r>
            <a:endParaRPr lang="en-US" dirty="0"/>
          </a:p>
        </p:txBody>
      </p:sp>
      <p:sp>
        <p:nvSpPr>
          <p:cNvPr id="907267" name="Rectangle 3"/>
          <p:cNvSpPr>
            <a:spLocks noGrp="1" noChangeArrowheads="1"/>
          </p:cNvSpPr>
          <p:nvPr>
            <p:ph type="ctrTitle" sz="quarter"/>
          </p:nvPr>
        </p:nvSpPr>
        <p:spPr>
          <a:xfrm>
            <a:off x="3032589" y="5183188"/>
            <a:ext cx="5522912" cy="452437"/>
          </a:xfrm>
          <a:prstGeom prst="rect">
            <a:avLst/>
          </a:prstGeom>
          <a:ln/>
          <a:effectLst>
            <a:outerShdw dist="17961" dir="2700000" algn="ctr" rotWithShape="0">
              <a:srgbClr val="FFFFFF"/>
            </a:outerShdw>
          </a:effectLst>
        </p:spPr>
        <p:txBody>
          <a:bodyPr anchor="b"/>
          <a:lstStyle>
            <a:lvl1pPr algn="r" defTabSz="820738">
              <a:defRPr sz="2400">
                <a:solidFill>
                  <a:schemeClr val="tx2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en-US"/>
          </a:p>
        </p:txBody>
      </p:sp>
      <p:pic>
        <p:nvPicPr>
          <p:cNvPr id="2" name="Рисунок 1"/>
          <p:cNvPicPr>
            <a:picLocks noChangeAspect="1"/>
          </p:cNvPicPr>
          <p:nvPr userDrawn="1"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2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0709" y="505803"/>
            <a:ext cx="5230821" cy="3804234"/>
          </a:xfrm>
          <a:prstGeom prst="rect">
            <a:avLst/>
          </a:prstGeom>
        </p:spPr>
      </p:pic>
      <p:pic>
        <p:nvPicPr>
          <p:cNvPr id="7" name="Picture 2"/>
          <p:cNvPicPr>
            <a:picLocks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68000" y="3096000"/>
            <a:ext cx="3564000" cy="2066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8848073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gallery dir="l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31778" y="123825"/>
            <a:ext cx="6742113" cy="657225"/>
          </a:xfrm>
          <a:prstGeom prst="rect">
            <a:avLst/>
          </a:prstGeom>
        </p:spPr>
        <p:txBody>
          <a:bodyPr lIns="91243" tIns="45622" rIns="91243" bIns="45622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715E4BD-578A-4F4A-9E92-1B4DB10B5101}" type="slidenum">
              <a:rPr lang="en-US">
                <a:solidFill>
                  <a:srgbClr val="A0A1A6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A0A1A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264871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gallery dir="l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Основн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414000" y="1638000"/>
            <a:ext cx="8316000" cy="4467600"/>
          </a:xfrm>
        </p:spPr>
        <p:txBody>
          <a:bodyPr/>
          <a:lstStyle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de-DE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4"/>
          </p:nvPr>
        </p:nvSpPr>
        <p:spPr>
          <a:xfrm>
            <a:off x="8665706" y="6526182"/>
            <a:ext cx="402094" cy="217518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chemeClr val="bg1"/>
                </a:solidFill>
                <a:latin typeface="+mj-lt"/>
              </a:defRPr>
            </a:lvl1pPr>
          </a:lstStyle>
          <a:p>
            <a:fld id="{8E141AF1-466E-4D9F-B74C-45FFEB47CA13}" type="slidenum">
              <a:rPr lang="de-DE" smtClean="0">
                <a:solidFill>
                  <a:srgbClr val="FFFFFF"/>
                </a:solidFill>
              </a:rPr>
              <a:pPr/>
              <a:t>‹#›</a:t>
            </a:fld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1652954" y="1"/>
            <a:ext cx="7220702" cy="897162"/>
          </a:xfrm>
          <a:prstGeom prst="rect">
            <a:avLst/>
          </a:prstGeom>
          <a:ln/>
          <a:effectLst>
            <a:outerShdw dist="17961" dir="2700000" algn="ctr" rotWithShape="0">
              <a:srgbClr val="FFFFFF"/>
            </a:outerShdw>
          </a:effectLst>
        </p:spPr>
        <p:txBody>
          <a:bodyPr anchor="ctr"/>
          <a:lstStyle>
            <a:lvl1pPr>
              <a:defRPr kumimoji="1" lang="ru-RU" sz="1700" kern="1200">
                <a:solidFill>
                  <a:srgbClr val="016EB3"/>
                </a:solidFill>
              </a:defRPr>
            </a:lvl1pPr>
          </a:lstStyle>
          <a:p>
            <a:pPr lvl="0" defTabSz="820738"/>
            <a:r>
              <a:rPr lang="ru-RU" smtClean="0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734028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gallery dir="l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 userDrawn="1"/>
        </p:nvSpPr>
        <p:spPr bwMode="auto">
          <a:xfrm>
            <a:off x="8660606" y="6374606"/>
            <a:ext cx="478632" cy="389746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defTabSz="912804" fontAlgn="base">
              <a:spcBef>
                <a:spcPct val="50000"/>
              </a:spcBef>
              <a:spcAft>
                <a:spcPct val="0"/>
              </a:spcAft>
            </a:pPr>
            <a:endParaRPr kumimoji="1" lang="ru-RU" sz="1000" smtClean="0">
              <a:solidFill>
                <a:srgbClr val="00294F"/>
              </a:solidFill>
              <a:latin typeface="Tahoma" pitchFamily="34" charset="0"/>
              <a:ea typeface="PMingLiU" pitchFamily="18" charset="-120"/>
            </a:endParaRPr>
          </a:p>
        </p:txBody>
      </p:sp>
    </p:spTree>
    <p:extLst>
      <p:ext uri="{BB962C8B-B14F-4D97-AF65-F5344CB8AC3E}">
        <p14:creationId xmlns:p14="http://schemas.microsoft.com/office/powerpoint/2010/main" val="25892574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gallery dir="l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лайд &quot;Спасибо!&quot;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Line 27"/>
          <p:cNvSpPr>
            <a:spLocks noChangeShapeType="1"/>
          </p:cNvSpPr>
          <p:nvPr userDrawn="1"/>
        </p:nvSpPr>
        <p:spPr bwMode="auto">
          <a:xfrm>
            <a:off x="252000" y="5940000"/>
            <a:ext cx="8640000" cy="0"/>
          </a:xfrm>
          <a:prstGeom prst="line">
            <a:avLst/>
          </a:prstGeom>
          <a:noFill/>
          <a:ln w="28575">
            <a:solidFill>
              <a:srgbClr val="016EB3"/>
            </a:solidFill>
            <a:round/>
            <a:headEnd/>
            <a:tailEnd/>
          </a:ln>
          <a:effectLst/>
        </p:spPr>
        <p:txBody>
          <a:bodyPr wrap="none"/>
          <a:lstStyle/>
          <a:p>
            <a:pPr defTabSz="912804" fontAlgn="base">
              <a:spcBef>
                <a:spcPct val="50000"/>
              </a:spcBef>
              <a:spcAft>
                <a:spcPct val="0"/>
              </a:spcAft>
              <a:defRPr/>
            </a:pPr>
            <a:endParaRPr kumimoji="1" lang="ru-RU" sz="1000" dirty="0">
              <a:solidFill>
                <a:srgbClr val="002766"/>
              </a:solidFill>
              <a:latin typeface="Tahoma" pitchFamily="34" charset="0"/>
              <a:ea typeface="PMingLiU" pitchFamily="18" charset="-120"/>
            </a:endParaRPr>
          </a:p>
        </p:txBody>
      </p:sp>
      <p:sp>
        <p:nvSpPr>
          <p:cNvPr id="9" name="Прямоугольник 8"/>
          <p:cNvSpPr/>
          <p:nvPr userDrawn="1"/>
        </p:nvSpPr>
        <p:spPr bwMode="auto">
          <a:xfrm>
            <a:off x="252000" y="190500"/>
            <a:ext cx="1623692" cy="606669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defTabSz="912804" fontAlgn="base">
              <a:spcBef>
                <a:spcPct val="50000"/>
              </a:spcBef>
              <a:spcAft>
                <a:spcPct val="0"/>
              </a:spcAft>
            </a:pPr>
            <a:endParaRPr kumimoji="1" lang="ru-RU" sz="1000" smtClean="0">
              <a:solidFill>
                <a:srgbClr val="00294F"/>
              </a:solidFill>
              <a:latin typeface="Tahoma" pitchFamily="34" charset="0"/>
              <a:ea typeface="PMingLiU" pitchFamily="18" charset="-120"/>
            </a:endParaRPr>
          </a:p>
        </p:txBody>
      </p:sp>
      <p:sp>
        <p:nvSpPr>
          <p:cNvPr id="10" name="Прямоугольник 9"/>
          <p:cNvSpPr/>
          <p:nvPr userDrawn="1"/>
        </p:nvSpPr>
        <p:spPr bwMode="auto">
          <a:xfrm>
            <a:off x="8429206" y="6327669"/>
            <a:ext cx="708444" cy="504825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defTabSz="912804" fontAlgn="base">
              <a:spcBef>
                <a:spcPct val="50000"/>
              </a:spcBef>
              <a:spcAft>
                <a:spcPct val="0"/>
              </a:spcAft>
            </a:pPr>
            <a:endParaRPr kumimoji="1" lang="ru-RU" sz="1000" smtClean="0">
              <a:solidFill>
                <a:srgbClr val="00294F"/>
              </a:solidFill>
              <a:latin typeface="Tahoma" pitchFamily="34" charset="0"/>
              <a:ea typeface="PMingLiU" pitchFamily="18" charset="-120"/>
            </a:endParaRPr>
          </a:p>
        </p:txBody>
      </p:sp>
      <p:sp>
        <p:nvSpPr>
          <p:cNvPr id="18" name="Текст 3"/>
          <p:cNvSpPr>
            <a:spLocks noGrp="1"/>
          </p:cNvSpPr>
          <p:nvPr>
            <p:ph type="body" sz="half" idx="10" hasCustomPrompt="1"/>
          </p:nvPr>
        </p:nvSpPr>
        <p:spPr>
          <a:xfrm>
            <a:off x="7200000" y="6210000"/>
            <a:ext cx="1656000" cy="396000"/>
          </a:xfrm>
        </p:spPr>
        <p:txBody>
          <a:bodyPr anchor="ctr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100">
                <a:solidFill>
                  <a:schemeClr val="tx2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dirty="0" smtClean="0"/>
              <a:t>Телефон и </a:t>
            </a:r>
            <a:r>
              <a:rPr lang="en-US" dirty="0" smtClean="0"/>
              <a:t>e-mail</a:t>
            </a:r>
          </a:p>
        </p:txBody>
      </p:sp>
      <p:sp>
        <p:nvSpPr>
          <p:cNvPr id="21" name="Текст 3"/>
          <p:cNvSpPr>
            <a:spLocks noGrp="1"/>
          </p:cNvSpPr>
          <p:nvPr>
            <p:ph type="body" sz="half" idx="12" hasCustomPrompt="1"/>
          </p:nvPr>
        </p:nvSpPr>
        <p:spPr>
          <a:xfrm>
            <a:off x="2088000" y="3096000"/>
            <a:ext cx="4932000" cy="648000"/>
          </a:xfrm>
        </p:spPr>
        <p:txBody>
          <a:bodyPr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buNone/>
              <a:defRPr sz="3600">
                <a:solidFill>
                  <a:srgbClr val="016EB3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dirty="0" smtClean="0"/>
              <a:t>Спасибо! / </a:t>
            </a:r>
            <a:r>
              <a:rPr lang="en-US" dirty="0" smtClean="0"/>
              <a:t>Thank you!</a:t>
            </a:r>
          </a:p>
        </p:txBody>
      </p:sp>
      <p:sp>
        <p:nvSpPr>
          <p:cNvPr id="28" name="Текст 27"/>
          <p:cNvSpPr>
            <a:spLocks noGrp="1"/>
          </p:cNvSpPr>
          <p:nvPr>
            <p:ph type="body" sz="quarter" idx="14" hasCustomPrompt="1"/>
          </p:nvPr>
        </p:nvSpPr>
        <p:spPr>
          <a:xfrm>
            <a:off x="5112000" y="6210000"/>
            <a:ext cx="2016000" cy="396000"/>
          </a:xfrm>
        </p:spPr>
        <p:txBody>
          <a:bodyPr anchor="ctr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10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ru-RU" dirty="0" smtClean="0"/>
              <a:t>Адрес компании</a:t>
            </a:r>
            <a:endParaRPr lang="ru-RU" dirty="0"/>
          </a:p>
        </p:txBody>
      </p:sp>
      <p:sp>
        <p:nvSpPr>
          <p:cNvPr id="30" name="Текст 29"/>
          <p:cNvSpPr>
            <a:spLocks noGrp="1"/>
          </p:cNvSpPr>
          <p:nvPr>
            <p:ph type="body" sz="quarter" idx="15" hasCustomPrompt="1"/>
          </p:nvPr>
        </p:nvSpPr>
        <p:spPr>
          <a:xfrm>
            <a:off x="2772000" y="6210000"/>
            <a:ext cx="2268000" cy="396000"/>
          </a:xfrm>
        </p:spPr>
        <p:txBody>
          <a:bodyPr anchor="ctr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10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ru-RU" dirty="0" smtClean="0"/>
              <a:t>Управление и Отдел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1461588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gallery dir="l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31775" y="306675"/>
            <a:ext cx="6742113" cy="739775"/>
          </a:xfrm>
          <a:prstGeom prst="rect">
            <a:avLst/>
          </a:prstGeom>
        </p:spPr>
        <p:txBody>
          <a:bodyPr/>
          <a:lstStyle>
            <a:lvl1pPr>
              <a:defRPr sz="2500"/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15" name="Rectangle 4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EFF660B-5916-42E2-9D88-953A3CB16BD3}" type="slidenum">
              <a:rPr lang="en-US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135197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gallery dir="l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Основн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414000" y="1638000"/>
            <a:ext cx="8316000" cy="4467600"/>
          </a:xfrm>
        </p:spPr>
        <p:txBody>
          <a:bodyPr/>
          <a:lstStyle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de-DE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4"/>
          </p:nvPr>
        </p:nvSpPr>
        <p:spPr>
          <a:xfrm>
            <a:off x="8665706" y="6526182"/>
            <a:ext cx="402094" cy="217518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chemeClr val="bg1"/>
                </a:solidFill>
                <a:latin typeface="+mj-lt"/>
              </a:defRPr>
            </a:lvl1pPr>
          </a:lstStyle>
          <a:p>
            <a:fld id="{8E141AF1-466E-4D9F-B74C-45FFEB47CA13}" type="slidenum">
              <a:rPr lang="de-DE" smtClean="0">
                <a:solidFill>
                  <a:srgbClr val="FFFFFF"/>
                </a:solidFill>
              </a:rPr>
              <a:pPr/>
              <a:t>‹#›</a:t>
            </a:fld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1652954" y="1"/>
            <a:ext cx="7220702" cy="897162"/>
          </a:xfrm>
          <a:prstGeom prst="rect">
            <a:avLst/>
          </a:prstGeom>
          <a:ln/>
          <a:effectLst>
            <a:outerShdw dist="17961" dir="2700000" algn="ctr" rotWithShape="0">
              <a:srgbClr val="FFFFFF"/>
            </a:outerShdw>
          </a:effectLst>
        </p:spPr>
        <p:txBody>
          <a:bodyPr anchor="ctr"/>
          <a:lstStyle>
            <a:lvl1pPr>
              <a:defRPr kumimoji="1" lang="ru-RU" sz="1700" kern="1200">
                <a:solidFill>
                  <a:srgbClr val="016EB3"/>
                </a:solidFill>
              </a:defRPr>
            </a:lvl1pPr>
          </a:lstStyle>
          <a:p>
            <a:pPr lvl="0" defTabSz="820738"/>
            <a:r>
              <a:rPr lang="ru-RU" smtClean="0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9834492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gallery dir="l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4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31775" y="123825"/>
            <a:ext cx="6742113" cy="657225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715E4BD-578A-4F4A-9E92-1B4DB10B5101}" type="slidenum">
              <a:rPr lang="en-US">
                <a:solidFill>
                  <a:srgbClr val="A0A1A6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A0A1A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148155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gallery dir="l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One Char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7"/>
          <p:cNvSpPr>
            <a:spLocks noGrp="1"/>
          </p:cNvSpPr>
          <p:nvPr>
            <p:ph type="pic" sz="quarter" idx="12" hasCustomPrompt="1"/>
          </p:nvPr>
        </p:nvSpPr>
        <p:spPr>
          <a:xfrm>
            <a:off x="353585" y="1292913"/>
            <a:ext cx="8438320" cy="5095600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>
            <a:normAutofit/>
          </a:bodyPr>
          <a:lstStyle>
            <a:lvl1pPr marL="247031" indent="-247031" algn="l" defTabSz="892778" rtl="0" eaLnBrk="1" fontAlgn="base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sz="2200" dirty="0">
                <a:solidFill>
                  <a:schemeClr val="accent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 smtClean="0"/>
              <a:t>Wizard Chart</a:t>
            </a:r>
            <a:endParaRPr lang="en-US" dirty="0"/>
          </a:p>
        </p:txBody>
      </p:sp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168404" y="53577"/>
            <a:ext cx="7835048" cy="834431"/>
          </a:xfrm>
          <a:prstGeom prst="rect">
            <a:avLst/>
          </a:prstGeom>
        </p:spPr>
        <p:txBody>
          <a:bodyPr lIns="83210" tIns="41605" rIns="83210" bIns="41605"/>
          <a:lstStyle>
            <a:lvl1pPr>
              <a:defRPr sz="2500"/>
            </a:lvl1pPr>
          </a:lstStyle>
          <a:p>
            <a:r>
              <a:rPr lang="en-US" dirty="0" smtClean="0"/>
              <a:t>Click to edit Master title style</a:t>
            </a:r>
            <a:endParaRPr lang="fr-FR" dirty="0"/>
          </a:p>
        </p:txBody>
      </p:sp>
      <p:sp>
        <p:nvSpPr>
          <p:cNvPr id="5" name="Rectangle 4"/>
          <p:cNvSpPr/>
          <p:nvPr/>
        </p:nvSpPr>
        <p:spPr>
          <a:xfrm>
            <a:off x="0" y="905107"/>
            <a:ext cx="9144000" cy="34180"/>
          </a:xfrm>
          <a:prstGeom prst="rect">
            <a:avLst/>
          </a:prstGeom>
          <a:solidFill>
            <a:schemeClr val="accent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2804"/>
            <a:endParaRPr lang="en-US" dirty="0" smtClean="0">
              <a:solidFill>
                <a:srgbClr val="00294F"/>
              </a:solidFill>
            </a:endParaRPr>
          </a:p>
        </p:txBody>
      </p:sp>
      <p:sp>
        <p:nvSpPr>
          <p:cNvPr id="6" name="SlideNumber"/>
          <p:cNvSpPr/>
          <p:nvPr/>
        </p:nvSpPr>
        <p:spPr>
          <a:xfrm>
            <a:off x="8216375" y="6668489"/>
            <a:ext cx="300772" cy="86818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 defTabSz="912804"/>
            <a:fld id="{BB69BBE8-4DB2-4642-B003-B220ACD5A2FD}" type="slidenum">
              <a:rPr lang="en-US" sz="900" b="1" smtClean="0">
                <a:solidFill>
                  <a:srgbClr val="080808"/>
                </a:solidFill>
                <a:latin typeface="Verdana" pitchFamily="34" charset="0"/>
              </a:rPr>
              <a:pPr algn="ctr" defTabSz="912804"/>
              <a:t>‹#›</a:t>
            </a:fld>
            <a:endParaRPr lang="fr-FR" sz="900" b="1" dirty="0" smtClean="0">
              <a:solidFill>
                <a:srgbClr val="080808"/>
              </a:solidFill>
            </a:endParaRPr>
          </a:p>
        </p:txBody>
      </p:sp>
      <p:cxnSp>
        <p:nvCxnSpPr>
          <p:cNvPr id="7" name="Straight Connector 6"/>
          <p:cNvCxnSpPr/>
          <p:nvPr/>
        </p:nvCxnSpPr>
        <p:spPr>
          <a:xfrm>
            <a:off x="0" y="6555697"/>
            <a:ext cx="9144000" cy="0"/>
          </a:xfrm>
          <a:prstGeom prst="line">
            <a:avLst/>
          </a:prstGeom>
          <a:ln w="12700">
            <a:solidFill>
              <a:srgbClr val="999999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8" name="Group 7"/>
          <p:cNvGrpSpPr/>
          <p:nvPr/>
        </p:nvGrpSpPr>
        <p:grpSpPr>
          <a:xfrm>
            <a:off x="8574091" y="6591936"/>
            <a:ext cx="385992" cy="239924"/>
            <a:chOff x="7277614" y="2396353"/>
            <a:chExt cx="1054802" cy="609493"/>
          </a:xfrm>
        </p:grpSpPr>
        <p:sp>
          <p:nvSpPr>
            <p:cNvPr id="9" name="Freeform 7"/>
            <p:cNvSpPr>
              <a:spLocks/>
            </p:cNvSpPr>
            <p:nvPr/>
          </p:nvSpPr>
          <p:spPr bwMode="auto">
            <a:xfrm>
              <a:off x="7277614" y="2396353"/>
              <a:ext cx="527401" cy="154241"/>
            </a:xfrm>
            <a:custGeom>
              <a:avLst/>
              <a:gdLst>
                <a:gd name="T0" fmla="*/ 0 w 691"/>
                <a:gd name="T1" fmla="*/ 200 h 200"/>
                <a:gd name="T2" fmla="*/ 691 w 691"/>
                <a:gd name="T3" fmla="*/ 200 h 200"/>
                <a:gd name="T4" fmla="*/ 346 w 691"/>
                <a:gd name="T5" fmla="*/ 0 h 200"/>
                <a:gd name="T6" fmla="*/ 0 w 691"/>
                <a:gd name="T7" fmla="*/ 200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91" h="200">
                  <a:moveTo>
                    <a:pt x="0" y="200"/>
                  </a:moveTo>
                  <a:lnTo>
                    <a:pt x="691" y="200"/>
                  </a:lnTo>
                  <a:lnTo>
                    <a:pt x="346" y="0"/>
                  </a:lnTo>
                  <a:lnTo>
                    <a:pt x="0" y="200"/>
                  </a:lnTo>
                  <a:close/>
                </a:path>
              </a:pathLst>
            </a:custGeom>
            <a:solidFill>
              <a:srgbClr val="FF0505"/>
            </a:solidFill>
            <a:ln w="1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2804"/>
              <a:endParaRPr lang="en-US" dirty="0">
                <a:solidFill>
                  <a:srgbClr val="00294F"/>
                </a:solidFill>
              </a:endParaRPr>
            </a:p>
          </p:txBody>
        </p:sp>
        <p:sp>
          <p:nvSpPr>
            <p:cNvPr id="10" name="Freeform 8"/>
            <p:cNvSpPr>
              <a:spLocks/>
            </p:cNvSpPr>
            <p:nvPr/>
          </p:nvSpPr>
          <p:spPr bwMode="auto">
            <a:xfrm>
              <a:off x="7277614" y="2550591"/>
              <a:ext cx="263702" cy="452770"/>
            </a:xfrm>
            <a:custGeom>
              <a:avLst/>
              <a:gdLst>
                <a:gd name="T0" fmla="*/ 0 w 346"/>
                <a:gd name="T1" fmla="*/ 0 h 598"/>
                <a:gd name="T2" fmla="*/ 0 w 346"/>
                <a:gd name="T3" fmla="*/ 399 h 598"/>
                <a:gd name="T4" fmla="*/ 346 w 346"/>
                <a:gd name="T5" fmla="*/ 598 h 598"/>
                <a:gd name="T6" fmla="*/ 0 w 346"/>
                <a:gd name="T7" fmla="*/ 0 h 5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46" h="598">
                  <a:moveTo>
                    <a:pt x="0" y="0"/>
                  </a:moveTo>
                  <a:lnTo>
                    <a:pt x="0" y="399"/>
                  </a:lnTo>
                  <a:lnTo>
                    <a:pt x="346" y="59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505"/>
            </a:solidFill>
            <a:ln w="2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2804"/>
              <a:endParaRPr lang="en-US" dirty="0">
                <a:solidFill>
                  <a:srgbClr val="00294F"/>
                </a:solidFill>
              </a:endParaRPr>
            </a:p>
          </p:txBody>
        </p:sp>
        <p:sp>
          <p:nvSpPr>
            <p:cNvPr id="11" name="Freeform 9"/>
            <p:cNvSpPr>
              <a:spLocks/>
            </p:cNvSpPr>
            <p:nvPr/>
          </p:nvSpPr>
          <p:spPr bwMode="auto">
            <a:xfrm>
              <a:off x="7541313" y="2550591"/>
              <a:ext cx="263702" cy="452770"/>
            </a:xfrm>
            <a:custGeom>
              <a:avLst/>
              <a:gdLst>
                <a:gd name="T0" fmla="*/ 0 w 345"/>
                <a:gd name="T1" fmla="*/ 598 h 598"/>
                <a:gd name="T2" fmla="*/ 345 w 345"/>
                <a:gd name="T3" fmla="*/ 0 h 598"/>
                <a:gd name="T4" fmla="*/ 345 w 345"/>
                <a:gd name="T5" fmla="*/ 399 h 598"/>
                <a:gd name="T6" fmla="*/ 0 w 345"/>
                <a:gd name="T7" fmla="*/ 598 h 5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45" h="598">
                  <a:moveTo>
                    <a:pt x="0" y="598"/>
                  </a:moveTo>
                  <a:lnTo>
                    <a:pt x="345" y="0"/>
                  </a:lnTo>
                  <a:lnTo>
                    <a:pt x="345" y="399"/>
                  </a:lnTo>
                  <a:lnTo>
                    <a:pt x="0" y="598"/>
                  </a:lnTo>
                  <a:close/>
                </a:path>
              </a:pathLst>
            </a:custGeom>
            <a:solidFill>
              <a:srgbClr val="FF0505"/>
            </a:solidFill>
            <a:ln w="1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2804"/>
              <a:endParaRPr lang="en-US" dirty="0">
                <a:solidFill>
                  <a:srgbClr val="00294F"/>
                </a:solidFill>
              </a:endParaRPr>
            </a:p>
          </p:txBody>
        </p:sp>
        <p:sp>
          <p:nvSpPr>
            <p:cNvPr id="12" name="Freeform 7"/>
            <p:cNvSpPr>
              <a:spLocks/>
            </p:cNvSpPr>
            <p:nvPr/>
          </p:nvSpPr>
          <p:spPr bwMode="auto">
            <a:xfrm rot="10800000">
              <a:off x="7805015" y="2851605"/>
              <a:ext cx="527401" cy="154241"/>
            </a:xfrm>
            <a:custGeom>
              <a:avLst/>
              <a:gdLst>
                <a:gd name="T0" fmla="*/ 0 w 691"/>
                <a:gd name="T1" fmla="*/ 200 h 200"/>
                <a:gd name="T2" fmla="*/ 691 w 691"/>
                <a:gd name="T3" fmla="*/ 200 h 200"/>
                <a:gd name="T4" fmla="*/ 346 w 691"/>
                <a:gd name="T5" fmla="*/ 0 h 200"/>
                <a:gd name="T6" fmla="*/ 0 w 691"/>
                <a:gd name="T7" fmla="*/ 200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91" h="200">
                  <a:moveTo>
                    <a:pt x="0" y="200"/>
                  </a:moveTo>
                  <a:lnTo>
                    <a:pt x="691" y="200"/>
                  </a:lnTo>
                  <a:lnTo>
                    <a:pt x="346" y="0"/>
                  </a:lnTo>
                  <a:lnTo>
                    <a:pt x="0" y="200"/>
                  </a:lnTo>
                  <a:close/>
                </a:path>
              </a:pathLst>
            </a:custGeom>
            <a:solidFill>
              <a:srgbClr val="058CEC"/>
            </a:solidFill>
            <a:ln w="1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2804"/>
              <a:endParaRPr lang="en-US" dirty="0">
                <a:solidFill>
                  <a:srgbClr val="00294F"/>
                </a:solidFill>
              </a:endParaRPr>
            </a:p>
          </p:txBody>
        </p:sp>
        <p:sp>
          <p:nvSpPr>
            <p:cNvPr id="13" name="Freeform 8"/>
            <p:cNvSpPr>
              <a:spLocks/>
            </p:cNvSpPr>
            <p:nvPr/>
          </p:nvSpPr>
          <p:spPr bwMode="auto">
            <a:xfrm rot="10800000">
              <a:off x="8068714" y="2398838"/>
              <a:ext cx="263702" cy="452770"/>
            </a:xfrm>
            <a:custGeom>
              <a:avLst/>
              <a:gdLst>
                <a:gd name="T0" fmla="*/ 0 w 346"/>
                <a:gd name="T1" fmla="*/ 0 h 598"/>
                <a:gd name="T2" fmla="*/ 0 w 346"/>
                <a:gd name="T3" fmla="*/ 399 h 598"/>
                <a:gd name="T4" fmla="*/ 346 w 346"/>
                <a:gd name="T5" fmla="*/ 598 h 598"/>
                <a:gd name="T6" fmla="*/ 0 w 346"/>
                <a:gd name="T7" fmla="*/ 0 h 5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46" h="598">
                  <a:moveTo>
                    <a:pt x="0" y="0"/>
                  </a:moveTo>
                  <a:lnTo>
                    <a:pt x="0" y="399"/>
                  </a:lnTo>
                  <a:lnTo>
                    <a:pt x="346" y="59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58CEC"/>
            </a:solidFill>
            <a:ln w="2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2804"/>
              <a:endParaRPr lang="en-US" dirty="0">
                <a:solidFill>
                  <a:srgbClr val="00294F"/>
                </a:solidFill>
              </a:endParaRPr>
            </a:p>
          </p:txBody>
        </p:sp>
        <p:sp>
          <p:nvSpPr>
            <p:cNvPr id="14" name="Freeform 9"/>
            <p:cNvSpPr>
              <a:spLocks/>
            </p:cNvSpPr>
            <p:nvPr/>
          </p:nvSpPr>
          <p:spPr bwMode="auto">
            <a:xfrm rot="10800000">
              <a:off x="7805015" y="2398838"/>
              <a:ext cx="263702" cy="452770"/>
            </a:xfrm>
            <a:custGeom>
              <a:avLst/>
              <a:gdLst>
                <a:gd name="T0" fmla="*/ 0 w 345"/>
                <a:gd name="T1" fmla="*/ 598 h 598"/>
                <a:gd name="T2" fmla="*/ 345 w 345"/>
                <a:gd name="T3" fmla="*/ 0 h 598"/>
                <a:gd name="T4" fmla="*/ 345 w 345"/>
                <a:gd name="T5" fmla="*/ 399 h 598"/>
                <a:gd name="T6" fmla="*/ 0 w 345"/>
                <a:gd name="T7" fmla="*/ 598 h 5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45" h="598">
                  <a:moveTo>
                    <a:pt x="0" y="598"/>
                  </a:moveTo>
                  <a:lnTo>
                    <a:pt x="345" y="0"/>
                  </a:lnTo>
                  <a:lnTo>
                    <a:pt x="345" y="399"/>
                  </a:lnTo>
                  <a:lnTo>
                    <a:pt x="0" y="598"/>
                  </a:lnTo>
                  <a:close/>
                </a:path>
              </a:pathLst>
            </a:custGeom>
            <a:solidFill>
              <a:srgbClr val="058CEC"/>
            </a:solidFill>
            <a:ln w="1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2804"/>
              <a:endParaRPr lang="en-US" dirty="0">
                <a:solidFill>
                  <a:srgbClr val="00294F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21564110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Основн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lide Number Placeholder 8"/>
          <p:cNvSpPr>
            <a:spLocks noGrp="1"/>
          </p:cNvSpPr>
          <p:nvPr>
            <p:ph type="sldNum" sz="quarter" idx="14"/>
          </p:nvPr>
        </p:nvSpPr>
        <p:spPr>
          <a:xfrm>
            <a:off x="8665706" y="6526182"/>
            <a:ext cx="402094" cy="217518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chemeClr val="bg1"/>
                </a:solidFill>
                <a:latin typeface="+mj-lt"/>
              </a:defRPr>
            </a:lvl1pPr>
          </a:lstStyle>
          <a:p>
            <a:fld id="{8E141AF1-466E-4D9F-B74C-45FFEB47CA13}" type="slidenum">
              <a:rPr lang="de-DE" smtClean="0">
                <a:solidFill>
                  <a:srgbClr val="FFFFFF"/>
                </a:solidFill>
              </a:rPr>
              <a:pPr/>
              <a:t>‹#›</a:t>
            </a:fld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261257" y="1"/>
            <a:ext cx="8612399" cy="897162"/>
          </a:xfrm>
          <a:prstGeom prst="rect">
            <a:avLst/>
          </a:prstGeom>
          <a:ln/>
          <a:effectLst>
            <a:outerShdw dist="17961" dir="2700000" algn="ctr" rotWithShape="0">
              <a:srgbClr val="FFFFFF"/>
            </a:outerShdw>
          </a:effectLst>
        </p:spPr>
        <p:txBody>
          <a:bodyPr anchor="ctr"/>
          <a:lstStyle>
            <a:lvl1pPr>
              <a:defRPr kumimoji="1" lang="ru-RU" sz="1800" kern="1200">
                <a:solidFill>
                  <a:srgbClr val="016EB3"/>
                </a:solidFill>
              </a:defRPr>
            </a:lvl1pPr>
          </a:lstStyle>
          <a:p>
            <a:pPr lvl="0" defTabSz="820738"/>
            <a:r>
              <a:rPr lang="ru-RU" dirty="0" smtClean="0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4893168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Основн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lide Number Placeholder 8"/>
          <p:cNvSpPr>
            <a:spLocks noGrp="1"/>
          </p:cNvSpPr>
          <p:nvPr>
            <p:ph type="sldNum" sz="quarter" idx="14"/>
          </p:nvPr>
        </p:nvSpPr>
        <p:spPr>
          <a:xfrm>
            <a:off x="8665706" y="6526188"/>
            <a:ext cx="402094" cy="217518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chemeClr val="bg1"/>
                </a:solidFill>
                <a:latin typeface="+mj-lt"/>
              </a:defRPr>
            </a:lvl1pPr>
          </a:lstStyle>
          <a:p>
            <a:fld id="{8E141AF1-466E-4D9F-B74C-45FFEB47CA13}" type="slidenum">
              <a:rPr lang="de-DE" smtClean="0">
                <a:solidFill>
                  <a:srgbClr val="FFFFFF"/>
                </a:solidFill>
              </a:rPr>
              <a:pPr/>
              <a:t>‹#›</a:t>
            </a:fld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261257" y="1"/>
            <a:ext cx="8612399" cy="897162"/>
          </a:xfrm>
          <a:prstGeom prst="rect">
            <a:avLst/>
          </a:prstGeom>
          <a:ln/>
          <a:effectLst>
            <a:outerShdw dist="17961" dir="2700000" algn="ctr" rotWithShape="0">
              <a:srgbClr val="FFFFFF"/>
            </a:outerShdw>
          </a:effectLst>
        </p:spPr>
        <p:txBody>
          <a:bodyPr lIns="91243" tIns="45622" rIns="91243" bIns="45622" anchor="ctr"/>
          <a:lstStyle>
            <a:lvl1pPr>
              <a:defRPr kumimoji="1" lang="ru-RU" sz="1800" kern="1200">
                <a:solidFill>
                  <a:srgbClr val="016EB3"/>
                </a:solidFill>
              </a:defRPr>
            </a:lvl1pPr>
          </a:lstStyle>
          <a:p>
            <a:pPr lvl="0" defTabSz="819005"/>
            <a:r>
              <a:rPr lang="ru-RU" dirty="0" smtClean="0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5336377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gallery dir="l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07266" name="Rectangle 2"/>
          <p:cNvSpPr>
            <a:spLocks noGrp="1" noChangeArrowheads="1"/>
          </p:cNvSpPr>
          <p:nvPr>
            <p:ph type="subTitle" idx="1"/>
          </p:nvPr>
        </p:nvSpPr>
        <p:spPr>
          <a:xfrm>
            <a:off x="2935489" y="5737238"/>
            <a:ext cx="5522912" cy="270843"/>
          </a:xfrm>
          <a:effectLst>
            <a:outerShdw dist="17961" dir="2700000" algn="ctr" rotWithShape="0">
              <a:srgbClr val="FFFFFF"/>
            </a:outerShdw>
          </a:effectLst>
        </p:spPr>
        <p:txBody>
          <a:bodyPr>
            <a:spAutoFit/>
          </a:bodyPr>
          <a:lstStyle>
            <a:lvl1pPr marL="0" indent="0" algn="r" defTabSz="819005">
              <a:spcBef>
                <a:spcPct val="0"/>
              </a:spcBef>
              <a:buClrTx/>
              <a:buFontTx/>
              <a:buNone/>
              <a:defRPr sz="1600">
                <a:solidFill>
                  <a:schemeClr val="tx2"/>
                </a:solidFill>
              </a:defRPr>
            </a:lvl1pPr>
          </a:lstStyle>
          <a:p>
            <a:r>
              <a:rPr lang="ru-RU" smtClean="0"/>
              <a:t>Образец подзаголовка</a:t>
            </a:r>
            <a:endParaRPr lang="en-US" dirty="0"/>
          </a:p>
        </p:txBody>
      </p:sp>
      <p:sp>
        <p:nvSpPr>
          <p:cNvPr id="907267" name="Rectangle 3"/>
          <p:cNvSpPr>
            <a:spLocks noGrp="1" noChangeArrowheads="1"/>
          </p:cNvSpPr>
          <p:nvPr>
            <p:ph type="ctrTitle" sz="quarter"/>
          </p:nvPr>
        </p:nvSpPr>
        <p:spPr>
          <a:xfrm>
            <a:off x="3032589" y="5183211"/>
            <a:ext cx="5522912" cy="452437"/>
          </a:xfrm>
          <a:prstGeom prst="rect">
            <a:avLst/>
          </a:prstGeom>
          <a:ln/>
          <a:effectLst>
            <a:outerShdw dist="17961" dir="2700000" algn="ctr" rotWithShape="0">
              <a:srgbClr val="FFFFFF"/>
            </a:outerShdw>
          </a:effectLst>
        </p:spPr>
        <p:txBody>
          <a:bodyPr lIns="91243" tIns="45622" rIns="91243" bIns="45622" anchor="b"/>
          <a:lstStyle>
            <a:lvl1pPr algn="r" defTabSz="819005">
              <a:defRPr sz="2400">
                <a:solidFill>
                  <a:schemeClr val="tx2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en-US"/>
          </a:p>
        </p:txBody>
      </p:sp>
      <p:pic>
        <p:nvPicPr>
          <p:cNvPr id="2" name="Рисунок 1"/>
          <p:cNvPicPr>
            <a:picLocks noChangeAspect="1"/>
          </p:cNvPicPr>
          <p:nvPr userDrawn="1"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2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0710" y="505803"/>
            <a:ext cx="5230821" cy="3804234"/>
          </a:xfrm>
          <a:prstGeom prst="rect">
            <a:avLst/>
          </a:prstGeom>
        </p:spPr>
      </p:pic>
      <p:pic>
        <p:nvPicPr>
          <p:cNvPr id="7" name="Picture 2"/>
          <p:cNvPicPr>
            <a:picLocks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68002" y="3096000"/>
            <a:ext cx="3564000" cy="2066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5255646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gallery dir="l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Основн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414000" y="1638000"/>
            <a:ext cx="8316000" cy="4467600"/>
          </a:xfrm>
        </p:spPr>
        <p:txBody>
          <a:bodyPr/>
          <a:lstStyle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de-DE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4"/>
          </p:nvPr>
        </p:nvSpPr>
        <p:spPr>
          <a:xfrm>
            <a:off x="8665706" y="6526188"/>
            <a:ext cx="402094" cy="217518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chemeClr val="bg1"/>
                </a:solidFill>
                <a:latin typeface="+mj-lt"/>
              </a:defRPr>
            </a:lvl1pPr>
          </a:lstStyle>
          <a:p>
            <a:fld id="{8E141AF1-466E-4D9F-B74C-45FFEB47CA13}" type="slidenum">
              <a:rPr lang="de-DE" smtClean="0">
                <a:solidFill>
                  <a:srgbClr val="FFFFFF"/>
                </a:solidFill>
              </a:rPr>
              <a:pPr/>
              <a:t>‹#›</a:t>
            </a:fld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1652954" y="1"/>
            <a:ext cx="7220702" cy="897162"/>
          </a:xfrm>
          <a:prstGeom prst="rect">
            <a:avLst/>
          </a:prstGeom>
          <a:ln/>
          <a:effectLst>
            <a:outerShdw dist="17961" dir="2700000" algn="ctr" rotWithShape="0">
              <a:srgbClr val="FFFFFF"/>
            </a:outerShdw>
          </a:effectLst>
        </p:spPr>
        <p:txBody>
          <a:bodyPr lIns="91243" tIns="45622" rIns="91243" bIns="45622" anchor="ctr"/>
          <a:lstStyle>
            <a:lvl1pPr>
              <a:defRPr kumimoji="1" lang="ru-RU" sz="1700" kern="1200">
                <a:solidFill>
                  <a:srgbClr val="016EB3"/>
                </a:solidFill>
              </a:defRPr>
            </a:lvl1pPr>
          </a:lstStyle>
          <a:p>
            <a:pPr lvl="0" defTabSz="819005"/>
            <a:r>
              <a:rPr lang="ru-RU" smtClean="0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7303288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gallery dir="l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 userDrawn="1"/>
        </p:nvSpPr>
        <p:spPr bwMode="auto">
          <a:xfrm>
            <a:off x="8660610" y="6374606"/>
            <a:ext cx="478632" cy="389746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243" tIns="45622" rIns="91243" bIns="45622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</a:pPr>
            <a:endParaRPr kumimoji="1" lang="ru-RU" sz="1000" smtClean="0">
              <a:solidFill>
                <a:srgbClr val="00294F"/>
              </a:solidFill>
              <a:latin typeface="Tahoma" pitchFamily="34" charset="0"/>
              <a:ea typeface="PMingLiU" pitchFamily="18" charset="-120"/>
            </a:endParaRPr>
          </a:p>
        </p:txBody>
      </p:sp>
    </p:spTree>
    <p:extLst>
      <p:ext uri="{BB962C8B-B14F-4D97-AF65-F5344CB8AC3E}">
        <p14:creationId xmlns:p14="http://schemas.microsoft.com/office/powerpoint/2010/main" val="23180400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gallery dir="l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лайд &quot;Спасибо!&quot;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Line 27"/>
          <p:cNvSpPr>
            <a:spLocks noChangeShapeType="1"/>
          </p:cNvSpPr>
          <p:nvPr userDrawn="1"/>
        </p:nvSpPr>
        <p:spPr bwMode="auto">
          <a:xfrm>
            <a:off x="252000" y="5940000"/>
            <a:ext cx="8640000" cy="0"/>
          </a:xfrm>
          <a:prstGeom prst="line">
            <a:avLst/>
          </a:prstGeom>
          <a:noFill/>
          <a:ln w="28575">
            <a:solidFill>
              <a:srgbClr val="016EB3"/>
            </a:solidFill>
            <a:round/>
            <a:headEnd/>
            <a:tailEnd/>
          </a:ln>
          <a:effectLst/>
        </p:spPr>
        <p:txBody>
          <a:bodyPr wrap="none" lIns="91243" tIns="45622" rIns="91243" bIns="45622"/>
          <a:lstStyle/>
          <a:p>
            <a:pPr fontAlgn="base">
              <a:spcBef>
                <a:spcPct val="50000"/>
              </a:spcBef>
              <a:spcAft>
                <a:spcPct val="0"/>
              </a:spcAft>
              <a:defRPr/>
            </a:pPr>
            <a:endParaRPr kumimoji="1" lang="ru-RU" sz="1000" dirty="0">
              <a:solidFill>
                <a:srgbClr val="002766"/>
              </a:solidFill>
              <a:latin typeface="Tahoma" pitchFamily="34" charset="0"/>
              <a:ea typeface="PMingLiU" pitchFamily="18" charset="-120"/>
            </a:endParaRPr>
          </a:p>
        </p:txBody>
      </p:sp>
      <p:sp>
        <p:nvSpPr>
          <p:cNvPr id="9" name="Прямоугольник 8"/>
          <p:cNvSpPr/>
          <p:nvPr userDrawn="1"/>
        </p:nvSpPr>
        <p:spPr bwMode="auto">
          <a:xfrm>
            <a:off x="252000" y="190523"/>
            <a:ext cx="1623692" cy="606669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243" tIns="45622" rIns="91243" bIns="45622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</a:pPr>
            <a:endParaRPr kumimoji="1" lang="ru-RU" sz="1000" smtClean="0">
              <a:solidFill>
                <a:srgbClr val="00294F"/>
              </a:solidFill>
              <a:latin typeface="Tahoma" pitchFamily="34" charset="0"/>
              <a:ea typeface="PMingLiU" pitchFamily="18" charset="-120"/>
            </a:endParaRPr>
          </a:p>
        </p:txBody>
      </p:sp>
      <p:sp>
        <p:nvSpPr>
          <p:cNvPr id="10" name="Прямоугольник 9"/>
          <p:cNvSpPr/>
          <p:nvPr userDrawn="1"/>
        </p:nvSpPr>
        <p:spPr bwMode="auto">
          <a:xfrm>
            <a:off x="8429206" y="6327669"/>
            <a:ext cx="708444" cy="504825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243" tIns="45622" rIns="91243" bIns="45622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</a:pPr>
            <a:endParaRPr kumimoji="1" lang="ru-RU" sz="1000" smtClean="0">
              <a:solidFill>
                <a:srgbClr val="00294F"/>
              </a:solidFill>
              <a:latin typeface="Tahoma" pitchFamily="34" charset="0"/>
              <a:ea typeface="PMingLiU" pitchFamily="18" charset="-120"/>
            </a:endParaRPr>
          </a:p>
        </p:txBody>
      </p:sp>
      <p:sp>
        <p:nvSpPr>
          <p:cNvPr id="18" name="Текст 3"/>
          <p:cNvSpPr>
            <a:spLocks noGrp="1"/>
          </p:cNvSpPr>
          <p:nvPr>
            <p:ph type="body" sz="half" idx="10" hasCustomPrompt="1"/>
          </p:nvPr>
        </p:nvSpPr>
        <p:spPr>
          <a:xfrm>
            <a:off x="7200000" y="6210000"/>
            <a:ext cx="1656000" cy="396000"/>
          </a:xfrm>
        </p:spPr>
        <p:txBody>
          <a:bodyPr anchor="ctr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100">
                <a:solidFill>
                  <a:schemeClr val="tx2"/>
                </a:solidFill>
              </a:defRPr>
            </a:lvl1pPr>
            <a:lvl2pPr marL="456234" indent="0">
              <a:buNone/>
              <a:defRPr sz="1200"/>
            </a:lvl2pPr>
            <a:lvl3pPr marL="912468" indent="0">
              <a:buNone/>
              <a:defRPr sz="1000"/>
            </a:lvl3pPr>
            <a:lvl4pPr marL="1368700" indent="0">
              <a:buNone/>
              <a:defRPr sz="900"/>
            </a:lvl4pPr>
            <a:lvl5pPr marL="1824935" indent="0">
              <a:buNone/>
              <a:defRPr sz="900"/>
            </a:lvl5pPr>
            <a:lvl6pPr marL="2281167" indent="0">
              <a:buNone/>
              <a:defRPr sz="900"/>
            </a:lvl6pPr>
            <a:lvl7pPr marL="2737394" indent="0">
              <a:buNone/>
              <a:defRPr sz="900"/>
            </a:lvl7pPr>
            <a:lvl8pPr marL="3193635" indent="0">
              <a:buNone/>
              <a:defRPr sz="900"/>
            </a:lvl8pPr>
            <a:lvl9pPr marL="3649869" indent="0">
              <a:buNone/>
              <a:defRPr sz="900"/>
            </a:lvl9pPr>
          </a:lstStyle>
          <a:p>
            <a:pPr lvl="0"/>
            <a:r>
              <a:rPr lang="ru-RU" dirty="0" smtClean="0"/>
              <a:t>Телефон и </a:t>
            </a:r>
            <a:r>
              <a:rPr lang="en-US" dirty="0" smtClean="0"/>
              <a:t>e-mail</a:t>
            </a:r>
          </a:p>
        </p:txBody>
      </p:sp>
      <p:sp>
        <p:nvSpPr>
          <p:cNvPr id="21" name="Текст 3"/>
          <p:cNvSpPr>
            <a:spLocks noGrp="1"/>
          </p:cNvSpPr>
          <p:nvPr>
            <p:ph type="body" sz="half" idx="12" hasCustomPrompt="1"/>
          </p:nvPr>
        </p:nvSpPr>
        <p:spPr>
          <a:xfrm>
            <a:off x="2088000" y="3096000"/>
            <a:ext cx="4932000" cy="648000"/>
          </a:xfrm>
        </p:spPr>
        <p:txBody>
          <a:bodyPr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buNone/>
              <a:defRPr sz="3600">
                <a:solidFill>
                  <a:srgbClr val="016EB3"/>
                </a:solidFill>
              </a:defRPr>
            </a:lvl1pPr>
            <a:lvl2pPr marL="456234" indent="0">
              <a:buNone/>
              <a:defRPr sz="1200"/>
            </a:lvl2pPr>
            <a:lvl3pPr marL="912468" indent="0">
              <a:buNone/>
              <a:defRPr sz="1000"/>
            </a:lvl3pPr>
            <a:lvl4pPr marL="1368700" indent="0">
              <a:buNone/>
              <a:defRPr sz="900"/>
            </a:lvl4pPr>
            <a:lvl5pPr marL="1824935" indent="0">
              <a:buNone/>
              <a:defRPr sz="900"/>
            </a:lvl5pPr>
            <a:lvl6pPr marL="2281167" indent="0">
              <a:buNone/>
              <a:defRPr sz="900"/>
            </a:lvl6pPr>
            <a:lvl7pPr marL="2737394" indent="0">
              <a:buNone/>
              <a:defRPr sz="900"/>
            </a:lvl7pPr>
            <a:lvl8pPr marL="3193635" indent="0">
              <a:buNone/>
              <a:defRPr sz="900"/>
            </a:lvl8pPr>
            <a:lvl9pPr marL="3649869" indent="0">
              <a:buNone/>
              <a:defRPr sz="900"/>
            </a:lvl9pPr>
          </a:lstStyle>
          <a:p>
            <a:pPr lvl="0"/>
            <a:r>
              <a:rPr lang="ru-RU" dirty="0" smtClean="0"/>
              <a:t>Спасибо! / </a:t>
            </a:r>
            <a:r>
              <a:rPr lang="en-US" dirty="0" smtClean="0"/>
              <a:t>Thank you!</a:t>
            </a:r>
          </a:p>
        </p:txBody>
      </p:sp>
      <p:sp>
        <p:nvSpPr>
          <p:cNvPr id="28" name="Текст 27"/>
          <p:cNvSpPr>
            <a:spLocks noGrp="1"/>
          </p:cNvSpPr>
          <p:nvPr>
            <p:ph type="body" sz="quarter" idx="14" hasCustomPrompt="1"/>
          </p:nvPr>
        </p:nvSpPr>
        <p:spPr>
          <a:xfrm>
            <a:off x="5112000" y="6210000"/>
            <a:ext cx="2016000" cy="396000"/>
          </a:xfrm>
        </p:spPr>
        <p:txBody>
          <a:bodyPr anchor="ctr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10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ru-RU" dirty="0" smtClean="0"/>
              <a:t>Адрес компании</a:t>
            </a:r>
            <a:endParaRPr lang="ru-RU" dirty="0"/>
          </a:p>
        </p:txBody>
      </p:sp>
      <p:sp>
        <p:nvSpPr>
          <p:cNvPr id="30" name="Текст 29"/>
          <p:cNvSpPr>
            <a:spLocks noGrp="1"/>
          </p:cNvSpPr>
          <p:nvPr>
            <p:ph type="body" sz="quarter" idx="15" hasCustomPrompt="1"/>
          </p:nvPr>
        </p:nvSpPr>
        <p:spPr>
          <a:xfrm>
            <a:off x="2772000" y="6210000"/>
            <a:ext cx="2268000" cy="396000"/>
          </a:xfrm>
        </p:spPr>
        <p:txBody>
          <a:bodyPr anchor="ctr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10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ru-RU" dirty="0" smtClean="0"/>
              <a:t>Управление и Отдел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1262147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gallery dir="l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/>
        </p:nvSpPr>
        <p:spPr bwMode="auto">
          <a:xfrm>
            <a:off x="8660610" y="6374606"/>
            <a:ext cx="478632" cy="389746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243" tIns="45622" rIns="91243" bIns="45622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</a:pPr>
            <a:endParaRPr kumimoji="1" lang="ru-RU" sz="1000">
              <a:solidFill>
                <a:srgbClr val="00294F"/>
              </a:solidFill>
              <a:latin typeface="Tahoma" pitchFamily="34" charset="0"/>
              <a:ea typeface="PMingLiU" pitchFamily="18" charset="-120"/>
            </a:endParaRPr>
          </a:p>
        </p:txBody>
      </p:sp>
    </p:spTree>
    <p:extLst>
      <p:ext uri="{BB962C8B-B14F-4D97-AF65-F5344CB8AC3E}">
        <p14:creationId xmlns:p14="http://schemas.microsoft.com/office/powerpoint/2010/main" val="1115940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gallery dir="l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31778" y="306698"/>
            <a:ext cx="6742113" cy="739775"/>
          </a:xfrm>
          <a:prstGeom prst="rect">
            <a:avLst/>
          </a:prstGeom>
        </p:spPr>
        <p:txBody>
          <a:bodyPr lIns="91243" tIns="45622" rIns="91243" bIns="45622"/>
          <a:lstStyle>
            <a:lvl1pPr>
              <a:defRPr sz="2500"/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15" name="Rectangle 4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EFF660B-5916-42E2-9D88-953A3CB16BD3}" type="slidenum">
              <a:rPr lang="en-US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004847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gallery dir="l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Основн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414000" y="1638000"/>
            <a:ext cx="8316000" cy="4467600"/>
          </a:xfrm>
        </p:spPr>
        <p:txBody>
          <a:bodyPr/>
          <a:lstStyle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de-DE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4"/>
          </p:nvPr>
        </p:nvSpPr>
        <p:spPr>
          <a:xfrm>
            <a:off x="8665706" y="6526188"/>
            <a:ext cx="402094" cy="217518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chemeClr val="bg1"/>
                </a:solidFill>
                <a:latin typeface="+mj-lt"/>
              </a:defRPr>
            </a:lvl1pPr>
          </a:lstStyle>
          <a:p>
            <a:fld id="{8E141AF1-466E-4D9F-B74C-45FFEB47CA13}" type="slidenum">
              <a:rPr lang="de-DE" smtClean="0">
                <a:solidFill>
                  <a:srgbClr val="FFFFFF"/>
                </a:solidFill>
              </a:rPr>
              <a:pPr/>
              <a:t>‹#›</a:t>
            </a:fld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1652954" y="1"/>
            <a:ext cx="7220702" cy="897162"/>
          </a:xfrm>
          <a:prstGeom prst="rect">
            <a:avLst/>
          </a:prstGeom>
          <a:ln/>
          <a:effectLst>
            <a:outerShdw dist="17961" dir="2700000" algn="ctr" rotWithShape="0">
              <a:srgbClr val="FFFFFF"/>
            </a:outerShdw>
          </a:effectLst>
        </p:spPr>
        <p:txBody>
          <a:bodyPr lIns="91243" tIns="45622" rIns="91243" bIns="45622" anchor="ctr"/>
          <a:lstStyle>
            <a:lvl1pPr>
              <a:defRPr kumimoji="1" lang="ru-RU" sz="1700" kern="1200">
                <a:solidFill>
                  <a:srgbClr val="016EB3"/>
                </a:solidFill>
              </a:defRPr>
            </a:lvl1pPr>
          </a:lstStyle>
          <a:p>
            <a:pPr lvl="0" defTabSz="819005"/>
            <a:r>
              <a:rPr lang="ru-RU" smtClean="0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4704464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gallery dir="l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31778" y="123825"/>
            <a:ext cx="6742113" cy="657225"/>
          </a:xfrm>
          <a:prstGeom prst="rect">
            <a:avLst/>
          </a:prstGeom>
        </p:spPr>
        <p:txBody>
          <a:bodyPr lIns="91243" tIns="45622" rIns="91243" bIns="45622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715E4BD-578A-4F4A-9E92-1B4DB10B5101}" type="slidenum">
              <a:rPr lang="en-US">
                <a:solidFill>
                  <a:srgbClr val="A0A1A6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A0A1A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614093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gallery dir="l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Основн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lide Number Placeholder 8"/>
          <p:cNvSpPr>
            <a:spLocks noGrp="1"/>
          </p:cNvSpPr>
          <p:nvPr>
            <p:ph type="sldNum" sz="quarter" idx="14"/>
          </p:nvPr>
        </p:nvSpPr>
        <p:spPr>
          <a:xfrm>
            <a:off x="8665706" y="6526188"/>
            <a:ext cx="402094" cy="217518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chemeClr val="bg1"/>
                </a:solidFill>
                <a:latin typeface="+mj-lt"/>
              </a:defRPr>
            </a:lvl1pPr>
          </a:lstStyle>
          <a:p>
            <a:fld id="{8E141AF1-466E-4D9F-B74C-45FFEB47CA13}" type="slidenum">
              <a:rPr lang="de-DE" smtClean="0">
                <a:solidFill>
                  <a:srgbClr val="FFFFFF"/>
                </a:solidFill>
              </a:rPr>
              <a:pPr/>
              <a:t>‹#›</a:t>
            </a:fld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261257" y="1"/>
            <a:ext cx="8612399" cy="897162"/>
          </a:xfrm>
          <a:prstGeom prst="rect">
            <a:avLst/>
          </a:prstGeom>
          <a:ln/>
          <a:effectLst>
            <a:outerShdw dist="17961" dir="2700000" algn="ctr" rotWithShape="0">
              <a:srgbClr val="FFFFFF"/>
            </a:outerShdw>
          </a:effectLst>
        </p:spPr>
        <p:txBody>
          <a:bodyPr lIns="91243" tIns="45622" rIns="91243" bIns="45622" anchor="ctr"/>
          <a:lstStyle>
            <a:lvl1pPr>
              <a:defRPr kumimoji="1" lang="ru-RU" sz="1800" kern="1200">
                <a:solidFill>
                  <a:srgbClr val="016EB3"/>
                </a:solidFill>
              </a:defRPr>
            </a:lvl1pPr>
          </a:lstStyle>
          <a:p>
            <a:pPr lvl="0" defTabSz="819005"/>
            <a:r>
              <a:rPr lang="ru-RU" dirty="0" smtClean="0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2323204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gallery dir="l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07266" name="Rectangle 2"/>
          <p:cNvSpPr>
            <a:spLocks noGrp="1" noChangeArrowheads="1"/>
          </p:cNvSpPr>
          <p:nvPr>
            <p:ph type="subTitle" idx="1"/>
          </p:nvPr>
        </p:nvSpPr>
        <p:spPr>
          <a:xfrm>
            <a:off x="2935489" y="5737238"/>
            <a:ext cx="5522912" cy="270843"/>
          </a:xfrm>
          <a:effectLst>
            <a:outerShdw dist="17961" dir="2700000" algn="ctr" rotWithShape="0">
              <a:srgbClr val="FFFFFF"/>
            </a:outerShdw>
          </a:effectLst>
        </p:spPr>
        <p:txBody>
          <a:bodyPr>
            <a:spAutoFit/>
          </a:bodyPr>
          <a:lstStyle>
            <a:lvl1pPr marL="0" indent="0" algn="r" defTabSz="818854">
              <a:spcBef>
                <a:spcPct val="0"/>
              </a:spcBef>
              <a:buClrTx/>
              <a:buFontTx/>
              <a:buNone/>
              <a:defRPr sz="1600">
                <a:solidFill>
                  <a:schemeClr val="tx2"/>
                </a:solidFill>
              </a:defRPr>
            </a:lvl1pPr>
          </a:lstStyle>
          <a:p>
            <a:r>
              <a:rPr lang="ru-RU" smtClean="0"/>
              <a:t>Образец подзаголовка</a:t>
            </a:r>
            <a:endParaRPr lang="en-US" dirty="0"/>
          </a:p>
        </p:txBody>
      </p:sp>
      <p:sp>
        <p:nvSpPr>
          <p:cNvPr id="907267" name="Rectangle 3"/>
          <p:cNvSpPr>
            <a:spLocks noGrp="1" noChangeArrowheads="1"/>
          </p:cNvSpPr>
          <p:nvPr>
            <p:ph type="ctrTitle" sz="quarter"/>
          </p:nvPr>
        </p:nvSpPr>
        <p:spPr>
          <a:xfrm>
            <a:off x="3032589" y="5183213"/>
            <a:ext cx="5522912" cy="452437"/>
          </a:xfrm>
          <a:prstGeom prst="rect">
            <a:avLst/>
          </a:prstGeom>
          <a:ln/>
          <a:effectLst>
            <a:outerShdw dist="17961" dir="2700000" algn="ctr" rotWithShape="0">
              <a:srgbClr val="FFFFFF"/>
            </a:outerShdw>
          </a:effectLst>
        </p:spPr>
        <p:txBody>
          <a:bodyPr lIns="91227" tIns="45613" rIns="91227" bIns="45613" anchor="b"/>
          <a:lstStyle>
            <a:lvl1pPr algn="r" defTabSz="818854">
              <a:defRPr sz="2400">
                <a:solidFill>
                  <a:schemeClr val="tx2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en-US"/>
          </a:p>
        </p:txBody>
      </p:sp>
      <p:pic>
        <p:nvPicPr>
          <p:cNvPr id="2" name="Рисунок 1"/>
          <p:cNvPicPr>
            <a:picLocks noChangeAspect="1"/>
          </p:cNvPicPr>
          <p:nvPr userDrawn="1"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2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0710" y="505803"/>
            <a:ext cx="5230821" cy="3804234"/>
          </a:xfrm>
          <a:prstGeom prst="rect">
            <a:avLst/>
          </a:prstGeom>
        </p:spPr>
      </p:pic>
      <p:pic>
        <p:nvPicPr>
          <p:cNvPr id="7" name="Picture 2"/>
          <p:cNvPicPr>
            <a:picLocks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68002" y="3096000"/>
            <a:ext cx="3564000" cy="2066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9986589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gallery dir="l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Основн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414000" y="1638000"/>
            <a:ext cx="8316000" cy="4467600"/>
          </a:xfrm>
        </p:spPr>
        <p:txBody>
          <a:bodyPr/>
          <a:lstStyle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de-DE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4"/>
          </p:nvPr>
        </p:nvSpPr>
        <p:spPr>
          <a:xfrm>
            <a:off x="8665706" y="6526188"/>
            <a:ext cx="402094" cy="217518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chemeClr val="bg1"/>
                </a:solidFill>
                <a:latin typeface="+mj-lt"/>
              </a:defRPr>
            </a:lvl1pPr>
          </a:lstStyle>
          <a:p>
            <a:fld id="{8E141AF1-466E-4D9F-B74C-45FFEB47CA13}" type="slidenum">
              <a:rPr lang="de-DE" smtClean="0">
                <a:solidFill>
                  <a:srgbClr val="FFFFFF"/>
                </a:solidFill>
              </a:rPr>
              <a:pPr/>
              <a:t>‹#›</a:t>
            </a:fld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1652954" y="1"/>
            <a:ext cx="7220702" cy="897162"/>
          </a:xfrm>
          <a:prstGeom prst="rect">
            <a:avLst/>
          </a:prstGeom>
          <a:ln/>
          <a:effectLst>
            <a:outerShdw dist="17961" dir="2700000" algn="ctr" rotWithShape="0">
              <a:srgbClr val="FFFFFF"/>
            </a:outerShdw>
          </a:effectLst>
        </p:spPr>
        <p:txBody>
          <a:bodyPr lIns="91227" tIns="45613" rIns="91227" bIns="45613" anchor="ctr"/>
          <a:lstStyle>
            <a:lvl1pPr>
              <a:defRPr kumimoji="1" lang="ru-RU" sz="1700" kern="1200">
                <a:solidFill>
                  <a:srgbClr val="016EB3"/>
                </a:solidFill>
              </a:defRPr>
            </a:lvl1pPr>
          </a:lstStyle>
          <a:p>
            <a:pPr lvl="0" defTabSz="818854"/>
            <a:r>
              <a:rPr lang="ru-RU" smtClean="0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7912848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gallery dir="l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 userDrawn="1"/>
        </p:nvSpPr>
        <p:spPr bwMode="auto">
          <a:xfrm>
            <a:off x="8660610" y="6374606"/>
            <a:ext cx="478632" cy="389746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227" tIns="45613" rIns="91227" bIns="45613" numCol="1" rtlCol="0" anchor="t" anchorCtr="0" compatLnSpc="1">
            <a:prstTxWarp prst="textNoShape">
              <a:avLst/>
            </a:prstTxWarp>
          </a:bodyPr>
          <a:lstStyle/>
          <a:p>
            <a:pPr defTabSz="910706" fontAlgn="base">
              <a:spcBef>
                <a:spcPct val="50000"/>
              </a:spcBef>
              <a:spcAft>
                <a:spcPct val="0"/>
              </a:spcAft>
            </a:pPr>
            <a:endParaRPr kumimoji="1" lang="ru-RU" sz="1000" smtClean="0">
              <a:solidFill>
                <a:srgbClr val="00294F"/>
              </a:solidFill>
              <a:latin typeface="Tahoma" pitchFamily="34" charset="0"/>
              <a:ea typeface="PMingLiU" pitchFamily="18" charset="-120"/>
            </a:endParaRPr>
          </a:p>
        </p:txBody>
      </p:sp>
    </p:spTree>
    <p:extLst>
      <p:ext uri="{BB962C8B-B14F-4D97-AF65-F5344CB8AC3E}">
        <p14:creationId xmlns:p14="http://schemas.microsoft.com/office/powerpoint/2010/main" val="18553066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gallery dir="l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лайд &quot;Спасибо!&quot;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Line 27"/>
          <p:cNvSpPr>
            <a:spLocks noChangeShapeType="1"/>
          </p:cNvSpPr>
          <p:nvPr userDrawn="1"/>
        </p:nvSpPr>
        <p:spPr bwMode="auto">
          <a:xfrm>
            <a:off x="252000" y="5940000"/>
            <a:ext cx="8640000" cy="0"/>
          </a:xfrm>
          <a:prstGeom prst="line">
            <a:avLst/>
          </a:prstGeom>
          <a:noFill/>
          <a:ln w="28575">
            <a:solidFill>
              <a:srgbClr val="016EB3"/>
            </a:solidFill>
            <a:round/>
            <a:headEnd/>
            <a:tailEnd/>
          </a:ln>
          <a:effectLst/>
        </p:spPr>
        <p:txBody>
          <a:bodyPr wrap="none" lIns="91227" tIns="45613" rIns="91227" bIns="45613"/>
          <a:lstStyle/>
          <a:p>
            <a:pPr defTabSz="910706" fontAlgn="base">
              <a:spcBef>
                <a:spcPct val="50000"/>
              </a:spcBef>
              <a:spcAft>
                <a:spcPct val="0"/>
              </a:spcAft>
              <a:defRPr/>
            </a:pPr>
            <a:endParaRPr kumimoji="1" lang="ru-RU" sz="1000" dirty="0">
              <a:solidFill>
                <a:srgbClr val="002766"/>
              </a:solidFill>
              <a:latin typeface="Tahoma" pitchFamily="34" charset="0"/>
              <a:ea typeface="PMingLiU" pitchFamily="18" charset="-120"/>
            </a:endParaRPr>
          </a:p>
        </p:txBody>
      </p:sp>
      <p:sp>
        <p:nvSpPr>
          <p:cNvPr id="9" name="Прямоугольник 8"/>
          <p:cNvSpPr/>
          <p:nvPr userDrawn="1"/>
        </p:nvSpPr>
        <p:spPr bwMode="auto">
          <a:xfrm>
            <a:off x="252000" y="190525"/>
            <a:ext cx="1623692" cy="606669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227" tIns="45613" rIns="91227" bIns="45613" numCol="1" rtlCol="0" anchor="t" anchorCtr="0" compatLnSpc="1">
            <a:prstTxWarp prst="textNoShape">
              <a:avLst/>
            </a:prstTxWarp>
          </a:bodyPr>
          <a:lstStyle/>
          <a:p>
            <a:pPr defTabSz="910706" fontAlgn="base">
              <a:spcBef>
                <a:spcPct val="50000"/>
              </a:spcBef>
              <a:spcAft>
                <a:spcPct val="0"/>
              </a:spcAft>
            </a:pPr>
            <a:endParaRPr kumimoji="1" lang="ru-RU" sz="1000" smtClean="0">
              <a:solidFill>
                <a:srgbClr val="00294F"/>
              </a:solidFill>
              <a:latin typeface="Tahoma" pitchFamily="34" charset="0"/>
              <a:ea typeface="PMingLiU" pitchFamily="18" charset="-120"/>
            </a:endParaRPr>
          </a:p>
        </p:txBody>
      </p:sp>
      <p:sp>
        <p:nvSpPr>
          <p:cNvPr id="10" name="Прямоугольник 9"/>
          <p:cNvSpPr/>
          <p:nvPr userDrawn="1"/>
        </p:nvSpPr>
        <p:spPr bwMode="auto">
          <a:xfrm>
            <a:off x="8429206" y="6327669"/>
            <a:ext cx="708444" cy="504825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227" tIns="45613" rIns="91227" bIns="45613" numCol="1" rtlCol="0" anchor="t" anchorCtr="0" compatLnSpc="1">
            <a:prstTxWarp prst="textNoShape">
              <a:avLst/>
            </a:prstTxWarp>
          </a:bodyPr>
          <a:lstStyle/>
          <a:p>
            <a:pPr defTabSz="910706" fontAlgn="base">
              <a:spcBef>
                <a:spcPct val="50000"/>
              </a:spcBef>
              <a:spcAft>
                <a:spcPct val="0"/>
              </a:spcAft>
            </a:pPr>
            <a:endParaRPr kumimoji="1" lang="ru-RU" sz="1000" smtClean="0">
              <a:solidFill>
                <a:srgbClr val="00294F"/>
              </a:solidFill>
              <a:latin typeface="Tahoma" pitchFamily="34" charset="0"/>
              <a:ea typeface="PMingLiU" pitchFamily="18" charset="-120"/>
            </a:endParaRPr>
          </a:p>
        </p:txBody>
      </p:sp>
      <p:sp>
        <p:nvSpPr>
          <p:cNvPr id="18" name="Текст 3"/>
          <p:cNvSpPr>
            <a:spLocks noGrp="1"/>
          </p:cNvSpPr>
          <p:nvPr>
            <p:ph type="body" sz="half" idx="10" hasCustomPrompt="1"/>
          </p:nvPr>
        </p:nvSpPr>
        <p:spPr>
          <a:xfrm>
            <a:off x="7200000" y="6210000"/>
            <a:ext cx="1656000" cy="396000"/>
          </a:xfrm>
        </p:spPr>
        <p:txBody>
          <a:bodyPr anchor="ctr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100">
                <a:solidFill>
                  <a:schemeClr val="tx2"/>
                </a:solidFill>
              </a:defRPr>
            </a:lvl1pPr>
            <a:lvl2pPr marL="456150" indent="0">
              <a:buNone/>
              <a:defRPr sz="1200"/>
            </a:lvl2pPr>
            <a:lvl3pPr marL="912300" indent="0">
              <a:buNone/>
              <a:defRPr sz="1000"/>
            </a:lvl3pPr>
            <a:lvl4pPr marL="1368448" indent="0">
              <a:buNone/>
              <a:defRPr sz="900"/>
            </a:lvl4pPr>
            <a:lvl5pPr marL="1824599" indent="0">
              <a:buNone/>
              <a:defRPr sz="900"/>
            </a:lvl5pPr>
            <a:lvl6pPr marL="2280748" indent="0">
              <a:buNone/>
              <a:defRPr sz="900"/>
            </a:lvl6pPr>
            <a:lvl7pPr marL="2736891" indent="0">
              <a:buNone/>
              <a:defRPr sz="900"/>
            </a:lvl7pPr>
            <a:lvl8pPr marL="3193047" indent="0">
              <a:buNone/>
              <a:defRPr sz="900"/>
            </a:lvl8pPr>
            <a:lvl9pPr marL="3649197" indent="0">
              <a:buNone/>
              <a:defRPr sz="900"/>
            </a:lvl9pPr>
          </a:lstStyle>
          <a:p>
            <a:pPr lvl="0"/>
            <a:r>
              <a:rPr lang="ru-RU" dirty="0" smtClean="0"/>
              <a:t>Телефон и </a:t>
            </a:r>
            <a:r>
              <a:rPr lang="en-US" dirty="0" smtClean="0"/>
              <a:t>e-mail</a:t>
            </a:r>
          </a:p>
        </p:txBody>
      </p:sp>
      <p:sp>
        <p:nvSpPr>
          <p:cNvPr id="21" name="Текст 3"/>
          <p:cNvSpPr>
            <a:spLocks noGrp="1"/>
          </p:cNvSpPr>
          <p:nvPr>
            <p:ph type="body" sz="half" idx="12" hasCustomPrompt="1"/>
          </p:nvPr>
        </p:nvSpPr>
        <p:spPr>
          <a:xfrm>
            <a:off x="2088000" y="3096000"/>
            <a:ext cx="4932000" cy="648000"/>
          </a:xfrm>
        </p:spPr>
        <p:txBody>
          <a:bodyPr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buNone/>
              <a:defRPr sz="3600">
                <a:solidFill>
                  <a:srgbClr val="016EB3"/>
                </a:solidFill>
              </a:defRPr>
            </a:lvl1pPr>
            <a:lvl2pPr marL="456150" indent="0">
              <a:buNone/>
              <a:defRPr sz="1200"/>
            </a:lvl2pPr>
            <a:lvl3pPr marL="912300" indent="0">
              <a:buNone/>
              <a:defRPr sz="1000"/>
            </a:lvl3pPr>
            <a:lvl4pPr marL="1368448" indent="0">
              <a:buNone/>
              <a:defRPr sz="900"/>
            </a:lvl4pPr>
            <a:lvl5pPr marL="1824599" indent="0">
              <a:buNone/>
              <a:defRPr sz="900"/>
            </a:lvl5pPr>
            <a:lvl6pPr marL="2280748" indent="0">
              <a:buNone/>
              <a:defRPr sz="900"/>
            </a:lvl6pPr>
            <a:lvl7pPr marL="2736891" indent="0">
              <a:buNone/>
              <a:defRPr sz="900"/>
            </a:lvl7pPr>
            <a:lvl8pPr marL="3193047" indent="0">
              <a:buNone/>
              <a:defRPr sz="900"/>
            </a:lvl8pPr>
            <a:lvl9pPr marL="3649197" indent="0">
              <a:buNone/>
              <a:defRPr sz="900"/>
            </a:lvl9pPr>
          </a:lstStyle>
          <a:p>
            <a:pPr lvl="0"/>
            <a:r>
              <a:rPr lang="ru-RU" dirty="0" smtClean="0"/>
              <a:t>Спасибо! / </a:t>
            </a:r>
            <a:r>
              <a:rPr lang="en-US" dirty="0" smtClean="0"/>
              <a:t>Thank you!</a:t>
            </a:r>
          </a:p>
        </p:txBody>
      </p:sp>
      <p:sp>
        <p:nvSpPr>
          <p:cNvPr id="28" name="Текст 27"/>
          <p:cNvSpPr>
            <a:spLocks noGrp="1"/>
          </p:cNvSpPr>
          <p:nvPr>
            <p:ph type="body" sz="quarter" idx="14" hasCustomPrompt="1"/>
          </p:nvPr>
        </p:nvSpPr>
        <p:spPr>
          <a:xfrm>
            <a:off x="5112000" y="6210000"/>
            <a:ext cx="2016000" cy="396000"/>
          </a:xfrm>
        </p:spPr>
        <p:txBody>
          <a:bodyPr anchor="ctr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10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ru-RU" dirty="0" smtClean="0"/>
              <a:t>Адрес компании</a:t>
            </a:r>
            <a:endParaRPr lang="ru-RU" dirty="0"/>
          </a:p>
        </p:txBody>
      </p:sp>
      <p:sp>
        <p:nvSpPr>
          <p:cNvPr id="30" name="Текст 29"/>
          <p:cNvSpPr>
            <a:spLocks noGrp="1"/>
          </p:cNvSpPr>
          <p:nvPr>
            <p:ph type="body" sz="quarter" idx="15" hasCustomPrompt="1"/>
          </p:nvPr>
        </p:nvSpPr>
        <p:spPr>
          <a:xfrm>
            <a:off x="2772000" y="6210000"/>
            <a:ext cx="2268000" cy="396000"/>
          </a:xfrm>
        </p:spPr>
        <p:txBody>
          <a:bodyPr anchor="ctr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10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ru-RU" dirty="0" smtClean="0"/>
              <a:t>Управление и Отдел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2874927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gallery dir="l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31778" y="306700"/>
            <a:ext cx="6742113" cy="739775"/>
          </a:xfrm>
          <a:prstGeom prst="rect">
            <a:avLst/>
          </a:prstGeom>
        </p:spPr>
        <p:txBody>
          <a:bodyPr lIns="91227" tIns="45613" rIns="91227" bIns="45613"/>
          <a:lstStyle>
            <a:lvl1pPr>
              <a:defRPr sz="2500"/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15" name="Rectangle 4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EFF660B-5916-42E2-9D88-953A3CB16BD3}" type="slidenum">
              <a:rPr lang="en-US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936808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gallery dir="l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Основн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414000" y="1638000"/>
            <a:ext cx="8316000" cy="4467600"/>
          </a:xfrm>
        </p:spPr>
        <p:txBody>
          <a:bodyPr/>
          <a:lstStyle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de-DE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4"/>
          </p:nvPr>
        </p:nvSpPr>
        <p:spPr>
          <a:xfrm>
            <a:off x="8665706" y="6526188"/>
            <a:ext cx="402094" cy="217518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chemeClr val="bg1"/>
                </a:solidFill>
                <a:latin typeface="+mj-lt"/>
              </a:defRPr>
            </a:lvl1pPr>
          </a:lstStyle>
          <a:p>
            <a:fld id="{8E141AF1-466E-4D9F-B74C-45FFEB47CA13}" type="slidenum">
              <a:rPr lang="de-DE" smtClean="0">
                <a:solidFill>
                  <a:srgbClr val="FFFFFF"/>
                </a:solidFill>
              </a:rPr>
              <a:pPr/>
              <a:t>‹#›</a:t>
            </a:fld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1652954" y="1"/>
            <a:ext cx="7220702" cy="897162"/>
          </a:xfrm>
          <a:prstGeom prst="rect">
            <a:avLst/>
          </a:prstGeom>
          <a:ln/>
          <a:effectLst>
            <a:outerShdw dist="17961" dir="2700000" algn="ctr" rotWithShape="0">
              <a:srgbClr val="FFFFFF"/>
            </a:outerShdw>
          </a:effectLst>
        </p:spPr>
        <p:txBody>
          <a:bodyPr lIns="91227" tIns="45613" rIns="91227" bIns="45613" anchor="ctr"/>
          <a:lstStyle>
            <a:lvl1pPr>
              <a:defRPr kumimoji="1" lang="ru-RU" sz="1700" kern="1200">
                <a:solidFill>
                  <a:srgbClr val="016EB3"/>
                </a:solidFill>
              </a:defRPr>
            </a:lvl1pPr>
          </a:lstStyle>
          <a:p>
            <a:pPr lvl="0" defTabSz="818854"/>
            <a:r>
              <a:rPr lang="ru-RU" smtClean="0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0966126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gallery dir="l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Слайд &quot;Спасибо!&quot;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Line 27"/>
          <p:cNvSpPr>
            <a:spLocks noChangeShapeType="1"/>
          </p:cNvSpPr>
          <p:nvPr/>
        </p:nvSpPr>
        <p:spPr bwMode="auto">
          <a:xfrm>
            <a:off x="252000" y="5940000"/>
            <a:ext cx="8640000" cy="0"/>
          </a:xfrm>
          <a:prstGeom prst="line">
            <a:avLst/>
          </a:prstGeom>
          <a:noFill/>
          <a:ln w="19050">
            <a:solidFill>
              <a:srgbClr val="016EB3"/>
            </a:solidFill>
            <a:round/>
            <a:headEnd/>
            <a:tailEnd/>
          </a:ln>
          <a:effectLst/>
        </p:spPr>
        <p:txBody>
          <a:bodyPr wrap="none" lIns="91243" tIns="45622" rIns="91243" bIns="45622"/>
          <a:lstStyle/>
          <a:p>
            <a:pPr fontAlgn="base">
              <a:spcBef>
                <a:spcPct val="50000"/>
              </a:spcBef>
              <a:spcAft>
                <a:spcPct val="0"/>
              </a:spcAft>
              <a:defRPr/>
            </a:pPr>
            <a:endParaRPr kumimoji="1" lang="ru-RU" sz="1000" dirty="0">
              <a:solidFill>
                <a:srgbClr val="002766"/>
              </a:solidFill>
              <a:latin typeface="Tahoma" pitchFamily="34" charset="0"/>
              <a:ea typeface="PMingLiU" pitchFamily="18" charset="-120"/>
            </a:endParaRPr>
          </a:p>
        </p:txBody>
      </p:sp>
      <p:sp>
        <p:nvSpPr>
          <p:cNvPr id="9" name="Прямоугольник 8"/>
          <p:cNvSpPr/>
          <p:nvPr/>
        </p:nvSpPr>
        <p:spPr bwMode="auto">
          <a:xfrm>
            <a:off x="252001" y="177800"/>
            <a:ext cx="1551401" cy="606425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243" tIns="45622" rIns="91243" bIns="45622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</a:pPr>
            <a:endParaRPr kumimoji="1" lang="ru-RU" sz="1000">
              <a:solidFill>
                <a:srgbClr val="00294F"/>
              </a:solidFill>
              <a:latin typeface="Tahoma" pitchFamily="34" charset="0"/>
              <a:ea typeface="PMingLiU" pitchFamily="18" charset="-120"/>
            </a:endParaRPr>
          </a:p>
        </p:txBody>
      </p:sp>
      <p:sp>
        <p:nvSpPr>
          <p:cNvPr id="10" name="Прямоугольник 9"/>
          <p:cNvSpPr/>
          <p:nvPr/>
        </p:nvSpPr>
        <p:spPr bwMode="auto">
          <a:xfrm>
            <a:off x="8429206" y="6327669"/>
            <a:ext cx="708444" cy="504825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243" tIns="45622" rIns="91243" bIns="45622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</a:pPr>
            <a:endParaRPr kumimoji="1" lang="ru-RU" sz="1000">
              <a:solidFill>
                <a:srgbClr val="00294F"/>
              </a:solidFill>
              <a:latin typeface="Tahoma" pitchFamily="34" charset="0"/>
              <a:ea typeface="PMingLiU" pitchFamily="18" charset="-120"/>
            </a:endParaRPr>
          </a:p>
        </p:txBody>
      </p:sp>
      <p:sp>
        <p:nvSpPr>
          <p:cNvPr id="18" name="Текст 3"/>
          <p:cNvSpPr>
            <a:spLocks noGrp="1"/>
          </p:cNvSpPr>
          <p:nvPr>
            <p:ph type="body" sz="half" idx="10" hasCustomPrompt="1"/>
          </p:nvPr>
        </p:nvSpPr>
        <p:spPr>
          <a:xfrm>
            <a:off x="7017394" y="6184081"/>
            <a:ext cx="1874629" cy="396000"/>
          </a:xfrm>
        </p:spPr>
        <p:txBody>
          <a:bodyPr anchor="ctr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100">
                <a:solidFill>
                  <a:schemeClr val="tx2"/>
                </a:solidFill>
              </a:defRPr>
            </a:lvl1pPr>
            <a:lvl2pPr marL="456234" indent="0">
              <a:buNone/>
              <a:defRPr sz="1200"/>
            </a:lvl2pPr>
            <a:lvl3pPr marL="912468" indent="0">
              <a:buNone/>
              <a:defRPr sz="1000"/>
            </a:lvl3pPr>
            <a:lvl4pPr marL="1368700" indent="0">
              <a:buNone/>
              <a:defRPr sz="900"/>
            </a:lvl4pPr>
            <a:lvl5pPr marL="1824935" indent="0">
              <a:buNone/>
              <a:defRPr sz="900"/>
            </a:lvl5pPr>
            <a:lvl6pPr marL="2281167" indent="0">
              <a:buNone/>
              <a:defRPr sz="900"/>
            </a:lvl6pPr>
            <a:lvl7pPr marL="2737394" indent="0">
              <a:buNone/>
              <a:defRPr sz="900"/>
            </a:lvl7pPr>
            <a:lvl8pPr marL="3193635" indent="0">
              <a:buNone/>
              <a:defRPr sz="900"/>
            </a:lvl8pPr>
            <a:lvl9pPr marL="3649869" indent="0">
              <a:buNone/>
              <a:defRPr sz="900"/>
            </a:lvl9pPr>
          </a:lstStyle>
          <a:p>
            <a:pPr lvl="0"/>
            <a:r>
              <a:rPr lang="ru-RU" dirty="0" smtClean="0"/>
              <a:t>Телефон и </a:t>
            </a:r>
            <a:r>
              <a:rPr lang="en-US" dirty="0" smtClean="0"/>
              <a:t>e-mail</a:t>
            </a:r>
          </a:p>
        </p:txBody>
      </p:sp>
      <p:sp>
        <p:nvSpPr>
          <p:cNvPr id="21" name="Текст 3"/>
          <p:cNvSpPr>
            <a:spLocks noGrp="1"/>
          </p:cNvSpPr>
          <p:nvPr>
            <p:ph type="body" sz="half" idx="12" hasCustomPrompt="1"/>
          </p:nvPr>
        </p:nvSpPr>
        <p:spPr>
          <a:xfrm>
            <a:off x="2088000" y="3096000"/>
            <a:ext cx="4932000" cy="648000"/>
          </a:xfrm>
        </p:spPr>
        <p:txBody>
          <a:bodyPr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buNone/>
              <a:defRPr sz="3600">
                <a:solidFill>
                  <a:srgbClr val="016EB3"/>
                </a:solidFill>
              </a:defRPr>
            </a:lvl1pPr>
            <a:lvl2pPr marL="456234" indent="0">
              <a:buNone/>
              <a:defRPr sz="1200"/>
            </a:lvl2pPr>
            <a:lvl3pPr marL="912468" indent="0">
              <a:buNone/>
              <a:defRPr sz="1000"/>
            </a:lvl3pPr>
            <a:lvl4pPr marL="1368700" indent="0">
              <a:buNone/>
              <a:defRPr sz="900"/>
            </a:lvl4pPr>
            <a:lvl5pPr marL="1824935" indent="0">
              <a:buNone/>
              <a:defRPr sz="900"/>
            </a:lvl5pPr>
            <a:lvl6pPr marL="2281167" indent="0">
              <a:buNone/>
              <a:defRPr sz="900"/>
            </a:lvl6pPr>
            <a:lvl7pPr marL="2737394" indent="0">
              <a:buNone/>
              <a:defRPr sz="900"/>
            </a:lvl7pPr>
            <a:lvl8pPr marL="3193635" indent="0">
              <a:buNone/>
              <a:defRPr sz="900"/>
            </a:lvl8pPr>
            <a:lvl9pPr marL="3649869" indent="0">
              <a:buNone/>
              <a:defRPr sz="900"/>
            </a:lvl9pPr>
          </a:lstStyle>
          <a:p>
            <a:pPr lvl="0"/>
            <a:r>
              <a:rPr lang="ru-RU" dirty="0" smtClean="0"/>
              <a:t>Спасибо! </a:t>
            </a:r>
            <a:endParaRPr lang="en-US" dirty="0" smtClean="0"/>
          </a:p>
        </p:txBody>
      </p:sp>
      <p:sp>
        <p:nvSpPr>
          <p:cNvPr id="28" name="Текст 27"/>
          <p:cNvSpPr>
            <a:spLocks noGrp="1"/>
          </p:cNvSpPr>
          <p:nvPr>
            <p:ph type="body" sz="quarter" idx="14" hasCustomPrompt="1"/>
          </p:nvPr>
        </p:nvSpPr>
        <p:spPr>
          <a:xfrm>
            <a:off x="4636374" y="6184081"/>
            <a:ext cx="2016000" cy="396000"/>
          </a:xfrm>
        </p:spPr>
        <p:txBody>
          <a:bodyPr anchor="ctr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10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ru-RU" dirty="0" smtClean="0"/>
              <a:t>Адрес компании</a:t>
            </a:r>
            <a:endParaRPr lang="ru-RU" dirty="0"/>
          </a:p>
        </p:txBody>
      </p:sp>
      <p:sp>
        <p:nvSpPr>
          <p:cNvPr id="30" name="Текст 29"/>
          <p:cNvSpPr>
            <a:spLocks noGrp="1"/>
          </p:cNvSpPr>
          <p:nvPr>
            <p:ph type="body" sz="quarter" idx="15" hasCustomPrompt="1"/>
          </p:nvPr>
        </p:nvSpPr>
        <p:spPr>
          <a:xfrm>
            <a:off x="2020600" y="6184081"/>
            <a:ext cx="2268000" cy="396000"/>
          </a:xfrm>
        </p:spPr>
        <p:txBody>
          <a:bodyPr anchor="ctr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10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ru-RU" dirty="0" smtClean="0"/>
              <a:t>Управление и Отдел</a:t>
            </a:r>
            <a:endParaRPr lang="ru-RU" dirty="0"/>
          </a:p>
        </p:txBody>
      </p:sp>
      <p:pic>
        <p:nvPicPr>
          <p:cNvPr id="13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4727" y="5974591"/>
            <a:ext cx="1365991" cy="79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9653515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gallery dir="l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31778" y="123825"/>
            <a:ext cx="6742113" cy="657225"/>
          </a:xfrm>
          <a:prstGeom prst="rect">
            <a:avLst/>
          </a:prstGeom>
        </p:spPr>
        <p:txBody>
          <a:bodyPr lIns="91227" tIns="45613" rIns="91227" bIns="45613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715E4BD-578A-4F4A-9E92-1B4DB10B5101}" type="slidenum">
              <a:rPr lang="en-US">
                <a:solidFill>
                  <a:srgbClr val="A0A1A6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A0A1A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458507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gallery dir="l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07266" name="Rectangle 2"/>
          <p:cNvSpPr>
            <a:spLocks noGrp="1" noChangeArrowheads="1"/>
          </p:cNvSpPr>
          <p:nvPr>
            <p:ph type="subTitle" idx="1"/>
          </p:nvPr>
        </p:nvSpPr>
        <p:spPr>
          <a:xfrm>
            <a:off x="2935489" y="5737238"/>
            <a:ext cx="5522912" cy="270843"/>
          </a:xfrm>
          <a:effectLst>
            <a:outerShdw dist="17961" dir="2700000" algn="ctr" rotWithShape="0">
              <a:srgbClr val="FFFFFF"/>
            </a:outerShdw>
          </a:effectLst>
        </p:spPr>
        <p:txBody>
          <a:bodyPr>
            <a:spAutoFit/>
          </a:bodyPr>
          <a:lstStyle>
            <a:lvl1pPr marL="0" indent="0" algn="r" defTabSz="819005">
              <a:spcBef>
                <a:spcPct val="0"/>
              </a:spcBef>
              <a:buClrTx/>
              <a:buFontTx/>
              <a:buNone/>
              <a:defRPr sz="1600">
                <a:solidFill>
                  <a:schemeClr val="tx2"/>
                </a:solidFill>
              </a:defRPr>
            </a:lvl1pPr>
          </a:lstStyle>
          <a:p>
            <a:r>
              <a:rPr lang="ru-RU" smtClean="0"/>
              <a:t>Образец подзаголовка</a:t>
            </a:r>
            <a:endParaRPr lang="en-US" dirty="0"/>
          </a:p>
        </p:txBody>
      </p:sp>
      <p:sp>
        <p:nvSpPr>
          <p:cNvPr id="907267" name="Rectangle 3"/>
          <p:cNvSpPr>
            <a:spLocks noGrp="1" noChangeArrowheads="1"/>
          </p:cNvSpPr>
          <p:nvPr>
            <p:ph type="ctrTitle" sz="quarter"/>
          </p:nvPr>
        </p:nvSpPr>
        <p:spPr>
          <a:xfrm>
            <a:off x="3032589" y="5183211"/>
            <a:ext cx="5522912" cy="452437"/>
          </a:xfrm>
          <a:prstGeom prst="rect">
            <a:avLst/>
          </a:prstGeom>
          <a:ln/>
          <a:effectLst>
            <a:outerShdw dist="17961" dir="2700000" algn="ctr" rotWithShape="0">
              <a:srgbClr val="FFFFFF"/>
            </a:outerShdw>
          </a:effectLst>
        </p:spPr>
        <p:txBody>
          <a:bodyPr lIns="91243" tIns="45622" rIns="91243" bIns="45622" anchor="b"/>
          <a:lstStyle>
            <a:lvl1pPr algn="r" defTabSz="819005">
              <a:defRPr sz="2400">
                <a:solidFill>
                  <a:schemeClr val="tx2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en-US"/>
          </a:p>
        </p:txBody>
      </p:sp>
      <p:pic>
        <p:nvPicPr>
          <p:cNvPr id="2" name="Рисунок 1"/>
          <p:cNvPicPr>
            <a:picLocks noChangeAspect="1"/>
          </p:cNvPicPr>
          <p:nvPr userDrawn="1"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2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0710" y="505803"/>
            <a:ext cx="5230821" cy="3804234"/>
          </a:xfrm>
          <a:prstGeom prst="rect">
            <a:avLst/>
          </a:prstGeom>
        </p:spPr>
      </p:pic>
      <p:pic>
        <p:nvPicPr>
          <p:cNvPr id="7" name="Picture 2"/>
          <p:cNvPicPr>
            <a:picLocks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68002" y="3096000"/>
            <a:ext cx="3564000" cy="2066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2972346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gallery dir="l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Основн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414000" y="1638000"/>
            <a:ext cx="8316000" cy="4467600"/>
          </a:xfrm>
        </p:spPr>
        <p:txBody>
          <a:bodyPr/>
          <a:lstStyle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de-DE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4"/>
          </p:nvPr>
        </p:nvSpPr>
        <p:spPr>
          <a:xfrm>
            <a:off x="8665706" y="6526188"/>
            <a:ext cx="402094" cy="217518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chemeClr val="bg1"/>
                </a:solidFill>
                <a:latin typeface="+mj-lt"/>
              </a:defRPr>
            </a:lvl1pPr>
          </a:lstStyle>
          <a:p>
            <a:fld id="{8E141AF1-466E-4D9F-B74C-45FFEB47CA13}" type="slidenum">
              <a:rPr lang="de-DE" smtClean="0">
                <a:solidFill>
                  <a:srgbClr val="FFFFFF"/>
                </a:solidFill>
              </a:rPr>
              <a:pPr/>
              <a:t>‹#›</a:t>
            </a:fld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1652954" y="1"/>
            <a:ext cx="7220702" cy="897162"/>
          </a:xfrm>
          <a:prstGeom prst="rect">
            <a:avLst/>
          </a:prstGeom>
          <a:ln/>
          <a:effectLst>
            <a:outerShdw dist="17961" dir="2700000" algn="ctr" rotWithShape="0">
              <a:srgbClr val="FFFFFF"/>
            </a:outerShdw>
          </a:effectLst>
        </p:spPr>
        <p:txBody>
          <a:bodyPr lIns="91243" tIns="45622" rIns="91243" bIns="45622" anchor="ctr"/>
          <a:lstStyle>
            <a:lvl1pPr>
              <a:defRPr kumimoji="1" lang="ru-RU" sz="1700" kern="1200">
                <a:solidFill>
                  <a:srgbClr val="016EB3"/>
                </a:solidFill>
              </a:defRPr>
            </a:lvl1pPr>
          </a:lstStyle>
          <a:p>
            <a:pPr lvl="0" defTabSz="819005"/>
            <a:r>
              <a:rPr lang="ru-RU" smtClean="0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8804018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gallery dir="l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 userDrawn="1"/>
        </p:nvSpPr>
        <p:spPr bwMode="auto">
          <a:xfrm>
            <a:off x="8660610" y="6374606"/>
            <a:ext cx="478632" cy="389746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243" tIns="45622" rIns="91243" bIns="45622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</a:pPr>
            <a:endParaRPr kumimoji="1" lang="ru-RU" sz="1000" smtClean="0">
              <a:solidFill>
                <a:srgbClr val="00294F"/>
              </a:solidFill>
              <a:latin typeface="Tahoma" pitchFamily="34" charset="0"/>
              <a:ea typeface="PMingLiU" pitchFamily="18" charset="-120"/>
            </a:endParaRPr>
          </a:p>
        </p:txBody>
      </p:sp>
    </p:spTree>
    <p:extLst>
      <p:ext uri="{BB962C8B-B14F-4D97-AF65-F5344CB8AC3E}">
        <p14:creationId xmlns:p14="http://schemas.microsoft.com/office/powerpoint/2010/main" val="31164794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gallery dir="l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лайд &quot;Спасибо!&quot;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Line 27"/>
          <p:cNvSpPr>
            <a:spLocks noChangeShapeType="1"/>
          </p:cNvSpPr>
          <p:nvPr userDrawn="1"/>
        </p:nvSpPr>
        <p:spPr bwMode="auto">
          <a:xfrm>
            <a:off x="252000" y="5940000"/>
            <a:ext cx="8640000" cy="0"/>
          </a:xfrm>
          <a:prstGeom prst="line">
            <a:avLst/>
          </a:prstGeom>
          <a:noFill/>
          <a:ln w="28575">
            <a:solidFill>
              <a:srgbClr val="016EB3"/>
            </a:solidFill>
            <a:round/>
            <a:headEnd/>
            <a:tailEnd/>
          </a:ln>
          <a:effectLst/>
        </p:spPr>
        <p:txBody>
          <a:bodyPr wrap="none" lIns="91243" tIns="45622" rIns="91243" bIns="45622"/>
          <a:lstStyle/>
          <a:p>
            <a:pPr fontAlgn="base">
              <a:spcBef>
                <a:spcPct val="50000"/>
              </a:spcBef>
              <a:spcAft>
                <a:spcPct val="0"/>
              </a:spcAft>
              <a:defRPr/>
            </a:pPr>
            <a:endParaRPr kumimoji="1" lang="ru-RU" sz="1000" dirty="0">
              <a:solidFill>
                <a:srgbClr val="002766"/>
              </a:solidFill>
              <a:latin typeface="Tahoma" pitchFamily="34" charset="0"/>
              <a:ea typeface="PMingLiU" pitchFamily="18" charset="-120"/>
            </a:endParaRPr>
          </a:p>
        </p:txBody>
      </p:sp>
      <p:sp>
        <p:nvSpPr>
          <p:cNvPr id="9" name="Прямоугольник 8"/>
          <p:cNvSpPr/>
          <p:nvPr userDrawn="1"/>
        </p:nvSpPr>
        <p:spPr bwMode="auto">
          <a:xfrm>
            <a:off x="252000" y="190523"/>
            <a:ext cx="1623692" cy="606669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243" tIns="45622" rIns="91243" bIns="45622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</a:pPr>
            <a:endParaRPr kumimoji="1" lang="ru-RU" sz="1000" smtClean="0">
              <a:solidFill>
                <a:srgbClr val="00294F"/>
              </a:solidFill>
              <a:latin typeface="Tahoma" pitchFamily="34" charset="0"/>
              <a:ea typeface="PMingLiU" pitchFamily="18" charset="-120"/>
            </a:endParaRPr>
          </a:p>
        </p:txBody>
      </p:sp>
      <p:sp>
        <p:nvSpPr>
          <p:cNvPr id="10" name="Прямоугольник 9"/>
          <p:cNvSpPr/>
          <p:nvPr userDrawn="1"/>
        </p:nvSpPr>
        <p:spPr bwMode="auto">
          <a:xfrm>
            <a:off x="8429206" y="6327669"/>
            <a:ext cx="708444" cy="504825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243" tIns="45622" rIns="91243" bIns="45622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</a:pPr>
            <a:endParaRPr kumimoji="1" lang="ru-RU" sz="1000" smtClean="0">
              <a:solidFill>
                <a:srgbClr val="00294F"/>
              </a:solidFill>
              <a:latin typeface="Tahoma" pitchFamily="34" charset="0"/>
              <a:ea typeface="PMingLiU" pitchFamily="18" charset="-120"/>
            </a:endParaRPr>
          </a:p>
        </p:txBody>
      </p:sp>
      <p:sp>
        <p:nvSpPr>
          <p:cNvPr id="18" name="Текст 3"/>
          <p:cNvSpPr>
            <a:spLocks noGrp="1"/>
          </p:cNvSpPr>
          <p:nvPr>
            <p:ph type="body" sz="half" idx="10" hasCustomPrompt="1"/>
          </p:nvPr>
        </p:nvSpPr>
        <p:spPr>
          <a:xfrm>
            <a:off x="7200000" y="6210000"/>
            <a:ext cx="1656000" cy="396000"/>
          </a:xfrm>
        </p:spPr>
        <p:txBody>
          <a:bodyPr anchor="ctr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100">
                <a:solidFill>
                  <a:schemeClr val="tx2"/>
                </a:solidFill>
              </a:defRPr>
            </a:lvl1pPr>
            <a:lvl2pPr marL="456234" indent="0">
              <a:buNone/>
              <a:defRPr sz="1200"/>
            </a:lvl2pPr>
            <a:lvl3pPr marL="912468" indent="0">
              <a:buNone/>
              <a:defRPr sz="1000"/>
            </a:lvl3pPr>
            <a:lvl4pPr marL="1368700" indent="0">
              <a:buNone/>
              <a:defRPr sz="900"/>
            </a:lvl4pPr>
            <a:lvl5pPr marL="1824935" indent="0">
              <a:buNone/>
              <a:defRPr sz="900"/>
            </a:lvl5pPr>
            <a:lvl6pPr marL="2281167" indent="0">
              <a:buNone/>
              <a:defRPr sz="900"/>
            </a:lvl6pPr>
            <a:lvl7pPr marL="2737394" indent="0">
              <a:buNone/>
              <a:defRPr sz="900"/>
            </a:lvl7pPr>
            <a:lvl8pPr marL="3193635" indent="0">
              <a:buNone/>
              <a:defRPr sz="900"/>
            </a:lvl8pPr>
            <a:lvl9pPr marL="3649869" indent="0">
              <a:buNone/>
              <a:defRPr sz="900"/>
            </a:lvl9pPr>
          </a:lstStyle>
          <a:p>
            <a:pPr lvl="0"/>
            <a:r>
              <a:rPr lang="ru-RU" dirty="0" smtClean="0"/>
              <a:t>Телефон и </a:t>
            </a:r>
            <a:r>
              <a:rPr lang="en-US" dirty="0" smtClean="0"/>
              <a:t>e-mail</a:t>
            </a:r>
          </a:p>
        </p:txBody>
      </p:sp>
      <p:sp>
        <p:nvSpPr>
          <p:cNvPr id="21" name="Текст 3"/>
          <p:cNvSpPr>
            <a:spLocks noGrp="1"/>
          </p:cNvSpPr>
          <p:nvPr>
            <p:ph type="body" sz="half" idx="12" hasCustomPrompt="1"/>
          </p:nvPr>
        </p:nvSpPr>
        <p:spPr>
          <a:xfrm>
            <a:off x="2088000" y="3096000"/>
            <a:ext cx="4932000" cy="648000"/>
          </a:xfrm>
        </p:spPr>
        <p:txBody>
          <a:bodyPr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buNone/>
              <a:defRPr sz="3600">
                <a:solidFill>
                  <a:srgbClr val="016EB3"/>
                </a:solidFill>
              </a:defRPr>
            </a:lvl1pPr>
            <a:lvl2pPr marL="456234" indent="0">
              <a:buNone/>
              <a:defRPr sz="1200"/>
            </a:lvl2pPr>
            <a:lvl3pPr marL="912468" indent="0">
              <a:buNone/>
              <a:defRPr sz="1000"/>
            </a:lvl3pPr>
            <a:lvl4pPr marL="1368700" indent="0">
              <a:buNone/>
              <a:defRPr sz="900"/>
            </a:lvl4pPr>
            <a:lvl5pPr marL="1824935" indent="0">
              <a:buNone/>
              <a:defRPr sz="900"/>
            </a:lvl5pPr>
            <a:lvl6pPr marL="2281167" indent="0">
              <a:buNone/>
              <a:defRPr sz="900"/>
            </a:lvl6pPr>
            <a:lvl7pPr marL="2737394" indent="0">
              <a:buNone/>
              <a:defRPr sz="900"/>
            </a:lvl7pPr>
            <a:lvl8pPr marL="3193635" indent="0">
              <a:buNone/>
              <a:defRPr sz="900"/>
            </a:lvl8pPr>
            <a:lvl9pPr marL="3649869" indent="0">
              <a:buNone/>
              <a:defRPr sz="900"/>
            </a:lvl9pPr>
          </a:lstStyle>
          <a:p>
            <a:pPr lvl="0"/>
            <a:r>
              <a:rPr lang="ru-RU" dirty="0" smtClean="0"/>
              <a:t>Спасибо! / </a:t>
            </a:r>
            <a:r>
              <a:rPr lang="en-US" dirty="0" smtClean="0"/>
              <a:t>Thank you!</a:t>
            </a:r>
          </a:p>
        </p:txBody>
      </p:sp>
      <p:sp>
        <p:nvSpPr>
          <p:cNvPr id="28" name="Текст 27"/>
          <p:cNvSpPr>
            <a:spLocks noGrp="1"/>
          </p:cNvSpPr>
          <p:nvPr>
            <p:ph type="body" sz="quarter" idx="14" hasCustomPrompt="1"/>
          </p:nvPr>
        </p:nvSpPr>
        <p:spPr>
          <a:xfrm>
            <a:off x="5112000" y="6210000"/>
            <a:ext cx="2016000" cy="396000"/>
          </a:xfrm>
        </p:spPr>
        <p:txBody>
          <a:bodyPr anchor="ctr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10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ru-RU" dirty="0" smtClean="0"/>
              <a:t>Адрес компании</a:t>
            </a:r>
            <a:endParaRPr lang="ru-RU" dirty="0"/>
          </a:p>
        </p:txBody>
      </p:sp>
      <p:sp>
        <p:nvSpPr>
          <p:cNvPr id="30" name="Текст 29"/>
          <p:cNvSpPr>
            <a:spLocks noGrp="1"/>
          </p:cNvSpPr>
          <p:nvPr>
            <p:ph type="body" sz="quarter" idx="15" hasCustomPrompt="1"/>
          </p:nvPr>
        </p:nvSpPr>
        <p:spPr>
          <a:xfrm>
            <a:off x="2772000" y="6210000"/>
            <a:ext cx="2268000" cy="396000"/>
          </a:xfrm>
        </p:spPr>
        <p:txBody>
          <a:bodyPr anchor="ctr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10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ru-RU" dirty="0" smtClean="0"/>
              <a:t>Управление и Отдел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9097238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gallery dir="l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31778" y="306698"/>
            <a:ext cx="6742113" cy="739775"/>
          </a:xfrm>
          <a:prstGeom prst="rect">
            <a:avLst/>
          </a:prstGeom>
        </p:spPr>
        <p:txBody>
          <a:bodyPr lIns="91243" tIns="45622" rIns="91243" bIns="45622"/>
          <a:lstStyle>
            <a:lvl1pPr>
              <a:defRPr sz="2500"/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15" name="Rectangle 4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EFF660B-5916-42E2-9D88-953A3CB16BD3}" type="slidenum">
              <a:rPr lang="en-US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917978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gallery dir="l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Основн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414000" y="1638000"/>
            <a:ext cx="8316000" cy="4467600"/>
          </a:xfrm>
        </p:spPr>
        <p:txBody>
          <a:bodyPr/>
          <a:lstStyle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de-DE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4"/>
          </p:nvPr>
        </p:nvSpPr>
        <p:spPr>
          <a:xfrm>
            <a:off x="8665706" y="6526188"/>
            <a:ext cx="402094" cy="217518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chemeClr val="bg1"/>
                </a:solidFill>
                <a:latin typeface="+mj-lt"/>
              </a:defRPr>
            </a:lvl1pPr>
          </a:lstStyle>
          <a:p>
            <a:fld id="{8E141AF1-466E-4D9F-B74C-45FFEB47CA13}" type="slidenum">
              <a:rPr lang="de-DE" smtClean="0">
                <a:solidFill>
                  <a:srgbClr val="FFFFFF"/>
                </a:solidFill>
              </a:rPr>
              <a:pPr/>
              <a:t>‹#›</a:t>
            </a:fld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1652954" y="1"/>
            <a:ext cx="7220702" cy="897162"/>
          </a:xfrm>
          <a:prstGeom prst="rect">
            <a:avLst/>
          </a:prstGeom>
          <a:ln/>
          <a:effectLst>
            <a:outerShdw dist="17961" dir="2700000" algn="ctr" rotWithShape="0">
              <a:srgbClr val="FFFFFF"/>
            </a:outerShdw>
          </a:effectLst>
        </p:spPr>
        <p:txBody>
          <a:bodyPr lIns="91243" tIns="45622" rIns="91243" bIns="45622" anchor="ctr"/>
          <a:lstStyle>
            <a:lvl1pPr>
              <a:defRPr kumimoji="1" lang="ru-RU" sz="1700" kern="1200">
                <a:solidFill>
                  <a:srgbClr val="016EB3"/>
                </a:solidFill>
              </a:defRPr>
            </a:lvl1pPr>
          </a:lstStyle>
          <a:p>
            <a:pPr lvl="0" defTabSz="819005"/>
            <a:r>
              <a:rPr lang="ru-RU" smtClean="0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175226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gallery dir="l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31778" y="123825"/>
            <a:ext cx="6742113" cy="657225"/>
          </a:xfrm>
          <a:prstGeom prst="rect">
            <a:avLst/>
          </a:prstGeom>
        </p:spPr>
        <p:txBody>
          <a:bodyPr lIns="91243" tIns="45622" rIns="91243" bIns="45622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715E4BD-578A-4F4A-9E92-1B4DB10B5101}" type="slidenum">
              <a:rPr lang="en-US">
                <a:solidFill>
                  <a:srgbClr val="A0A1A6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A0A1A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594803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gallery dir="l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Основн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lide Number Placeholder 8"/>
          <p:cNvSpPr>
            <a:spLocks noGrp="1"/>
          </p:cNvSpPr>
          <p:nvPr>
            <p:ph type="sldNum" sz="quarter" idx="14"/>
          </p:nvPr>
        </p:nvSpPr>
        <p:spPr>
          <a:xfrm>
            <a:off x="8665706" y="6526188"/>
            <a:ext cx="402094" cy="217518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chemeClr val="bg1"/>
                </a:solidFill>
                <a:latin typeface="+mj-lt"/>
              </a:defRPr>
            </a:lvl1pPr>
          </a:lstStyle>
          <a:p>
            <a:fld id="{8E141AF1-466E-4D9F-B74C-45FFEB47CA13}" type="slidenum">
              <a:rPr lang="de-DE" smtClean="0">
                <a:solidFill>
                  <a:srgbClr val="FFFFFF"/>
                </a:solidFill>
              </a:rPr>
              <a:pPr/>
              <a:t>‹#›</a:t>
            </a:fld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261257" y="1"/>
            <a:ext cx="8612399" cy="897162"/>
          </a:xfrm>
          <a:prstGeom prst="rect">
            <a:avLst/>
          </a:prstGeom>
          <a:ln/>
          <a:effectLst>
            <a:outerShdw dist="17961" dir="2700000" algn="ctr" rotWithShape="0">
              <a:srgbClr val="FFFFFF"/>
            </a:outerShdw>
          </a:effectLst>
        </p:spPr>
        <p:txBody>
          <a:bodyPr lIns="91243" tIns="45622" rIns="91243" bIns="45622" anchor="ctr"/>
          <a:lstStyle>
            <a:lvl1pPr>
              <a:defRPr kumimoji="1" lang="ru-RU" sz="1800" kern="1200">
                <a:solidFill>
                  <a:srgbClr val="016EB3"/>
                </a:solidFill>
              </a:defRPr>
            </a:lvl1pPr>
          </a:lstStyle>
          <a:p>
            <a:pPr lvl="0" defTabSz="819005"/>
            <a:r>
              <a:rPr lang="ru-RU" dirty="0" smtClean="0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6294236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gallery dir="l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07266" name="Rectangle 2"/>
          <p:cNvSpPr>
            <a:spLocks noGrp="1" noChangeArrowheads="1"/>
          </p:cNvSpPr>
          <p:nvPr>
            <p:ph type="subTitle" idx="1"/>
          </p:nvPr>
        </p:nvSpPr>
        <p:spPr>
          <a:xfrm>
            <a:off x="2935489" y="5737238"/>
            <a:ext cx="5522912" cy="270843"/>
          </a:xfrm>
          <a:effectLst>
            <a:outerShdw dist="17961" dir="2700000" algn="ctr" rotWithShape="0">
              <a:srgbClr val="FFFFFF"/>
            </a:outerShdw>
          </a:effectLst>
        </p:spPr>
        <p:txBody>
          <a:bodyPr>
            <a:spAutoFit/>
          </a:bodyPr>
          <a:lstStyle>
            <a:lvl1pPr marL="0" indent="0" algn="r" defTabSz="818854">
              <a:spcBef>
                <a:spcPct val="0"/>
              </a:spcBef>
              <a:buClrTx/>
              <a:buFontTx/>
              <a:buNone/>
              <a:defRPr sz="1600">
                <a:solidFill>
                  <a:schemeClr val="tx2"/>
                </a:solidFill>
              </a:defRPr>
            </a:lvl1pPr>
          </a:lstStyle>
          <a:p>
            <a:r>
              <a:rPr lang="ru-RU" smtClean="0"/>
              <a:t>Образец подзаголовка</a:t>
            </a:r>
            <a:endParaRPr lang="en-US" dirty="0"/>
          </a:p>
        </p:txBody>
      </p:sp>
      <p:sp>
        <p:nvSpPr>
          <p:cNvPr id="907267" name="Rectangle 3"/>
          <p:cNvSpPr>
            <a:spLocks noGrp="1" noChangeArrowheads="1"/>
          </p:cNvSpPr>
          <p:nvPr>
            <p:ph type="ctrTitle" sz="quarter"/>
          </p:nvPr>
        </p:nvSpPr>
        <p:spPr>
          <a:xfrm>
            <a:off x="3032589" y="5183213"/>
            <a:ext cx="5522912" cy="452437"/>
          </a:xfrm>
          <a:prstGeom prst="rect">
            <a:avLst/>
          </a:prstGeom>
          <a:ln/>
          <a:effectLst>
            <a:outerShdw dist="17961" dir="2700000" algn="ctr" rotWithShape="0">
              <a:srgbClr val="FFFFFF"/>
            </a:outerShdw>
          </a:effectLst>
        </p:spPr>
        <p:txBody>
          <a:bodyPr lIns="91227" tIns="45613" rIns="91227" bIns="45613" anchor="b"/>
          <a:lstStyle>
            <a:lvl1pPr algn="r" defTabSz="818854">
              <a:defRPr sz="2400">
                <a:solidFill>
                  <a:schemeClr val="tx2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en-US"/>
          </a:p>
        </p:txBody>
      </p:sp>
      <p:pic>
        <p:nvPicPr>
          <p:cNvPr id="2" name="Рисунок 1"/>
          <p:cNvPicPr>
            <a:picLocks noChangeAspect="1"/>
          </p:cNvPicPr>
          <p:nvPr userDrawn="1"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2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0710" y="505803"/>
            <a:ext cx="5230821" cy="3804234"/>
          </a:xfrm>
          <a:prstGeom prst="rect">
            <a:avLst/>
          </a:prstGeom>
        </p:spPr>
      </p:pic>
      <p:pic>
        <p:nvPicPr>
          <p:cNvPr id="7" name="Picture 2"/>
          <p:cNvPicPr>
            <a:picLocks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68002" y="3096000"/>
            <a:ext cx="3564000" cy="2066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0810463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gallery dir="l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1_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31778" y="123825"/>
            <a:ext cx="6742113" cy="657225"/>
          </a:xfrm>
          <a:prstGeom prst="rect">
            <a:avLst/>
          </a:prstGeom>
        </p:spPr>
        <p:txBody>
          <a:bodyPr lIns="91243" tIns="45622" rIns="91243" bIns="45622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0109177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gallery dir="l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Основн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414000" y="1638000"/>
            <a:ext cx="8316000" cy="4467600"/>
          </a:xfrm>
        </p:spPr>
        <p:txBody>
          <a:bodyPr/>
          <a:lstStyle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de-DE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4"/>
          </p:nvPr>
        </p:nvSpPr>
        <p:spPr>
          <a:xfrm>
            <a:off x="8665706" y="6526188"/>
            <a:ext cx="402094" cy="217518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chemeClr val="bg1"/>
                </a:solidFill>
                <a:latin typeface="+mj-lt"/>
              </a:defRPr>
            </a:lvl1pPr>
          </a:lstStyle>
          <a:p>
            <a:fld id="{8E141AF1-466E-4D9F-B74C-45FFEB47CA13}" type="slidenum">
              <a:rPr lang="de-DE" smtClean="0">
                <a:solidFill>
                  <a:srgbClr val="FFFFFF"/>
                </a:solidFill>
              </a:rPr>
              <a:pPr/>
              <a:t>‹#›</a:t>
            </a:fld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1652954" y="1"/>
            <a:ext cx="7220702" cy="897162"/>
          </a:xfrm>
          <a:prstGeom prst="rect">
            <a:avLst/>
          </a:prstGeom>
          <a:ln/>
          <a:effectLst>
            <a:outerShdw dist="17961" dir="2700000" algn="ctr" rotWithShape="0">
              <a:srgbClr val="FFFFFF"/>
            </a:outerShdw>
          </a:effectLst>
        </p:spPr>
        <p:txBody>
          <a:bodyPr lIns="91227" tIns="45613" rIns="91227" bIns="45613" anchor="ctr"/>
          <a:lstStyle>
            <a:lvl1pPr>
              <a:defRPr kumimoji="1" lang="ru-RU" sz="1700" kern="1200">
                <a:solidFill>
                  <a:srgbClr val="016EB3"/>
                </a:solidFill>
              </a:defRPr>
            </a:lvl1pPr>
          </a:lstStyle>
          <a:p>
            <a:pPr lvl="0" defTabSz="818854"/>
            <a:r>
              <a:rPr lang="ru-RU" smtClean="0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5149538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gallery dir="l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 userDrawn="1"/>
        </p:nvSpPr>
        <p:spPr bwMode="auto">
          <a:xfrm>
            <a:off x="8660610" y="6374606"/>
            <a:ext cx="478632" cy="389746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227" tIns="45613" rIns="91227" bIns="45613" numCol="1" rtlCol="0" anchor="t" anchorCtr="0" compatLnSpc="1">
            <a:prstTxWarp prst="textNoShape">
              <a:avLst/>
            </a:prstTxWarp>
          </a:bodyPr>
          <a:lstStyle/>
          <a:p>
            <a:pPr defTabSz="910706" fontAlgn="base">
              <a:spcBef>
                <a:spcPct val="50000"/>
              </a:spcBef>
              <a:spcAft>
                <a:spcPct val="0"/>
              </a:spcAft>
            </a:pPr>
            <a:endParaRPr kumimoji="1" lang="ru-RU" sz="1000" smtClean="0">
              <a:solidFill>
                <a:srgbClr val="00294F"/>
              </a:solidFill>
              <a:latin typeface="Tahoma" pitchFamily="34" charset="0"/>
              <a:ea typeface="PMingLiU" pitchFamily="18" charset="-120"/>
            </a:endParaRPr>
          </a:p>
        </p:txBody>
      </p:sp>
    </p:spTree>
    <p:extLst>
      <p:ext uri="{BB962C8B-B14F-4D97-AF65-F5344CB8AC3E}">
        <p14:creationId xmlns:p14="http://schemas.microsoft.com/office/powerpoint/2010/main" val="14803108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gallery dir="l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лайд &quot;Спасибо!&quot;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Line 27"/>
          <p:cNvSpPr>
            <a:spLocks noChangeShapeType="1"/>
          </p:cNvSpPr>
          <p:nvPr userDrawn="1"/>
        </p:nvSpPr>
        <p:spPr bwMode="auto">
          <a:xfrm>
            <a:off x="252000" y="5940000"/>
            <a:ext cx="8640000" cy="0"/>
          </a:xfrm>
          <a:prstGeom prst="line">
            <a:avLst/>
          </a:prstGeom>
          <a:noFill/>
          <a:ln w="28575">
            <a:solidFill>
              <a:srgbClr val="016EB3"/>
            </a:solidFill>
            <a:round/>
            <a:headEnd/>
            <a:tailEnd/>
          </a:ln>
          <a:effectLst/>
        </p:spPr>
        <p:txBody>
          <a:bodyPr wrap="none" lIns="91227" tIns="45613" rIns="91227" bIns="45613"/>
          <a:lstStyle/>
          <a:p>
            <a:pPr defTabSz="910706" fontAlgn="base">
              <a:spcBef>
                <a:spcPct val="50000"/>
              </a:spcBef>
              <a:spcAft>
                <a:spcPct val="0"/>
              </a:spcAft>
              <a:defRPr/>
            </a:pPr>
            <a:endParaRPr kumimoji="1" lang="ru-RU" sz="1000" dirty="0">
              <a:solidFill>
                <a:srgbClr val="002766"/>
              </a:solidFill>
              <a:latin typeface="Tahoma" pitchFamily="34" charset="0"/>
              <a:ea typeface="PMingLiU" pitchFamily="18" charset="-120"/>
            </a:endParaRPr>
          </a:p>
        </p:txBody>
      </p:sp>
      <p:sp>
        <p:nvSpPr>
          <p:cNvPr id="9" name="Прямоугольник 8"/>
          <p:cNvSpPr/>
          <p:nvPr userDrawn="1"/>
        </p:nvSpPr>
        <p:spPr bwMode="auto">
          <a:xfrm>
            <a:off x="252000" y="190525"/>
            <a:ext cx="1623692" cy="606669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227" tIns="45613" rIns="91227" bIns="45613" numCol="1" rtlCol="0" anchor="t" anchorCtr="0" compatLnSpc="1">
            <a:prstTxWarp prst="textNoShape">
              <a:avLst/>
            </a:prstTxWarp>
          </a:bodyPr>
          <a:lstStyle/>
          <a:p>
            <a:pPr defTabSz="910706" fontAlgn="base">
              <a:spcBef>
                <a:spcPct val="50000"/>
              </a:spcBef>
              <a:spcAft>
                <a:spcPct val="0"/>
              </a:spcAft>
            </a:pPr>
            <a:endParaRPr kumimoji="1" lang="ru-RU" sz="1000" smtClean="0">
              <a:solidFill>
                <a:srgbClr val="00294F"/>
              </a:solidFill>
              <a:latin typeface="Tahoma" pitchFamily="34" charset="0"/>
              <a:ea typeface="PMingLiU" pitchFamily="18" charset="-120"/>
            </a:endParaRPr>
          </a:p>
        </p:txBody>
      </p:sp>
      <p:sp>
        <p:nvSpPr>
          <p:cNvPr id="10" name="Прямоугольник 9"/>
          <p:cNvSpPr/>
          <p:nvPr userDrawn="1"/>
        </p:nvSpPr>
        <p:spPr bwMode="auto">
          <a:xfrm>
            <a:off x="8429206" y="6327669"/>
            <a:ext cx="708444" cy="504825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227" tIns="45613" rIns="91227" bIns="45613" numCol="1" rtlCol="0" anchor="t" anchorCtr="0" compatLnSpc="1">
            <a:prstTxWarp prst="textNoShape">
              <a:avLst/>
            </a:prstTxWarp>
          </a:bodyPr>
          <a:lstStyle/>
          <a:p>
            <a:pPr defTabSz="910706" fontAlgn="base">
              <a:spcBef>
                <a:spcPct val="50000"/>
              </a:spcBef>
              <a:spcAft>
                <a:spcPct val="0"/>
              </a:spcAft>
            </a:pPr>
            <a:endParaRPr kumimoji="1" lang="ru-RU" sz="1000" smtClean="0">
              <a:solidFill>
                <a:srgbClr val="00294F"/>
              </a:solidFill>
              <a:latin typeface="Tahoma" pitchFamily="34" charset="0"/>
              <a:ea typeface="PMingLiU" pitchFamily="18" charset="-120"/>
            </a:endParaRPr>
          </a:p>
        </p:txBody>
      </p:sp>
      <p:sp>
        <p:nvSpPr>
          <p:cNvPr id="18" name="Текст 3"/>
          <p:cNvSpPr>
            <a:spLocks noGrp="1"/>
          </p:cNvSpPr>
          <p:nvPr>
            <p:ph type="body" sz="half" idx="10" hasCustomPrompt="1"/>
          </p:nvPr>
        </p:nvSpPr>
        <p:spPr>
          <a:xfrm>
            <a:off x="7200000" y="6210000"/>
            <a:ext cx="1656000" cy="396000"/>
          </a:xfrm>
        </p:spPr>
        <p:txBody>
          <a:bodyPr anchor="ctr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100">
                <a:solidFill>
                  <a:schemeClr val="tx2"/>
                </a:solidFill>
              </a:defRPr>
            </a:lvl1pPr>
            <a:lvl2pPr marL="456150" indent="0">
              <a:buNone/>
              <a:defRPr sz="1200"/>
            </a:lvl2pPr>
            <a:lvl3pPr marL="912300" indent="0">
              <a:buNone/>
              <a:defRPr sz="1000"/>
            </a:lvl3pPr>
            <a:lvl4pPr marL="1368448" indent="0">
              <a:buNone/>
              <a:defRPr sz="900"/>
            </a:lvl4pPr>
            <a:lvl5pPr marL="1824599" indent="0">
              <a:buNone/>
              <a:defRPr sz="900"/>
            </a:lvl5pPr>
            <a:lvl6pPr marL="2280748" indent="0">
              <a:buNone/>
              <a:defRPr sz="900"/>
            </a:lvl6pPr>
            <a:lvl7pPr marL="2736891" indent="0">
              <a:buNone/>
              <a:defRPr sz="900"/>
            </a:lvl7pPr>
            <a:lvl8pPr marL="3193047" indent="0">
              <a:buNone/>
              <a:defRPr sz="900"/>
            </a:lvl8pPr>
            <a:lvl9pPr marL="3649197" indent="0">
              <a:buNone/>
              <a:defRPr sz="900"/>
            </a:lvl9pPr>
          </a:lstStyle>
          <a:p>
            <a:pPr lvl="0"/>
            <a:r>
              <a:rPr lang="ru-RU" dirty="0" smtClean="0"/>
              <a:t>Телефон и </a:t>
            </a:r>
            <a:r>
              <a:rPr lang="en-US" dirty="0" smtClean="0"/>
              <a:t>e-mail</a:t>
            </a:r>
          </a:p>
        </p:txBody>
      </p:sp>
      <p:sp>
        <p:nvSpPr>
          <p:cNvPr id="21" name="Текст 3"/>
          <p:cNvSpPr>
            <a:spLocks noGrp="1"/>
          </p:cNvSpPr>
          <p:nvPr>
            <p:ph type="body" sz="half" idx="12" hasCustomPrompt="1"/>
          </p:nvPr>
        </p:nvSpPr>
        <p:spPr>
          <a:xfrm>
            <a:off x="2088000" y="3096000"/>
            <a:ext cx="4932000" cy="648000"/>
          </a:xfrm>
        </p:spPr>
        <p:txBody>
          <a:bodyPr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buNone/>
              <a:defRPr sz="3600">
                <a:solidFill>
                  <a:srgbClr val="016EB3"/>
                </a:solidFill>
              </a:defRPr>
            </a:lvl1pPr>
            <a:lvl2pPr marL="456150" indent="0">
              <a:buNone/>
              <a:defRPr sz="1200"/>
            </a:lvl2pPr>
            <a:lvl3pPr marL="912300" indent="0">
              <a:buNone/>
              <a:defRPr sz="1000"/>
            </a:lvl3pPr>
            <a:lvl4pPr marL="1368448" indent="0">
              <a:buNone/>
              <a:defRPr sz="900"/>
            </a:lvl4pPr>
            <a:lvl5pPr marL="1824599" indent="0">
              <a:buNone/>
              <a:defRPr sz="900"/>
            </a:lvl5pPr>
            <a:lvl6pPr marL="2280748" indent="0">
              <a:buNone/>
              <a:defRPr sz="900"/>
            </a:lvl6pPr>
            <a:lvl7pPr marL="2736891" indent="0">
              <a:buNone/>
              <a:defRPr sz="900"/>
            </a:lvl7pPr>
            <a:lvl8pPr marL="3193047" indent="0">
              <a:buNone/>
              <a:defRPr sz="900"/>
            </a:lvl8pPr>
            <a:lvl9pPr marL="3649197" indent="0">
              <a:buNone/>
              <a:defRPr sz="900"/>
            </a:lvl9pPr>
          </a:lstStyle>
          <a:p>
            <a:pPr lvl="0"/>
            <a:r>
              <a:rPr lang="ru-RU" dirty="0" smtClean="0"/>
              <a:t>Спасибо! / </a:t>
            </a:r>
            <a:r>
              <a:rPr lang="en-US" dirty="0" smtClean="0"/>
              <a:t>Thank you!</a:t>
            </a:r>
          </a:p>
        </p:txBody>
      </p:sp>
      <p:sp>
        <p:nvSpPr>
          <p:cNvPr id="28" name="Текст 27"/>
          <p:cNvSpPr>
            <a:spLocks noGrp="1"/>
          </p:cNvSpPr>
          <p:nvPr>
            <p:ph type="body" sz="quarter" idx="14" hasCustomPrompt="1"/>
          </p:nvPr>
        </p:nvSpPr>
        <p:spPr>
          <a:xfrm>
            <a:off x="5112000" y="6210000"/>
            <a:ext cx="2016000" cy="396000"/>
          </a:xfrm>
        </p:spPr>
        <p:txBody>
          <a:bodyPr anchor="ctr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10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ru-RU" dirty="0" smtClean="0"/>
              <a:t>Адрес компании</a:t>
            </a:r>
            <a:endParaRPr lang="ru-RU" dirty="0"/>
          </a:p>
        </p:txBody>
      </p:sp>
      <p:sp>
        <p:nvSpPr>
          <p:cNvPr id="30" name="Текст 29"/>
          <p:cNvSpPr>
            <a:spLocks noGrp="1"/>
          </p:cNvSpPr>
          <p:nvPr>
            <p:ph type="body" sz="quarter" idx="15" hasCustomPrompt="1"/>
          </p:nvPr>
        </p:nvSpPr>
        <p:spPr>
          <a:xfrm>
            <a:off x="2772000" y="6210000"/>
            <a:ext cx="2268000" cy="396000"/>
          </a:xfrm>
        </p:spPr>
        <p:txBody>
          <a:bodyPr anchor="ctr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10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ru-RU" dirty="0" smtClean="0"/>
              <a:t>Управление и Отдел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0524778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gallery dir="l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31778" y="306700"/>
            <a:ext cx="6742113" cy="739775"/>
          </a:xfrm>
          <a:prstGeom prst="rect">
            <a:avLst/>
          </a:prstGeom>
        </p:spPr>
        <p:txBody>
          <a:bodyPr lIns="91227" tIns="45613" rIns="91227" bIns="45613"/>
          <a:lstStyle>
            <a:lvl1pPr>
              <a:defRPr sz="2500"/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15" name="Rectangle 4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EFF660B-5916-42E2-9D88-953A3CB16BD3}" type="slidenum">
              <a:rPr lang="en-US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579229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gallery dir="l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Основн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414000" y="1638000"/>
            <a:ext cx="8316000" cy="4467600"/>
          </a:xfrm>
        </p:spPr>
        <p:txBody>
          <a:bodyPr/>
          <a:lstStyle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de-DE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4"/>
          </p:nvPr>
        </p:nvSpPr>
        <p:spPr>
          <a:xfrm>
            <a:off x="8665706" y="6526188"/>
            <a:ext cx="402094" cy="217518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chemeClr val="bg1"/>
                </a:solidFill>
                <a:latin typeface="+mj-lt"/>
              </a:defRPr>
            </a:lvl1pPr>
          </a:lstStyle>
          <a:p>
            <a:fld id="{8E141AF1-466E-4D9F-B74C-45FFEB47CA13}" type="slidenum">
              <a:rPr lang="de-DE" smtClean="0">
                <a:solidFill>
                  <a:srgbClr val="FFFFFF"/>
                </a:solidFill>
              </a:rPr>
              <a:pPr/>
              <a:t>‹#›</a:t>
            </a:fld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1652954" y="1"/>
            <a:ext cx="7220702" cy="897162"/>
          </a:xfrm>
          <a:prstGeom prst="rect">
            <a:avLst/>
          </a:prstGeom>
          <a:ln/>
          <a:effectLst>
            <a:outerShdw dist="17961" dir="2700000" algn="ctr" rotWithShape="0">
              <a:srgbClr val="FFFFFF"/>
            </a:outerShdw>
          </a:effectLst>
        </p:spPr>
        <p:txBody>
          <a:bodyPr lIns="91227" tIns="45613" rIns="91227" bIns="45613" anchor="ctr"/>
          <a:lstStyle>
            <a:lvl1pPr>
              <a:defRPr kumimoji="1" lang="ru-RU" sz="1700" kern="1200">
                <a:solidFill>
                  <a:srgbClr val="016EB3"/>
                </a:solidFill>
              </a:defRPr>
            </a:lvl1pPr>
          </a:lstStyle>
          <a:p>
            <a:pPr lvl="0" defTabSz="818854"/>
            <a:r>
              <a:rPr lang="ru-RU" smtClean="0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4336562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gallery dir="l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31778" y="123825"/>
            <a:ext cx="6742113" cy="657225"/>
          </a:xfrm>
          <a:prstGeom prst="rect">
            <a:avLst/>
          </a:prstGeom>
        </p:spPr>
        <p:txBody>
          <a:bodyPr lIns="91227" tIns="45613" rIns="91227" bIns="45613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715E4BD-578A-4F4A-9E92-1B4DB10B5101}" type="slidenum">
              <a:rPr lang="en-US">
                <a:solidFill>
                  <a:srgbClr val="A0A1A6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A0A1A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008907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gallery dir="l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07266" name="Rectangle 2"/>
          <p:cNvSpPr>
            <a:spLocks noGrp="1" noChangeArrowheads="1"/>
          </p:cNvSpPr>
          <p:nvPr>
            <p:ph type="subTitle" idx="1"/>
          </p:nvPr>
        </p:nvSpPr>
        <p:spPr>
          <a:xfrm>
            <a:off x="2935489" y="5737238"/>
            <a:ext cx="5522912" cy="270843"/>
          </a:xfrm>
          <a:effectLst>
            <a:outerShdw dist="17961" dir="2700000" algn="ctr" rotWithShape="0">
              <a:srgbClr val="FFFFFF"/>
            </a:outerShdw>
          </a:effectLst>
        </p:spPr>
        <p:txBody>
          <a:bodyPr>
            <a:spAutoFit/>
          </a:bodyPr>
          <a:lstStyle>
            <a:lvl1pPr marL="0" indent="0" algn="r" defTabSz="818854">
              <a:spcBef>
                <a:spcPct val="0"/>
              </a:spcBef>
              <a:buClrTx/>
              <a:buFontTx/>
              <a:buNone/>
              <a:defRPr sz="1600">
                <a:solidFill>
                  <a:schemeClr val="tx2"/>
                </a:solidFill>
              </a:defRPr>
            </a:lvl1pPr>
          </a:lstStyle>
          <a:p>
            <a:r>
              <a:rPr lang="ru-RU" smtClean="0"/>
              <a:t>Образец подзаголовка</a:t>
            </a:r>
            <a:endParaRPr lang="en-US" dirty="0"/>
          </a:p>
        </p:txBody>
      </p:sp>
      <p:sp>
        <p:nvSpPr>
          <p:cNvPr id="907267" name="Rectangle 3"/>
          <p:cNvSpPr>
            <a:spLocks noGrp="1" noChangeArrowheads="1"/>
          </p:cNvSpPr>
          <p:nvPr>
            <p:ph type="ctrTitle" sz="quarter"/>
          </p:nvPr>
        </p:nvSpPr>
        <p:spPr>
          <a:xfrm>
            <a:off x="3032589" y="5183213"/>
            <a:ext cx="5522912" cy="452437"/>
          </a:xfrm>
          <a:prstGeom prst="rect">
            <a:avLst/>
          </a:prstGeom>
          <a:ln/>
          <a:effectLst>
            <a:outerShdw dist="17961" dir="2700000" algn="ctr" rotWithShape="0">
              <a:srgbClr val="FFFFFF"/>
            </a:outerShdw>
          </a:effectLst>
        </p:spPr>
        <p:txBody>
          <a:bodyPr lIns="91227" tIns="45613" rIns="91227" bIns="45613" anchor="b"/>
          <a:lstStyle>
            <a:lvl1pPr algn="r" defTabSz="818854">
              <a:defRPr sz="2400">
                <a:solidFill>
                  <a:schemeClr val="tx2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en-US"/>
          </a:p>
        </p:txBody>
      </p:sp>
      <p:pic>
        <p:nvPicPr>
          <p:cNvPr id="2" name="Рисунок 1"/>
          <p:cNvPicPr>
            <a:picLocks noChangeAspect="1"/>
          </p:cNvPicPr>
          <p:nvPr userDrawn="1"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2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0710" y="505803"/>
            <a:ext cx="5230821" cy="3804234"/>
          </a:xfrm>
          <a:prstGeom prst="rect">
            <a:avLst/>
          </a:prstGeom>
        </p:spPr>
      </p:pic>
      <p:pic>
        <p:nvPicPr>
          <p:cNvPr id="7" name="Picture 2"/>
          <p:cNvPicPr>
            <a:picLocks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68002" y="3096000"/>
            <a:ext cx="3564000" cy="2066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8381508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gallery dir="l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Основн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414000" y="1638000"/>
            <a:ext cx="8316000" cy="4467600"/>
          </a:xfrm>
        </p:spPr>
        <p:txBody>
          <a:bodyPr/>
          <a:lstStyle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de-DE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4"/>
          </p:nvPr>
        </p:nvSpPr>
        <p:spPr>
          <a:xfrm>
            <a:off x="8665706" y="6526188"/>
            <a:ext cx="402094" cy="217518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chemeClr val="bg1"/>
                </a:solidFill>
                <a:latin typeface="+mj-lt"/>
              </a:defRPr>
            </a:lvl1pPr>
          </a:lstStyle>
          <a:p>
            <a:fld id="{8E141AF1-466E-4D9F-B74C-45FFEB47CA13}" type="slidenum">
              <a:rPr lang="de-DE" smtClean="0">
                <a:solidFill>
                  <a:srgbClr val="FFFFFF"/>
                </a:solidFill>
              </a:rPr>
              <a:pPr/>
              <a:t>‹#›</a:t>
            </a:fld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1652954" y="1"/>
            <a:ext cx="7220702" cy="897162"/>
          </a:xfrm>
          <a:prstGeom prst="rect">
            <a:avLst/>
          </a:prstGeom>
          <a:ln/>
          <a:effectLst>
            <a:outerShdw dist="17961" dir="2700000" algn="ctr" rotWithShape="0">
              <a:srgbClr val="FFFFFF"/>
            </a:outerShdw>
          </a:effectLst>
        </p:spPr>
        <p:txBody>
          <a:bodyPr lIns="91227" tIns="45613" rIns="91227" bIns="45613" anchor="ctr"/>
          <a:lstStyle>
            <a:lvl1pPr>
              <a:defRPr kumimoji="1" lang="ru-RU" sz="1700" kern="1200">
                <a:solidFill>
                  <a:srgbClr val="016EB3"/>
                </a:solidFill>
              </a:defRPr>
            </a:lvl1pPr>
          </a:lstStyle>
          <a:p>
            <a:pPr lvl="0" defTabSz="818854"/>
            <a:r>
              <a:rPr lang="ru-RU" smtClean="0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2559062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gallery dir="l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 userDrawn="1"/>
        </p:nvSpPr>
        <p:spPr bwMode="auto">
          <a:xfrm>
            <a:off x="8660610" y="6374606"/>
            <a:ext cx="478632" cy="389746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227" tIns="45613" rIns="91227" bIns="45613" numCol="1" rtlCol="0" anchor="t" anchorCtr="0" compatLnSpc="1">
            <a:prstTxWarp prst="textNoShape">
              <a:avLst/>
            </a:prstTxWarp>
          </a:bodyPr>
          <a:lstStyle/>
          <a:p>
            <a:pPr defTabSz="910706" fontAlgn="base">
              <a:spcBef>
                <a:spcPct val="50000"/>
              </a:spcBef>
              <a:spcAft>
                <a:spcPct val="0"/>
              </a:spcAft>
            </a:pPr>
            <a:endParaRPr kumimoji="1" lang="ru-RU" sz="1000" smtClean="0">
              <a:solidFill>
                <a:srgbClr val="00294F"/>
              </a:solidFill>
              <a:latin typeface="Tahoma" pitchFamily="34" charset="0"/>
              <a:ea typeface="PMingLiU" pitchFamily="18" charset="-120"/>
            </a:endParaRPr>
          </a:p>
        </p:txBody>
      </p:sp>
    </p:spTree>
    <p:extLst>
      <p:ext uri="{BB962C8B-B14F-4D97-AF65-F5344CB8AC3E}">
        <p14:creationId xmlns:p14="http://schemas.microsoft.com/office/powerpoint/2010/main" val="13482726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gallery dir="l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лайд &quot;Спасибо!&quot;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Line 27"/>
          <p:cNvSpPr>
            <a:spLocks noChangeShapeType="1"/>
          </p:cNvSpPr>
          <p:nvPr userDrawn="1"/>
        </p:nvSpPr>
        <p:spPr bwMode="auto">
          <a:xfrm>
            <a:off x="252000" y="5940000"/>
            <a:ext cx="8640000" cy="0"/>
          </a:xfrm>
          <a:prstGeom prst="line">
            <a:avLst/>
          </a:prstGeom>
          <a:noFill/>
          <a:ln w="28575">
            <a:solidFill>
              <a:srgbClr val="016EB3"/>
            </a:solidFill>
            <a:round/>
            <a:headEnd/>
            <a:tailEnd/>
          </a:ln>
          <a:effectLst/>
        </p:spPr>
        <p:txBody>
          <a:bodyPr wrap="none" lIns="91227" tIns="45613" rIns="91227" bIns="45613"/>
          <a:lstStyle/>
          <a:p>
            <a:pPr defTabSz="910706" fontAlgn="base">
              <a:spcBef>
                <a:spcPct val="50000"/>
              </a:spcBef>
              <a:spcAft>
                <a:spcPct val="0"/>
              </a:spcAft>
              <a:defRPr/>
            </a:pPr>
            <a:endParaRPr kumimoji="1" lang="ru-RU" sz="1000" dirty="0">
              <a:solidFill>
                <a:srgbClr val="002766"/>
              </a:solidFill>
              <a:latin typeface="Tahoma" pitchFamily="34" charset="0"/>
              <a:ea typeface="PMingLiU" pitchFamily="18" charset="-120"/>
            </a:endParaRPr>
          </a:p>
        </p:txBody>
      </p:sp>
      <p:sp>
        <p:nvSpPr>
          <p:cNvPr id="9" name="Прямоугольник 8"/>
          <p:cNvSpPr/>
          <p:nvPr userDrawn="1"/>
        </p:nvSpPr>
        <p:spPr bwMode="auto">
          <a:xfrm>
            <a:off x="252000" y="190525"/>
            <a:ext cx="1623692" cy="606669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227" tIns="45613" rIns="91227" bIns="45613" numCol="1" rtlCol="0" anchor="t" anchorCtr="0" compatLnSpc="1">
            <a:prstTxWarp prst="textNoShape">
              <a:avLst/>
            </a:prstTxWarp>
          </a:bodyPr>
          <a:lstStyle/>
          <a:p>
            <a:pPr defTabSz="910706" fontAlgn="base">
              <a:spcBef>
                <a:spcPct val="50000"/>
              </a:spcBef>
              <a:spcAft>
                <a:spcPct val="0"/>
              </a:spcAft>
            </a:pPr>
            <a:endParaRPr kumimoji="1" lang="ru-RU" sz="1000" smtClean="0">
              <a:solidFill>
                <a:srgbClr val="00294F"/>
              </a:solidFill>
              <a:latin typeface="Tahoma" pitchFamily="34" charset="0"/>
              <a:ea typeface="PMingLiU" pitchFamily="18" charset="-120"/>
            </a:endParaRPr>
          </a:p>
        </p:txBody>
      </p:sp>
      <p:sp>
        <p:nvSpPr>
          <p:cNvPr id="10" name="Прямоугольник 9"/>
          <p:cNvSpPr/>
          <p:nvPr userDrawn="1"/>
        </p:nvSpPr>
        <p:spPr bwMode="auto">
          <a:xfrm>
            <a:off x="8429206" y="6327669"/>
            <a:ext cx="708444" cy="504825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227" tIns="45613" rIns="91227" bIns="45613" numCol="1" rtlCol="0" anchor="t" anchorCtr="0" compatLnSpc="1">
            <a:prstTxWarp prst="textNoShape">
              <a:avLst/>
            </a:prstTxWarp>
          </a:bodyPr>
          <a:lstStyle/>
          <a:p>
            <a:pPr defTabSz="910706" fontAlgn="base">
              <a:spcBef>
                <a:spcPct val="50000"/>
              </a:spcBef>
              <a:spcAft>
                <a:spcPct val="0"/>
              </a:spcAft>
            </a:pPr>
            <a:endParaRPr kumimoji="1" lang="ru-RU" sz="1000" smtClean="0">
              <a:solidFill>
                <a:srgbClr val="00294F"/>
              </a:solidFill>
              <a:latin typeface="Tahoma" pitchFamily="34" charset="0"/>
              <a:ea typeface="PMingLiU" pitchFamily="18" charset="-120"/>
            </a:endParaRPr>
          </a:p>
        </p:txBody>
      </p:sp>
      <p:sp>
        <p:nvSpPr>
          <p:cNvPr id="18" name="Текст 3"/>
          <p:cNvSpPr>
            <a:spLocks noGrp="1"/>
          </p:cNvSpPr>
          <p:nvPr>
            <p:ph type="body" sz="half" idx="10" hasCustomPrompt="1"/>
          </p:nvPr>
        </p:nvSpPr>
        <p:spPr>
          <a:xfrm>
            <a:off x="7200000" y="6210000"/>
            <a:ext cx="1656000" cy="396000"/>
          </a:xfrm>
        </p:spPr>
        <p:txBody>
          <a:bodyPr anchor="ctr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100">
                <a:solidFill>
                  <a:schemeClr val="tx2"/>
                </a:solidFill>
              </a:defRPr>
            </a:lvl1pPr>
            <a:lvl2pPr marL="456150" indent="0">
              <a:buNone/>
              <a:defRPr sz="1200"/>
            </a:lvl2pPr>
            <a:lvl3pPr marL="912300" indent="0">
              <a:buNone/>
              <a:defRPr sz="1000"/>
            </a:lvl3pPr>
            <a:lvl4pPr marL="1368448" indent="0">
              <a:buNone/>
              <a:defRPr sz="900"/>
            </a:lvl4pPr>
            <a:lvl5pPr marL="1824599" indent="0">
              <a:buNone/>
              <a:defRPr sz="900"/>
            </a:lvl5pPr>
            <a:lvl6pPr marL="2280748" indent="0">
              <a:buNone/>
              <a:defRPr sz="900"/>
            </a:lvl6pPr>
            <a:lvl7pPr marL="2736891" indent="0">
              <a:buNone/>
              <a:defRPr sz="900"/>
            </a:lvl7pPr>
            <a:lvl8pPr marL="3193047" indent="0">
              <a:buNone/>
              <a:defRPr sz="900"/>
            </a:lvl8pPr>
            <a:lvl9pPr marL="3649197" indent="0">
              <a:buNone/>
              <a:defRPr sz="900"/>
            </a:lvl9pPr>
          </a:lstStyle>
          <a:p>
            <a:pPr lvl="0"/>
            <a:r>
              <a:rPr lang="ru-RU" dirty="0" smtClean="0"/>
              <a:t>Телефон и </a:t>
            </a:r>
            <a:r>
              <a:rPr lang="en-US" dirty="0" smtClean="0"/>
              <a:t>e-mail</a:t>
            </a:r>
          </a:p>
        </p:txBody>
      </p:sp>
      <p:sp>
        <p:nvSpPr>
          <p:cNvPr id="21" name="Текст 3"/>
          <p:cNvSpPr>
            <a:spLocks noGrp="1"/>
          </p:cNvSpPr>
          <p:nvPr>
            <p:ph type="body" sz="half" idx="12" hasCustomPrompt="1"/>
          </p:nvPr>
        </p:nvSpPr>
        <p:spPr>
          <a:xfrm>
            <a:off x="2088000" y="3096000"/>
            <a:ext cx="4932000" cy="648000"/>
          </a:xfrm>
        </p:spPr>
        <p:txBody>
          <a:bodyPr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buNone/>
              <a:defRPr sz="3600">
                <a:solidFill>
                  <a:srgbClr val="016EB3"/>
                </a:solidFill>
              </a:defRPr>
            </a:lvl1pPr>
            <a:lvl2pPr marL="456150" indent="0">
              <a:buNone/>
              <a:defRPr sz="1200"/>
            </a:lvl2pPr>
            <a:lvl3pPr marL="912300" indent="0">
              <a:buNone/>
              <a:defRPr sz="1000"/>
            </a:lvl3pPr>
            <a:lvl4pPr marL="1368448" indent="0">
              <a:buNone/>
              <a:defRPr sz="900"/>
            </a:lvl4pPr>
            <a:lvl5pPr marL="1824599" indent="0">
              <a:buNone/>
              <a:defRPr sz="900"/>
            </a:lvl5pPr>
            <a:lvl6pPr marL="2280748" indent="0">
              <a:buNone/>
              <a:defRPr sz="900"/>
            </a:lvl6pPr>
            <a:lvl7pPr marL="2736891" indent="0">
              <a:buNone/>
              <a:defRPr sz="900"/>
            </a:lvl7pPr>
            <a:lvl8pPr marL="3193047" indent="0">
              <a:buNone/>
              <a:defRPr sz="900"/>
            </a:lvl8pPr>
            <a:lvl9pPr marL="3649197" indent="0">
              <a:buNone/>
              <a:defRPr sz="900"/>
            </a:lvl9pPr>
          </a:lstStyle>
          <a:p>
            <a:pPr lvl="0"/>
            <a:r>
              <a:rPr lang="ru-RU" dirty="0" smtClean="0"/>
              <a:t>Спасибо! / </a:t>
            </a:r>
            <a:r>
              <a:rPr lang="en-US" dirty="0" smtClean="0"/>
              <a:t>Thank you!</a:t>
            </a:r>
          </a:p>
        </p:txBody>
      </p:sp>
      <p:sp>
        <p:nvSpPr>
          <p:cNvPr id="28" name="Текст 27"/>
          <p:cNvSpPr>
            <a:spLocks noGrp="1"/>
          </p:cNvSpPr>
          <p:nvPr>
            <p:ph type="body" sz="quarter" idx="14" hasCustomPrompt="1"/>
          </p:nvPr>
        </p:nvSpPr>
        <p:spPr>
          <a:xfrm>
            <a:off x="5112000" y="6210000"/>
            <a:ext cx="2016000" cy="396000"/>
          </a:xfrm>
        </p:spPr>
        <p:txBody>
          <a:bodyPr anchor="ctr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10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ru-RU" dirty="0" smtClean="0"/>
              <a:t>Адрес компании</a:t>
            </a:r>
            <a:endParaRPr lang="ru-RU" dirty="0"/>
          </a:p>
        </p:txBody>
      </p:sp>
      <p:sp>
        <p:nvSpPr>
          <p:cNvPr id="30" name="Текст 29"/>
          <p:cNvSpPr>
            <a:spLocks noGrp="1"/>
          </p:cNvSpPr>
          <p:nvPr>
            <p:ph type="body" sz="quarter" idx="15" hasCustomPrompt="1"/>
          </p:nvPr>
        </p:nvSpPr>
        <p:spPr>
          <a:xfrm>
            <a:off x="2772000" y="6210000"/>
            <a:ext cx="2268000" cy="396000"/>
          </a:xfrm>
        </p:spPr>
        <p:txBody>
          <a:bodyPr anchor="ctr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10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ru-RU" dirty="0" smtClean="0"/>
              <a:t>Управление и Отдел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062489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gallery dir="l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31778" y="123825"/>
            <a:ext cx="6742113" cy="657225"/>
          </a:xfrm>
          <a:prstGeom prst="rect">
            <a:avLst/>
          </a:prstGeom>
        </p:spPr>
        <p:txBody>
          <a:bodyPr lIns="91243" tIns="45622" rIns="91243" bIns="45622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1611192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gallery dir="l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31778" y="306700"/>
            <a:ext cx="6742113" cy="739775"/>
          </a:xfrm>
          <a:prstGeom prst="rect">
            <a:avLst/>
          </a:prstGeom>
        </p:spPr>
        <p:txBody>
          <a:bodyPr lIns="91227" tIns="45613" rIns="91227" bIns="45613"/>
          <a:lstStyle>
            <a:lvl1pPr>
              <a:defRPr sz="2500"/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15" name="Rectangle 4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EFF660B-5916-42E2-9D88-953A3CB16BD3}" type="slidenum">
              <a:rPr lang="en-US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180103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gallery dir="l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Основн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414000" y="1638000"/>
            <a:ext cx="8316000" cy="4467600"/>
          </a:xfrm>
        </p:spPr>
        <p:txBody>
          <a:bodyPr/>
          <a:lstStyle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de-DE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4"/>
          </p:nvPr>
        </p:nvSpPr>
        <p:spPr>
          <a:xfrm>
            <a:off x="8665706" y="6526188"/>
            <a:ext cx="402094" cy="217518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chemeClr val="bg1"/>
                </a:solidFill>
                <a:latin typeface="+mj-lt"/>
              </a:defRPr>
            </a:lvl1pPr>
          </a:lstStyle>
          <a:p>
            <a:fld id="{8E141AF1-466E-4D9F-B74C-45FFEB47CA13}" type="slidenum">
              <a:rPr lang="de-DE" smtClean="0">
                <a:solidFill>
                  <a:srgbClr val="FFFFFF"/>
                </a:solidFill>
              </a:rPr>
              <a:pPr/>
              <a:t>‹#›</a:t>
            </a:fld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1652954" y="1"/>
            <a:ext cx="7220702" cy="897162"/>
          </a:xfrm>
          <a:prstGeom prst="rect">
            <a:avLst/>
          </a:prstGeom>
          <a:ln/>
          <a:effectLst>
            <a:outerShdw dist="17961" dir="2700000" algn="ctr" rotWithShape="0">
              <a:srgbClr val="FFFFFF"/>
            </a:outerShdw>
          </a:effectLst>
        </p:spPr>
        <p:txBody>
          <a:bodyPr lIns="91227" tIns="45613" rIns="91227" bIns="45613" anchor="ctr"/>
          <a:lstStyle>
            <a:lvl1pPr>
              <a:defRPr kumimoji="1" lang="ru-RU" sz="1700" kern="1200">
                <a:solidFill>
                  <a:srgbClr val="016EB3"/>
                </a:solidFill>
              </a:defRPr>
            </a:lvl1pPr>
          </a:lstStyle>
          <a:p>
            <a:pPr lvl="0" defTabSz="818854"/>
            <a:r>
              <a:rPr lang="ru-RU" smtClean="0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904397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gallery dir="l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31778" y="123825"/>
            <a:ext cx="6742113" cy="657225"/>
          </a:xfrm>
          <a:prstGeom prst="rect">
            <a:avLst/>
          </a:prstGeom>
        </p:spPr>
        <p:txBody>
          <a:bodyPr lIns="91227" tIns="45613" rIns="91227" bIns="45613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715E4BD-578A-4F4A-9E92-1B4DB10B5101}" type="slidenum">
              <a:rPr lang="en-US">
                <a:solidFill>
                  <a:srgbClr val="A0A1A6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A0A1A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308846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gallery dir="l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07266" name="Rectangle 2"/>
          <p:cNvSpPr>
            <a:spLocks noGrp="1" noChangeArrowheads="1"/>
          </p:cNvSpPr>
          <p:nvPr>
            <p:ph type="subTitle" idx="1"/>
          </p:nvPr>
        </p:nvSpPr>
        <p:spPr>
          <a:xfrm>
            <a:off x="2935489" y="5737238"/>
            <a:ext cx="5522912" cy="270843"/>
          </a:xfrm>
          <a:effectLst>
            <a:outerShdw dist="17961" dir="2700000" algn="ctr" rotWithShape="0">
              <a:srgbClr val="FFFFFF"/>
            </a:outerShdw>
          </a:effectLst>
        </p:spPr>
        <p:txBody>
          <a:bodyPr>
            <a:spAutoFit/>
          </a:bodyPr>
          <a:lstStyle>
            <a:lvl1pPr marL="0" indent="0" algn="r" defTabSz="819005">
              <a:spcBef>
                <a:spcPct val="0"/>
              </a:spcBef>
              <a:buClrTx/>
              <a:buFontTx/>
              <a:buNone/>
              <a:defRPr sz="1600">
                <a:solidFill>
                  <a:schemeClr val="tx2"/>
                </a:solidFill>
              </a:defRPr>
            </a:lvl1pPr>
          </a:lstStyle>
          <a:p>
            <a:r>
              <a:rPr lang="ru-RU" smtClean="0"/>
              <a:t>Образец подзаголовка</a:t>
            </a:r>
            <a:endParaRPr lang="en-US" dirty="0"/>
          </a:p>
        </p:txBody>
      </p:sp>
      <p:sp>
        <p:nvSpPr>
          <p:cNvPr id="907267" name="Rectangle 3"/>
          <p:cNvSpPr>
            <a:spLocks noGrp="1" noChangeArrowheads="1"/>
          </p:cNvSpPr>
          <p:nvPr>
            <p:ph type="ctrTitle" sz="quarter"/>
          </p:nvPr>
        </p:nvSpPr>
        <p:spPr>
          <a:xfrm>
            <a:off x="3032589" y="5183211"/>
            <a:ext cx="5522912" cy="452437"/>
          </a:xfrm>
          <a:prstGeom prst="rect">
            <a:avLst/>
          </a:prstGeom>
          <a:ln/>
          <a:effectLst>
            <a:outerShdw dist="17961" dir="2700000" algn="ctr" rotWithShape="0">
              <a:srgbClr val="FFFFFF"/>
            </a:outerShdw>
          </a:effectLst>
        </p:spPr>
        <p:txBody>
          <a:bodyPr lIns="91243" tIns="45622" rIns="91243" bIns="45622" anchor="b"/>
          <a:lstStyle>
            <a:lvl1pPr algn="r" defTabSz="819005">
              <a:defRPr sz="2400">
                <a:solidFill>
                  <a:schemeClr val="tx2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en-US"/>
          </a:p>
        </p:txBody>
      </p:sp>
      <p:pic>
        <p:nvPicPr>
          <p:cNvPr id="2" name="Рисунок 1"/>
          <p:cNvPicPr>
            <a:picLocks noChangeAspect="1"/>
          </p:cNvPicPr>
          <p:nvPr userDrawn="1"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2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0710" y="505803"/>
            <a:ext cx="5230821" cy="3804234"/>
          </a:xfrm>
          <a:prstGeom prst="rect">
            <a:avLst/>
          </a:prstGeom>
        </p:spPr>
      </p:pic>
      <p:pic>
        <p:nvPicPr>
          <p:cNvPr id="7" name="Picture 2"/>
          <p:cNvPicPr>
            <a:picLocks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68002" y="3096000"/>
            <a:ext cx="3564000" cy="2066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7413661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gallery dir="l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Основн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414000" y="1638000"/>
            <a:ext cx="8316000" cy="4467600"/>
          </a:xfrm>
        </p:spPr>
        <p:txBody>
          <a:bodyPr/>
          <a:lstStyle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de-DE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4"/>
          </p:nvPr>
        </p:nvSpPr>
        <p:spPr>
          <a:xfrm>
            <a:off x="8665706" y="6526188"/>
            <a:ext cx="402094" cy="217518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chemeClr val="bg1"/>
                </a:solidFill>
                <a:latin typeface="+mj-lt"/>
              </a:defRPr>
            </a:lvl1pPr>
          </a:lstStyle>
          <a:p>
            <a:fld id="{8E141AF1-466E-4D9F-B74C-45FFEB47CA13}" type="slidenum">
              <a:rPr lang="de-DE" smtClean="0">
                <a:solidFill>
                  <a:srgbClr val="FFFFFF"/>
                </a:solidFill>
              </a:rPr>
              <a:pPr/>
              <a:t>‹#›</a:t>
            </a:fld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1652954" y="1"/>
            <a:ext cx="7220702" cy="897162"/>
          </a:xfrm>
          <a:prstGeom prst="rect">
            <a:avLst/>
          </a:prstGeom>
          <a:ln/>
          <a:effectLst>
            <a:outerShdw dist="17961" dir="2700000" algn="ctr" rotWithShape="0">
              <a:srgbClr val="FFFFFF"/>
            </a:outerShdw>
          </a:effectLst>
        </p:spPr>
        <p:txBody>
          <a:bodyPr lIns="91243" tIns="45622" rIns="91243" bIns="45622" anchor="ctr"/>
          <a:lstStyle>
            <a:lvl1pPr>
              <a:defRPr kumimoji="1" lang="ru-RU" sz="1700" kern="1200">
                <a:solidFill>
                  <a:srgbClr val="016EB3"/>
                </a:solidFill>
              </a:defRPr>
            </a:lvl1pPr>
          </a:lstStyle>
          <a:p>
            <a:pPr lvl="0" defTabSz="819005"/>
            <a:r>
              <a:rPr lang="ru-RU" smtClean="0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5752474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gallery dir="l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 userDrawn="1"/>
        </p:nvSpPr>
        <p:spPr bwMode="auto">
          <a:xfrm>
            <a:off x="8660610" y="6374606"/>
            <a:ext cx="478632" cy="389746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243" tIns="45622" rIns="91243" bIns="45622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</a:pPr>
            <a:endParaRPr kumimoji="1" lang="ru-RU" sz="1000" smtClean="0">
              <a:solidFill>
                <a:srgbClr val="00294F"/>
              </a:solidFill>
              <a:latin typeface="Tahoma" pitchFamily="34" charset="0"/>
              <a:ea typeface="PMingLiU" pitchFamily="18" charset="-120"/>
            </a:endParaRPr>
          </a:p>
        </p:txBody>
      </p:sp>
    </p:spTree>
    <p:extLst>
      <p:ext uri="{BB962C8B-B14F-4D97-AF65-F5344CB8AC3E}">
        <p14:creationId xmlns:p14="http://schemas.microsoft.com/office/powerpoint/2010/main" val="25121200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gallery dir="l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лайд &quot;Спасибо!&quot;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Line 27"/>
          <p:cNvSpPr>
            <a:spLocks noChangeShapeType="1"/>
          </p:cNvSpPr>
          <p:nvPr userDrawn="1"/>
        </p:nvSpPr>
        <p:spPr bwMode="auto">
          <a:xfrm>
            <a:off x="252000" y="5940000"/>
            <a:ext cx="8640000" cy="0"/>
          </a:xfrm>
          <a:prstGeom prst="line">
            <a:avLst/>
          </a:prstGeom>
          <a:noFill/>
          <a:ln w="28575">
            <a:solidFill>
              <a:srgbClr val="016EB3"/>
            </a:solidFill>
            <a:round/>
            <a:headEnd/>
            <a:tailEnd/>
          </a:ln>
          <a:effectLst/>
        </p:spPr>
        <p:txBody>
          <a:bodyPr wrap="none" lIns="91243" tIns="45622" rIns="91243" bIns="45622"/>
          <a:lstStyle/>
          <a:p>
            <a:pPr fontAlgn="base">
              <a:spcBef>
                <a:spcPct val="50000"/>
              </a:spcBef>
              <a:spcAft>
                <a:spcPct val="0"/>
              </a:spcAft>
              <a:defRPr/>
            </a:pPr>
            <a:endParaRPr kumimoji="1" lang="ru-RU" sz="1000" dirty="0">
              <a:solidFill>
                <a:srgbClr val="002766"/>
              </a:solidFill>
              <a:latin typeface="Tahoma" pitchFamily="34" charset="0"/>
              <a:ea typeface="PMingLiU" pitchFamily="18" charset="-120"/>
            </a:endParaRPr>
          </a:p>
        </p:txBody>
      </p:sp>
      <p:sp>
        <p:nvSpPr>
          <p:cNvPr id="9" name="Прямоугольник 8"/>
          <p:cNvSpPr/>
          <p:nvPr userDrawn="1"/>
        </p:nvSpPr>
        <p:spPr bwMode="auto">
          <a:xfrm>
            <a:off x="252000" y="190523"/>
            <a:ext cx="1623692" cy="606669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243" tIns="45622" rIns="91243" bIns="45622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</a:pPr>
            <a:endParaRPr kumimoji="1" lang="ru-RU" sz="1000" smtClean="0">
              <a:solidFill>
                <a:srgbClr val="00294F"/>
              </a:solidFill>
              <a:latin typeface="Tahoma" pitchFamily="34" charset="0"/>
              <a:ea typeface="PMingLiU" pitchFamily="18" charset="-120"/>
            </a:endParaRPr>
          </a:p>
        </p:txBody>
      </p:sp>
      <p:sp>
        <p:nvSpPr>
          <p:cNvPr id="10" name="Прямоугольник 9"/>
          <p:cNvSpPr/>
          <p:nvPr userDrawn="1"/>
        </p:nvSpPr>
        <p:spPr bwMode="auto">
          <a:xfrm>
            <a:off x="8429206" y="6327669"/>
            <a:ext cx="708444" cy="504825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243" tIns="45622" rIns="91243" bIns="45622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</a:pPr>
            <a:endParaRPr kumimoji="1" lang="ru-RU" sz="1000" smtClean="0">
              <a:solidFill>
                <a:srgbClr val="00294F"/>
              </a:solidFill>
              <a:latin typeface="Tahoma" pitchFamily="34" charset="0"/>
              <a:ea typeface="PMingLiU" pitchFamily="18" charset="-120"/>
            </a:endParaRPr>
          </a:p>
        </p:txBody>
      </p:sp>
      <p:sp>
        <p:nvSpPr>
          <p:cNvPr id="18" name="Текст 3"/>
          <p:cNvSpPr>
            <a:spLocks noGrp="1"/>
          </p:cNvSpPr>
          <p:nvPr>
            <p:ph type="body" sz="half" idx="10" hasCustomPrompt="1"/>
          </p:nvPr>
        </p:nvSpPr>
        <p:spPr>
          <a:xfrm>
            <a:off x="7200000" y="6210000"/>
            <a:ext cx="1656000" cy="396000"/>
          </a:xfrm>
        </p:spPr>
        <p:txBody>
          <a:bodyPr anchor="ctr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100">
                <a:solidFill>
                  <a:schemeClr val="tx2"/>
                </a:solidFill>
              </a:defRPr>
            </a:lvl1pPr>
            <a:lvl2pPr marL="456234" indent="0">
              <a:buNone/>
              <a:defRPr sz="1200"/>
            </a:lvl2pPr>
            <a:lvl3pPr marL="912468" indent="0">
              <a:buNone/>
              <a:defRPr sz="1000"/>
            </a:lvl3pPr>
            <a:lvl4pPr marL="1368700" indent="0">
              <a:buNone/>
              <a:defRPr sz="900"/>
            </a:lvl4pPr>
            <a:lvl5pPr marL="1824935" indent="0">
              <a:buNone/>
              <a:defRPr sz="900"/>
            </a:lvl5pPr>
            <a:lvl6pPr marL="2281167" indent="0">
              <a:buNone/>
              <a:defRPr sz="900"/>
            </a:lvl6pPr>
            <a:lvl7pPr marL="2737394" indent="0">
              <a:buNone/>
              <a:defRPr sz="900"/>
            </a:lvl7pPr>
            <a:lvl8pPr marL="3193635" indent="0">
              <a:buNone/>
              <a:defRPr sz="900"/>
            </a:lvl8pPr>
            <a:lvl9pPr marL="3649869" indent="0">
              <a:buNone/>
              <a:defRPr sz="900"/>
            </a:lvl9pPr>
          </a:lstStyle>
          <a:p>
            <a:pPr lvl="0"/>
            <a:r>
              <a:rPr lang="ru-RU" dirty="0" smtClean="0"/>
              <a:t>Телефон и </a:t>
            </a:r>
            <a:r>
              <a:rPr lang="en-US" dirty="0" smtClean="0"/>
              <a:t>e-mail</a:t>
            </a:r>
          </a:p>
        </p:txBody>
      </p:sp>
      <p:sp>
        <p:nvSpPr>
          <p:cNvPr id="21" name="Текст 3"/>
          <p:cNvSpPr>
            <a:spLocks noGrp="1"/>
          </p:cNvSpPr>
          <p:nvPr>
            <p:ph type="body" sz="half" idx="12" hasCustomPrompt="1"/>
          </p:nvPr>
        </p:nvSpPr>
        <p:spPr>
          <a:xfrm>
            <a:off x="2088000" y="3096000"/>
            <a:ext cx="4932000" cy="648000"/>
          </a:xfrm>
        </p:spPr>
        <p:txBody>
          <a:bodyPr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buNone/>
              <a:defRPr sz="3600">
                <a:solidFill>
                  <a:srgbClr val="016EB3"/>
                </a:solidFill>
              </a:defRPr>
            </a:lvl1pPr>
            <a:lvl2pPr marL="456234" indent="0">
              <a:buNone/>
              <a:defRPr sz="1200"/>
            </a:lvl2pPr>
            <a:lvl3pPr marL="912468" indent="0">
              <a:buNone/>
              <a:defRPr sz="1000"/>
            </a:lvl3pPr>
            <a:lvl4pPr marL="1368700" indent="0">
              <a:buNone/>
              <a:defRPr sz="900"/>
            </a:lvl4pPr>
            <a:lvl5pPr marL="1824935" indent="0">
              <a:buNone/>
              <a:defRPr sz="900"/>
            </a:lvl5pPr>
            <a:lvl6pPr marL="2281167" indent="0">
              <a:buNone/>
              <a:defRPr sz="900"/>
            </a:lvl6pPr>
            <a:lvl7pPr marL="2737394" indent="0">
              <a:buNone/>
              <a:defRPr sz="900"/>
            </a:lvl7pPr>
            <a:lvl8pPr marL="3193635" indent="0">
              <a:buNone/>
              <a:defRPr sz="900"/>
            </a:lvl8pPr>
            <a:lvl9pPr marL="3649869" indent="0">
              <a:buNone/>
              <a:defRPr sz="900"/>
            </a:lvl9pPr>
          </a:lstStyle>
          <a:p>
            <a:pPr lvl="0"/>
            <a:r>
              <a:rPr lang="ru-RU" dirty="0" smtClean="0"/>
              <a:t>Спасибо! / </a:t>
            </a:r>
            <a:r>
              <a:rPr lang="en-US" dirty="0" smtClean="0"/>
              <a:t>Thank you!</a:t>
            </a:r>
          </a:p>
        </p:txBody>
      </p:sp>
      <p:sp>
        <p:nvSpPr>
          <p:cNvPr id="28" name="Текст 27"/>
          <p:cNvSpPr>
            <a:spLocks noGrp="1"/>
          </p:cNvSpPr>
          <p:nvPr>
            <p:ph type="body" sz="quarter" idx="14" hasCustomPrompt="1"/>
          </p:nvPr>
        </p:nvSpPr>
        <p:spPr>
          <a:xfrm>
            <a:off x="5112000" y="6210000"/>
            <a:ext cx="2016000" cy="396000"/>
          </a:xfrm>
        </p:spPr>
        <p:txBody>
          <a:bodyPr anchor="ctr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10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ru-RU" dirty="0" smtClean="0"/>
              <a:t>Адрес компании</a:t>
            </a:r>
            <a:endParaRPr lang="ru-RU" dirty="0"/>
          </a:p>
        </p:txBody>
      </p:sp>
      <p:sp>
        <p:nvSpPr>
          <p:cNvPr id="30" name="Текст 29"/>
          <p:cNvSpPr>
            <a:spLocks noGrp="1"/>
          </p:cNvSpPr>
          <p:nvPr>
            <p:ph type="body" sz="quarter" idx="15" hasCustomPrompt="1"/>
          </p:nvPr>
        </p:nvSpPr>
        <p:spPr>
          <a:xfrm>
            <a:off x="2772000" y="6210000"/>
            <a:ext cx="2268000" cy="396000"/>
          </a:xfrm>
        </p:spPr>
        <p:txBody>
          <a:bodyPr anchor="ctr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10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ru-RU" dirty="0" smtClean="0"/>
              <a:t>Управление и Отдел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9988792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gallery dir="l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31778" y="306698"/>
            <a:ext cx="6742113" cy="739775"/>
          </a:xfrm>
          <a:prstGeom prst="rect">
            <a:avLst/>
          </a:prstGeom>
        </p:spPr>
        <p:txBody>
          <a:bodyPr lIns="91243" tIns="45622" rIns="91243" bIns="45622"/>
          <a:lstStyle>
            <a:lvl1pPr>
              <a:defRPr sz="2500"/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15" name="Rectangle 4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EFF660B-5916-42E2-9D88-953A3CB16BD3}" type="slidenum">
              <a:rPr lang="en-US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008756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gallery dir="l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Основн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414000" y="1638000"/>
            <a:ext cx="8316000" cy="4467600"/>
          </a:xfrm>
        </p:spPr>
        <p:txBody>
          <a:bodyPr/>
          <a:lstStyle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de-DE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4"/>
          </p:nvPr>
        </p:nvSpPr>
        <p:spPr>
          <a:xfrm>
            <a:off x="8665706" y="6526188"/>
            <a:ext cx="402094" cy="217518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chemeClr val="bg1"/>
                </a:solidFill>
                <a:latin typeface="+mj-lt"/>
              </a:defRPr>
            </a:lvl1pPr>
          </a:lstStyle>
          <a:p>
            <a:fld id="{8E141AF1-466E-4D9F-B74C-45FFEB47CA13}" type="slidenum">
              <a:rPr lang="de-DE" smtClean="0">
                <a:solidFill>
                  <a:srgbClr val="FFFFFF"/>
                </a:solidFill>
              </a:rPr>
              <a:pPr/>
              <a:t>‹#›</a:t>
            </a:fld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1652954" y="1"/>
            <a:ext cx="7220702" cy="897162"/>
          </a:xfrm>
          <a:prstGeom prst="rect">
            <a:avLst/>
          </a:prstGeom>
          <a:ln/>
          <a:effectLst>
            <a:outerShdw dist="17961" dir="2700000" algn="ctr" rotWithShape="0">
              <a:srgbClr val="FFFFFF"/>
            </a:outerShdw>
          </a:effectLst>
        </p:spPr>
        <p:txBody>
          <a:bodyPr lIns="91243" tIns="45622" rIns="91243" bIns="45622" anchor="ctr"/>
          <a:lstStyle>
            <a:lvl1pPr>
              <a:defRPr kumimoji="1" lang="ru-RU" sz="1700" kern="1200">
                <a:solidFill>
                  <a:srgbClr val="016EB3"/>
                </a:solidFill>
              </a:defRPr>
            </a:lvl1pPr>
          </a:lstStyle>
          <a:p>
            <a:pPr lvl="0" defTabSz="819005"/>
            <a:r>
              <a:rPr lang="ru-RU" smtClean="0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0376509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gallery dir="l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31778" y="123825"/>
            <a:ext cx="6742113" cy="657225"/>
          </a:xfrm>
          <a:prstGeom prst="rect">
            <a:avLst/>
          </a:prstGeom>
        </p:spPr>
        <p:txBody>
          <a:bodyPr lIns="91243" tIns="45622" rIns="91243" bIns="45622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715E4BD-578A-4F4A-9E92-1B4DB10B5101}" type="slidenum">
              <a:rPr lang="en-US">
                <a:solidFill>
                  <a:srgbClr val="A0A1A6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A0A1A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612363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gallery dir="l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Основн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414000" y="1638000"/>
            <a:ext cx="8316000" cy="4467600"/>
          </a:xfrm>
        </p:spPr>
        <p:txBody>
          <a:bodyPr/>
          <a:lstStyle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de-DE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4"/>
          </p:nvPr>
        </p:nvSpPr>
        <p:spPr>
          <a:xfrm>
            <a:off x="8665706" y="6526188"/>
            <a:ext cx="402094" cy="217518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chemeClr val="bg1"/>
                </a:solidFill>
                <a:latin typeface="+mj-lt"/>
              </a:defRPr>
            </a:lvl1pPr>
          </a:lstStyle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1652954" y="1"/>
            <a:ext cx="7220702" cy="897162"/>
          </a:xfrm>
          <a:prstGeom prst="rect">
            <a:avLst/>
          </a:prstGeom>
          <a:ln/>
          <a:effectLst>
            <a:outerShdw dist="17961" dir="2700000" algn="ctr" rotWithShape="0">
              <a:srgbClr val="FFFFFF"/>
            </a:outerShdw>
          </a:effectLst>
        </p:spPr>
        <p:txBody>
          <a:bodyPr lIns="91243" tIns="45622" rIns="91243" bIns="45622" anchor="ctr"/>
          <a:lstStyle>
            <a:lvl1pPr>
              <a:defRPr kumimoji="1" lang="ru-RU" sz="1700" kern="1200">
                <a:solidFill>
                  <a:srgbClr val="016EB3"/>
                </a:solidFill>
              </a:defRPr>
            </a:lvl1pPr>
          </a:lstStyle>
          <a:p>
            <a:pPr lvl="0" defTabSz="819005"/>
            <a:r>
              <a:rPr lang="ru-RU" smtClean="0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674132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gallery dir="l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Основн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lide Number Placeholder 8"/>
          <p:cNvSpPr>
            <a:spLocks noGrp="1"/>
          </p:cNvSpPr>
          <p:nvPr>
            <p:ph type="sldNum" sz="quarter" idx="14"/>
          </p:nvPr>
        </p:nvSpPr>
        <p:spPr>
          <a:xfrm>
            <a:off x="8665706" y="6526188"/>
            <a:ext cx="402094" cy="217518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chemeClr val="bg1"/>
                </a:solidFill>
                <a:latin typeface="+mj-lt"/>
              </a:defRPr>
            </a:lvl1pPr>
          </a:lstStyle>
          <a:p>
            <a:fld id="{8E141AF1-466E-4D9F-B74C-45FFEB47CA13}" type="slidenum">
              <a:rPr lang="de-DE" smtClean="0">
                <a:solidFill>
                  <a:srgbClr val="FFFFFF"/>
                </a:solidFill>
              </a:rPr>
              <a:pPr/>
              <a:t>‹#›</a:t>
            </a:fld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261257" y="1"/>
            <a:ext cx="8612399" cy="897162"/>
          </a:xfrm>
          <a:prstGeom prst="rect">
            <a:avLst/>
          </a:prstGeom>
          <a:ln/>
          <a:effectLst>
            <a:outerShdw dist="17961" dir="2700000" algn="ctr" rotWithShape="0">
              <a:srgbClr val="FFFFFF"/>
            </a:outerShdw>
          </a:effectLst>
        </p:spPr>
        <p:txBody>
          <a:bodyPr lIns="91243" tIns="45622" rIns="91243" bIns="45622" anchor="ctr"/>
          <a:lstStyle>
            <a:lvl1pPr>
              <a:defRPr kumimoji="1" lang="ru-RU" sz="1800" kern="1200">
                <a:solidFill>
                  <a:srgbClr val="016EB3"/>
                </a:solidFill>
              </a:defRPr>
            </a:lvl1pPr>
          </a:lstStyle>
          <a:p>
            <a:pPr lvl="0" defTabSz="819005"/>
            <a:r>
              <a:rPr lang="ru-RU" dirty="0" smtClean="0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1989059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gallery dir="l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07266" name="Rectangle 2"/>
          <p:cNvSpPr>
            <a:spLocks noGrp="1" noChangeArrowheads="1"/>
          </p:cNvSpPr>
          <p:nvPr>
            <p:ph type="subTitle" idx="1"/>
          </p:nvPr>
        </p:nvSpPr>
        <p:spPr>
          <a:xfrm>
            <a:off x="2935489" y="5737238"/>
            <a:ext cx="5522912" cy="270843"/>
          </a:xfrm>
          <a:effectLst>
            <a:outerShdw dist="17961" dir="2700000" algn="ctr" rotWithShape="0">
              <a:srgbClr val="FFFFFF"/>
            </a:outerShdw>
          </a:effectLst>
        </p:spPr>
        <p:txBody>
          <a:bodyPr>
            <a:spAutoFit/>
          </a:bodyPr>
          <a:lstStyle>
            <a:lvl1pPr marL="0" indent="0" algn="r" defTabSz="818854">
              <a:spcBef>
                <a:spcPct val="0"/>
              </a:spcBef>
              <a:buClrTx/>
              <a:buFontTx/>
              <a:buNone/>
              <a:defRPr sz="1600">
                <a:solidFill>
                  <a:schemeClr val="tx2"/>
                </a:solidFill>
              </a:defRPr>
            </a:lvl1pPr>
          </a:lstStyle>
          <a:p>
            <a:r>
              <a:rPr lang="ru-RU" smtClean="0"/>
              <a:t>Образец подзаголовка</a:t>
            </a:r>
            <a:endParaRPr lang="en-US" dirty="0"/>
          </a:p>
        </p:txBody>
      </p:sp>
      <p:sp>
        <p:nvSpPr>
          <p:cNvPr id="907267" name="Rectangle 3"/>
          <p:cNvSpPr>
            <a:spLocks noGrp="1" noChangeArrowheads="1"/>
          </p:cNvSpPr>
          <p:nvPr>
            <p:ph type="ctrTitle" sz="quarter"/>
          </p:nvPr>
        </p:nvSpPr>
        <p:spPr>
          <a:xfrm>
            <a:off x="3032589" y="5183213"/>
            <a:ext cx="5522912" cy="452437"/>
          </a:xfrm>
          <a:prstGeom prst="rect">
            <a:avLst/>
          </a:prstGeom>
          <a:ln/>
          <a:effectLst>
            <a:outerShdw dist="17961" dir="2700000" algn="ctr" rotWithShape="0">
              <a:srgbClr val="FFFFFF"/>
            </a:outerShdw>
          </a:effectLst>
        </p:spPr>
        <p:txBody>
          <a:bodyPr lIns="91227" tIns="45613" rIns="91227" bIns="45613" anchor="b"/>
          <a:lstStyle>
            <a:lvl1pPr algn="r" defTabSz="818854">
              <a:defRPr sz="2400">
                <a:solidFill>
                  <a:schemeClr val="tx2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en-US"/>
          </a:p>
        </p:txBody>
      </p:sp>
      <p:pic>
        <p:nvPicPr>
          <p:cNvPr id="2" name="Рисунок 1"/>
          <p:cNvPicPr>
            <a:picLocks noChangeAspect="1"/>
          </p:cNvPicPr>
          <p:nvPr userDrawn="1"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2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0710" y="505803"/>
            <a:ext cx="5230821" cy="3804234"/>
          </a:xfrm>
          <a:prstGeom prst="rect">
            <a:avLst/>
          </a:prstGeom>
        </p:spPr>
      </p:pic>
      <p:pic>
        <p:nvPicPr>
          <p:cNvPr id="7" name="Picture 2"/>
          <p:cNvPicPr>
            <a:picLocks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68002" y="3096000"/>
            <a:ext cx="3564000" cy="2066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829110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gallery dir="l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Основн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414000" y="1638000"/>
            <a:ext cx="8316000" cy="4467600"/>
          </a:xfrm>
        </p:spPr>
        <p:txBody>
          <a:bodyPr/>
          <a:lstStyle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de-DE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4"/>
          </p:nvPr>
        </p:nvSpPr>
        <p:spPr>
          <a:xfrm>
            <a:off x="8665706" y="6526188"/>
            <a:ext cx="402094" cy="217518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chemeClr val="bg1"/>
                </a:solidFill>
                <a:latin typeface="+mj-lt"/>
              </a:defRPr>
            </a:lvl1pPr>
          </a:lstStyle>
          <a:p>
            <a:fld id="{8E141AF1-466E-4D9F-B74C-45FFEB47CA13}" type="slidenum">
              <a:rPr lang="de-DE" smtClean="0">
                <a:solidFill>
                  <a:srgbClr val="FFFFFF"/>
                </a:solidFill>
              </a:rPr>
              <a:pPr/>
              <a:t>‹#›</a:t>
            </a:fld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1652954" y="1"/>
            <a:ext cx="7220702" cy="897162"/>
          </a:xfrm>
          <a:prstGeom prst="rect">
            <a:avLst/>
          </a:prstGeom>
          <a:ln/>
          <a:effectLst>
            <a:outerShdw dist="17961" dir="2700000" algn="ctr" rotWithShape="0">
              <a:srgbClr val="FFFFFF"/>
            </a:outerShdw>
          </a:effectLst>
        </p:spPr>
        <p:txBody>
          <a:bodyPr lIns="91227" tIns="45613" rIns="91227" bIns="45613" anchor="ctr"/>
          <a:lstStyle>
            <a:lvl1pPr>
              <a:defRPr kumimoji="1" lang="ru-RU" sz="1700" kern="1200">
                <a:solidFill>
                  <a:srgbClr val="016EB3"/>
                </a:solidFill>
              </a:defRPr>
            </a:lvl1pPr>
          </a:lstStyle>
          <a:p>
            <a:pPr lvl="0" defTabSz="818854"/>
            <a:r>
              <a:rPr lang="ru-RU" smtClean="0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7521444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gallery dir="l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 userDrawn="1"/>
        </p:nvSpPr>
        <p:spPr bwMode="auto">
          <a:xfrm>
            <a:off x="8660610" y="6374606"/>
            <a:ext cx="478632" cy="389746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227" tIns="45613" rIns="91227" bIns="45613" numCol="1" rtlCol="0" anchor="t" anchorCtr="0" compatLnSpc="1">
            <a:prstTxWarp prst="textNoShape">
              <a:avLst/>
            </a:prstTxWarp>
          </a:bodyPr>
          <a:lstStyle/>
          <a:p>
            <a:pPr defTabSz="910706" fontAlgn="base">
              <a:spcBef>
                <a:spcPct val="50000"/>
              </a:spcBef>
              <a:spcAft>
                <a:spcPct val="0"/>
              </a:spcAft>
            </a:pPr>
            <a:endParaRPr kumimoji="1" lang="ru-RU" sz="1000" smtClean="0">
              <a:solidFill>
                <a:srgbClr val="00294F"/>
              </a:solidFill>
              <a:latin typeface="Tahoma" pitchFamily="34" charset="0"/>
              <a:ea typeface="PMingLiU" pitchFamily="18" charset="-120"/>
            </a:endParaRPr>
          </a:p>
        </p:txBody>
      </p:sp>
    </p:spTree>
    <p:extLst>
      <p:ext uri="{BB962C8B-B14F-4D97-AF65-F5344CB8AC3E}">
        <p14:creationId xmlns:p14="http://schemas.microsoft.com/office/powerpoint/2010/main" val="11964477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gallery dir="l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лайд &quot;Спасибо!&quot;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Line 27"/>
          <p:cNvSpPr>
            <a:spLocks noChangeShapeType="1"/>
          </p:cNvSpPr>
          <p:nvPr userDrawn="1"/>
        </p:nvSpPr>
        <p:spPr bwMode="auto">
          <a:xfrm>
            <a:off x="252000" y="5940000"/>
            <a:ext cx="8640000" cy="0"/>
          </a:xfrm>
          <a:prstGeom prst="line">
            <a:avLst/>
          </a:prstGeom>
          <a:noFill/>
          <a:ln w="28575">
            <a:solidFill>
              <a:srgbClr val="016EB3"/>
            </a:solidFill>
            <a:round/>
            <a:headEnd/>
            <a:tailEnd/>
          </a:ln>
          <a:effectLst/>
        </p:spPr>
        <p:txBody>
          <a:bodyPr wrap="none" lIns="91227" tIns="45613" rIns="91227" bIns="45613"/>
          <a:lstStyle/>
          <a:p>
            <a:pPr defTabSz="910706" fontAlgn="base">
              <a:spcBef>
                <a:spcPct val="50000"/>
              </a:spcBef>
              <a:spcAft>
                <a:spcPct val="0"/>
              </a:spcAft>
              <a:defRPr/>
            </a:pPr>
            <a:endParaRPr kumimoji="1" lang="ru-RU" sz="1000" dirty="0">
              <a:solidFill>
                <a:srgbClr val="002766"/>
              </a:solidFill>
              <a:latin typeface="Tahoma" pitchFamily="34" charset="0"/>
              <a:ea typeface="PMingLiU" pitchFamily="18" charset="-120"/>
            </a:endParaRPr>
          </a:p>
        </p:txBody>
      </p:sp>
      <p:sp>
        <p:nvSpPr>
          <p:cNvPr id="9" name="Прямоугольник 8"/>
          <p:cNvSpPr/>
          <p:nvPr userDrawn="1"/>
        </p:nvSpPr>
        <p:spPr bwMode="auto">
          <a:xfrm>
            <a:off x="252000" y="190525"/>
            <a:ext cx="1623692" cy="606669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227" tIns="45613" rIns="91227" bIns="45613" numCol="1" rtlCol="0" anchor="t" anchorCtr="0" compatLnSpc="1">
            <a:prstTxWarp prst="textNoShape">
              <a:avLst/>
            </a:prstTxWarp>
          </a:bodyPr>
          <a:lstStyle/>
          <a:p>
            <a:pPr defTabSz="910706" fontAlgn="base">
              <a:spcBef>
                <a:spcPct val="50000"/>
              </a:spcBef>
              <a:spcAft>
                <a:spcPct val="0"/>
              </a:spcAft>
            </a:pPr>
            <a:endParaRPr kumimoji="1" lang="ru-RU" sz="1000" smtClean="0">
              <a:solidFill>
                <a:srgbClr val="00294F"/>
              </a:solidFill>
              <a:latin typeface="Tahoma" pitchFamily="34" charset="0"/>
              <a:ea typeface="PMingLiU" pitchFamily="18" charset="-120"/>
            </a:endParaRPr>
          </a:p>
        </p:txBody>
      </p:sp>
      <p:sp>
        <p:nvSpPr>
          <p:cNvPr id="10" name="Прямоугольник 9"/>
          <p:cNvSpPr/>
          <p:nvPr userDrawn="1"/>
        </p:nvSpPr>
        <p:spPr bwMode="auto">
          <a:xfrm>
            <a:off x="8429206" y="6327669"/>
            <a:ext cx="708444" cy="504825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227" tIns="45613" rIns="91227" bIns="45613" numCol="1" rtlCol="0" anchor="t" anchorCtr="0" compatLnSpc="1">
            <a:prstTxWarp prst="textNoShape">
              <a:avLst/>
            </a:prstTxWarp>
          </a:bodyPr>
          <a:lstStyle/>
          <a:p>
            <a:pPr defTabSz="910706" fontAlgn="base">
              <a:spcBef>
                <a:spcPct val="50000"/>
              </a:spcBef>
              <a:spcAft>
                <a:spcPct val="0"/>
              </a:spcAft>
            </a:pPr>
            <a:endParaRPr kumimoji="1" lang="ru-RU" sz="1000" smtClean="0">
              <a:solidFill>
                <a:srgbClr val="00294F"/>
              </a:solidFill>
              <a:latin typeface="Tahoma" pitchFamily="34" charset="0"/>
              <a:ea typeface="PMingLiU" pitchFamily="18" charset="-120"/>
            </a:endParaRPr>
          </a:p>
        </p:txBody>
      </p:sp>
      <p:sp>
        <p:nvSpPr>
          <p:cNvPr id="18" name="Текст 3"/>
          <p:cNvSpPr>
            <a:spLocks noGrp="1"/>
          </p:cNvSpPr>
          <p:nvPr>
            <p:ph type="body" sz="half" idx="10" hasCustomPrompt="1"/>
          </p:nvPr>
        </p:nvSpPr>
        <p:spPr>
          <a:xfrm>
            <a:off x="7200000" y="6210000"/>
            <a:ext cx="1656000" cy="396000"/>
          </a:xfrm>
        </p:spPr>
        <p:txBody>
          <a:bodyPr anchor="ctr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100">
                <a:solidFill>
                  <a:schemeClr val="tx2"/>
                </a:solidFill>
              </a:defRPr>
            </a:lvl1pPr>
            <a:lvl2pPr marL="456150" indent="0">
              <a:buNone/>
              <a:defRPr sz="1200"/>
            </a:lvl2pPr>
            <a:lvl3pPr marL="912300" indent="0">
              <a:buNone/>
              <a:defRPr sz="1000"/>
            </a:lvl3pPr>
            <a:lvl4pPr marL="1368448" indent="0">
              <a:buNone/>
              <a:defRPr sz="900"/>
            </a:lvl4pPr>
            <a:lvl5pPr marL="1824599" indent="0">
              <a:buNone/>
              <a:defRPr sz="900"/>
            </a:lvl5pPr>
            <a:lvl6pPr marL="2280748" indent="0">
              <a:buNone/>
              <a:defRPr sz="900"/>
            </a:lvl6pPr>
            <a:lvl7pPr marL="2736891" indent="0">
              <a:buNone/>
              <a:defRPr sz="900"/>
            </a:lvl7pPr>
            <a:lvl8pPr marL="3193047" indent="0">
              <a:buNone/>
              <a:defRPr sz="900"/>
            </a:lvl8pPr>
            <a:lvl9pPr marL="3649197" indent="0">
              <a:buNone/>
              <a:defRPr sz="900"/>
            </a:lvl9pPr>
          </a:lstStyle>
          <a:p>
            <a:pPr lvl="0"/>
            <a:r>
              <a:rPr lang="ru-RU" dirty="0" smtClean="0"/>
              <a:t>Телефон и </a:t>
            </a:r>
            <a:r>
              <a:rPr lang="en-US" dirty="0" smtClean="0"/>
              <a:t>e-mail</a:t>
            </a:r>
          </a:p>
        </p:txBody>
      </p:sp>
      <p:sp>
        <p:nvSpPr>
          <p:cNvPr id="21" name="Текст 3"/>
          <p:cNvSpPr>
            <a:spLocks noGrp="1"/>
          </p:cNvSpPr>
          <p:nvPr>
            <p:ph type="body" sz="half" idx="12" hasCustomPrompt="1"/>
          </p:nvPr>
        </p:nvSpPr>
        <p:spPr>
          <a:xfrm>
            <a:off x="2088000" y="3096000"/>
            <a:ext cx="4932000" cy="648000"/>
          </a:xfrm>
        </p:spPr>
        <p:txBody>
          <a:bodyPr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buNone/>
              <a:defRPr sz="3600">
                <a:solidFill>
                  <a:srgbClr val="016EB3"/>
                </a:solidFill>
              </a:defRPr>
            </a:lvl1pPr>
            <a:lvl2pPr marL="456150" indent="0">
              <a:buNone/>
              <a:defRPr sz="1200"/>
            </a:lvl2pPr>
            <a:lvl3pPr marL="912300" indent="0">
              <a:buNone/>
              <a:defRPr sz="1000"/>
            </a:lvl3pPr>
            <a:lvl4pPr marL="1368448" indent="0">
              <a:buNone/>
              <a:defRPr sz="900"/>
            </a:lvl4pPr>
            <a:lvl5pPr marL="1824599" indent="0">
              <a:buNone/>
              <a:defRPr sz="900"/>
            </a:lvl5pPr>
            <a:lvl6pPr marL="2280748" indent="0">
              <a:buNone/>
              <a:defRPr sz="900"/>
            </a:lvl6pPr>
            <a:lvl7pPr marL="2736891" indent="0">
              <a:buNone/>
              <a:defRPr sz="900"/>
            </a:lvl7pPr>
            <a:lvl8pPr marL="3193047" indent="0">
              <a:buNone/>
              <a:defRPr sz="900"/>
            </a:lvl8pPr>
            <a:lvl9pPr marL="3649197" indent="0">
              <a:buNone/>
              <a:defRPr sz="900"/>
            </a:lvl9pPr>
          </a:lstStyle>
          <a:p>
            <a:pPr lvl="0"/>
            <a:r>
              <a:rPr lang="ru-RU" dirty="0" smtClean="0"/>
              <a:t>Спасибо! / </a:t>
            </a:r>
            <a:r>
              <a:rPr lang="en-US" dirty="0" smtClean="0"/>
              <a:t>Thank you!</a:t>
            </a:r>
          </a:p>
        </p:txBody>
      </p:sp>
      <p:sp>
        <p:nvSpPr>
          <p:cNvPr id="28" name="Текст 27"/>
          <p:cNvSpPr>
            <a:spLocks noGrp="1"/>
          </p:cNvSpPr>
          <p:nvPr>
            <p:ph type="body" sz="quarter" idx="14" hasCustomPrompt="1"/>
          </p:nvPr>
        </p:nvSpPr>
        <p:spPr>
          <a:xfrm>
            <a:off x="5112000" y="6210000"/>
            <a:ext cx="2016000" cy="396000"/>
          </a:xfrm>
        </p:spPr>
        <p:txBody>
          <a:bodyPr anchor="ctr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10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ru-RU" dirty="0" smtClean="0"/>
              <a:t>Адрес компании</a:t>
            </a:r>
            <a:endParaRPr lang="ru-RU" dirty="0"/>
          </a:p>
        </p:txBody>
      </p:sp>
      <p:sp>
        <p:nvSpPr>
          <p:cNvPr id="30" name="Текст 29"/>
          <p:cNvSpPr>
            <a:spLocks noGrp="1"/>
          </p:cNvSpPr>
          <p:nvPr>
            <p:ph type="body" sz="quarter" idx="15" hasCustomPrompt="1"/>
          </p:nvPr>
        </p:nvSpPr>
        <p:spPr>
          <a:xfrm>
            <a:off x="2772000" y="6210000"/>
            <a:ext cx="2268000" cy="396000"/>
          </a:xfrm>
        </p:spPr>
        <p:txBody>
          <a:bodyPr anchor="ctr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10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ru-RU" dirty="0" smtClean="0"/>
              <a:t>Управление и Отдел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4303631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gallery dir="l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31778" y="306700"/>
            <a:ext cx="6742113" cy="739775"/>
          </a:xfrm>
          <a:prstGeom prst="rect">
            <a:avLst/>
          </a:prstGeom>
        </p:spPr>
        <p:txBody>
          <a:bodyPr lIns="91227" tIns="45613" rIns="91227" bIns="45613"/>
          <a:lstStyle>
            <a:lvl1pPr>
              <a:defRPr sz="2500"/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15" name="Rectangle 4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EFF660B-5916-42E2-9D88-953A3CB16BD3}" type="slidenum">
              <a:rPr lang="en-US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575332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gallery dir="l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Основн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414000" y="1638000"/>
            <a:ext cx="8316000" cy="4467600"/>
          </a:xfrm>
        </p:spPr>
        <p:txBody>
          <a:bodyPr/>
          <a:lstStyle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de-DE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4"/>
          </p:nvPr>
        </p:nvSpPr>
        <p:spPr>
          <a:xfrm>
            <a:off x="8665706" y="6526188"/>
            <a:ext cx="402094" cy="217518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chemeClr val="bg1"/>
                </a:solidFill>
                <a:latin typeface="+mj-lt"/>
              </a:defRPr>
            </a:lvl1pPr>
          </a:lstStyle>
          <a:p>
            <a:fld id="{8E141AF1-466E-4D9F-B74C-45FFEB47CA13}" type="slidenum">
              <a:rPr lang="de-DE" smtClean="0">
                <a:solidFill>
                  <a:srgbClr val="FFFFFF"/>
                </a:solidFill>
              </a:rPr>
              <a:pPr/>
              <a:t>‹#›</a:t>
            </a:fld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1652954" y="1"/>
            <a:ext cx="7220702" cy="897162"/>
          </a:xfrm>
          <a:prstGeom prst="rect">
            <a:avLst/>
          </a:prstGeom>
          <a:ln/>
          <a:effectLst>
            <a:outerShdw dist="17961" dir="2700000" algn="ctr" rotWithShape="0">
              <a:srgbClr val="FFFFFF"/>
            </a:outerShdw>
          </a:effectLst>
        </p:spPr>
        <p:txBody>
          <a:bodyPr lIns="91227" tIns="45613" rIns="91227" bIns="45613" anchor="ctr"/>
          <a:lstStyle>
            <a:lvl1pPr>
              <a:defRPr kumimoji="1" lang="ru-RU" sz="1700" kern="1200">
                <a:solidFill>
                  <a:srgbClr val="016EB3"/>
                </a:solidFill>
              </a:defRPr>
            </a:lvl1pPr>
          </a:lstStyle>
          <a:p>
            <a:pPr lvl="0" defTabSz="818854"/>
            <a:r>
              <a:rPr lang="ru-RU" smtClean="0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5623446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gallery dir="l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31778" y="123825"/>
            <a:ext cx="6742113" cy="657225"/>
          </a:xfrm>
          <a:prstGeom prst="rect">
            <a:avLst/>
          </a:prstGeom>
        </p:spPr>
        <p:txBody>
          <a:bodyPr lIns="91227" tIns="45613" rIns="91227" bIns="45613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715E4BD-578A-4F4A-9E92-1B4DB10B5101}" type="slidenum">
              <a:rPr lang="en-US">
                <a:solidFill>
                  <a:srgbClr val="A0A1A6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A0A1A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397876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gallery dir="l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07266" name="Rectangle 2"/>
          <p:cNvSpPr>
            <a:spLocks noGrp="1" noChangeArrowheads="1"/>
          </p:cNvSpPr>
          <p:nvPr>
            <p:ph type="subTitle" idx="1"/>
          </p:nvPr>
        </p:nvSpPr>
        <p:spPr>
          <a:xfrm>
            <a:off x="2935489" y="5737238"/>
            <a:ext cx="5522912" cy="270843"/>
          </a:xfrm>
          <a:effectLst>
            <a:outerShdw dist="17961" dir="2700000" algn="ctr" rotWithShape="0">
              <a:srgbClr val="FFFFFF"/>
            </a:outerShdw>
          </a:effectLst>
        </p:spPr>
        <p:txBody>
          <a:bodyPr>
            <a:spAutoFit/>
          </a:bodyPr>
          <a:lstStyle>
            <a:lvl1pPr marL="0" indent="0" algn="r" defTabSz="818854">
              <a:spcBef>
                <a:spcPct val="0"/>
              </a:spcBef>
              <a:buClrTx/>
              <a:buFontTx/>
              <a:buNone/>
              <a:defRPr sz="1600">
                <a:solidFill>
                  <a:schemeClr val="tx2"/>
                </a:solidFill>
              </a:defRPr>
            </a:lvl1pPr>
          </a:lstStyle>
          <a:p>
            <a:r>
              <a:rPr lang="ru-RU" smtClean="0"/>
              <a:t>Образец подзаголовка</a:t>
            </a:r>
            <a:endParaRPr lang="en-US" dirty="0"/>
          </a:p>
        </p:txBody>
      </p:sp>
      <p:sp>
        <p:nvSpPr>
          <p:cNvPr id="907267" name="Rectangle 3"/>
          <p:cNvSpPr>
            <a:spLocks noGrp="1" noChangeArrowheads="1"/>
          </p:cNvSpPr>
          <p:nvPr>
            <p:ph type="ctrTitle" sz="quarter"/>
          </p:nvPr>
        </p:nvSpPr>
        <p:spPr>
          <a:xfrm>
            <a:off x="3032589" y="5183213"/>
            <a:ext cx="5522912" cy="452437"/>
          </a:xfrm>
          <a:prstGeom prst="rect">
            <a:avLst/>
          </a:prstGeom>
          <a:ln/>
          <a:effectLst>
            <a:outerShdw dist="17961" dir="2700000" algn="ctr" rotWithShape="0">
              <a:srgbClr val="FFFFFF"/>
            </a:outerShdw>
          </a:effectLst>
        </p:spPr>
        <p:txBody>
          <a:bodyPr lIns="91227" tIns="45613" rIns="91227" bIns="45613" anchor="b"/>
          <a:lstStyle>
            <a:lvl1pPr algn="r" defTabSz="818854">
              <a:defRPr sz="2400">
                <a:solidFill>
                  <a:schemeClr val="tx2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en-US"/>
          </a:p>
        </p:txBody>
      </p:sp>
      <p:pic>
        <p:nvPicPr>
          <p:cNvPr id="2" name="Рисунок 1"/>
          <p:cNvPicPr>
            <a:picLocks noChangeAspect="1"/>
          </p:cNvPicPr>
          <p:nvPr userDrawn="1"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2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0710" y="505803"/>
            <a:ext cx="5230821" cy="3804234"/>
          </a:xfrm>
          <a:prstGeom prst="rect">
            <a:avLst/>
          </a:prstGeom>
        </p:spPr>
      </p:pic>
      <p:pic>
        <p:nvPicPr>
          <p:cNvPr id="7" name="Picture 2"/>
          <p:cNvPicPr>
            <a:picLocks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68002" y="3096000"/>
            <a:ext cx="3564000" cy="2066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0990498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gallery dir="l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Основн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414000" y="1638000"/>
            <a:ext cx="8316000" cy="4467600"/>
          </a:xfrm>
        </p:spPr>
        <p:txBody>
          <a:bodyPr/>
          <a:lstStyle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de-DE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4"/>
          </p:nvPr>
        </p:nvSpPr>
        <p:spPr>
          <a:xfrm>
            <a:off x="8665706" y="6526188"/>
            <a:ext cx="402094" cy="217518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chemeClr val="bg1"/>
                </a:solidFill>
                <a:latin typeface="+mj-lt"/>
              </a:defRPr>
            </a:lvl1pPr>
          </a:lstStyle>
          <a:p>
            <a:fld id="{8E141AF1-466E-4D9F-B74C-45FFEB47CA13}" type="slidenum">
              <a:rPr lang="de-DE" smtClean="0">
                <a:solidFill>
                  <a:srgbClr val="FFFFFF"/>
                </a:solidFill>
              </a:rPr>
              <a:pPr/>
              <a:t>‹#›</a:t>
            </a:fld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1652954" y="1"/>
            <a:ext cx="7220702" cy="897162"/>
          </a:xfrm>
          <a:prstGeom prst="rect">
            <a:avLst/>
          </a:prstGeom>
          <a:ln/>
          <a:effectLst>
            <a:outerShdw dist="17961" dir="2700000" algn="ctr" rotWithShape="0">
              <a:srgbClr val="FFFFFF"/>
            </a:outerShdw>
          </a:effectLst>
        </p:spPr>
        <p:txBody>
          <a:bodyPr lIns="91227" tIns="45613" rIns="91227" bIns="45613" anchor="ctr"/>
          <a:lstStyle>
            <a:lvl1pPr>
              <a:defRPr kumimoji="1" lang="ru-RU" sz="1700" kern="1200">
                <a:solidFill>
                  <a:srgbClr val="016EB3"/>
                </a:solidFill>
              </a:defRPr>
            </a:lvl1pPr>
          </a:lstStyle>
          <a:p>
            <a:pPr lvl="0" defTabSz="818854"/>
            <a:r>
              <a:rPr lang="ru-RU" smtClean="0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6486185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gallery dir="l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and 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475200" y="1638000"/>
            <a:ext cx="8150400" cy="4467600"/>
          </a:xfrm>
        </p:spPr>
        <p:txBody>
          <a:bodyPr/>
          <a:lstStyle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de-DE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4"/>
          </p:nvPr>
        </p:nvSpPr>
        <p:spPr>
          <a:xfrm>
            <a:off x="8681892" y="6519691"/>
            <a:ext cx="402094" cy="217518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chemeClr val="bg1"/>
                </a:solidFill>
                <a:latin typeface="+mj-lt"/>
              </a:defRPr>
            </a:lvl1pPr>
          </a:lstStyle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254001" y="285772"/>
            <a:ext cx="8613774" cy="611413"/>
          </a:xfrm>
          <a:prstGeom prst="rect">
            <a:avLst/>
          </a:prstGeom>
          <a:ln/>
          <a:effectLst>
            <a:outerShdw dist="17961" dir="2700000" algn="ctr" rotWithShape="0">
              <a:srgbClr val="FFFFFF"/>
            </a:outerShdw>
          </a:effectLst>
        </p:spPr>
        <p:txBody>
          <a:bodyPr lIns="91243" tIns="45622" rIns="91243" bIns="45622" anchor="ctr"/>
          <a:lstStyle>
            <a:lvl1pPr>
              <a:defRPr kumimoji="1" lang="ru-RU" sz="1800" kern="1200">
                <a:solidFill>
                  <a:srgbClr val="016EB3"/>
                </a:solidFill>
              </a:defRPr>
            </a:lvl1pPr>
          </a:lstStyle>
          <a:p>
            <a:pPr lvl="0" defTabSz="819005"/>
            <a:r>
              <a:rPr lang="ru-RU" smtClean="0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239744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gallery dir="l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 userDrawn="1"/>
        </p:nvSpPr>
        <p:spPr bwMode="auto">
          <a:xfrm>
            <a:off x="8660610" y="6374606"/>
            <a:ext cx="478632" cy="389746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227" tIns="45613" rIns="91227" bIns="45613" numCol="1" rtlCol="0" anchor="t" anchorCtr="0" compatLnSpc="1">
            <a:prstTxWarp prst="textNoShape">
              <a:avLst/>
            </a:prstTxWarp>
          </a:bodyPr>
          <a:lstStyle/>
          <a:p>
            <a:pPr defTabSz="910706" fontAlgn="base">
              <a:spcBef>
                <a:spcPct val="50000"/>
              </a:spcBef>
              <a:spcAft>
                <a:spcPct val="0"/>
              </a:spcAft>
            </a:pPr>
            <a:endParaRPr kumimoji="1" lang="ru-RU" sz="1000" smtClean="0">
              <a:solidFill>
                <a:srgbClr val="00294F"/>
              </a:solidFill>
              <a:latin typeface="Tahoma" pitchFamily="34" charset="0"/>
              <a:ea typeface="PMingLiU" pitchFamily="18" charset="-120"/>
            </a:endParaRPr>
          </a:p>
        </p:txBody>
      </p:sp>
    </p:spTree>
    <p:extLst>
      <p:ext uri="{BB962C8B-B14F-4D97-AF65-F5344CB8AC3E}">
        <p14:creationId xmlns:p14="http://schemas.microsoft.com/office/powerpoint/2010/main" val="22098021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gallery dir="l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лайд &quot;Спасибо!&quot;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Line 27"/>
          <p:cNvSpPr>
            <a:spLocks noChangeShapeType="1"/>
          </p:cNvSpPr>
          <p:nvPr userDrawn="1"/>
        </p:nvSpPr>
        <p:spPr bwMode="auto">
          <a:xfrm>
            <a:off x="252000" y="5940000"/>
            <a:ext cx="8640000" cy="0"/>
          </a:xfrm>
          <a:prstGeom prst="line">
            <a:avLst/>
          </a:prstGeom>
          <a:noFill/>
          <a:ln w="28575">
            <a:solidFill>
              <a:srgbClr val="016EB3"/>
            </a:solidFill>
            <a:round/>
            <a:headEnd/>
            <a:tailEnd/>
          </a:ln>
          <a:effectLst/>
        </p:spPr>
        <p:txBody>
          <a:bodyPr wrap="none" lIns="91227" tIns="45613" rIns="91227" bIns="45613"/>
          <a:lstStyle/>
          <a:p>
            <a:pPr defTabSz="910706" fontAlgn="base">
              <a:spcBef>
                <a:spcPct val="50000"/>
              </a:spcBef>
              <a:spcAft>
                <a:spcPct val="0"/>
              </a:spcAft>
              <a:defRPr/>
            </a:pPr>
            <a:endParaRPr kumimoji="1" lang="ru-RU" sz="1000" dirty="0">
              <a:solidFill>
                <a:srgbClr val="002766"/>
              </a:solidFill>
              <a:latin typeface="Tahoma" pitchFamily="34" charset="0"/>
              <a:ea typeface="PMingLiU" pitchFamily="18" charset="-120"/>
            </a:endParaRPr>
          </a:p>
        </p:txBody>
      </p:sp>
      <p:sp>
        <p:nvSpPr>
          <p:cNvPr id="9" name="Прямоугольник 8"/>
          <p:cNvSpPr/>
          <p:nvPr userDrawn="1"/>
        </p:nvSpPr>
        <p:spPr bwMode="auto">
          <a:xfrm>
            <a:off x="252000" y="190525"/>
            <a:ext cx="1623692" cy="606669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227" tIns="45613" rIns="91227" bIns="45613" numCol="1" rtlCol="0" anchor="t" anchorCtr="0" compatLnSpc="1">
            <a:prstTxWarp prst="textNoShape">
              <a:avLst/>
            </a:prstTxWarp>
          </a:bodyPr>
          <a:lstStyle/>
          <a:p>
            <a:pPr defTabSz="910706" fontAlgn="base">
              <a:spcBef>
                <a:spcPct val="50000"/>
              </a:spcBef>
              <a:spcAft>
                <a:spcPct val="0"/>
              </a:spcAft>
            </a:pPr>
            <a:endParaRPr kumimoji="1" lang="ru-RU" sz="1000" smtClean="0">
              <a:solidFill>
                <a:srgbClr val="00294F"/>
              </a:solidFill>
              <a:latin typeface="Tahoma" pitchFamily="34" charset="0"/>
              <a:ea typeface="PMingLiU" pitchFamily="18" charset="-120"/>
            </a:endParaRPr>
          </a:p>
        </p:txBody>
      </p:sp>
      <p:sp>
        <p:nvSpPr>
          <p:cNvPr id="10" name="Прямоугольник 9"/>
          <p:cNvSpPr/>
          <p:nvPr userDrawn="1"/>
        </p:nvSpPr>
        <p:spPr bwMode="auto">
          <a:xfrm>
            <a:off x="8429206" y="6327669"/>
            <a:ext cx="708444" cy="504825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227" tIns="45613" rIns="91227" bIns="45613" numCol="1" rtlCol="0" anchor="t" anchorCtr="0" compatLnSpc="1">
            <a:prstTxWarp prst="textNoShape">
              <a:avLst/>
            </a:prstTxWarp>
          </a:bodyPr>
          <a:lstStyle/>
          <a:p>
            <a:pPr defTabSz="910706" fontAlgn="base">
              <a:spcBef>
                <a:spcPct val="50000"/>
              </a:spcBef>
              <a:spcAft>
                <a:spcPct val="0"/>
              </a:spcAft>
            </a:pPr>
            <a:endParaRPr kumimoji="1" lang="ru-RU" sz="1000" smtClean="0">
              <a:solidFill>
                <a:srgbClr val="00294F"/>
              </a:solidFill>
              <a:latin typeface="Tahoma" pitchFamily="34" charset="0"/>
              <a:ea typeface="PMingLiU" pitchFamily="18" charset="-120"/>
            </a:endParaRPr>
          </a:p>
        </p:txBody>
      </p:sp>
      <p:sp>
        <p:nvSpPr>
          <p:cNvPr id="18" name="Текст 3"/>
          <p:cNvSpPr>
            <a:spLocks noGrp="1"/>
          </p:cNvSpPr>
          <p:nvPr>
            <p:ph type="body" sz="half" idx="10" hasCustomPrompt="1"/>
          </p:nvPr>
        </p:nvSpPr>
        <p:spPr>
          <a:xfrm>
            <a:off x="7200000" y="6210000"/>
            <a:ext cx="1656000" cy="396000"/>
          </a:xfrm>
        </p:spPr>
        <p:txBody>
          <a:bodyPr anchor="ctr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100">
                <a:solidFill>
                  <a:schemeClr val="tx2"/>
                </a:solidFill>
              </a:defRPr>
            </a:lvl1pPr>
            <a:lvl2pPr marL="456150" indent="0">
              <a:buNone/>
              <a:defRPr sz="1200"/>
            </a:lvl2pPr>
            <a:lvl3pPr marL="912300" indent="0">
              <a:buNone/>
              <a:defRPr sz="1000"/>
            </a:lvl3pPr>
            <a:lvl4pPr marL="1368448" indent="0">
              <a:buNone/>
              <a:defRPr sz="900"/>
            </a:lvl4pPr>
            <a:lvl5pPr marL="1824599" indent="0">
              <a:buNone/>
              <a:defRPr sz="900"/>
            </a:lvl5pPr>
            <a:lvl6pPr marL="2280748" indent="0">
              <a:buNone/>
              <a:defRPr sz="900"/>
            </a:lvl6pPr>
            <a:lvl7pPr marL="2736891" indent="0">
              <a:buNone/>
              <a:defRPr sz="900"/>
            </a:lvl7pPr>
            <a:lvl8pPr marL="3193047" indent="0">
              <a:buNone/>
              <a:defRPr sz="900"/>
            </a:lvl8pPr>
            <a:lvl9pPr marL="3649197" indent="0">
              <a:buNone/>
              <a:defRPr sz="900"/>
            </a:lvl9pPr>
          </a:lstStyle>
          <a:p>
            <a:pPr lvl="0"/>
            <a:r>
              <a:rPr lang="ru-RU" dirty="0" smtClean="0"/>
              <a:t>Телефон и </a:t>
            </a:r>
            <a:r>
              <a:rPr lang="en-US" dirty="0" smtClean="0"/>
              <a:t>e-mail</a:t>
            </a:r>
          </a:p>
        </p:txBody>
      </p:sp>
      <p:sp>
        <p:nvSpPr>
          <p:cNvPr id="21" name="Текст 3"/>
          <p:cNvSpPr>
            <a:spLocks noGrp="1"/>
          </p:cNvSpPr>
          <p:nvPr>
            <p:ph type="body" sz="half" idx="12" hasCustomPrompt="1"/>
          </p:nvPr>
        </p:nvSpPr>
        <p:spPr>
          <a:xfrm>
            <a:off x="2088000" y="3096000"/>
            <a:ext cx="4932000" cy="648000"/>
          </a:xfrm>
        </p:spPr>
        <p:txBody>
          <a:bodyPr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buNone/>
              <a:defRPr sz="3600">
                <a:solidFill>
                  <a:srgbClr val="016EB3"/>
                </a:solidFill>
              </a:defRPr>
            </a:lvl1pPr>
            <a:lvl2pPr marL="456150" indent="0">
              <a:buNone/>
              <a:defRPr sz="1200"/>
            </a:lvl2pPr>
            <a:lvl3pPr marL="912300" indent="0">
              <a:buNone/>
              <a:defRPr sz="1000"/>
            </a:lvl3pPr>
            <a:lvl4pPr marL="1368448" indent="0">
              <a:buNone/>
              <a:defRPr sz="900"/>
            </a:lvl4pPr>
            <a:lvl5pPr marL="1824599" indent="0">
              <a:buNone/>
              <a:defRPr sz="900"/>
            </a:lvl5pPr>
            <a:lvl6pPr marL="2280748" indent="0">
              <a:buNone/>
              <a:defRPr sz="900"/>
            </a:lvl6pPr>
            <a:lvl7pPr marL="2736891" indent="0">
              <a:buNone/>
              <a:defRPr sz="900"/>
            </a:lvl7pPr>
            <a:lvl8pPr marL="3193047" indent="0">
              <a:buNone/>
              <a:defRPr sz="900"/>
            </a:lvl8pPr>
            <a:lvl9pPr marL="3649197" indent="0">
              <a:buNone/>
              <a:defRPr sz="900"/>
            </a:lvl9pPr>
          </a:lstStyle>
          <a:p>
            <a:pPr lvl="0"/>
            <a:r>
              <a:rPr lang="ru-RU" dirty="0" smtClean="0"/>
              <a:t>Спасибо! / </a:t>
            </a:r>
            <a:r>
              <a:rPr lang="en-US" dirty="0" smtClean="0"/>
              <a:t>Thank you!</a:t>
            </a:r>
          </a:p>
        </p:txBody>
      </p:sp>
      <p:sp>
        <p:nvSpPr>
          <p:cNvPr id="28" name="Текст 27"/>
          <p:cNvSpPr>
            <a:spLocks noGrp="1"/>
          </p:cNvSpPr>
          <p:nvPr>
            <p:ph type="body" sz="quarter" idx="14" hasCustomPrompt="1"/>
          </p:nvPr>
        </p:nvSpPr>
        <p:spPr>
          <a:xfrm>
            <a:off x="5112000" y="6210000"/>
            <a:ext cx="2016000" cy="396000"/>
          </a:xfrm>
        </p:spPr>
        <p:txBody>
          <a:bodyPr anchor="ctr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10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ru-RU" dirty="0" smtClean="0"/>
              <a:t>Адрес компании</a:t>
            </a:r>
            <a:endParaRPr lang="ru-RU" dirty="0"/>
          </a:p>
        </p:txBody>
      </p:sp>
      <p:sp>
        <p:nvSpPr>
          <p:cNvPr id="30" name="Текст 29"/>
          <p:cNvSpPr>
            <a:spLocks noGrp="1"/>
          </p:cNvSpPr>
          <p:nvPr>
            <p:ph type="body" sz="quarter" idx="15" hasCustomPrompt="1"/>
          </p:nvPr>
        </p:nvSpPr>
        <p:spPr>
          <a:xfrm>
            <a:off x="2772000" y="6210000"/>
            <a:ext cx="2268000" cy="396000"/>
          </a:xfrm>
        </p:spPr>
        <p:txBody>
          <a:bodyPr anchor="ctr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10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ru-RU" dirty="0" smtClean="0"/>
              <a:t>Управление и Отдел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9338598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gallery dir="l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31778" y="306700"/>
            <a:ext cx="6742113" cy="739775"/>
          </a:xfrm>
          <a:prstGeom prst="rect">
            <a:avLst/>
          </a:prstGeom>
        </p:spPr>
        <p:txBody>
          <a:bodyPr lIns="91227" tIns="45613" rIns="91227" bIns="45613"/>
          <a:lstStyle>
            <a:lvl1pPr>
              <a:defRPr sz="2500"/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15" name="Rectangle 4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EFF660B-5916-42E2-9D88-953A3CB16BD3}" type="slidenum">
              <a:rPr lang="en-US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603944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gallery dir="l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Основн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414000" y="1638000"/>
            <a:ext cx="8316000" cy="4467600"/>
          </a:xfrm>
        </p:spPr>
        <p:txBody>
          <a:bodyPr/>
          <a:lstStyle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de-DE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4"/>
          </p:nvPr>
        </p:nvSpPr>
        <p:spPr>
          <a:xfrm>
            <a:off x="8665706" y="6526188"/>
            <a:ext cx="402094" cy="217518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chemeClr val="bg1"/>
                </a:solidFill>
                <a:latin typeface="+mj-lt"/>
              </a:defRPr>
            </a:lvl1pPr>
          </a:lstStyle>
          <a:p>
            <a:fld id="{8E141AF1-466E-4D9F-B74C-45FFEB47CA13}" type="slidenum">
              <a:rPr lang="de-DE" smtClean="0">
                <a:solidFill>
                  <a:srgbClr val="FFFFFF"/>
                </a:solidFill>
              </a:rPr>
              <a:pPr/>
              <a:t>‹#›</a:t>
            </a:fld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1652954" y="1"/>
            <a:ext cx="7220702" cy="897162"/>
          </a:xfrm>
          <a:prstGeom prst="rect">
            <a:avLst/>
          </a:prstGeom>
          <a:ln/>
          <a:effectLst>
            <a:outerShdw dist="17961" dir="2700000" algn="ctr" rotWithShape="0">
              <a:srgbClr val="FFFFFF"/>
            </a:outerShdw>
          </a:effectLst>
        </p:spPr>
        <p:txBody>
          <a:bodyPr lIns="91227" tIns="45613" rIns="91227" bIns="45613" anchor="ctr"/>
          <a:lstStyle>
            <a:lvl1pPr>
              <a:defRPr kumimoji="1" lang="ru-RU" sz="1700" kern="1200">
                <a:solidFill>
                  <a:srgbClr val="016EB3"/>
                </a:solidFill>
              </a:defRPr>
            </a:lvl1pPr>
          </a:lstStyle>
          <a:p>
            <a:pPr lvl="0" defTabSz="818854"/>
            <a:r>
              <a:rPr lang="ru-RU" smtClean="0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281376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gallery dir="l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31778" y="123825"/>
            <a:ext cx="6742113" cy="657225"/>
          </a:xfrm>
          <a:prstGeom prst="rect">
            <a:avLst/>
          </a:prstGeom>
        </p:spPr>
        <p:txBody>
          <a:bodyPr lIns="91227" tIns="45613" rIns="91227" bIns="45613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715E4BD-578A-4F4A-9E92-1B4DB10B5101}" type="slidenum">
              <a:rPr lang="en-US">
                <a:solidFill>
                  <a:srgbClr val="A0A1A6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A0A1A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024764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gallery dir="l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Основн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lide Number Placeholder 8"/>
          <p:cNvSpPr>
            <a:spLocks noGrp="1"/>
          </p:cNvSpPr>
          <p:nvPr>
            <p:ph type="sldNum" sz="quarter" idx="14"/>
          </p:nvPr>
        </p:nvSpPr>
        <p:spPr>
          <a:xfrm>
            <a:off x="8665706" y="6526188"/>
            <a:ext cx="402094" cy="217518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chemeClr val="bg1"/>
                </a:solidFill>
                <a:latin typeface="+mj-lt"/>
              </a:defRPr>
            </a:lvl1pPr>
          </a:lstStyle>
          <a:p>
            <a:fld id="{8E141AF1-466E-4D9F-B74C-45FFEB47CA13}" type="slidenum">
              <a:rPr lang="de-DE" smtClean="0">
                <a:solidFill>
                  <a:srgbClr val="FFFFFF"/>
                </a:solidFill>
              </a:rPr>
              <a:pPr/>
              <a:t>‹#›</a:t>
            </a:fld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261257" y="1"/>
            <a:ext cx="8612399" cy="897162"/>
          </a:xfrm>
          <a:prstGeom prst="rect">
            <a:avLst/>
          </a:prstGeom>
          <a:ln/>
          <a:effectLst>
            <a:outerShdw dist="17961" dir="2700000" algn="ctr" rotWithShape="0">
              <a:srgbClr val="FFFFFF"/>
            </a:outerShdw>
          </a:effectLst>
        </p:spPr>
        <p:txBody>
          <a:bodyPr lIns="91227" tIns="45613" rIns="91227" bIns="45613" anchor="ctr"/>
          <a:lstStyle>
            <a:lvl1pPr>
              <a:defRPr kumimoji="1" lang="ru-RU" sz="1800" kern="1200">
                <a:solidFill>
                  <a:srgbClr val="016EB3"/>
                </a:solidFill>
              </a:defRPr>
            </a:lvl1pPr>
          </a:lstStyle>
          <a:p>
            <a:pPr lvl="0" defTabSz="818854"/>
            <a:r>
              <a:rPr lang="ru-RU" dirty="0" smtClean="0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2806586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gallery dir="l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07266" name="Rectangle 2"/>
          <p:cNvSpPr>
            <a:spLocks noGrp="1" noChangeArrowheads="1"/>
          </p:cNvSpPr>
          <p:nvPr>
            <p:ph type="subTitle" idx="1"/>
          </p:nvPr>
        </p:nvSpPr>
        <p:spPr>
          <a:xfrm>
            <a:off x="2935489" y="5737238"/>
            <a:ext cx="5522912" cy="270843"/>
          </a:xfrm>
          <a:effectLst>
            <a:outerShdw dist="17961" dir="2700000" algn="ctr" rotWithShape="0">
              <a:srgbClr val="FFFFFF"/>
            </a:outerShdw>
          </a:effectLst>
        </p:spPr>
        <p:txBody>
          <a:bodyPr>
            <a:spAutoFit/>
          </a:bodyPr>
          <a:lstStyle>
            <a:lvl1pPr marL="0" indent="0" algn="r" defTabSz="818854">
              <a:spcBef>
                <a:spcPct val="0"/>
              </a:spcBef>
              <a:buClrTx/>
              <a:buFontTx/>
              <a:buNone/>
              <a:defRPr sz="1600">
                <a:solidFill>
                  <a:schemeClr val="tx2"/>
                </a:solidFill>
              </a:defRPr>
            </a:lvl1pPr>
          </a:lstStyle>
          <a:p>
            <a:r>
              <a:rPr lang="ru-RU" smtClean="0"/>
              <a:t>Образец подзаголовка</a:t>
            </a:r>
            <a:endParaRPr lang="en-US" dirty="0"/>
          </a:p>
        </p:txBody>
      </p:sp>
      <p:sp>
        <p:nvSpPr>
          <p:cNvPr id="907267" name="Rectangle 3"/>
          <p:cNvSpPr>
            <a:spLocks noGrp="1" noChangeArrowheads="1"/>
          </p:cNvSpPr>
          <p:nvPr>
            <p:ph type="ctrTitle" sz="quarter"/>
          </p:nvPr>
        </p:nvSpPr>
        <p:spPr>
          <a:xfrm>
            <a:off x="3032589" y="5183213"/>
            <a:ext cx="5522912" cy="452437"/>
          </a:xfrm>
          <a:prstGeom prst="rect">
            <a:avLst/>
          </a:prstGeom>
          <a:ln/>
          <a:effectLst>
            <a:outerShdw dist="17961" dir="2700000" algn="ctr" rotWithShape="0">
              <a:srgbClr val="FFFFFF"/>
            </a:outerShdw>
          </a:effectLst>
        </p:spPr>
        <p:txBody>
          <a:bodyPr lIns="91227" tIns="45613" rIns="91227" bIns="45613" anchor="b"/>
          <a:lstStyle>
            <a:lvl1pPr algn="r" defTabSz="818854">
              <a:defRPr sz="2400">
                <a:solidFill>
                  <a:schemeClr val="tx2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en-US"/>
          </a:p>
        </p:txBody>
      </p:sp>
      <p:pic>
        <p:nvPicPr>
          <p:cNvPr id="2" name="Рисунок 1"/>
          <p:cNvPicPr>
            <a:picLocks noChangeAspect="1"/>
          </p:cNvPicPr>
          <p:nvPr userDrawn="1"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2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0710" y="505803"/>
            <a:ext cx="5230821" cy="3804234"/>
          </a:xfrm>
          <a:prstGeom prst="rect">
            <a:avLst/>
          </a:prstGeom>
        </p:spPr>
      </p:pic>
      <p:pic>
        <p:nvPicPr>
          <p:cNvPr id="7" name="Picture 2"/>
          <p:cNvPicPr>
            <a:picLocks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68002" y="3096000"/>
            <a:ext cx="3564000" cy="2066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0101011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gallery dir="l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Основн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414000" y="1638000"/>
            <a:ext cx="8316000" cy="4467600"/>
          </a:xfrm>
        </p:spPr>
        <p:txBody>
          <a:bodyPr/>
          <a:lstStyle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de-DE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4"/>
          </p:nvPr>
        </p:nvSpPr>
        <p:spPr>
          <a:xfrm>
            <a:off x="8665706" y="6526188"/>
            <a:ext cx="402094" cy="217518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chemeClr val="bg1"/>
                </a:solidFill>
                <a:latin typeface="+mj-lt"/>
              </a:defRPr>
            </a:lvl1pPr>
          </a:lstStyle>
          <a:p>
            <a:fld id="{8E141AF1-466E-4D9F-B74C-45FFEB47CA13}" type="slidenum">
              <a:rPr lang="de-DE" smtClean="0">
                <a:solidFill>
                  <a:srgbClr val="FFFFFF"/>
                </a:solidFill>
              </a:rPr>
              <a:pPr/>
              <a:t>‹#›</a:t>
            </a:fld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1652954" y="1"/>
            <a:ext cx="7220702" cy="897162"/>
          </a:xfrm>
          <a:prstGeom prst="rect">
            <a:avLst/>
          </a:prstGeom>
          <a:ln/>
          <a:effectLst>
            <a:outerShdw dist="17961" dir="2700000" algn="ctr" rotWithShape="0">
              <a:srgbClr val="FFFFFF"/>
            </a:outerShdw>
          </a:effectLst>
        </p:spPr>
        <p:txBody>
          <a:bodyPr lIns="91227" tIns="45613" rIns="91227" bIns="45613" anchor="ctr"/>
          <a:lstStyle>
            <a:lvl1pPr>
              <a:defRPr kumimoji="1" lang="ru-RU" sz="1700" kern="1200">
                <a:solidFill>
                  <a:srgbClr val="016EB3"/>
                </a:solidFill>
              </a:defRPr>
            </a:lvl1pPr>
          </a:lstStyle>
          <a:p>
            <a:pPr lvl="0" defTabSz="818854"/>
            <a:r>
              <a:rPr lang="ru-RU" smtClean="0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1282425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gallery dir="l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 userDrawn="1"/>
        </p:nvSpPr>
        <p:spPr bwMode="auto">
          <a:xfrm>
            <a:off x="8660610" y="6374606"/>
            <a:ext cx="478632" cy="389746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227" tIns="45613" rIns="91227" bIns="45613" numCol="1" rtlCol="0" anchor="t" anchorCtr="0" compatLnSpc="1">
            <a:prstTxWarp prst="textNoShape">
              <a:avLst/>
            </a:prstTxWarp>
          </a:bodyPr>
          <a:lstStyle/>
          <a:p>
            <a:pPr defTabSz="910706" fontAlgn="base">
              <a:spcBef>
                <a:spcPct val="50000"/>
              </a:spcBef>
              <a:spcAft>
                <a:spcPct val="0"/>
              </a:spcAft>
            </a:pPr>
            <a:endParaRPr kumimoji="1" lang="ru-RU" sz="1000" smtClean="0">
              <a:solidFill>
                <a:srgbClr val="00294F"/>
              </a:solidFill>
              <a:latin typeface="Tahoma" pitchFamily="34" charset="0"/>
              <a:ea typeface="PMingLiU" pitchFamily="18" charset="-120"/>
            </a:endParaRPr>
          </a:p>
        </p:txBody>
      </p:sp>
    </p:spTree>
    <p:extLst>
      <p:ext uri="{BB962C8B-B14F-4D97-AF65-F5344CB8AC3E}">
        <p14:creationId xmlns:p14="http://schemas.microsoft.com/office/powerpoint/2010/main" val="10331787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gallery dir="l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лайд &quot;Спасибо!&quot;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Line 27"/>
          <p:cNvSpPr>
            <a:spLocks noChangeShapeType="1"/>
          </p:cNvSpPr>
          <p:nvPr userDrawn="1"/>
        </p:nvSpPr>
        <p:spPr bwMode="auto">
          <a:xfrm>
            <a:off x="252000" y="5940000"/>
            <a:ext cx="8640000" cy="0"/>
          </a:xfrm>
          <a:prstGeom prst="line">
            <a:avLst/>
          </a:prstGeom>
          <a:noFill/>
          <a:ln w="28575">
            <a:solidFill>
              <a:srgbClr val="016EB3"/>
            </a:solidFill>
            <a:round/>
            <a:headEnd/>
            <a:tailEnd/>
          </a:ln>
          <a:effectLst/>
        </p:spPr>
        <p:txBody>
          <a:bodyPr wrap="none" lIns="91227" tIns="45613" rIns="91227" bIns="45613"/>
          <a:lstStyle/>
          <a:p>
            <a:pPr defTabSz="910706" fontAlgn="base">
              <a:spcBef>
                <a:spcPct val="50000"/>
              </a:spcBef>
              <a:spcAft>
                <a:spcPct val="0"/>
              </a:spcAft>
              <a:defRPr/>
            </a:pPr>
            <a:endParaRPr kumimoji="1" lang="ru-RU" sz="1000" dirty="0">
              <a:solidFill>
                <a:srgbClr val="002766"/>
              </a:solidFill>
              <a:latin typeface="Tahoma" pitchFamily="34" charset="0"/>
              <a:ea typeface="PMingLiU" pitchFamily="18" charset="-120"/>
            </a:endParaRPr>
          </a:p>
        </p:txBody>
      </p:sp>
      <p:sp>
        <p:nvSpPr>
          <p:cNvPr id="9" name="Прямоугольник 8"/>
          <p:cNvSpPr/>
          <p:nvPr userDrawn="1"/>
        </p:nvSpPr>
        <p:spPr bwMode="auto">
          <a:xfrm>
            <a:off x="252000" y="190525"/>
            <a:ext cx="1623692" cy="606669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227" tIns="45613" rIns="91227" bIns="45613" numCol="1" rtlCol="0" anchor="t" anchorCtr="0" compatLnSpc="1">
            <a:prstTxWarp prst="textNoShape">
              <a:avLst/>
            </a:prstTxWarp>
          </a:bodyPr>
          <a:lstStyle/>
          <a:p>
            <a:pPr defTabSz="910706" fontAlgn="base">
              <a:spcBef>
                <a:spcPct val="50000"/>
              </a:spcBef>
              <a:spcAft>
                <a:spcPct val="0"/>
              </a:spcAft>
            </a:pPr>
            <a:endParaRPr kumimoji="1" lang="ru-RU" sz="1000" smtClean="0">
              <a:solidFill>
                <a:srgbClr val="00294F"/>
              </a:solidFill>
              <a:latin typeface="Tahoma" pitchFamily="34" charset="0"/>
              <a:ea typeface="PMingLiU" pitchFamily="18" charset="-120"/>
            </a:endParaRPr>
          </a:p>
        </p:txBody>
      </p:sp>
      <p:sp>
        <p:nvSpPr>
          <p:cNvPr id="10" name="Прямоугольник 9"/>
          <p:cNvSpPr/>
          <p:nvPr userDrawn="1"/>
        </p:nvSpPr>
        <p:spPr bwMode="auto">
          <a:xfrm>
            <a:off x="8429206" y="6327669"/>
            <a:ext cx="708444" cy="504825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227" tIns="45613" rIns="91227" bIns="45613" numCol="1" rtlCol="0" anchor="t" anchorCtr="0" compatLnSpc="1">
            <a:prstTxWarp prst="textNoShape">
              <a:avLst/>
            </a:prstTxWarp>
          </a:bodyPr>
          <a:lstStyle/>
          <a:p>
            <a:pPr defTabSz="910706" fontAlgn="base">
              <a:spcBef>
                <a:spcPct val="50000"/>
              </a:spcBef>
              <a:spcAft>
                <a:spcPct val="0"/>
              </a:spcAft>
            </a:pPr>
            <a:endParaRPr kumimoji="1" lang="ru-RU" sz="1000" smtClean="0">
              <a:solidFill>
                <a:srgbClr val="00294F"/>
              </a:solidFill>
              <a:latin typeface="Tahoma" pitchFamily="34" charset="0"/>
              <a:ea typeface="PMingLiU" pitchFamily="18" charset="-120"/>
            </a:endParaRPr>
          </a:p>
        </p:txBody>
      </p:sp>
      <p:sp>
        <p:nvSpPr>
          <p:cNvPr id="18" name="Текст 3"/>
          <p:cNvSpPr>
            <a:spLocks noGrp="1"/>
          </p:cNvSpPr>
          <p:nvPr>
            <p:ph type="body" sz="half" idx="10" hasCustomPrompt="1"/>
          </p:nvPr>
        </p:nvSpPr>
        <p:spPr>
          <a:xfrm>
            <a:off x="7200000" y="6210000"/>
            <a:ext cx="1656000" cy="396000"/>
          </a:xfrm>
        </p:spPr>
        <p:txBody>
          <a:bodyPr anchor="ctr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100">
                <a:solidFill>
                  <a:schemeClr val="tx2"/>
                </a:solidFill>
              </a:defRPr>
            </a:lvl1pPr>
            <a:lvl2pPr marL="456150" indent="0">
              <a:buNone/>
              <a:defRPr sz="1200"/>
            </a:lvl2pPr>
            <a:lvl3pPr marL="912300" indent="0">
              <a:buNone/>
              <a:defRPr sz="1000"/>
            </a:lvl3pPr>
            <a:lvl4pPr marL="1368448" indent="0">
              <a:buNone/>
              <a:defRPr sz="900"/>
            </a:lvl4pPr>
            <a:lvl5pPr marL="1824599" indent="0">
              <a:buNone/>
              <a:defRPr sz="900"/>
            </a:lvl5pPr>
            <a:lvl6pPr marL="2280748" indent="0">
              <a:buNone/>
              <a:defRPr sz="900"/>
            </a:lvl6pPr>
            <a:lvl7pPr marL="2736891" indent="0">
              <a:buNone/>
              <a:defRPr sz="900"/>
            </a:lvl7pPr>
            <a:lvl8pPr marL="3193047" indent="0">
              <a:buNone/>
              <a:defRPr sz="900"/>
            </a:lvl8pPr>
            <a:lvl9pPr marL="3649197" indent="0">
              <a:buNone/>
              <a:defRPr sz="900"/>
            </a:lvl9pPr>
          </a:lstStyle>
          <a:p>
            <a:pPr lvl="0"/>
            <a:r>
              <a:rPr lang="ru-RU" dirty="0" smtClean="0"/>
              <a:t>Телефон и </a:t>
            </a:r>
            <a:r>
              <a:rPr lang="en-US" dirty="0" smtClean="0"/>
              <a:t>e-mail</a:t>
            </a:r>
          </a:p>
        </p:txBody>
      </p:sp>
      <p:sp>
        <p:nvSpPr>
          <p:cNvPr id="21" name="Текст 3"/>
          <p:cNvSpPr>
            <a:spLocks noGrp="1"/>
          </p:cNvSpPr>
          <p:nvPr>
            <p:ph type="body" sz="half" idx="12" hasCustomPrompt="1"/>
          </p:nvPr>
        </p:nvSpPr>
        <p:spPr>
          <a:xfrm>
            <a:off x="2088000" y="3096000"/>
            <a:ext cx="4932000" cy="648000"/>
          </a:xfrm>
        </p:spPr>
        <p:txBody>
          <a:bodyPr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buNone/>
              <a:defRPr sz="3600">
                <a:solidFill>
                  <a:srgbClr val="016EB3"/>
                </a:solidFill>
              </a:defRPr>
            </a:lvl1pPr>
            <a:lvl2pPr marL="456150" indent="0">
              <a:buNone/>
              <a:defRPr sz="1200"/>
            </a:lvl2pPr>
            <a:lvl3pPr marL="912300" indent="0">
              <a:buNone/>
              <a:defRPr sz="1000"/>
            </a:lvl3pPr>
            <a:lvl4pPr marL="1368448" indent="0">
              <a:buNone/>
              <a:defRPr sz="900"/>
            </a:lvl4pPr>
            <a:lvl5pPr marL="1824599" indent="0">
              <a:buNone/>
              <a:defRPr sz="900"/>
            </a:lvl5pPr>
            <a:lvl6pPr marL="2280748" indent="0">
              <a:buNone/>
              <a:defRPr sz="900"/>
            </a:lvl6pPr>
            <a:lvl7pPr marL="2736891" indent="0">
              <a:buNone/>
              <a:defRPr sz="900"/>
            </a:lvl7pPr>
            <a:lvl8pPr marL="3193047" indent="0">
              <a:buNone/>
              <a:defRPr sz="900"/>
            </a:lvl8pPr>
            <a:lvl9pPr marL="3649197" indent="0">
              <a:buNone/>
              <a:defRPr sz="900"/>
            </a:lvl9pPr>
          </a:lstStyle>
          <a:p>
            <a:pPr lvl="0"/>
            <a:r>
              <a:rPr lang="ru-RU" dirty="0" smtClean="0"/>
              <a:t>Спасибо! / </a:t>
            </a:r>
            <a:r>
              <a:rPr lang="en-US" dirty="0" smtClean="0"/>
              <a:t>Thank you!</a:t>
            </a:r>
          </a:p>
        </p:txBody>
      </p:sp>
      <p:sp>
        <p:nvSpPr>
          <p:cNvPr id="28" name="Текст 27"/>
          <p:cNvSpPr>
            <a:spLocks noGrp="1"/>
          </p:cNvSpPr>
          <p:nvPr>
            <p:ph type="body" sz="quarter" idx="14" hasCustomPrompt="1"/>
          </p:nvPr>
        </p:nvSpPr>
        <p:spPr>
          <a:xfrm>
            <a:off x="5112000" y="6210000"/>
            <a:ext cx="2016000" cy="396000"/>
          </a:xfrm>
        </p:spPr>
        <p:txBody>
          <a:bodyPr anchor="ctr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10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ru-RU" dirty="0" smtClean="0"/>
              <a:t>Адрес компании</a:t>
            </a:r>
            <a:endParaRPr lang="ru-RU" dirty="0"/>
          </a:p>
        </p:txBody>
      </p:sp>
      <p:sp>
        <p:nvSpPr>
          <p:cNvPr id="30" name="Текст 29"/>
          <p:cNvSpPr>
            <a:spLocks noGrp="1"/>
          </p:cNvSpPr>
          <p:nvPr>
            <p:ph type="body" sz="quarter" idx="15" hasCustomPrompt="1"/>
          </p:nvPr>
        </p:nvSpPr>
        <p:spPr>
          <a:xfrm>
            <a:off x="2772000" y="6210000"/>
            <a:ext cx="2268000" cy="396000"/>
          </a:xfrm>
        </p:spPr>
        <p:txBody>
          <a:bodyPr anchor="ctr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10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ru-RU" dirty="0" smtClean="0"/>
              <a:t>Управление и Отдел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2402033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gallery dir="l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07266" name="Rectangle 2"/>
          <p:cNvSpPr>
            <a:spLocks noGrp="1" noChangeArrowheads="1"/>
          </p:cNvSpPr>
          <p:nvPr>
            <p:ph type="subTitle" idx="1"/>
          </p:nvPr>
        </p:nvSpPr>
        <p:spPr>
          <a:xfrm>
            <a:off x="2935489" y="5737238"/>
            <a:ext cx="5522912" cy="270843"/>
          </a:xfrm>
          <a:effectLst>
            <a:outerShdw dist="17961" dir="2700000" algn="ctr" rotWithShape="0">
              <a:srgbClr val="FFFFFF"/>
            </a:outerShdw>
          </a:effectLst>
        </p:spPr>
        <p:txBody>
          <a:bodyPr>
            <a:spAutoFit/>
          </a:bodyPr>
          <a:lstStyle>
            <a:lvl1pPr marL="0" indent="0" algn="r" defTabSz="819005">
              <a:spcBef>
                <a:spcPct val="0"/>
              </a:spcBef>
              <a:buClrTx/>
              <a:buFontTx/>
              <a:buNone/>
              <a:defRPr sz="1600">
                <a:solidFill>
                  <a:schemeClr val="tx2"/>
                </a:solidFill>
              </a:defRPr>
            </a:lvl1pPr>
          </a:lstStyle>
          <a:p>
            <a:r>
              <a:rPr lang="ru-RU" smtClean="0"/>
              <a:t>Образец подзаголовка</a:t>
            </a:r>
            <a:endParaRPr lang="en-US" dirty="0"/>
          </a:p>
        </p:txBody>
      </p:sp>
      <p:sp>
        <p:nvSpPr>
          <p:cNvPr id="907267" name="Rectangle 3"/>
          <p:cNvSpPr>
            <a:spLocks noGrp="1" noChangeArrowheads="1"/>
          </p:cNvSpPr>
          <p:nvPr>
            <p:ph type="ctrTitle" sz="quarter"/>
          </p:nvPr>
        </p:nvSpPr>
        <p:spPr>
          <a:xfrm>
            <a:off x="3032589" y="5183211"/>
            <a:ext cx="5522912" cy="452437"/>
          </a:xfrm>
          <a:prstGeom prst="rect">
            <a:avLst/>
          </a:prstGeom>
          <a:ln/>
          <a:effectLst>
            <a:outerShdw dist="17961" dir="2700000" algn="ctr" rotWithShape="0">
              <a:srgbClr val="FFFFFF"/>
            </a:outerShdw>
          </a:effectLst>
        </p:spPr>
        <p:txBody>
          <a:bodyPr lIns="91243" tIns="45622" rIns="91243" bIns="45622" anchor="b"/>
          <a:lstStyle>
            <a:lvl1pPr algn="r" defTabSz="819005">
              <a:defRPr sz="2400">
                <a:solidFill>
                  <a:schemeClr val="tx2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en-US"/>
          </a:p>
        </p:txBody>
      </p:sp>
      <p:pic>
        <p:nvPicPr>
          <p:cNvPr id="2" name="Рисунок 1"/>
          <p:cNvPicPr>
            <a:picLocks noChangeAspect="1"/>
          </p:cNvPicPr>
          <p:nvPr userDrawn="1"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2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0710" y="505803"/>
            <a:ext cx="5230821" cy="3804234"/>
          </a:xfrm>
          <a:prstGeom prst="rect">
            <a:avLst/>
          </a:prstGeom>
        </p:spPr>
      </p:pic>
      <p:pic>
        <p:nvPicPr>
          <p:cNvPr id="7" name="Picture 2"/>
          <p:cNvPicPr>
            <a:picLocks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68002" y="3096000"/>
            <a:ext cx="3564000" cy="2066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1678900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gallery dir="l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31778" y="306700"/>
            <a:ext cx="6742113" cy="739775"/>
          </a:xfrm>
          <a:prstGeom prst="rect">
            <a:avLst/>
          </a:prstGeom>
        </p:spPr>
        <p:txBody>
          <a:bodyPr lIns="91227" tIns="45613" rIns="91227" bIns="45613"/>
          <a:lstStyle>
            <a:lvl1pPr>
              <a:defRPr sz="2500"/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15" name="Rectangle 4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EFF660B-5916-42E2-9D88-953A3CB16BD3}" type="slidenum">
              <a:rPr lang="en-US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580343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gallery dir="l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Основн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414000" y="1638000"/>
            <a:ext cx="8316000" cy="4467600"/>
          </a:xfrm>
        </p:spPr>
        <p:txBody>
          <a:bodyPr/>
          <a:lstStyle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de-DE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4"/>
          </p:nvPr>
        </p:nvSpPr>
        <p:spPr>
          <a:xfrm>
            <a:off x="8665706" y="6526188"/>
            <a:ext cx="402094" cy="217518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chemeClr val="bg1"/>
                </a:solidFill>
                <a:latin typeface="+mj-lt"/>
              </a:defRPr>
            </a:lvl1pPr>
          </a:lstStyle>
          <a:p>
            <a:fld id="{8E141AF1-466E-4D9F-B74C-45FFEB47CA13}" type="slidenum">
              <a:rPr lang="de-DE" smtClean="0">
                <a:solidFill>
                  <a:srgbClr val="FFFFFF"/>
                </a:solidFill>
              </a:rPr>
              <a:pPr/>
              <a:t>‹#›</a:t>
            </a:fld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1652954" y="1"/>
            <a:ext cx="7220702" cy="897162"/>
          </a:xfrm>
          <a:prstGeom prst="rect">
            <a:avLst/>
          </a:prstGeom>
          <a:ln/>
          <a:effectLst>
            <a:outerShdw dist="17961" dir="2700000" algn="ctr" rotWithShape="0">
              <a:srgbClr val="FFFFFF"/>
            </a:outerShdw>
          </a:effectLst>
        </p:spPr>
        <p:txBody>
          <a:bodyPr lIns="91227" tIns="45613" rIns="91227" bIns="45613" anchor="ctr"/>
          <a:lstStyle>
            <a:lvl1pPr>
              <a:defRPr kumimoji="1" lang="ru-RU" sz="1700" kern="1200">
                <a:solidFill>
                  <a:srgbClr val="016EB3"/>
                </a:solidFill>
              </a:defRPr>
            </a:lvl1pPr>
          </a:lstStyle>
          <a:p>
            <a:pPr lvl="0" defTabSz="818854"/>
            <a:r>
              <a:rPr lang="ru-RU" smtClean="0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3006767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gallery dir="l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31778" y="123825"/>
            <a:ext cx="6742113" cy="657225"/>
          </a:xfrm>
          <a:prstGeom prst="rect">
            <a:avLst/>
          </a:prstGeom>
        </p:spPr>
        <p:txBody>
          <a:bodyPr lIns="91227" tIns="45613" rIns="91227" bIns="45613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715E4BD-578A-4F4A-9E92-1B4DB10B5101}" type="slidenum">
              <a:rPr lang="en-US">
                <a:solidFill>
                  <a:srgbClr val="A0A1A6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A0A1A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444797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gallery dir="l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Основн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lide Number Placeholder 8"/>
          <p:cNvSpPr>
            <a:spLocks noGrp="1"/>
          </p:cNvSpPr>
          <p:nvPr>
            <p:ph type="sldNum" sz="quarter" idx="14"/>
          </p:nvPr>
        </p:nvSpPr>
        <p:spPr>
          <a:xfrm>
            <a:off x="8665706" y="6526188"/>
            <a:ext cx="402094" cy="217518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chemeClr val="bg1"/>
                </a:solidFill>
                <a:latin typeface="+mj-lt"/>
              </a:defRPr>
            </a:lvl1pPr>
          </a:lstStyle>
          <a:p>
            <a:fld id="{8E141AF1-466E-4D9F-B74C-45FFEB47CA13}" type="slidenum">
              <a:rPr lang="de-DE" smtClean="0">
                <a:solidFill>
                  <a:srgbClr val="FFFFFF"/>
                </a:solidFill>
              </a:rPr>
              <a:pPr/>
              <a:t>‹#›</a:t>
            </a:fld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261257" y="1"/>
            <a:ext cx="8612399" cy="897162"/>
          </a:xfrm>
          <a:prstGeom prst="rect">
            <a:avLst/>
          </a:prstGeom>
          <a:ln/>
          <a:effectLst>
            <a:outerShdw dist="17961" dir="2700000" algn="ctr" rotWithShape="0">
              <a:srgbClr val="FFFFFF"/>
            </a:outerShdw>
          </a:effectLst>
        </p:spPr>
        <p:txBody>
          <a:bodyPr lIns="91227" tIns="45613" rIns="91227" bIns="45613" anchor="ctr"/>
          <a:lstStyle>
            <a:lvl1pPr>
              <a:defRPr kumimoji="1" lang="ru-RU" sz="1800" kern="1200">
                <a:solidFill>
                  <a:srgbClr val="016EB3"/>
                </a:solidFill>
              </a:defRPr>
            </a:lvl1pPr>
          </a:lstStyle>
          <a:p>
            <a:pPr lvl="0" defTabSz="818854"/>
            <a:r>
              <a:rPr lang="ru-RU" dirty="0" smtClean="0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9830964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gallery dir="l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07266" name="Rectangle 2"/>
          <p:cNvSpPr>
            <a:spLocks noGrp="1" noChangeArrowheads="1"/>
          </p:cNvSpPr>
          <p:nvPr>
            <p:ph type="subTitle" idx="1"/>
          </p:nvPr>
        </p:nvSpPr>
        <p:spPr>
          <a:xfrm>
            <a:off x="2935489" y="5737238"/>
            <a:ext cx="5522912" cy="270843"/>
          </a:xfrm>
          <a:effectLst>
            <a:outerShdw dist="17961" dir="2700000" algn="ctr" rotWithShape="0">
              <a:srgbClr val="FFFFFF"/>
            </a:outerShdw>
          </a:effectLst>
        </p:spPr>
        <p:txBody>
          <a:bodyPr>
            <a:spAutoFit/>
          </a:bodyPr>
          <a:lstStyle>
            <a:lvl1pPr marL="0" indent="0" algn="r" defTabSz="819005">
              <a:spcBef>
                <a:spcPct val="0"/>
              </a:spcBef>
              <a:buClrTx/>
              <a:buFontTx/>
              <a:buNone/>
              <a:defRPr sz="1600">
                <a:solidFill>
                  <a:schemeClr val="tx2"/>
                </a:solidFill>
              </a:defRPr>
            </a:lvl1pPr>
          </a:lstStyle>
          <a:p>
            <a:r>
              <a:rPr lang="ru-RU" smtClean="0"/>
              <a:t>Образец подзаголовка</a:t>
            </a:r>
            <a:endParaRPr lang="en-US" dirty="0"/>
          </a:p>
        </p:txBody>
      </p:sp>
      <p:sp>
        <p:nvSpPr>
          <p:cNvPr id="907267" name="Rectangle 3"/>
          <p:cNvSpPr>
            <a:spLocks noGrp="1" noChangeArrowheads="1"/>
          </p:cNvSpPr>
          <p:nvPr>
            <p:ph type="ctrTitle" sz="quarter"/>
          </p:nvPr>
        </p:nvSpPr>
        <p:spPr>
          <a:xfrm>
            <a:off x="3032589" y="5183211"/>
            <a:ext cx="5522912" cy="452437"/>
          </a:xfrm>
          <a:prstGeom prst="rect">
            <a:avLst/>
          </a:prstGeom>
          <a:ln/>
          <a:effectLst>
            <a:outerShdw dist="17961" dir="2700000" algn="ctr" rotWithShape="0">
              <a:srgbClr val="FFFFFF"/>
            </a:outerShdw>
          </a:effectLst>
        </p:spPr>
        <p:txBody>
          <a:bodyPr lIns="91243" tIns="45622" rIns="91243" bIns="45622" anchor="b"/>
          <a:lstStyle>
            <a:lvl1pPr algn="r" defTabSz="819005">
              <a:defRPr sz="2400">
                <a:solidFill>
                  <a:schemeClr val="tx2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en-US"/>
          </a:p>
        </p:txBody>
      </p:sp>
      <p:pic>
        <p:nvPicPr>
          <p:cNvPr id="2" name="Рисунок 1"/>
          <p:cNvPicPr>
            <a:picLocks noChangeAspect="1"/>
          </p:cNvPicPr>
          <p:nvPr userDrawn="1"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2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0710" y="505803"/>
            <a:ext cx="5230821" cy="3804234"/>
          </a:xfrm>
          <a:prstGeom prst="rect">
            <a:avLst/>
          </a:prstGeom>
        </p:spPr>
      </p:pic>
      <p:pic>
        <p:nvPicPr>
          <p:cNvPr id="7" name="Picture 2"/>
          <p:cNvPicPr>
            <a:picLocks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68002" y="3096000"/>
            <a:ext cx="3564000" cy="2066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444674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gallery dir="l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Основн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414000" y="1638000"/>
            <a:ext cx="8316000" cy="4467600"/>
          </a:xfrm>
        </p:spPr>
        <p:txBody>
          <a:bodyPr/>
          <a:lstStyle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de-DE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4"/>
          </p:nvPr>
        </p:nvSpPr>
        <p:spPr>
          <a:xfrm>
            <a:off x="8665706" y="6526188"/>
            <a:ext cx="402094" cy="217518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chemeClr val="bg1"/>
                </a:solidFill>
                <a:latin typeface="+mj-lt"/>
              </a:defRPr>
            </a:lvl1pPr>
          </a:lstStyle>
          <a:p>
            <a:fld id="{8E141AF1-466E-4D9F-B74C-45FFEB47CA13}" type="slidenum">
              <a:rPr lang="de-DE" smtClean="0">
                <a:solidFill>
                  <a:srgbClr val="FFFFFF"/>
                </a:solidFill>
              </a:rPr>
              <a:pPr/>
              <a:t>‹#›</a:t>
            </a:fld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1652954" y="1"/>
            <a:ext cx="7220702" cy="897162"/>
          </a:xfrm>
          <a:prstGeom prst="rect">
            <a:avLst/>
          </a:prstGeom>
          <a:ln/>
          <a:effectLst>
            <a:outerShdw dist="17961" dir="2700000" algn="ctr" rotWithShape="0">
              <a:srgbClr val="FFFFFF"/>
            </a:outerShdw>
          </a:effectLst>
        </p:spPr>
        <p:txBody>
          <a:bodyPr lIns="91243" tIns="45622" rIns="91243" bIns="45622" anchor="ctr"/>
          <a:lstStyle>
            <a:lvl1pPr>
              <a:defRPr kumimoji="1" lang="ru-RU" sz="1700" kern="1200">
                <a:solidFill>
                  <a:srgbClr val="016EB3"/>
                </a:solidFill>
              </a:defRPr>
            </a:lvl1pPr>
          </a:lstStyle>
          <a:p>
            <a:pPr lvl="0" defTabSz="819005"/>
            <a:r>
              <a:rPr lang="ru-RU" smtClean="0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2621692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gallery dir="l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 userDrawn="1"/>
        </p:nvSpPr>
        <p:spPr bwMode="auto">
          <a:xfrm>
            <a:off x="8660610" y="6374606"/>
            <a:ext cx="478632" cy="389746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243" tIns="45622" rIns="91243" bIns="45622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</a:pPr>
            <a:endParaRPr kumimoji="1" lang="ru-RU" sz="1000" smtClean="0">
              <a:solidFill>
                <a:srgbClr val="00294F"/>
              </a:solidFill>
              <a:latin typeface="Tahoma" pitchFamily="34" charset="0"/>
              <a:ea typeface="PMingLiU" pitchFamily="18" charset="-120"/>
            </a:endParaRPr>
          </a:p>
        </p:txBody>
      </p:sp>
    </p:spTree>
    <p:extLst>
      <p:ext uri="{BB962C8B-B14F-4D97-AF65-F5344CB8AC3E}">
        <p14:creationId xmlns:p14="http://schemas.microsoft.com/office/powerpoint/2010/main" val="35554706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gallery dir="l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лайд &quot;Спасибо!&quot;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Line 27"/>
          <p:cNvSpPr>
            <a:spLocks noChangeShapeType="1"/>
          </p:cNvSpPr>
          <p:nvPr userDrawn="1"/>
        </p:nvSpPr>
        <p:spPr bwMode="auto">
          <a:xfrm>
            <a:off x="252000" y="5940000"/>
            <a:ext cx="8640000" cy="0"/>
          </a:xfrm>
          <a:prstGeom prst="line">
            <a:avLst/>
          </a:prstGeom>
          <a:noFill/>
          <a:ln w="28575">
            <a:solidFill>
              <a:srgbClr val="016EB3"/>
            </a:solidFill>
            <a:round/>
            <a:headEnd/>
            <a:tailEnd/>
          </a:ln>
          <a:effectLst/>
        </p:spPr>
        <p:txBody>
          <a:bodyPr wrap="none" lIns="91243" tIns="45622" rIns="91243" bIns="45622"/>
          <a:lstStyle/>
          <a:p>
            <a:pPr fontAlgn="base">
              <a:spcBef>
                <a:spcPct val="50000"/>
              </a:spcBef>
              <a:spcAft>
                <a:spcPct val="0"/>
              </a:spcAft>
              <a:defRPr/>
            </a:pPr>
            <a:endParaRPr kumimoji="1" lang="ru-RU" sz="1000" dirty="0">
              <a:solidFill>
                <a:srgbClr val="002766"/>
              </a:solidFill>
              <a:latin typeface="Tahoma" pitchFamily="34" charset="0"/>
              <a:ea typeface="PMingLiU" pitchFamily="18" charset="-120"/>
            </a:endParaRPr>
          </a:p>
        </p:txBody>
      </p:sp>
      <p:sp>
        <p:nvSpPr>
          <p:cNvPr id="9" name="Прямоугольник 8"/>
          <p:cNvSpPr/>
          <p:nvPr userDrawn="1"/>
        </p:nvSpPr>
        <p:spPr bwMode="auto">
          <a:xfrm>
            <a:off x="252000" y="190523"/>
            <a:ext cx="1623692" cy="606669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243" tIns="45622" rIns="91243" bIns="45622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</a:pPr>
            <a:endParaRPr kumimoji="1" lang="ru-RU" sz="1000" smtClean="0">
              <a:solidFill>
                <a:srgbClr val="00294F"/>
              </a:solidFill>
              <a:latin typeface="Tahoma" pitchFamily="34" charset="0"/>
              <a:ea typeface="PMingLiU" pitchFamily="18" charset="-120"/>
            </a:endParaRPr>
          </a:p>
        </p:txBody>
      </p:sp>
      <p:sp>
        <p:nvSpPr>
          <p:cNvPr id="10" name="Прямоугольник 9"/>
          <p:cNvSpPr/>
          <p:nvPr userDrawn="1"/>
        </p:nvSpPr>
        <p:spPr bwMode="auto">
          <a:xfrm>
            <a:off x="8429206" y="6327669"/>
            <a:ext cx="708444" cy="504825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243" tIns="45622" rIns="91243" bIns="45622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</a:pPr>
            <a:endParaRPr kumimoji="1" lang="ru-RU" sz="1000" smtClean="0">
              <a:solidFill>
                <a:srgbClr val="00294F"/>
              </a:solidFill>
              <a:latin typeface="Tahoma" pitchFamily="34" charset="0"/>
              <a:ea typeface="PMingLiU" pitchFamily="18" charset="-120"/>
            </a:endParaRPr>
          </a:p>
        </p:txBody>
      </p:sp>
      <p:sp>
        <p:nvSpPr>
          <p:cNvPr id="18" name="Текст 3"/>
          <p:cNvSpPr>
            <a:spLocks noGrp="1"/>
          </p:cNvSpPr>
          <p:nvPr>
            <p:ph type="body" sz="half" idx="10" hasCustomPrompt="1"/>
          </p:nvPr>
        </p:nvSpPr>
        <p:spPr>
          <a:xfrm>
            <a:off x="7200000" y="6210000"/>
            <a:ext cx="1656000" cy="396000"/>
          </a:xfrm>
        </p:spPr>
        <p:txBody>
          <a:bodyPr anchor="ctr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100">
                <a:solidFill>
                  <a:schemeClr val="tx2"/>
                </a:solidFill>
              </a:defRPr>
            </a:lvl1pPr>
            <a:lvl2pPr marL="456234" indent="0">
              <a:buNone/>
              <a:defRPr sz="1200"/>
            </a:lvl2pPr>
            <a:lvl3pPr marL="912468" indent="0">
              <a:buNone/>
              <a:defRPr sz="1000"/>
            </a:lvl3pPr>
            <a:lvl4pPr marL="1368700" indent="0">
              <a:buNone/>
              <a:defRPr sz="900"/>
            </a:lvl4pPr>
            <a:lvl5pPr marL="1824935" indent="0">
              <a:buNone/>
              <a:defRPr sz="900"/>
            </a:lvl5pPr>
            <a:lvl6pPr marL="2281167" indent="0">
              <a:buNone/>
              <a:defRPr sz="900"/>
            </a:lvl6pPr>
            <a:lvl7pPr marL="2737394" indent="0">
              <a:buNone/>
              <a:defRPr sz="900"/>
            </a:lvl7pPr>
            <a:lvl8pPr marL="3193635" indent="0">
              <a:buNone/>
              <a:defRPr sz="900"/>
            </a:lvl8pPr>
            <a:lvl9pPr marL="3649869" indent="0">
              <a:buNone/>
              <a:defRPr sz="900"/>
            </a:lvl9pPr>
          </a:lstStyle>
          <a:p>
            <a:pPr lvl="0"/>
            <a:r>
              <a:rPr lang="ru-RU" dirty="0" smtClean="0"/>
              <a:t>Телефон и </a:t>
            </a:r>
            <a:r>
              <a:rPr lang="en-US" dirty="0" smtClean="0"/>
              <a:t>e-mail</a:t>
            </a:r>
          </a:p>
        </p:txBody>
      </p:sp>
      <p:sp>
        <p:nvSpPr>
          <p:cNvPr id="21" name="Текст 3"/>
          <p:cNvSpPr>
            <a:spLocks noGrp="1"/>
          </p:cNvSpPr>
          <p:nvPr>
            <p:ph type="body" sz="half" idx="12" hasCustomPrompt="1"/>
          </p:nvPr>
        </p:nvSpPr>
        <p:spPr>
          <a:xfrm>
            <a:off x="2088000" y="3096000"/>
            <a:ext cx="4932000" cy="648000"/>
          </a:xfrm>
        </p:spPr>
        <p:txBody>
          <a:bodyPr anchor="ctr"/>
          <a:lstStyle>
            <a:lvl1pPr marL="0" indent="0" algn="ctr">
              <a:lnSpc>
                <a:spcPct val="90000"/>
              </a:lnSpc>
              <a:spcBef>
                <a:spcPts val="0"/>
              </a:spcBef>
              <a:buNone/>
              <a:defRPr sz="3600">
                <a:solidFill>
                  <a:srgbClr val="016EB3"/>
                </a:solidFill>
              </a:defRPr>
            </a:lvl1pPr>
            <a:lvl2pPr marL="456234" indent="0">
              <a:buNone/>
              <a:defRPr sz="1200"/>
            </a:lvl2pPr>
            <a:lvl3pPr marL="912468" indent="0">
              <a:buNone/>
              <a:defRPr sz="1000"/>
            </a:lvl3pPr>
            <a:lvl4pPr marL="1368700" indent="0">
              <a:buNone/>
              <a:defRPr sz="900"/>
            </a:lvl4pPr>
            <a:lvl5pPr marL="1824935" indent="0">
              <a:buNone/>
              <a:defRPr sz="900"/>
            </a:lvl5pPr>
            <a:lvl6pPr marL="2281167" indent="0">
              <a:buNone/>
              <a:defRPr sz="900"/>
            </a:lvl6pPr>
            <a:lvl7pPr marL="2737394" indent="0">
              <a:buNone/>
              <a:defRPr sz="900"/>
            </a:lvl7pPr>
            <a:lvl8pPr marL="3193635" indent="0">
              <a:buNone/>
              <a:defRPr sz="900"/>
            </a:lvl8pPr>
            <a:lvl9pPr marL="3649869" indent="0">
              <a:buNone/>
              <a:defRPr sz="900"/>
            </a:lvl9pPr>
          </a:lstStyle>
          <a:p>
            <a:pPr lvl="0"/>
            <a:r>
              <a:rPr lang="ru-RU" dirty="0" smtClean="0"/>
              <a:t>Спасибо! / </a:t>
            </a:r>
            <a:r>
              <a:rPr lang="en-US" dirty="0" smtClean="0"/>
              <a:t>Thank you!</a:t>
            </a:r>
          </a:p>
        </p:txBody>
      </p:sp>
      <p:sp>
        <p:nvSpPr>
          <p:cNvPr id="28" name="Текст 27"/>
          <p:cNvSpPr>
            <a:spLocks noGrp="1"/>
          </p:cNvSpPr>
          <p:nvPr>
            <p:ph type="body" sz="quarter" idx="14" hasCustomPrompt="1"/>
          </p:nvPr>
        </p:nvSpPr>
        <p:spPr>
          <a:xfrm>
            <a:off x="5112000" y="6210000"/>
            <a:ext cx="2016000" cy="396000"/>
          </a:xfrm>
        </p:spPr>
        <p:txBody>
          <a:bodyPr anchor="ctr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10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ru-RU" dirty="0" smtClean="0"/>
              <a:t>Адрес компании</a:t>
            </a:r>
            <a:endParaRPr lang="ru-RU" dirty="0"/>
          </a:p>
        </p:txBody>
      </p:sp>
      <p:sp>
        <p:nvSpPr>
          <p:cNvPr id="30" name="Текст 29"/>
          <p:cNvSpPr>
            <a:spLocks noGrp="1"/>
          </p:cNvSpPr>
          <p:nvPr>
            <p:ph type="body" sz="quarter" idx="15" hasCustomPrompt="1"/>
          </p:nvPr>
        </p:nvSpPr>
        <p:spPr>
          <a:xfrm>
            <a:off x="2772000" y="6210000"/>
            <a:ext cx="2268000" cy="396000"/>
          </a:xfrm>
        </p:spPr>
        <p:txBody>
          <a:bodyPr anchor="ctr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110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ru-RU" dirty="0" smtClean="0"/>
              <a:t>Управление и Отдел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4095901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gallery dir="l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31778" y="306698"/>
            <a:ext cx="6742113" cy="739775"/>
          </a:xfrm>
          <a:prstGeom prst="rect">
            <a:avLst/>
          </a:prstGeom>
        </p:spPr>
        <p:txBody>
          <a:bodyPr lIns="91243" tIns="45622" rIns="91243" bIns="45622"/>
          <a:lstStyle>
            <a:lvl1pPr>
              <a:defRPr sz="2500"/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15" name="Rectangle 4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EFF660B-5916-42E2-9D88-953A3CB16BD3}" type="slidenum">
              <a:rPr lang="en-US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275602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gallery dir="l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Основн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414000" y="1638000"/>
            <a:ext cx="8316000" cy="4467600"/>
          </a:xfrm>
        </p:spPr>
        <p:txBody>
          <a:bodyPr/>
          <a:lstStyle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de-DE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4"/>
          </p:nvPr>
        </p:nvSpPr>
        <p:spPr>
          <a:xfrm>
            <a:off x="8665706" y="6526188"/>
            <a:ext cx="402094" cy="217518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chemeClr val="bg1"/>
                </a:solidFill>
                <a:latin typeface="+mj-lt"/>
              </a:defRPr>
            </a:lvl1pPr>
          </a:lstStyle>
          <a:p>
            <a:fld id="{8E141AF1-466E-4D9F-B74C-45FFEB47CA13}" type="slidenum">
              <a:rPr lang="de-DE" smtClean="0">
                <a:solidFill>
                  <a:srgbClr val="FFFFFF"/>
                </a:solidFill>
              </a:rPr>
              <a:pPr/>
              <a:t>‹#›</a:t>
            </a:fld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1652954" y="1"/>
            <a:ext cx="7220702" cy="897162"/>
          </a:xfrm>
          <a:prstGeom prst="rect">
            <a:avLst/>
          </a:prstGeom>
          <a:ln/>
          <a:effectLst>
            <a:outerShdw dist="17961" dir="2700000" algn="ctr" rotWithShape="0">
              <a:srgbClr val="FFFFFF"/>
            </a:outerShdw>
          </a:effectLst>
        </p:spPr>
        <p:txBody>
          <a:bodyPr lIns="91243" tIns="45622" rIns="91243" bIns="45622" anchor="ctr"/>
          <a:lstStyle>
            <a:lvl1pPr>
              <a:defRPr kumimoji="1" lang="ru-RU" sz="1700" kern="1200">
                <a:solidFill>
                  <a:srgbClr val="016EB3"/>
                </a:solidFill>
              </a:defRPr>
            </a:lvl1pPr>
          </a:lstStyle>
          <a:p>
            <a:pPr lvl="0" defTabSz="819005"/>
            <a:r>
              <a:rPr lang="ru-RU" smtClean="0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641761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gallery dir="l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1.png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theme" Target="../theme/theme10.xml"/><Relationship Id="rId13" Type="http://schemas.openxmlformats.org/officeDocument/2006/relationships/image" Target="../media/image7.png"/><Relationship Id="rId3" Type="http://schemas.openxmlformats.org/officeDocument/2006/relationships/slideLayout" Target="../slideLayouts/slideLayout73.xml"/><Relationship Id="rId7" Type="http://schemas.openxmlformats.org/officeDocument/2006/relationships/slideLayout" Target="../slideLayouts/slideLayout77.xml"/><Relationship Id="rId12" Type="http://schemas.openxmlformats.org/officeDocument/2006/relationships/image" Target="../media/image6.emf"/><Relationship Id="rId2" Type="http://schemas.openxmlformats.org/officeDocument/2006/relationships/slideLayout" Target="../slideLayouts/slideLayout72.xml"/><Relationship Id="rId1" Type="http://schemas.openxmlformats.org/officeDocument/2006/relationships/slideLayout" Target="../slideLayouts/slideLayout71.xml"/><Relationship Id="rId6" Type="http://schemas.openxmlformats.org/officeDocument/2006/relationships/slideLayout" Target="../slideLayouts/slideLayout76.xml"/><Relationship Id="rId11" Type="http://schemas.openxmlformats.org/officeDocument/2006/relationships/oleObject" Target="../embeddings/oleObject9.bin"/><Relationship Id="rId5" Type="http://schemas.openxmlformats.org/officeDocument/2006/relationships/slideLayout" Target="../slideLayouts/slideLayout75.xml"/><Relationship Id="rId10" Type="http://schemas.openxmlformats.org/officeDocument/2006/relationships/tags" Target="../tags/tag10.xml"/><Relationship Id="rId4" Type="http://schemas.openxmlformats.org/officeDocument/2006/relationships/slideLayout" Target="../slideLayouts/slideLayout74.xml"/><Relationship Id="rId9" Type="http://schemas.openxmlformats.org/officeDocument/2006/relationships/vmlDrawing" Target="../drawings/vmlDrawing9.vml"/><Relationship Id="rId14" Type="http://schemas.openxmlformats.org/officeDocument/2006/relationships/image" Target="../media/image8.png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5.xml"/><Relationship Id="rId13" Type="http://schemas.openxmlformats.org/officeDocument/2006/relationships/image" Target="../media/image6.emf"/><Relationship Id="rId3" Type="http://schemas.openxmlformats.org/officeDocument/2006/relationships/slideLayout" Target="../slideLayouts/slideLayout80.xml"/><Relationship Id="rId7" Type="http://schemas.openxmlformats.org/officeDocument/2006/relationships/slideLayout" Target="../slideLayouts/slideLayout84.xml"/><Relationship Id="rId12" Type="http://schemas.openxmlformats.org/officeDocument/2006/relationships/oleObject" Target="../embeddings/oleObject10.bin"/><Relationship Id="rId2" Type="http://schemas.openxmlformats.org/officeDocument/2006/relationships/slideLayout" Target="../slideLayouts/slideLayout79.xml"/><Relationship Id="rId1" Type="http://schemas.openxmlformats.org/officeDocument/2006/relationships/slideLayout" Target="../slideLayouts/slideLayout78.xml"/><Relationship Id="rId6" Type="http://schemas.openxmlformats.org/officeDocument/2006/relationships/slideLayout" Target="../slideLayouts/slideLayout83.xml"/><Relationship Id="rId11" Type="http://schemas.openxmlformats.org/officeDocument/2006/relationships/tags" Target="../tags/tag11.xml"/><Relationship Id="rId5" Type="http://schemas.openxmlformats.org/officeDocument/2006/relationships/slideLayout" Target="../slideLayouts/slideLayout82.xml"/><Relationship Id="rId15" Type="http://schemas.openxmlformats.org/officeDocument/2006/relationships/image" Target="../media/image8.png"/><Relationship Id="rId10" Type="http://schemas.openxmlformats.org/officeDocument/2006/relationships/vmlDrawing" Target="../drawings/vmlDrawing10.vml"/><Relationship Id="rId4" Type="http://schemas.openxmlformats.org/officeDocument/2006/relationships/slideLayout" Target="../slideLayouts/slideLayout81.xml"/><Relationship Id="rId9" Type="http://schemas.openxmlformats.org/officeDocument/2006/relationships/theme" Target="../theme/theme11.xml"/><Relationship Id="rId14" Type="http://schemas.openxmlformats.org/officeDocument/2006/relationships/image" Target="../media/image7.png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3.xml"/><Relationship Id="rId13" Type="http://schemas.openxmlformats.org/officeDocument/2006/relationships/image" Target="../media/image6.emf"/><Relationship Id="rId3" Type="http://schemas.openxmlformats.org/officeDocument/2006/relationships/slideLayout" Target="../slideLayouts/slideLayout88.xml"/><Relationship Id="rId7" Type="http://schemas.openxmlformats.org/officeDocument/2006/relationships/slideLayout" Target="../slideLayouts/slideLayout92.xml"/><Relationship Id="rId12" Type="http://schemas.openxmlformats.org/officeDocument/2006/relationships/oleObject" Target="../embeddings/oleObject11.bin"/><Relationship Id="rId2" Type="http://schemas.openxmlformats.org/officeDocument/2006/relationships/slideLayout" Target="../slideLayouts/slideLayout87.xml"/><Relationship Id="rId1" Type="http://schemas.openxmlformats.org/officeDocument/2006/relationships/slideLayout" Target="../slideLayouts/slideLayout86.xml"/><Relationship Id="rId6" Type="http://schemas.openxmlformats.org/officeDocument/2006/relationships/slideLayout" Target="../slideLayouts/slideLayout91.xml"/><Relationship Id="rId11" Type="http://schemas.openxmlformats.org/officeDocument/2006/relationships/tags" Target="../tags/tag12.xml"/><Relationship Id="rId5" Type="http://schemas.openxmlformats.org/officeDocument/2006/relationships/slideLayout" Target="../slideLayouts/slideLayout90.xml"/><Relationship Id="rId15" Type="http://schemas.openxmlformats.org/officeDocument/2006/relationships/image" Target="../media/image8.png"/><Relationship Id="rId10" Type="http://schemas.openxmlformats.org/officeDocument/2006/relationships/vmlDrawing" Target="../drawings/vmlDrawing11.vml"/><Relationship Id="rId4" Type="http://schemas.openxmlformats.org/officeDocument/2006/relationships/slideLayout" Target="../slideLayouts/slideLayout89.xml"/><Relationship Id="rId9" Type="http://schemas.openxmlformats.org/officeDocument/2006/relationships/theme" Target="../theme/theme12.xml"/><Relationship Id="rId14" Type="http://schemas.openxmlformats.org/officeDocument/2006/relationships/image" Target="../media/image7.png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1.xml"/><Relationship Id="rId13" Type="http://schemas.openxmlformats.org/officeDocument/2006/relationships/oleObject" Target="../embeddings/oleObject12.bin"/><Relationship Id="rId3" Type="http://schemas.openxmlformats.org/officeDocument/2006/relationships/slideLayout" Target="../slideLayouts/slideLayout96.xml"/><Relationship Id="rId7" Type="http://schemas.openxmlformats.org/officeDocument/2006/relationships/slideLayout" Target="../slideLayouts/slideLayout100.xml"/><Relationship Id="rId12" Type="http://schemas.openxmlformats.org/officeDocument/2006/relationships/tags" Target="../tags/tag13.xml"/><Relationship Id="rId2" Type="http://schemas.openxmlformats.org/officeDocument/2006/relationships/slideLayout" Target="../slideLayouts/slideLayout95.xml"/><Relationship Id="rId16" Type="http://schemas.openxmlformats.org/officeDocument/2006/relationships/image" Target="../media/image8.png"/><Relationship Id="rId1" Type="http://schemas.openxmlformats.org/officeDocument/2006/relationships/slideLayout" Target="../slideLayouts/slideLayout94.xml"/><Relationship Id="rId6" Type="http://schemas.openxmlformats.org/officeDocument/2006/relationships/slideLayout" Target="../slideLayouts/slideLayout99.xml"/><Relationship Id="rId11" Type="http://schemas.openxmlformats.org/officeDocument/2006/relationships/vmlDrawing" Target="../drawings/vmlDrawing12.vml"/><Relationship Id="rId5" Type="http://schemas.openxmlformats.org/officeDocument/2006/relationships/slideLayout" Target="../slideLayouts/slideLayout98.xml"/><Relationship Id="rId15" Type="http://schemas.openxmlformats.org/officeDocument/2006/relationships/image" Target="../media/image7.png"/><Relationship Id="rId10" Type="http://schemas.openxmlformats.org/officeDocument/2006/relationships/theme" Target="../theme/theme13.xml"/><Relationship Id="rId4" Type="http://schemas.openxmlformats.org/officeDocument/2006/relationships/slideLayout" Target="../slideLayouts/slideLayout97.xml"/><Relationship Id="rId9" Type="http://schemas.openxmlformats.org/officeDocument/2006/relationships/slideLayout" Target="../slideLayouts/slideLayout102.xml"/><Relationship Id="rId14" Type="http://schemas.openxmlformats.org/officeDocument/2006/relationships/image" Target="../media/image6.emf"/></Relationships>
</file>

<file path=ppt/slideMasters/_rels/slideMaster1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0.xml"/><Relationship Id="rId13" Type="http://schemas.openxmlformats.org/officeDocument/2006/relationships/oleObject" Target="../embeddings/oleObject13.bin"/><Relationship Id="rId3" Type="http://schemas.openxmlformats.org/officeDocument/2006/relationships/slideLayout" Target="../slideLayouts/slideLayout105.xml"/><Relationship Id="rId7" Type="http://schemas.openxmlformats.org/officeDocument/2006/relationships/slideLayout" Target="../slideLayouts/slideLayout109.xml"/><Relationship Id="rId12" Type="http://schemas.openxmlformats.org/officeDocument/2006/relationships/tags" Target="../tags/tag14.xml"/><Relationship Id="rId2" Type="http://schemas.openxmlformats.org/officeDocument/2006/relationships/slideLayout" Target="../slideLayouts/slideLayout104.xml"/><Relationship Id="rId16" Type="http://schemas.openxmlformats.org/officeDocument/2006/relationships/image" Target="../media/image8.png"/><Relationship Id="rId1" Type="http://schemas.openxmlformats.org/officeDocument/2006/relationships/slideLayout" Target="../slideLayouts/slideLayout103.xml"/><Relationship Id="rId6" Type="http://schemas.openxmlformats.org/officeDocument/2006/relationships/slideLayout" Target="../slideLayouts/slideLayout108.xml"/><Relationship Id="rId11" Type="http://schemas.openxmlformats.org/officeDocument/2006/relationships/vmlDrawing" Target="../drawings/vmlDrawing13.vml"/><Relationship Id="rId5" Type="http://schemas.openxmlformats.org/officeDocument/2006/relationships/slideLayout" Target="../slideLayouts/slideLayout107.xml"/><Relationship Id="rId15" Type="http://schemas.openxmlformats.org/officeDocument/2006/relationships/image" Target="../media/image7.png"/><Relationship Id="rId10" Type="http://schemas.openxmlformats.org/officeDocument/2006/relationships/theme" Target="../theme/theme14.xml"/><Relationship Id="rId4" Type="http://schemas.openxmlformats.org/officeDocument/2006/relationships/slideLayout" Target="../slideLayouts/slideLayout106.xml"/><Relationship Id="rId9" Type="http://schemas.openxmlformats.org/officeDocument/2006/relationships/slideLayout" Target="../slideLayouts/slideLayout111.xml"/><Relationship Id="rId14" Type="http://schemas.openxmlformats.org/officeDocument/2006/relationships/image" Target="../media/image6.emf"/></Relationships>
</file>

<file path=ppt/slideMasters/_rels/slideMaster1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9.xml"/><Relationship Id="rId13" Type="http://schemas.openxmlformats.org/officeDocument/2006/relationships/image" Target="../media/image6.emf"/><Relationship Id="rId3" Type="http://schemas.openxmlformats.org/officeDocument/2006/relationships/slideLayout" Target="../slideLayouts/slideLayout114.xml"/><Relationship Id="rId7" Type="http://schemas.openxmlformats.org/officeDocument/2006/relationships/slideLayout" Target="../slideLayouts/slideLayout118.xml"/><Relationship Id="rId12" Type="http://schemas.openxmlformats.org/officeDocument/2006/relationships/oleObject" Target="../embeddings/oleObject14.bin"/><Relationship Id="rId2" Type="http://schemas.openxmlformats.org/officeDocument/2006/relationships/slideLayout" Target="../slideLayouts/slideLayout113.xml"/><Relationship Id="rId1" Type="http://schemas.openxmlformats.org/officeDocument/2006/relationships/slideLayout" Target="../slideLayouts/slideLayout112.xml"/><Relationship Id="rId6" Type="http://schemas.openxmlformats.org/officeDocument/2006/relationships/slideLayout" Target="../slideLayouts/slideLayout117.xml"/><Relationship Id="rId11" Type="http://schemas.openxmlformats.org/officeDocument/2006/relationships/tags" Target="../tags/tag15.xml"/><Relationship Id="rId5" Type="http://schemas.openxmlformats.org/officeDocument/2006/relationships/slideLayout" Target="../slideLayouts/slideLayout116.xml"/><Relationship Id="rId15" Type="http://schemas.openxmlformats.org/officeDocument/2006/relationships/image" Target="../media/image8.png"/><Relationship Id="rId10" Type="http://schemas.openxmlformats.org/officeDocument/2006/relationships/vmlDrawing" Target="../drawings/vmlDrawing14.vml"/><Relationship Id="rId4" Type="http://schemas.openxmlformats.org/officeDocument/2006/relationships/slideLayout" Target="../slideLayouts/slideLayout115.xml"/><Relationship Id="rId9" Type="http://schemas.openxmlformats.org/officeDocument/2006/relationships/theme" Target="../theme/theme15.xml"/><Relationship Id="rId14" Type="http://schemas.openxmlformats.org/officeDocument/2006/relationships/image" Target="../media/image7.png"/></Relationships>
</file>

<file path=ppt/slideMasters/_rels/slideMaster1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7.xml"/><Relationship Id="rId13" Type="http://schemas.openxmlformats.org/officeDocument/2006/relationships/image" Target="../media/image6.emf"/><Relationship Id="rId3" Type="http://schemas.openxmlformats.org/officeDocument/2006/relationships/slideLayout" Target="../slideLayouts/slideLayout122.xml"/><Relationship Id="rId7" Type="http://schemas.openxmlformats.org/officeDocument/2006/relationships/slideLayout" Target="../slideLayouts/slideLayout126.xml"/><Relationship Id="rId12" Type="http://schemas.openxmlformats.org/officeDocument/2006/relationships/oleObject" Target="../embeddings/oleObject15.bin"/><Relationship Id="rId2" Type="http://schemas.openxmlformats.org/officeDocument/2006/relationships/slideLayout" Target="../slideLayouts/slideLayout121.xml"/><Relationship Id="rId1" Type="http://schemas.openxmlformats.org/officeDocument/2006/relationships/slideLayout" Target="../slideLayouts/slideLayout120.xml"/><Relationship Id="rId6" Type="http://schemas.openxmlformats.org/officeDocument/2006/relationships/slideLayout" Target="../slideLayouts/slideLayout125.xml"/><Relationship Id="rId11" Type="http://schemas.openxmlformats.org/officeDocument/2006/relationships/tags" Target="../tags/tag16.xml"/><Relationship Id="rId5" Type="http://schemas.openxmlformats.org/officeDocument/2006/relationships/slideLayout" Target="../slideLayouts/slideLayout124.xml"/><Relationship Id="rId15" Type="http://schemas.openxmlformats.org/officeDocument/2006/relationships/image" Target="../media/image8.png"/><Relationship Id="rId10" Type="http://schemas.openxmlformats.org/officeDocument/2006/relationships/vmlDrawing" Target="../drawings/vmlDrawing15.vml"/><Relationship Id="rId4" Type="http://schemas.openxmlformats.org/officeDocument/2006/relationships/slideLayout" Target="../slideLayouts/slideLayout123.xml"/><Relationship Id="rId9" Type="http://schemas.openxmlformats.org/officeDocument/2006/relationships/theme" Target="../theme/theme16.xml"/><Relationship Id="rId14" Type="http://schemas.openxmlformats.org/officeDocument/2006/relationships/image" Target="../media/image7.png"/></Relationships>
</file>

<file path=ppt/slideMasters/_rels/slideMaster1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5.xml"/><Relationship Id="rId13" Type="http://schemas.openxmlformats.org/officeDocument/2006/relationships/image" Target="../media/image6.emf"/><Relationship Id="rId3" Type="http://schemas.openxmlformats.org/officeDocument/2006/relationships/slideLayout" Target="../slideLayouts/slideLayout130.xml"/><Relationship Id="rId7" Type="http://schemas.openxmlformats.org/officeDocument/2006/relationships/slideLayout" Target="../slideLayouts/slideLayout134.xml"/><Relationship Id="rId12" Type="http://schemas.openxmlformats.org/officeDocument/2006/relationships/oleObject" Target="../embeddings/oleObject16.bin"/><Relationship Id="rId2" Type="http://schemas.openxmlformats.org/officeDocument/2006/relationships/slideLayout" Target="../slideLayouts/slideLayout129.xml"/><Relationship Id="rId1" Type="http://schemas.openxmlformats.org/officeDocument/2006/relationships/slideLayout" Target="../slideLayouts/slideLayout128.xml"/><Relationship Id="rId6" Type="http://schemas.openxmlformats.org/officeDocument/2006/relationships/slideLayout" Target="../slideLayouts/slideLayout133.xml"/><Relationship Id="rId11" Type="http://schemas.openxmlformats.org/officeDocument/2006/relationships/tags" Target="../tags/tag17.xml"/><Relationship Id="rId5" Type="http://schemas.openxmlformats.org/officeDocument/2006/relationships/slideLayout" Target="../slideLayouts/slideLayout132.xml"/><Relationship Id="rId15" Type="http://schemas.openxmlformats.org/officeDocument/2006/relationships/image" Target="../media/image8.png"/><Relationship Id="rId10" Type="http://schemas.openxmlformats.org/officeDocument/2006/relationships/vmlDrawing" Target="../drawings/vmlDrawing16.vml"/><Relationship Id="rId4" Type="http://schemas.openxmlformats.org/officeDocument/2006/relationships/slideLayout" Target="../slideLayouts/slideLayout131.xml"/><Relationship Id="rId9" Type="http://schemas.openxmlformats.org/officeDocument/2006/relationships/theme" Target="../theme/theme17.xml"/><Relationship Id="rId14" Type="http://schemas.openxmlformats.org/officeDocument/2006/relationships/image" Target="../media/image7.png"/></Relationships>
</file>

<file path=ppt/slideMasters/_rels/slideMaster1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3.xml"/><Relationship Id="rId13" Type="http://schemas.openxmlformats.org/officeDocument/2006/relationships/image" Target="../media/image6.emf"/><Relationship Id="rId3" Type="http://schemas.openxmlformats.org/officeDocument/2006/relationships/slideLayout" Target="../slideLayouts/slideLayout138.xml"/><Relationship Id="rId7" Type="http://schemas.openxmlformats.org/officeDocument/2006/relationships/slideLayout" Target="../slideLayouts/slideLayout142.xml"/><Relationship Id="rId12" Type="http://schemas.openxmlformats.org/officeDocument/2006/relationships/oleObject" Target="../embeddings/oleObject17.bin"/><Relationship Id="rId2" Type="http://schemas.openxmlformats.org/officeDocument/2006/relationships/slideLayout" Target="../slideLayouts/slideLayout137.xml"/><Relationship Id="rId1" Type="http://schemas.openxmlformats.org/officeDocument/2006/relationships/slideLayout" Target="../slideLayouts/slideLayout136.xml"/><Relationship Id="rId6" Type="http://schemas.openxmlformats.org/officeDocument/2006/relationships/slideLayout" Target="../slideLayouts/slideLayout141.xml"/><Relationship Id="rId11" Type="http://schemas.openxmlformats.org/officeDocument/2006/relationships/tags" Target="../tags/tag18.xml"/><Relationship Id="rId5" Type="http://schemas.openxmlformats.org/officeDocument/2006/relationships/slideLayout" Target="../slideLayouts/slideLayout140.xml"/><Relationship Id="rId15" Type="http://schemas.openxmlformats.org/officeDocument/2006/relationships/image" Target="../media/image8.png"/><Relationship Id="rId10" Type="http://schemas.openxmlformats.org/officeDocument/2006/relationships/vmlDrawing" Target="../drawings/vmlDrawing17.vml"/><Relationship Id="rId4" Type="http://schemas.openxmlformats.org/officeDocument/2006/relationships/slideLayout" Target="../slideLayouts/slideLayout139.xml"/><Relationship Id="rId9" Type="http://schemas.openxmlformats.org/officeDocument/2006/relationships/theme" Target="../theme/theme18.xml"/><Relationship Id="rId14" Type="http://schemas.openxmlformats.org/officeDocument/2006/relationships/image" Target="../media/image7.png"/></Relationships>
</file>

<file path=ppt/slideMasters/_rels/slideMaster19.xml.rels><?xml version="1.0" encoding="UTF-8" standalone="yes"?>
<Relationships xmlns="http://schemas.openxmlformats.org/package/2006/relationships"><Relationship Id="rId8" Type="http://schemas.openxmlformats.org/officeDocument/2006/relationships/theme" Target="../theme/theme19.xml"/><Relationship Id="rId13" Type="http://schemas.openxmlformats.org/officeDocument/2006/relationships/tags" Target="../tags/tag21.xml"/><Relationship Id="rId3" Type="http://schemas.openxmlformats.org/officeDocument/2006/relationships/slideLayout" Target="../slideLayouts/slideLayout146.xml"/><Relationship Id="rId7" Type="http://schemas.openxmlformats.org/officeDocument/2006/relationships/slideLayout" Target="../slideLayouts/slideLayout150.xml"/><Relationship Id="rId12" Type="http://schemas.openxmlformats.org/officeDocument/2006/relationships/tags" Target="../tags/tag20.xml"/><Relationship Id="rId2" Type="http://schemas.openxmlformats.org/officeDocument/2006/relationships/slideLayout" Target="../slideLayouts/slideLayout145.xml"/><Relationship Id="rId1" Type="http://schemas.openxmlformats.org/officeDocument/2006/relationships/slideLayout" Target="../slideLayouts/slideLayout144.xml"/><Relationship Id="rId6" Type="http://schemas.openxmlformats.org/officeDocument/2006/relationships/slideLayout" Target="../slideLayouts/slideLayout149.xml"/><Relationship Id="rId11" Type="http://schemas.openxmlformats.org/officeDocument/2006/relationships/tags" Target="../tags/tag19.xml"/><Relationship Id="rId5" Type="http://schemas.openxmlformats.org/officeDocument/2006/relationships/slideLayout" Target="../slideLayouts/slideLayout148.xml"/><Relationship Id="rId10" Type="http://schemas.openxmlformats.org/officeDocument/2006/relationships/customXml" Target="../../customXml/item4.xml"/><Relationship Id="rId4" Type="http://schemas.openxmlformats.org/officeDocument/2006/relationships/slideLayout" Target="../slideLayouts/slideLayout147.xml"/><Relationship Id="rId9" Type="http://schemas.openxmlformats.org/officeDocument/2006/relationships/customXml" Target="../../customXml/item6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.xml"/><Relationship Id="rId13" Type="http://schemas.openxmlformats.org/officeDocument/2006/relationships/oleObject" Target="../embeddings/oleObject1.bin"/><Relationship Id="rId3" Type="http://schemas.openxmlformats.org/officeDocument/2006/relationships/slideLayout" Target="../slideLayouts/slideLayout11.xml"/><Relationship Id="rId7" Type="http://schemas.openxmlformats.org/officeDocument/2006/relationships/slideLayout" Target="../slideLayouts/slideLayout15.xml"/><Relationship Id="rId12" Type="http://schemas.openxmlformats.org/officeDocument/2006/relationships/tags" Target="../tags/tag2.xml"/><Relationship Id="rId2" Type="http://schemas.openxmlformats.org/officeDocument/2006/relationships/slideLayout" Target="../slideLayouts/slideLayout10.xml"/><Relationship Id="rId16" Type="http://schemas.openxmlformats.org/officeDocument/2006/relationships/image" Target="../media/image8.png"/><Relationship Id="rId1" Type="http://schemas.openxmlformats.org/officeDocument/2006/relationships/slideLayout" Target="../slideLayouts/slideLayout9.xml"/><Relationship Id="rId6" Type="http://schemas.openxmlformats.org/officeDocument/2006/relationships/slideLayout" Target="../slideLayouts/slideLayout14.xml"/><Relationship Id="rId11" Type="http://schemas.openxmlformats.org/officeDocument/2006/relationships/vmlDrawing" Target="../drawings/vmlDrawing1.vml"/><Relationship Id="rId5" Type="http://schemas.openxmlformats.org/officeDocument/2006/relationships/slideLayout" Target="../slideLayouts/slideLayout13.xml"/><Relationship Id="rId15" Type="http://schemas.openxmlformats.org/officeDocument/2006/relationships/image" Target="../media/image7.png"/><Relationship Id="rId10" Type="http://schemas.openxmlformats.org/officeDocument/2006/relationships/theme" Target="../theme/theme2.xml"/><Relationship Id="rId4" Type="http://schemas.openxmlformats.org/officeDocument/2006/relationships/slideLayout" Target="../slideLayouts/slideLayout12.xml"/><Relationship Id="rId9" Type="http://schemas.openxmlformats.org/officeDocument/2006/relationships/slideLayout" Target="../slideLayouts/slideLayout17.xml"/><Relationship Id="rId14" Type="http://schemas.openxmlformats.org/officeDocument/2006/relationships/image" Target="../media/image6.emf"/></Relationships>
</file>

<file path=ppt/slideMasters/_rels/slideMaster2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8.xml"/><Relationship Id="rId13" Type="http://schemas.openxmlformats.org/officeDocument/2006/relationships/oleObject" Target="../embeddings/oleObject18.bin"/><Relationship Id="rId3" Type="http://schemas.openxmlformats.org/officeDocument/2006/relationships/slideLayout" Target="../slideLayouts/slideLayout153.xml"/><Relationship Id="rId7" Type="http://schemas.openxmlformats.org/officeDocument/2006/relationships/slideLayout" Target="../slideLayouts/slideLayout157.xml"/><Relationship Id="rId12" Type="http://schemas.openxmlformats.org/officeDocument/2006/relationships/tags" Target="../tags/tag22.xml"/><Relationship Id="rId2" Type="http://schemas.openxmlformats.org/officeDocument/2006/relationships/slideLayout" Target="../slideLayouts/slideLayout152.xml"/><Relationship Id="rId16" Type="http://schemas.openxmlformats.org/officeDocument/2006/relationships/image" Target="../media/image8.png"/><Relationship Id="rId1" Type="http://schemas.openxmlformats.org/officeDocument/2006/relationships/slideLayout" Target="../slideLayouts/slideLayout151.xml"/><Relationship Id="rId6" Type="http://schemas.openxmlformats.org/officeDocument/2006/relationships/slideLayout" Target="../slideLayouts/slideLayout156.xml"/><Relationship Id="rId11" Type="http://schemas.openxmlformats.org/officeDocument/2006/relationships/vmlDrawing" Target="../drawings/vmlDrawing18.vml"/><Relationship Id="rId5" Type="http://schemas.openxmlformats.org/officeDocument/2006/relationships/slideLayout" Target="../slideLayouts/slideLayout155.xml"/><Relationship Id="rId15" Type="http://schemas.openxmlformats.org/officeDocument/2006/relationships/image" Target="../media/image7.png"/><Relationship Id="rId10" Type="http://schemas.openxmlformats.org/officeDocument/2006/relationships/theme" Target="../theme/theme20.xml"/><Relationship Id="rId4" Type="http://schemas.openxmlformats.org/officeDocument/2006/relationships/slideLayout" Target="../slideLayouts/slideLayout154.xml"/><Relationship Id="rId9" Type="http://schemas.openxmlformats.org/officeDocument/2006/relationships/slideLayout" Target="../slideLayouts/slideLayout159.xml"/><Relationship Id="rId14" Type="http://schemas.openxmlformats.org/officeDocument/2006/relationships/image" Target="../media/image6.emf"/></Relationships>
</file>

<file path=ppt/slideMasters/_rels/slideMaster2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7.xml"/><Relationship Id="rId13" Type="http://schemas.openxmlformats.org/officeDocument/2006/relationships/oleObject" Target="../embeddings/oleObject19.bin"/><Relationship Id="rId3" Type="http://schemas.openxmlformats.org/officeDocument/2006/relationships/slideLayout" Target="../slideLayouts/slideLayout162.xml"/><Relationship Id="rId7" Type="http://schemas.openxmlformats.org/officeDocument/2006/relationships/slideLayout" Target="../slideLayouts/slideLayout166.xml"/><Relationship Id="rId12" Type="http://schemas.openxmlformats.org/officeDocument/2006/relationships/tags" Target="../tags/tag23.xml"/><Relationship Id="rId2" Type="http://schemas.openxmlformats.org/officeDocument/2006/relationships/slideLayout" Target="../slideLayouts/slideLayout161.xml"/><Relationship Id="rId16" Type="http://schemas.openxmlformats.org/officeDocument/2006/relationships/image" Target="../media/image8.png"/><Relationship Id="rId1" Type="http://schemas.openxmlformats.org/officeDocument/2006/relationships/slideLayout" Target="../slideLayouts/slideLayout160.xml"/><Relationship Id="rId6" Type="http://schemas.openxmlformats.org/officeDocument/2006/relationships/slideLayout" Target="../slideLayouts/slideLayout165.xml"/><Relationship Id="rId11" Type="http://schemas.openxmlformats.org/officeDocument/2006/relationships/vmlDrawing" Target="../drawings/vmlDrawing19.vml"/><Relationship Id="rId5" Type="http://schemas.openxmlformats.org/officeDocument/2006/relationships/slideLayout" Target="../slideLayouts/slideLayout164.xml"/><Relationship Id="rId15" Type="http://schemas.openxmlformats.org/officeDocument/2006/relationships/image" Target="../media/image7.png"/><Relationship Id="rId10" Type="http://schemas.openxmlformats.org/officeDocument/2006/relationships/theme" Target="../theme/theme21.xml"/><Relationship Id="rId4" Type="http://schemas.openxmlformats.org/officeDocument/2006/relationships/slideLayout" Target="../slideLayouts/slideLayout163.xml"/><Relationship Id="rId9" Type="http://schemas.openxmlformats.org/officeDocument/2006/relationships/slideLayout" Target="../slideLayouts/slideLayout168.xml"/><Relationship Id="rId14" Type="http://schemas.openxmlformats.org/officeDocument/2006/relationships/image" Target="../media/image6.emf"/></Relationships>
</file>

<file path=ppt/slideMasters/_rels/slideMaster22.xml.rels><?xml version="1.0" encoding="UTF-8" standalone="yes"?>
<Relationships xmlns="http://schemas.openxmlformats.org/package/2006/relationships"><Relationship Id="rId8" Type="http://schemas.openxmlformats.org/officeDocument/2006/relationships/theme" Target="../theme/theme22.xml"/><Relationship Id="rId13" Type="http://schemas.openxmlformats.org/officeDocument/2006/relationships/tags" Target="../tags/tag26.xml"/><Relationship Id="rId3" Type="http://schemas.openxmlformats.org/officeDocument/2006/relationships/slideLayout" Target="../slideLayouts/slideLayout171.xml"/><Relationship Id="rId7" Type="http://schemas.openxmlformats.org/officeDocument/2006/relationships/slideLayout" Target="../slideLayouts/slideLayout175.xml"/><Relationship Id="rId12" Type="http://schemas.openxmlformats.org/officeDocument/2006/relationships/tags" Target="../tags/tag25.xml"/><Relationship Id="rId2" Type="http://schemas.openxmlformats.org/officeDocument/2006/relationships/slideLayout" Target="../slideLayouts/slideLayout170.xml"/><Relationship Id="rId1" Type="http://schemas.openxmlformats.org/officeDocument/2006/relationships/slideLayout" Target="../slideLayouts/slideLayout169.xml"/><Relationship Id="rId6" Type="http://schemas.openxmlformats.org/officeDocument/2006/relationships/slideLayout" Target="../slideLayouts/slideLayout174.xml"/><Relationship Id="rId11" Type="http://schemas.openxmlformats.org/officeDocument/2006/relationships/tags" Target="../tags/tag24.xml"/><Relationship Id="rId5" Type="http://schemas.openxmlformats.org/officeDocument/2006/relationships/slideLayout" Target="../slideLayouts/slideLayout173.xml"/><Relationship Id="rId10" Type="http://schemas.openxmlformats.org/officeDocument/2006/relationships/customXml" Target="../../customXml/item11.xml"/><Relationship Id="rId4" Type="http://schemas.openxmlformats.org/officeDocument/2006/relationships/slideLayout" Target="../slideLayouts/slideLayout172.xml"/><Relationship Id="rId9" Type="http://schemas.openxmlformats.org/officeDocument/2006/relationships/customXml" Target="../../customXml/item12.xml"/></Relationships>
</file>

<file path=ppt/slideMasters/_rels/slideMaster23.xml.rels><?xml version="1.0" encoding="UTF-8" standalone="yes"?>
<Relationships xmlns="http://schemas.openxmlformats.org/package/2006/relationships"><Relationship Id="rId8" Type="http://schemas.openxmlformats.org/officeDocument/2006/relationships/theme" Target="../theme/theme23.xml"/><Relationship Id="rId13" Type="http://schemas.openxmlformats.org/officeDocument/2006/relationships/tags" Target="../tags/tag29.xml"/><Relationship Id="rId3" Type="http://schemas.openxmlformats.org/officeDocument/2006/relationships/slideLayout" Target="../slideLayouts/slideLayout178.xml"/><Relationship Id="rId7" Type="http://schemas.openxmlformats.org/officeDocument/2006/relationships/slideLayout" Target="../slideLayouts/slideLayout182.xml"/><Relationship Id="rId12" Type="http://schemas.openxmlformats.org/officeDocument/2006/relationships/tags" Target="../tags/tag28.xml"/><Relationship Id="rId2" Type="http://schemas.openxmlformats.org/officeDocument/2006/relationships/slideLayout" Target="../slideLayouts/slideLayout177.xml"/><Relationship Id="rId1" Type="http://schemas.openxmlformats.org/officeDocument/2006/relationships/slideLayout" Target="../slideLayouts/slideLayout176.xml"/><Relationship Id="rId6" Type="http://schemas.openxmlformats.org/officeDocument/2006/relationships/slideLayout" Target="../slideLayouts/slideLayout181.xml"/><Relationship Id="rId11" Type="http://schemas.openxmlformats.org/officeDocument/2006/relationships/tags" Target="../tags/tag27.xml"/><Relationship Id="rId5" Type="http://schemas.openxmlformats.org/officeDocument/2006/relationships/slideLayout" Target="../slideLayouts/slideLayout180.xml"/><Relationship Id="rId10" Type="http://schemas.openxmlformats.org/officeDocument/2006/relationships/customXml" Target="../../customXml/item8.xml"/><Relationship Id="rId4" Type="http://schemas.openxmlformats.org/officeDocument/2006/relationships/slideLayout" Target="../slideLayouts/slideLayout179.xml"/><Relationship Id="rId9" Type="http://schemas.openxmlformats.org/officeDocument/2006/relationships/customXml" Target="../../customXml/item2.xml"/></Relationships>
</file>

<file path=ppt/slideMasters/_rels/slideMaster2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0.xml"/><Relationship Id="rId13" Type="http://schemas.openxmlformats.org/officeDocument/2006/relationships/oleObject" Target="../embeddings/oleObject20.bin"/><Relationship Id="rId3" Type="http://schemas.openxmlformats.org/officeDocument/2006/relationships/slideLayout" Target="../slideLayouts/slideLayout185.xml"/><Relationship Id="rId7" Type="http://schemas.openxmlformats.org/officeDocument/2006/relationships/slideLayout" Target="../slideLayouts/slideLayout189.xml"/><Relationship Id="rId12" Type="http://schemas.openxmlformats.org/officeDocument/2006/relationships/tags" Target="../tags/tag30.xml"/><Relationship Id="rId2" Type="http://schemas.openxmlformats.org/officeDocument/2006/relationships/slideLayout" Target="../slideLayouts/slideLayout184.xml"/><Relationship Id="rId16" Type="http://schemas.openxmlformats.org/officeDocument/2006/relationships/image" Target="../media/image8.png"/><Relationship Id="rId1" Type="http://schemas.openxmlformats.org/officeDocument/2006/relationships/slideLayout" Target="../slideLayouts/slideLayout183.xml"/><Relationship Id="rId6" Type="http://schemas.openxmlformats.org/officeDocument/2006/relationships/slideLayout" Target="../slideLayouts/slideLayout188.xml"/><Relationship Id="rId11" Type="http://schemas.openxmlformats.org/officeDocument/2006/relationships/vmlDrawing" Target="../drawings/vmlDrawing20.vml"/><Relationship Id="rId5" Type="http://schemas.openxmlformats.org/officeDocument/2006/relationships/slideLayout" Target="../slideLayouts/slideLayout187.xml"/><Relationship Id="rId15" Type="http://schemas.openxmlformats.org/officeDocument/2006/relationships/image" Target="../media/image7.png"/><Relationship Id="rId10" Type="http://schemas.openxmlformats.org/officeDocument/2006/relationships/theme" Target="../theme/theme24.xml"/><Relationship Id="rId4" Type="http://schemas.openxmlformats.org/officeDocument/2006/relationships/slideLayout" Target="../slideLayouts/slideLayout186.xml"/><Relationship Id="rId9" Type="http://schemas.openxmlformats.org/officeDocument/2006/relationships/slideLayout" Target="../slideLayouts/slideLayout191.xml"/><Relationship Id="rId14" Type="http://schemas.openxmlformats.org/officeDocument/2006/relationships/image" Target="../media/image6.emf"/></Relationships>
</file>

<file path=ppt/slideMasters/_rels/slideMaster2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9.xml"/><Relationship Id="rId13" Type="http://schemas.openxmlformats.org/officeDocument/2006/relationships/oleObject" Target="../embeddings/oleObject21.bin"/><Relationship Id="rId3" Type="http://schemas.openxmlformats.org/officeDocument/2006/relationships/slideLayout" Target="../slideLayouts/slideLayout194.xml"/><Relationship Id="rId7" Type="http://schemas.openxmlformats.org/officeDocument/2006/relationships/slideLayout" Target="../slideLayouts/slideLayout198.xml"/><Relationship Id="rId12" Type="http://schemas.openxmlformats.org/officeDocument/2006/relationships/tags" Target="../tags/tag31.xml"/><Relationship Id="rId2" Type="http://schemas.openxmlformats.org/officeDocument/2006/relationships/slideLayout" Target="../slideLayouts/slideLayout193.xml"/><Relationship Id="rId16" Type="http://schemas.openxmlformats.org/officeDocument/2006/relationships/image" Target="../media/image8.png"/><Relationship Id="rId1" Type="http://schemas.openxmlformats.org/officeDocument/2006/relationships/slideLayout" Target="../slideLayouts/slideLayout192.xml"/><Relationship Id="rId6" Type="http://schemas.openxmlformats.org/officeDocument/2006/relationships/slideLayout" Target="../slideLayouts/slideLayout197.xml"/><Relationship Id="rId11" Type="http://schemas.openxmlformats.org/officeDocument/2006/relationships/vmlDrawing" Target="../drawings/vmlDrawing21.vml"/><Relationship Id="rId5" Type="http://schemas.openxmlformats.org/officeDocument/2006/relationships/slideLayout" Target="../slideLayouts/slideLayout196.xml"/><Relationship Id="rId15" Type="http://schemas.openxmlformats.org/officeDocument/2006/relationships/image" Target="../media/image7.png"/><Relationship Id="rId10" Type="http://schemas.openxmlformats.org/officeDocument/2006/relationships/theme" Target="../theme/theme25.xml"/><Relationship Id="rId4" Type="http://schemas.openxmlformats.org/officeDocument/2006/relationships/slideLayout" Target="../slideLayouts/slideLayout195.xml"/><Relationship Id="rId9" Type="http://schemas.openxmlformats.org/officeDocument/2006/relationships/slideLayout" Target="../slideLayouts/slideLayout200.xml"/><Relationship Id="rId14" Type="http://schemas.openxmlformats.org/officeDocument/2006/relationships/image" Target="../media/image6.emf"/></Relationships>
</file>

<file path=ppt/slideMasters/_rels/slideMaster26.xml.rels><?xml version="1.0" encoding="UTF-8" standalone="yes"?>
<Relationships xmlns="http://schemas.openxmlformats.org/package/2006/relationships"><Relationship Id="rId8" Type="http://schemas.openxmlformats.org/officeDocument/2006/relationships/theme" Target="../theme/theme26.xml"/><Relationship Id="rId13" Type="http://schemas.openxmlformats.org/officeDocument/2006/relationships/tags" Target="../tags/tag34.xml"/><Relationship Id="rId3" Type="http://schemas.openxmlformats.org/officeDocument/2006/relationships/slideLayout" Target="../slideLayouts/slideLayout203.xml"/><Relationship Id="rId7" Type="http://schemas.openxmlformats.org/officeDocument/2006/relationships/slideLayout" Target="../slideLayouts/slideLayout207.xml"/><Relationship Id="rId12" Type="http://schemas.openxmlformats.org/officeDocument/2006/relationships/tags" Target="../tags/tag33.xml"/><Relationship Id="rId2" Type="http://schemas.openxmlformats.org/officeDocument/2006/relationships/slideLayout" Target="../slideLayouts/slideLayout202.xml"/><Relationship Id="rId1" Type="http://schemas.openxmlformats.org/officeDocument/2006/relationships/slideLayout" Target="../slideLayouts/slideLayout201.xml"/><Relationship Id="rId6" Type="http://schemas.openxmlformats.org/officeDocument/2006/relationships/slideLayout" Target="../slideLayouts/slideLayout206.xml"/><Relationship Id="rId11" Type="http://schemas.openxmlformats.org/officeDocument/2006/relationships/tags" Target="../tags/tag32.xml"/><Relationship Id="rId5" Type="http://schemas.openxmlformats.org/officeDocument/2006/relationships/slideLayout" Target="../slideLayouts/slideLayout205.xml"/><Relationship Id="rId10" Type="http://schemas.openxmlformats.org/officeDocument/2006/relationships/customXml" Target="../../customXml/item9.xml"/><Relationship Id="rId4" Type="http://schemas.openxmlformats.org/officeDocument/2006/relationships/slideLayout" Target="../slideLayouts/slideLayout204.xml"/><Relationship Id="rId9" Type="http://schemas.openxmlformats.org/officeDocument/2006/relationships/customXml" Target="../../customXml/item10.xml"/></Relationships>
</file>

<file path=ppt/slideMasters/_rels/slideMaster27.xml.rels><?xml version="1.0" encoding="UTF-8" standalone="yes"?>
<Relationships xmlns="http://schemas.openxmlformats.org/package/2006/relationships"><Relationship Id="rId8" Type="http://schemas.openxmlformats.org/officeDocument/2006/relationships/theme" Target="../theme/theme27.xml"/><Relationship Id="rId13" Type="http://schemas.openxmlformats.org/officeDocument/2006/relationships/tags" Target="../tags/tag37.xml"/><Relationship Id="rId3" Type="http://schemas.openxmlformats.org/officeDocument/2006/relationships/slideLayout" Target="../slideLayouts/slideLayout210.xml"/><Relationship Id="rId7" Type="http://schemas.openxmlformats.org/officeDocument/2006/relationships/slideLayout" Target="../slideLayouts/slideLayout214.xml"/><Relationship Id="rId12" Type="http://schemas.openxmlformats.org/officeDocument/2006/relationships/tags" Target="../tags/tag36.xml"/><Relationship Id="rId2" Type="http://schemas.openxmlformats.org/officeDocument/2006/relationships/slideLayout" Target="../slideLayouts/slideLayout209.xml"/><Relationship Id="rId1" Type="http://schemas.openxmlformats.org/officeDocument/2006/relationships/slideLayout" Target="../slideLayouts/slideLayout208.xml"/><Relationship Id="rId6" Type="http://schemas.openxmlformats.org/officeDocument/2006/relationships/slideLayout" Target="../slideLayouts/slideLayout213.xml"/><Relationship Id="rId11" Type="http://schemas.openxmlformats.org/officeDocument/2006/relationships/tags" Target="../tags/tag35.xml"/><Relationship Id="rId5" Type="http://schemas.openxmlformats.org/officeDocument/2006/relationships/slideLayout" Target="../slideLayouts/slideLayout212.xml"/><Relationship Id="rId10" Type="http://schemas.openxmlformats.org/officeDocument/2006/relationships/customXml" Target="../../customXml/item5.xml"/><Relationship Id="rId4" Type="http://schemas.openxmlformats.org/officeDocument/2006/relationships/slideLayout" Target="../slideLayouts/slideLayout211.xml"/><Relationship Id="rId9" Type="http://schemas.openxmlformats.org/officeDocument/2006/relationships/customXml" Target="../../customXml/item1.xml"/></Relationships>
</file>

<file path=ppt/slideMasters/_rels/slideMaster2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22.xml"/><Relationship Id="rId13" Type="http://schemas.openxmlformats.org/officeDocument/2006/relationships/image" Target="../media/image6.emf"/><Relationship Id="rId3" Type="http://schemas.openxmlformats.org/officeDocument/2006/relationships/slideLayout" Target="../slideLayouts/slideLayout217.xml"/><Relationship Id="rId7" Type="http://schemas.openxmlformats.org/officeDocument/2006/relationships/slideLayout" Target="../slideLayouts/slideLayout221.xml"/><Relationship Id="rId12" Type="http://schemas.openxmlformats.org/officeDocument/2006/relationships/oleObject" Target="../embeddings/oleObject22.bin"/><Relationship Id="rId2" Type="http://schemas.openxmlformats.org/officeDocument/2006/relationships/slideLayout" Target="../slideLayouts/slideLayout216.xml"/><Relationship Id="rId1" Type="http://schemas.openxmlformats.org/officeDocument/2006/relationships/slideLayout" Target="../slideLayouts/slideLayout215.xml"/><Relationship Id="rId6" Type="http://schemas.openxmlformats.org/officeDocument/2006/relationships/slideLayout" Target="../slideLayouts/slideLayout220.xml"/><Relationship Id="rId11" Type="http://schemas.openxmlformats.org/officeDocument/2006/relationships/tags" Target="../tags/tag38.xml"/><Relationship Id="rId5" Type="http://schemas.openxmlformats.org/officeDocument/2006/relationships/slideLayout" Target="../slideLayouts/slideLayout219.xml"/><Relationship Id="rId15" Type="http://schemas.openxmlformats.org/officeDocument/2006/relationships/image" Target="../media/image8.png"/><Relationship Id="rId10" Type="http://schemas.openxmlformats.org/officeDocument/2006/relationships/vmlDrawing" Target="../drawings/vmlDrawing22.vml"/><Relationship Id="rId4" Type="http://schemas.openxmlformats.org/officeDocument/2006/relationships/slideLayout" Target="../slideLayouts/slideLayout218.xml"/><Relationship Id="rId9" Type="http://schemas.openxmlformats.org/officeDocument/2006/relationships/theme" Target="../theme/theme28.xml"/><Relationship Id="rId14" Type="http://schemas.openxmlformats.org/officeDocument/2006/relationships/image" Target="../media/image7.png"/></Relationships>
</file>

<file path=ppt/slideMasters/_rels/slideMaster2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0.xml"/><Relationship Id="rId13" Type="http://schemas.openxmlformats.org/officeDocument/2006/relationships/image" Target="../media/image6.emf"/><Relationship Id="rId3" Type="http://schemas.openxmlformats.org/officeDocument/2006/relationships/slideLayout" Target="../slideLayouts/slideLayout225.xml"/><Relationship Id="rId7" Type="http://schemas.openxmlformats.org/officeDocument/2006/relationships/slideLayout" Target="../slideLayouts/slideLayout229.xml"/><Relationship Id="rId12" Type="http://schemas.openxmlformats.org/officeDocument/2006/relationships/oleObject" Target="../embeddings/oleObject23.bin"/><Relationship Id="rId2" Type="http://schemas.openxmlformats.org/officeDocument/2006/relationships/slideLayout" Target="../slideLayouts/slideLayout224.xml"/><Relationship Id="rId1" Type="http://schemas.openxmlformats.org/officeDocument/2006/relationships/slideLayout" Target="../slideLayouts/slideLayout223.xml"/><Relationship Id="rId6" Type="http://schemas.openxmlformats.org/officeDocument/2006/relationships/slideLayout" Target="../slideLayouts/slideLayout228.xml"/><Relationship Id="rId11" Type="http://schemas.openxmlformats.org/officeDocument/2006/relationships/tags" Target="../tags/tag39.xml"/><Relationship Id="rId5" Type="http://schemas.openxmlformats.org/officeDocument/2006/relationships/slideLayout" Target="../slideLayouts/slideLayout227.xml"/><Relationship Id="rId15" Type="http://schemas.openxmlformats.org/officeDocument/2006/relationships/image" Target="../media/image8.png"/><Relationship Id="rId10" Type="http://schemas.openxmlformats.org/officeDocument/2006/relationships/vmlDrawing" Target="../drawings/vmlDrawing23.vml"/><Relationship Id="rId4" Type="http://schemas.openxmlformats.org/officeDocument/2006/relationships/slideLayout" Target="../slideLayouts/slideLayout226.xml"/><Relationship Id="rId9" Type="http://schemas.openxmlformats.org/officeDocument/2006/relationships/theme" Target="../theme/theme29.xml"/><Relationship Id="rId14" Type="http://schemas.openxmlformats.org/officeDocument/2006/relationships/image" Target="../media/image7.pn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5.xml"/><Relationship Id="rId13" Type="http://schemas.openxmlformats.org/officeDocument/2006/relationships/image" Target="../media/image6.emf"/><Relationship Id="rId3" Type="http://schemas.openxmlformats.org/officeDocument/2006/relationships/slideLayout" Target="../slideLayouts/slideLayout20.xml"/><Relationship Id="rId7" Type="http://schemas.openxmlformats.org/officeDocument/2006/relationships/slideLayout" Target="../slideLayouts/slideLayout24.xml"/><Relationship Id="rId12" Type="http://schemas.openxmlformats.org/officeDocument/2006/relationships/oleObject" Target="../embeddings/oleObject2.bin"/><Relationship Id="rId2" Type="http://schemas.openxmlformats.org/officeDocument/2006/relationships/slideLayout" Target="../slideLayouts/slideLayout19.xml"/><Relationship Id="rId1" Type="http://schemas.openxmlformats.org/officeDocument/2006/relationships/slideLayout" Target="../slideLayouts/slideLayout18.xml"/><Relationship Id="rId6" Type="http://schemas.openxmlformats.org/officeDocument/2006/relationships/slideLayout" Target="../slideLayouts/slideLayout23.xml"/><Relationship Id="rId11" Type="http://schemas.openxmlformats.org/officeDocument/2006/relationships/tags" Target="../tags/tag3.xml"/><Relationship Id="rId5" Type="http://schemas.openxmlformats.org/officeDocument/2006/relationships/slideLayout" Target="../slideLayouts/slideLayout22.xml"/><Relationship Id="rId15" Type="http://schemas.openxmlformats.org/officeDocument/2006/relationships/image" Target="../media/image8.png"/><Relationship Id="rId10" Type="http://schemas.openxmlformats.org/officeDocument/2006/relationships/vmlDrawing" Target="../drawings/vmlDrawing2.vml"/><Relationship Id="rId4" Type="http://schemas.openxmlformats.org/officeDocument/2006/relationships/slideLayout" Target="../slideLayouts/slideLayout21.xml"/><Relationship Id="rId9" Type="http://schemas.openxmlformats.org/officeDocument/2006/relationships/theme" Target="../theme/theme3.xml"/><Relationship Id="rId14" Type="http://schemas.openxmlformats.org/officeDocument/2006/relationships/image" Target="../media/image7.png"/></Relationships>
</file>

<file path=ppt/slideMasters/_rels/slideMaster3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8.xml"/><Relationship Id="rId13" Type="http://schemas.openxmlformats.org/officeDocument/2006/relationships/image" Target="../media/image6.emf"/><Relationship Id="rId3" Type="http://schemas.openxmlformats.org/officeDocument/2006/relationships/slideLayout" Target="../slideLayouts/slideLayout233.xml"/><Relationship Id="rId7" Type="http://schemas.openxmlformats.org/officeDocument/2006/relationships/slideLayout" Target="../slideLayouts/slideLayout237.xml"/><Relationship Id="rId12" Type="http://schemas.openxmlformats.org/officeDocument/2006/relationships/oleObject" Target="../embeddings/oleObject24.bin"/><Relationship Id="rId2" Type="http://schemas.openxmlformats.org/officeDocument/2006/relationships/slideLayout" Target="../slideLayouts/slideLayout232.xml"/><Relationship Id="rId1" Type="http://schemas.openxmlformats.org/officeDocument/2006/relationships/slideLayout" Target="../slideLayouts/slideLayout231.xml"/><Relationship Id="rId6" Type="http://schemas.openxmlformats.org/officeDocument/2006/relationships/slideLayout" Target="../slideLayouts/slideLayout236.xml"/><Relationship Id="rId11" Type="http://schemas.openxmlformats.org/officeDocument/2006/relationships/tags" Target="../tags/tag40.xml"/><Relationship Id="rId5" Type="http://schemas.openxmlformats.org/officeDocument/2006/relationships/slideLayout" Target="../slideLayouts/slideLayout235.xml"/><Relationship Id="rId15" Type="http://schemas.openxmlformats.org/officeDocument/2006/relationships/image" Target="../media/image8.png"/><Relationship Id="rId10" Type="http://schemas.openxmlformats.org/officeDocument/2006/relationships/vmlDrawing" Target="../drawings/vmlDrawing24.vml"/><Relationship Id="rId4" Type="http://schemas.openxmlformats.org/officeDocument/2006/relationships/slideLayout" Target="../slideLayouts/slideLayout234.xml"/><Relationship Id="rId9" Type="http://schemas.openxmlformats.org/officeDocument/2006/relationships/theme" Target="../theme/theme30.xml"/><Relationship Id="rId14" Type="http://schemas.openxmlformats.org/officeDocument/2006/relationships/image" Target="../media/image7.png"/></Relationships>
</file>

<file path=ppt/slideMasters/_rels/slideMaster3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46.xml"/><Relationship Id="rId13" Type="http://schemas.openxmlformats.org/officeDocument/2006/relationships/oleObject" Target="../embeddings/oleObject25.bin"/><Relationship Id="rId3" Type="http://schemas.openxmlformats.org/officeDocument/2006/relationships/slideLayout" Target="../slideLayouts/slideLayout241.xml"/><Relationship Id="rId7" Type="http://schemas.openxmlformats.org/officeDocument/2006/relationships/slideLayout" Target="../slideLayouts/slideLayout245.xml"/><Relationship Id="rId12" Type="http://schemas.openxmlformats.org/officeDocument/2006/relationships/tags" Target="../tags/tag41.xml"/><Relationship Id="rId2" Type="http://schemas.openxmlformats.org/officeDocument/2006/relationships/slideLayout" Target="../slideLayouts/slideLayout240.xml"/><Relationship Id="rId16" Type="http://schemas.openxmlformats.org/officeDocument/2006/relationships/image" Target="../media/image8.png"/><Relationship Id="rId1" Type="http://schemas.openxmlformats.org/officeDocument/2006/relationships/slideLayout" Target="../slideLayouts/slideLayout239.xml"/><Relationship Id="rId6" Type="http://schemas.openxmlformats.org/officeDocument/2006/relationships/slideLayout" Target="../slideLayouts/slideLayout244.xml"/><Relationship Id="rId11" Type="http://schemas.openxmlformats.org/officeDocument/2006/relationships/vmlDrawing" Target="../drawings/vmlDrawing25.vml"/><Relationship Id="rId5" Type="http://schemas.openxmlformats.org/officeDocument/2006/relationships/slideLayout" Target="../slideLayouts/slideLayout243.xml"/><Relationship Id="rId15" Type="http://schemas.openxmlformats.org/officeDocument/2006/relationships/image" Target="../media/image7.png"/><Relationship Id="rId10" Type="http://schemas.openxmlformats.org/officeDocument/2006/relationships/theme" Target="../theme/theme31.xml"/><Relationship Id="rId4" Type="http://schemas.openxmlformats.org/officeDocument/2006/relationships/slideLayout" Target="../slideLayouts/slideLayout242.xml"/><Relationship Id="rId9" Type="http://schemas.openxmlformats.org/officeDocument/2006/relationships/slideLayout" Target="../slideLayouts/slideLayout247.xml"/><Relationship Id="rId14" Type="http://schemas.openxmlformats.org/officeDocument/2006/relationships/image" Target="../media/image6.emf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3.xml"/><Relationship Id="rId13" Type="http://schemas.openxmlformats.org/officeDocument/2006/relationships/image" Target="../media/image6.emf"/><Relationship Id="rId3" Type="http://schemas.openxmlformats.org/officeDocument/2006/relationships/slideLayout" Target="../slideLayouts/slideLayout28.xml"/><Relationship Id="rId7" Type="http://schemas.openxmlformats.org/officeDocument/2006/relationships/slideLayout" Target="../slideLayouts/slideLayout32.xml"/><Relationship Id="rId12" Type="http://schemas.openxmlformats.org/officeDocument/2006/relationships/oleObject" Target="../embeddings/oleObject3.bin"/><Relationship Id="rId2" Type="http://schemas.openxmlformats.org/officeDocument/2006/relationships/slideLayout" Target="../slideLayouts/slideLayout27.xml"/><Relationship Id="rId1" Type="http://schemas.openxmlformats.org/officeDocument/2006/relationships/slideLayout" Target="../slideLayouts/slideLayout26.xml"/><Relationship Id="rId6" Type="http://schemas.openxmlformats.org/officeDocument/2006/relationships/slideLayout" Target="../slideLayouts/slideLayout31.xml"/><Relationship Id="rId11" Type="http://schemas.openxmlformats.org/officeDocument/2006/relationships/tags" Target="../tags/tag4.xml"/><Relationship Id="rId5" Type="http://schemas.openxmlformats.org/officeDocument/2006/relationships/slideLayout" Target="../slideLayouts/slideLayout30.xml"/><Relationship Id="rId15" Type="http://schemas.openxmlformats.org/officeDocument/2006/relationships/image" Target="../media/image8.png"/><Relationship Id="rId10" Type="http://schemas.openxmlformats.org/officeDocument/2006/relationships/vmlDrawing" Target="../drawings/vmlDrawing3.vml"/><Relationship Id="rId4" Type="http://schemas.openxmlformats.org/officeDocument/2006/relationships/slideLayout" Target="../slideLayouts/slideLayout29.xml"/><Relationship Id="rId9" Type="http://schemas.openxmlformats.org/officeDocument/2006/relationships/theme" Target="../theme/theme4.xml"/><Relationship Id="rId14" Type="http://schemas.openxmlformats.org/officeDocument/2006/relationships/image" Target="../media/image7.png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theme" Target="../theme/theme5.xml"/><Relationship Id="rId13" Type="http://schemas.openxmlformats.org/officeDocument/2006/relationships/image" Target="../media/image7.png"/><Relationship Id="rId3" Type="http://schemas.openxmlformats.org/officeDocument/2006/relationships/slideLayout" Target="../slideLayouts/slideLayout36.xml"/><Relationship Id="rId7" Type="http://schemas.openxmlformats.org/officeDocument/2006/relationships/slideLayout" Target="../slideLayouts/slideLayout40.xml"/><Relationship Id="rId12" Type="http://schemas.openxmlformats.org/officeDocument/2006/relationships/image" Target="../media/image6.emf"/><Relationship Id="rId2" Type="http://schemas.openxmlformats.org/officeDocument/2006/relationships/slideLayout" Target="../slideLayouts/slideLayout35.xml"/><Relationship Id="rId1" Type="http://schemas.openxmlformats.org/officeDocument/2006/relationships/slideLayout" Target="../slideLayouts/slideLayout34.xml"/><Relationship Id="rId6" Type="http://schemas.openxmlformats.org/officeDocument/2006/relationships/slideLayout" Target="../slideLayouts/slideLayout39.xml"/><Relationship Id="rId11" Type="http://schemas.openxmlformats.org/officeDocument/2006/relationships/oleObject" Target="../embeddings/oleObject4.bin"/><Relationship Id="rId5" Type="http://schemas.openxmlformats.org/officeDocument/2006/relationships/slideLayout" Target="../slideLayouts/slideLayout38.xml"/><Relationship Id="rId10" Type="http://schemas.openxmlformats.org/officeDocument/2006/relationships/tags" Target="../tags/tag5.xml"/><Relationship Id="rId4" Type="http://schemas.openxmlformats.org/officeDocument/2006/relationships/slideLayout" Target="../slideLayouts/slideLayout37.xml"/><Relationship Id="rId9" Type="http://schemas.openxmlformats.org/officeDocument/2006/relationships/vmlDrawing" Target="../drawings/vmlDrawing4.vml"/><Relationship Id="rId14" Type="http://schemas.openxmlformats.org/officeDocument/2006/relationships/image" Target="../media/image8.png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8.xml"/><Relationship Id="rId13" Type="http://schemas.openxmlformats.org/officeDocument/2006/relationships/image" Target="../media/image6.emf"/><Relationship Id="rId3" Type="http://schemas.openxmlformats.org/officeDocument/2006/relationships/slideLayout" Target="../slideLayouts/slideLayout43.xml"/><Relationship Id="rId7" Type="http://schemas.openxmlformats.org/officeDocument/2006/relationships/slideLayout" Target="../slideLayouts/slideLayout47.xml"/><Relationship Id="rId12" Type="http://schemas.openxmlformats.org/officeDocument/2006/relationships/oleObject" Target="../embeddings/oleObject5.bin"/><Relationship Id="rId2" Type="http://schemas.openxmlformats.org/officeDocument/2006/relationships/slideLayout" Target="../slideLayouts/slideLayout42.xml"/><Relationship Id="rId1" Type="http://schemas.openxmlformats.org/officeDocument/2006/relationships/slideLayout" Target="../slideLayouts/slideLayout41.xml"/><Relationship Id="rId6" Type="http://schemas.openxmlformats.org/officeDocument/2006/relationships/slideLayout" Target="../slideLayouts/slideLayout46.xml"/><Relationship Id="rId11" Type="http://schemas.openxmlformats.org/officeDocument/2006/relationships/tags" Target="../tags/tag6.xml"/><Relationship Id="rId5" Type="http://schemas.openxmlformats.org/officeDocument/2006/relationships/slideLayout" Target="../slideLayouts/slideLayout45.xml"/><Relationship Id="rId15" Type="http://schemas.openxmlformats.org/officeDocument/2006/relationships/image" Target="../media/image8.png"/><Relationship Id="rId10" Type="http://schemas.openxmlformats.org/officeDocument/2006/relationships/vmlDrawing" Target="../drawings/vmlDrawing5.vml"/><Relationship Id="rId4" Type="http://schemas.openxmlformats.org/officeDocument/2006/relationships/slideLayout" Target="../slideLayouts/slideLayout44.xml"/><Relationship Id="rId9" Type="http://schemas.openxmlformats.org/officeDocument/2006/relationships/theme" Target="../theme/theme6.xml"/><Relationship Id="rId14" Type="http://schemas.openxmlformats.org/officeDocument/2006/relationships/image" Target="../media/image7.png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theme" Target="../theme/theme7.xml"/><Relationship Id="rId13" Type="http://schemas.openxmlformats.org/officeDocument/2006/relationships/image" Target="../media/image7.png"/><Relationship Id="rId3" Type="http://schemas.openxmlformats.org/officeDocument/2006/relationships/slideLayout" Target="../slideLayouts/slideLayout51.xml"/><Relationship Id="rId7" Type="http://schemas.openxmlformats.org/officeDocument/2006/relationships/slideLayout" Target="../slideLayouts/slideLayout55.xml"/><Relationship Id="rId12" Type="http://schemas.openxmlformats.org/officeDocument/2006/relationships/image" Target="../media/image6.emf"/><Relationship Id="rId2" Type="http://schemas.openxmlformats.org/officeDocument/2006/relationships/slideLayout" Target="../slideLayouts/slideLayout50.xml"/><Relationship Id="rId1" Type="http://schemas.openxmlformats.org/officeDocument/2006/relationships/slideLayout" Target="../slideLayouts/slideLayout49.xml"/><Relationship Id="rId6" Type="http://schemas.openxmlformats.org/officeDocument/2006/relationships/slideLayout" Target="../slideLayouts/slideLayout54.xml"/><Relationship Id="rId11" Type="http://schemas.openxmlformats.org/officeDocument/2006/relationships/oleObject" Target="../embeddings/oleObject6.bin"/><Relationship Id="rId5" Type="http://schemas.openxmlformats.org/officeDocument/2006/relationships/slideLayout" Target="../slideLayouts/slideLayout53.xml"/><Relationship Id="rId10" Type="http://schemas.openxmlformats.org/officeDocument/2006/relationships/tags" Target="../tags/tag7.xml"/><Relationship Id="rId4" Type="http://schemas.openxmlformats.org/officeDocument/2006/relationships/slideLayout" Target="../slideLayouts/slideLayout52.xml"/><Relationship Id="rId9" Type="http://schemas.openxmlformats.org/officeDocument/2006/relationships/vmlDrawing" Target="../drawings/vmlDrawing6.vml"/><Relationship Id="rId14" Type="http://schemas.openxmlformats.org/officeDocument/2006/relationships/image" Target="../media/image8.png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theme" Target="../theme/theme8.xml"/><Relationship Id="rId13" Type="http://schemas.openxmlformats.org/officeDocument/2006/relationships/image" Target="../media/image7.png"/><Relationship Id="rId3" Type="http://schemas.openxmlformats.org/officeDocument/2006/relationships/slideLayout" Target="../slideLayouts/slideLayout58.xml"/><Relationship Id="rId7" Type="http://schemas.openxmlformats.org/officeDocument/2006/relationships/slideLayout" Target="../slideLayouts/slideLayout62.xml"/><Relationship Id="rId12" Type="http://schemas.openxmlformats.org/officeDocument/2006/relationships/image" Target="../media/image6.emf"/><Relationship Id="rId2" Type="http://schemas.openxmlformats.org/officeDocument/2006/relationships/slideLayout" Target="../slideLayouts/slideLayout57.xml"/><Relationship Id="rId1" Type="http://schemas.openxmlformats.org/officeDocument/2006/relationships/slideLayout" Target="../slideLayouts/slideLayout56.xml"/><Relationship Id="rId6" Type="http://schemas.openxmlformats.org/officeDocument/2006/relationships/slideLayout" Target="../slideLayouts/slideLayout61.xml"/><Relationship Id="rId11" Type="http://schemas.openxmlformats.org/officeDocument/2006/relationships/oleObject" Target="../embeddings/oleObject7.bin"/><Relationship Id="rId5" Type="http://schemas.openxmlformats.org/officeDocument/2006/relationships/slideLayout" Target="../slideLayouts/slideLayout60.xml"/><Relationship Id="rId10" Type="http://schemas.openxmlformats.org/officeDocument/2006/relationships/tags" Target="../tags/tag8.xml"/><Relationship Id="rId4" Type="http://schemas.openxmlformats.org/officeDocument/2006/relationships/slideLayout" Target="../slideLayouts/slideLayout59.xml"/><Relationship Id="rId9" Type="http://schemas.openxmlformats.org/officeDocument/2006/relationships/vmlDrawing" Target="../drawings/vmlDrawing7.vml"/><Relationship Id="rId14" Type="http://schemas.openxmlformats.org/officeDocument/2006/relationships/image" Target="../media/image8.png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0.xml"/><Relationship Id="rId13" Type="http://schemas.openxmlformats.org/officeDocument/2006/relationships/image" Target="../media/image6.emf"/><Relationship Id="rId3" Type="http://schemas.openxmlformats.org/officeDocument/2006/relationships/slideLayout" Target="../slideLayouts/slideLayout65.xml"/><Relationship Id="rId7" Type="http://schemas.openxmlformats.org/officeDocument/2006/relationships/slideLayout" Target="../slideLayouts/slideLayout69.xml"/><Relationship Id="rId12" Type="http://schemas.openxmlformats.org/officeDocument/2006/relationships/oleObject" Target="../embeddings/oleObject8.bin"/><Relationship Id="rId2" Type="http://schemas.openxmlformats.org/officeDocument/2006/relationships/slideLayout" Target="../slideLayouts/slideLayout64.xml"/><Relationship Id="rId1" Type="http://schemas.openxmlformats.org/officeDocument/2006/relationships/slideLayout" Target="../slideLayouts/slideLayout63.xml"/><Relationship Id="rId6" Type="http://schemas.openxmlformats.org/officeDocument/2006/relationships/slideLayout" Target="../slideLayouts/slideLayout68.xml"/><Relationship Id="rId11" Type="http://schemas.openxmlformats.org/officeDocument/2006/relationships/tags" Target="../tags/tag9.xml"/><Relationship Id="rId5" Type="http://schemas.openxmlformats.org/officeDocument/2006/relationships/slideLayout" Target="../slideLayouts/slideLayout67.xml"/><Relationship Id="rId15" Type="http://schemas.openxmlformats.org/officeDocument/2006/relationships/image" Target="../media/image8.png"/><Relationship Id="rId10" Type="http://schemas.openxmlformats.org/officeDocument/2006/relationships/vmlDrawing" Target="../drawings/vmlDrawing8.vml"/><Relationship Id="rId4" Type="http://schemas.openxmlformats.org/officeDocument/2006/relationships/slideLayout" Target="../slideLayouts/slideLayout66.xml"/><Relationship Id="rId9" Type="http://schemas.openxmlformats.org/officeDocument/2006/relationships/theme" Target="../theme/theme9.xml"/><Relationship Id="rId14" Type="http://schemas.openxmlformats.org/officeDocument/2006/relationships/image" Target="../media/image7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5" name="Rectangle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386580" y="1465263"/>
            <a:ext cx="8370887" cy="434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r>
              <a:rPr kumimoji="0" lang="en-US" kern="0" dirty="0" smtClean="0"/>
              <a:t>Click to edit Master text styles</a:t>
            </a:r>
          </a:p>
          <a:p>
            <a:pPr lvl="1"/>
            <a:r>
              <a:rPr kumimoji="0" lang="en-US" kern="0" dirty="0" smtClean="0"/>
              <a:t>Second level</a:t>
            </a:r>
          </a:p>
          <a:p>
            <a:pPr lvl="2"/>
            <a:r>
              <a:rPr kumimoji="0" lang="en-US" kern="0" dirty="0" smtClean="0"/>
              <a:t>Third level</a:t>
            </a:r>
          </a:p>
        </p:txBody>
      </p:sp>
      <p:sp>
        <p:nvSpPr>
          <p:cNvPr id="906267" name="Line 27"/>
          <p:cNvSpPr>
            <a:spLocks noChangeShapeType="1"/>
          </p:cNvSpPr>
          <p:nvPr/>
        </p:nvSpPr>
        <p:spPr bwMode="auto">
          <a:xfrm>
            <a:off x="252000" y="903288"/>
            <a:ext cx="8640000" cy="0"/>
          </a:xfrm>
          <a:prstGeom prst="line">
            <a:avLst/>
          </a:prstGeom>
          <a:noFill/>
          <a:ln w="28575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lIns="91243" tIns="45622" rIns="91243" bIns="45622"/>
          <a:lstStyle/>
          <a:p>
            <a:pPr fontAlgn="base">
              <a:spcBef>
                <a:spcPct val="50000"/>
              </a:spcBef>
              <a:spcAft>
                <a:spcPct val="0"/>
              </a:spcAft>
              <a:defRPr/>
            </a:pPr>
            <a:endParaRPr kumimoji="1" lang="ru-RU" sz="1000" dirty="0">
              <a:solidFill>
                <a:srgbClr val="002766"/>
              </a:solidFill>
              <a:latin typeface="Tahoma" pitchFamily="34" charset="0"/>
              <a:ea typeface="PMingLiU" pitchFamily="18" charset="-120"/>
            </a:endParaRPr>
          </a:p>
        </p:txBody>
      </p:sp>
      <p:sp>
        <p:nvSpPr>
          <p:cNvPr id="9" name="GS Doctop Placeholder" hidden="1"/>
          <p:cNvSpPr txBox="1"/>
          <p:nvPr/>
        </p:nvSpPr>
        <p:spPr>
          <a:xfrm>
            <a:off x="546102" y="17"/>
            <a:ext cx="5651500" cy="215246"/>
          </a:xfrm>
          <a:prstGeom prst="rect">
            <a:avLst/>
          </a:prstGeom>
          <a:noFill/>
        </p:spPr>
        <p:txBody>
          <a:bodyPr vert="horz" lIns="91243" tIns="45622" rIns="91243" bIns="45622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kumimoji="1" lang="en-GB" sz="800">
                <a:solidFill>
                  <a:srgbClr val="002766"/>
                </a:solidFill>
                <a:ea typeface="PMingLiU" pitchFamily="18" charset="-120"/>
              </a:rPr>
              <a:t>ALMAZ2013\IPO\Roadshow\October Roadshow\Presentation\13 10 13 Roadshow Presentation RUS vF.pptx</a:t>
            </a:r>
            <a:endParaRPr kumimoji="1" lang="en-US" sz="800" dirty="0">
              <a:solidFill>
                <a:srgbClr val="002766"/>
              </a:solidFill>
              <a:ea typeface="PMingLiU" pitchFamily="18" charset="-120"/>
            </a:endParaRPr>
          </a:p>
        </p:txBody>
      </p:sp>
      <p:sp>
        <p:nvSpPr>
          <p:cNvPr id="12" name="Прямоугольник 11"/>
          <p:cNvSpPr/>
          <p:nvPr/>
        </p:nvSpPr>
        <p:spPr bwMode="auto">
          <a:xfrm>
            <a:off x="8671460" y="6516023"/>
            <a:ext cx="468000" cy="219075"/>
          </a:xfrm>
          <a:prstGeom prst="rect">
            <a:avLst/>
          </a:prstGeom>
          <a:solidFill>
            <a:srgbClr val="016EB3"/>
          </a:solidFill>
          <a:ln w="9525" cap="flat" cmpd="sng" algn="ctr">
            <a:solidFill>
              <a:srgbClr val="016EB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243" tIns="45622" rIns="91243" bIns="45622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</a:pPr>
            <a:endParaRPr kumimoji="1" lang="ru-RU" sz="1000">
              <a:solidFill>
                <a:srgbClr val="0072B6"/>
              </a:solidFill>
              <a:latin typeface="Tahoma" pitchFamily="34" charset="0"/>
              <a:ea typeface="PMingLiU" pitchFamily="18" charset="-120"/>
            </a:endParaRPr>
          </a:p>
        </p:txBody>
      </p:sp>
      <p:sp>
        <p:nvSpPr>
          <p:cNvPr id="10" name="Slide Number Placeholder 8"/>
          <p:cNvSpPr>
            <a:spLocks noGrp="1"/>
          </p:cNvSpPr>
          <p:nvPr>
            <p:ph type="sldNum" sz="quarter" idx="4"/>
          </p:nvPr>
        </p:nvSpPr>
        <p:spPr>
          <a:xfrm>
            <a:off x="8741906" y="6517642"/>
            <a:ext cx="402094" cy="217518"/>
          </a:xfrm>
          <a:prstGeom prst="rect">
            <a:avLst/>
          </a:prstGeom>
        </p:spPr>
        <p:txBody>
          <a:bodyPr lIns="91243" tIns="45622" rIns="91243" bIns="45622"/>
          <a:lstStyle>
            <a:lvl1pPr>
              <a:defRPr sz="800">
                <a:solidFill>
                  <a:schemeClr val="bg1"/>
                </a:solidFill>
                <a:latin typeface="+mj-lt"/>
              </a:defRPr>
            </a:lvl1pPr>
          </a:lstStyle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7" name="Полилиния 6"/>
          <p:cNvSpPr/>
          <p:nvPr userDrawn="1"/>
        </p:nvSpPr>
        <p:spPr>
          <a:xfrm>
            <a:off x="1475657" y="214290"/>
            <a:ext cx="7668344" cy="414000"/>
          </a:xfrm>
          <a:custGeom>
            <a:avLst/>
            <a:gdLst>
              <a:gd name="connsiteX0" fmla="*/ 0 w 5786446"/>
              <a:gd name="connsiteY0" fmla="*/ 0 h 428628"/>
              <a:gd name="connsiteX1" fmla="*/ 5786446 w 5786446"/>
              <a:gd name="connsiteY1" fmla="*/ 0 h 428628"/>
              <a:gd name="connsiteX2" fmla="*/ 5786446 w 5786446"/>
              <a:gd name="connsiteY2" fmla="*/ 428628 h 428628"/>
              <a:gd name="connsiteX3" fmla="*/ 0 w 5786446"/>
              <a:gd name="connsiteY3" fmla="*/ 428628 h 428628"/>
              <a:gd name="connsiteX4" fmla="*/ 0 w 5786446"/>
              <a:gd name="connsiteY4" fmla="*/ 0 h 428628"/>
              <a:gd name="connsiteX0" fmla="*/ 214282 w 5786446"/>
              <a:gd name="connsiteY0" fmla="*/ 0 h 428628"/>
              <a:gd name="connsiteX1" fmla="*/ 5786446 w 5786446"/>
              <a:gd name="connsiteY1" fmla="*/ 0 h 428628"/>
              <a:gd name="connsiteX2" fmla="*/ 5786446 w 5786446"/>
              <a:gd name="connsiteY2" fmla="*/ 428628 h 428628"/>
              <a:gd name="connsiteX3" fmla="*/ 0 w 5786446"/>
              <a:gd name="connsiteY3" fmla="*/ 428628 h 428628"/>
              <a:gd name="connsiteX4" fmla="*/ 214282 w 5786446"/>
              <a:gd name="connsiteY4" fmla="*/ 0 h 428628"/>
              <a:gd name="connsiteX0" fmla="*/ 214282 w 5786446"/>
              <a:gd name="connsiteY0" fmla="*/ 0 h 428628"/>
              <a:gd name="connsiteX1" fmla="*/ 5786446 w 5786446"/>
              <a:gd name="connsiteY1" fmla="*/ 0 h 428628"/>
              <a:gd name="connsiteX2" fmla="*/ 5786446 w 5786446"/>
              <a:gd name="connsiteY2" fmla="*/ 428628 h 428628"/>
              <a:gd name="connsiteX3" fmla="*/ 0 w 5786446"/>
              <a:gd name="connsiteY3" fmla="*/ 428628 h 428628"/>
              <a:gd name="connsiteX4" fmla="*/ 214282 w 5786446"/>
              <a:gd name="connsiteY4" fmla="*/ 0 h 428628"/>
              <a:gd name="connsiteX0" fmla="*/ 357126 w 5786446"/>
              <a:gd name="connsiteY0" fmla="*/ 0 h 428628"/>
              <a:gd name="connsiteX1" fmla="*/ 5786446 w 5786446"/>
              <a:gd name="connsiteY1" fmla="*/ 0 h 428628"/>
              <a:gd name="connsiteX2" fmla="*/ 5786446 w 5786446"/>
              <a:gd name="connsiteY2" fmla="*/ 428628 h 428628"/>
              <a:gd name="connsiteX3" fmla="*/ 0 w 5786446"/>
              <a:gd name="connsiteY3" fmla="*/ 428628 h 428628"/>
              <a:gd name="connsiteX4" fmla="*/ 357126 w 5786446"/>
              <a:gd name="connsiteY4" fmla="*/ 0 h 428628"/>
              <a:gd name="connsiteX0" fmla="*/ 214218 w 5786446"/>
              <a:gd name="connsiteY0" fmla="*/ 0 h 428628"/>
              <a:gd name="connsiteX1" fmla="*/ 5786446 w 5786446"/>
              <a:gd name="connsiteY1" fmla="*/ 0 h 428628"/>
              <a:gd name="connsiteX2" fmla="*/ 5786446 w 5786446"/>
              <a:gd name="connsiteY2" fmla="*/ 428628 h 428628"/>
              <a:gd name="connsiteX3" fmla="*/ 0 w 5786446"/>
              <a:gd name="connsiteY3" fmla="*/ 428628 h 428628"/>
              <a:gd name="connsiteX4" fmla="*/ 214218 w 5786446"/>
              <a:gd name="connsiteY4" fmla="*/ 0 h 4286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786446" h="428628">
                <a:moveTo>
                  <a:pt x="214218" y="0"/>
                </a:moveTo>
                <a:lnTo>
                  <a:pt x="5786446" y="0"/>
                </a:lnTo>
                <a:lnTo>
                  <a:pt x="5786446" y="428628"/>
                </a:lnTo>
                <a:lnTo>
                  <a:pt x="0" y="428628"/>
                </a:lnTo>
                <a:lnTo>
                  <a:pt x="214218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081" tIns="45542" rIns="91081" bIns="45542" rtlCol="0" anchor="ctr"/>
          <a:lstStyle/>
          <a:p>
            <a:pPr algn="ctr"/>
            <a:endParaRPr lang="ru-RU"/>
          </a:p>
        </p:txBody>
      </p:sp>
      <p:pic>
        <p:nvPicPr>
          <p:cNvPr id="8" name="Picture 2"/>
          <p:cNvPicPr>
            <a:picLocks noChangeAspect="1" noChangeArrowheads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9958" y="91085"/>
            <a:ext cx="935708" cy="66041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flat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9622582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5" r:id="rId1"/>
    <p:sldLayoutId id="2147483716" r:id="rId2"/>
    <p:sldLayoutId id="2147483717" r:id="rId3"/>
    <p:sldLayoutId id="2147483718" r:id="rId4"/>
    <p:sldLayoutId id="2147483719" r:id="rId5"/>
    <p:sldLayoutId id="2147483720" r:id="rId6"/>
    <p:sldLayoutId id="2147483721" r:id="rId7"/>
    <p:sldLayoutId id="2147483722" r:id="rId8"/>
  </p:sldLayoutIdLst>
  <mc:AlternateContent xmlns:mc="http://schemas.openxmlformats.org/markup-compatibility/2006" xmlns:p14="http://schemas.microsoft.com/office/powerpoint/2010/main">
    <mc:Choice Requires="p14">
      <p:transition spd="slow" p14:dur="1600">
        <p14:gallery dir="l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  <p:hf sldNum="0" hdr="0" ft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500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>
          <a:solidFill>
            <a:schemeClr val="tx2"/>
          </a:solidFill>
          <a:latin typeface="Arial" charset="0"/>
          <a:cs typeface="Arial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>
          <a:solidFill>
            <a:schemeClr val="tx2"/>
          </a:solidFill>
          <a:latin typeface="Arial" charset="0"/>
          <a:cs typeface="Arial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>
          <a:solidFill>
            <a:schemeClr val="tx2"/>
          </a:solidFill>
          <a:latin typeface="Arial" charset="0"/>
          <a:cs typeface="Arial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>
          <a:solidFill>
            <a:schemeClr val="tx2"/>
          </a:solidFill>
          <a:latin typeface="Arial" charset="0"/>
          <a:cs typeface="Arial" charset="0"/>
        </a:defRPr>
      </a:lvl5pPr>
      <a:lvl6pPr marL="456234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>
          <a:solidFill>
            <a:schemeClr val="tx2"/>
          </a:solidFill>
          <a:latin typeface="Arial" charset="0"/>
          <a:cs typeface="Arial" charset="0"/>
        </a:defRPr>
      </a:lvl6pPr>
      <a:lvl7pPr marL="912468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>
          <a:solidFill>
            <a:schemeClr val="tx2"/>
          </a:solidFill>
          <a:latin typeface="Arial" charset="0"/>
          <a:cs typeface="Arial" charset="0"/>
        </a:defRPr>
      </a:lvl7pPr>
      <a:lvl8pPr marL="13687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>
          <a:solidFill>
            <a:schemeClr val="tx2"/>
          </a:solidFill>
          <a:latin typeface="Arial" charset="0"/>
          <a:cs typeface="Arial" charset="0"/>
        </a:defRPr>
      </a:lvl8pPr>
      <a:lvl9pPr marL="1824935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marL="228117" indent="-179619" algn="l" rtl="0" eaLnBrk="1" fontAlgn="base" hangingPunct="1">
        <a:lnSpc>
          <a:spcPct val="100000"/>
        </a:lnSpc>
        <a:spcBef>
          <a:spcPts val="0"/>
        </a:spcBef>
        <a:spcAft>
          <a:spcPct val="0"/>
        </a:spcAft>
        <a:buClr>
          <a:srgbClr val="3376D9"/>
        </a:buClr>
        <a:buSzPct val="150000"/>
        <a:buFont typeface="Arial" pitchFamily="34" charset="0"/>
        <a:buChar char="•"/>
        <a:defRPr sz="1200">
          <a:solidFill>
            <a:schemeClr val="tx1"/>
          </a:solidFill>
          <a:latin typeface="+mn-lt"/>
          <a:ea typeface="+mn-ea"/>
          <a:cs typeface="+mn-cs"/>
        </a:defRPr>
      </a:lvl1pPr>
      <a:lvl2pPr marL="431084" indent="-179619" algn="l" rtl="0" eaLnBrk="1" fontAlgn="base" hangingPunct="1">
        <a:lnSpc>
          <a:spcPct val="100000"/>
        </a:lnSpc>
        <a:spcBef>
          <a:spcPts val="0"/>
        </a:spcBef>
        <a:spcAft>
          <a:spcPct val="0"/>
        </a:spcAft>
        <a:buClr>
          <a:schemeClr val="accent6"/>
        </a:buClr>
        <a:buSzPct val="125000"/>
        <a:buFont typeface="Arial" pitchFamily="34" charset="0"/>
        <a:buChar char="•"/>
        <a:defRPr sz="1100">
          <a:solidFill>
            <a:schemeClr val="tx1"/>
          </a:solidFill>
          <a:latin typeface="+mn-lt"/>
          <a:cs typeface="+mn-cs"/>
        </a:defRPr>
      </a:lvl2pPr>
      <a:lvl3pPr marL="718479" indent="-179619" algn="l" rtl="0" eaLnBrk="1" fontAlgn="base" hangingPunct="1">
        <a:lnSpc>
          <a:spcPct val="100000"/>
        </a:lnSpc>
        <a:spcBef>
          <a:spcPts val="0"/>
        </a:spcBef>
        <a:spcAft>
          <a:spcPct val="0"/>
        </a:spcAft>
        <a:buClr>
          <a:schemeClr val="bg2"/>
        </a:buClr>
        <a:buSzPct val="100000"/>
        <a:buFont typeface="Arial" pitchFamily="34" charset="0"/>
        <a:buChar char="•"/>
        <a:defRPr sz="1100" baseline="0">
          <a:solidFill>
            <a:schemeClr val="tx1"/>
          </a:solidFill>
          <a:latin typeface="+mn-lt"/>
          <a:cs typeface="+mn-cs"/>
        </a:defRPr>
      </a:lvl3pPr>
      <a:lvl4pPr marL="1259396" indent="-281977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tx2"/>
        </a:buClr>
        <a:buFont typeface="Wingdings" pitchFamily="2" charset="2"/>
        <a:buChar char="w"/>
        <a:defRPr sz="1600">
          <a:solidFill>
            <a:schemeClr val="tx1"/>
          </a:solidFill>
          <a:latin typeface="+mn-lt"/>
          <a:cs typeface="+mn-cs"/>
        </a:defRPr>
      </a:lvl4pPr>
      <a:lvl5pPr marL="1503353" indent="-242377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tx2"/>
        </a:buClr>
        <a:buFont typeface="Arial" pitchFamily="34" charset="0"/>
        <a:buChar char="–"/>
        <a:defRPr sz="1600">
          <a:solidFill>
            <a:schemeClr val="tx1"/>
          </a:solidFill>
          <a:latin typeface="+mn-lt"/>
          <a:cs typeface="+mn-cs"/>
        </a:defRPr>
      </a:lvl5pPr>
      <a:lvl6pPr marL="1959585" indent="-242377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tx2"/>
        </a:buClr>
        <a:buFont typeface="Arial" charset="0"/>
        <a:buChar char="–"/>
        <a:defRPr sz="1600">
          <a:solidFill>
            <a:schemeClr val="tx1"/>
          </a:solidFill>
          <a:latin typeface="+mn-lt"/>
          <a:cs typeface="+mn-cs"/>
        </a:defRPr>
      </a:lvl6pPr>
      <a:lvl7pPr marL="2415823" indent="-242377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tx2"/>
        </a:buClr>
        <a:buFont typeface="Arial" charset="0"/>
        <a:buChar char="–"/>
        <a:defRPr sz="1600">
          <a:solidFill>
            <a:schemeClr val="tx1"/>
          </a:solidFill>
          <a:latin typeface="+mn-lt"/>
          <a:cs typeface="+mn-cs"/>
        </a:defRPr>
      </a:lvl7pPr>
      <a:lvl8pPr marL="2872056" indent="-242377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tx2"/>
        </a:buClr>
        <a:buFont typeface="Arial" charset="0"/>
        <a:buChar char="–"/>
        <a:defRPr sz="1600">
          <a:solidFill>
            <a:schemeClr val="tx1"/>
          </a:solidFill>
          <a:latin typeface="+mn-lt"/>
          <a:cs typeface="+mn-cs"/>
        </a:defRPr>
      </a:lvl8pPr>
      <a:lvl9pPr marL="3328287" indent="-242377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tx2"/>
        </a:buClr>
        <a:buFont typeface="Arial" charset="0"/>
        <a:buChar char="–"/>
        <a:defRPr sz="16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91246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234" algn="l" defTabSz="91246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2468" algn="l" defTabSz="91246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8700" algn="l" defTabSz="91246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4935" algn="l" defTabSz="91246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1167" algn="l" defTabSz="91246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37394" algn="l" defTabSz="91246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3635" algn="l" defTabSz="91246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49869" algn="l" defTabSz="91246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 userDrawn="1"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1530614885"/>
              </p:ext>
            </p:extLst>
          </p:nvPr>
        </p:nvGraphicFramePr>
        <p:xfrm>
          <a:off x="1590" y="1613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504" name="think-cell Slide" r:id="rId11" imgW="270" imgH="270" progId="TCLayout.ActiveDocument.1">
                  <p:embed/>
                </p:oleObj>
              </mc:Choice>
              <mc:Fallback>
                <p:oleObj name="think-cell Slide" r:id="rId11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90" y="1613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435" name="Rectangle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386582" y="1465263"/>
            <a:ext cx="8370887" cy="434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906267" name="Line 27"/>
          <p:cNvSpPr>
            <a:spLocks noChangeShapeType="1"/>
          </p:cNvSpPr>
          <p:nvPr/>
        </p:nvSpPr>
        <p:spPr bwMode="auto">
          <a:xfrm>
            <a:off x="252000" y="903288"/>
            <a:ext cx="8640000" cy="0"/>
          </a:xfrm>
          <a:prstGeom prst="line">
            <a:avLst/>
          </a:prstGeom>
          <a:noFill/>
          <a:ln w="28575">
            <a:solidFill>
              <a:srgbClr val="016EB3"/>
            </a:solidFill>
            <a:round/>
            <a:headEnd/>
            <a:tailEnd/>
          </a:ln>
          <a:effectLst/>
        </p:spPr>
        <p:txBody>
          <a:bodyPr wrap="none" lIns="91227" tIns="45613" rIns="91227" bIns="45613"/>
          <a:lstStyle/>
          <a:p>
            <a:pPr defTabSz="910706" fontAlgn="base">
              <a:spcBef>
                <a:spcPct val="50000"/>
              </a:spcBef>
              <a:spcAft>
                <a:spcPct val="0"/>
              </a:spcAft>
              <a:defRPr/>
            </a:pPr>
            <a:endParaRPr kumimoji="1" lang="ru-RU" sz="1000" dirty="0">
              <a:solidFill>
                <a:srgbClr val="002766"/>
              </a:solidFill>
              <a:latin typeface="Tahoma" pitchFamily="34" charset="0"/>
              <a:ea typeface="PMingLiU" pitchFamily="18" charset="-120"/>
            </a:endParaRPr>
          </a:p>
        </p:txBody>
      </p:sp>
      <p:sp>
        <p:nvSpPr>
          <p:cNvPr id="9" name="GS Doctop Placeholder" hidden="1"/>
          <p:cNvSpPr txBox="1"/>
          <p:nvPr/>
        </p:nvSpPr>
        <p:spPr>
          <a:xfrm>
            <a:off x="546102" y="18"/>
            <a:ext cx="5651500" cy="215228"/>
          </a:xfrm>
          <a:prstGeom prst="rect">
            <a:avLst/>
          </a:prstGeom>
          <a:noFill/>
        </p:spPr>
        <p:txBody>
          <a:bodyPr vert="horz" lIns="91227" tIns="45613" rIns="91227" bIns="45613" rtlCol="0">
            <a:spAutoFit/>
          </a:bodyPr>
          <a:lstStyle/>
          <a:p>
            <a:pPr defTabSz="910706" fontAlgn="base">
              <a:spcBef>
                <a:spcPct val="0"/>
              </a:spcBef>
              <a:spcAft>
                <a:spcPct val="0"/>
              </a:spcAft>
            </a:pPr>
            <a:r>
              <a:rPr kumimoji="1" lang="en-GB" sz="800" smtClean="0">
                <a:solidFill>
                  <a:srgbClr val="002766"/>
                </a:solidFill>
                <a:ea typeface="PMingLiU" pitchFamily="18" charset="-120"/>
              </a:rPr>
              <a:t>ALMAZ2013\IPO\Roadshow\October Roadshow\Presentation\13 10 13 Roadshow Presentation RUS vF.pptx</a:t>
            </a:r>
            <a:endParaRPr kumimoji="1" lang="en-US" sz="800" dirty="0">
              <a:solidFill>
                <a:srgbClr val="002766"/>
              </a:solidFill>
              <a:ea typeface="PMingLiU" pitchFamily="18" charset="-120"/>
            </a:endParaRPr>
          </a:p>
        </p:txBody>
      </p:sp>
      <p:sp>
        <p:nvSpPr>
          <p:cNvPr id="8" name="Прямоугольник 7"/>
          <p:cNvSpPr/>
          <p:nvPr/>
        </p:nvSpPr>
        <p:spPr bwMode="auto">
          <a:xfrm>
            <a:off x="8671460" y="6516025"/>
            <a:ext cx="468000" cy="219075"/>
          </a:xfrm>
          <a:prstGeom prst="rect">
            <a:avLst/>
          </a:prstGeom>
          <a:solidFill>
            <a:srgbClr val="016EB3"/>
          </a:solidFill>
          <a:ln w="9525" cap="flat" cmpd="sng" algn="ctr">
            <a:solidFill>
              <a:srgbClr val="016EB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227" tIns="45613" rIns="91227" bIns="45613" numCol="1" rtlCol="0" anchor="t" anchorCtr="0" compatLnSpc="1">
            <a:prstTxWarp prst="textNoShape">
              <a:avLst/>
            </a:prstTxWarp>
          </a:bodyPr>
          <a:lstStyle/>
          <a:p>
            <a:pPr defTabSz="910706" fontAlgn="base">
              <a:spcBef>
                <a:spcPct val="50000"/>
              </a:spcBef>
              <a:spcAft>
                <a:spcPct val="0"/>
              </a:spcAft>
            </a:pPr>
            <a:endParaRPr kumimoji="1" lang="ru-RU" sz="1000" smtClean="0">
              <a:solidFill>
                <a:srgbClr val="0072B6"/>
              </a:solidFill>
              <a:latin typeface="Tahoma" pitchFamily="34" charset="0"/>
              <a:ea typeface="PMingLiU" pitchFamily="18" charset="-120"/>
            </a:endParaRPr>
          </a:p>
        </p:txBody>
      </p:sp>
      <p:sp>
        <p:nvSpPr>
          <p:cNvPr id="10" name="Slide Number Placeholder 8"/>
          <p:cNvSpPr>
            <a:spLocks noGrp="1"/>
          </p:cNvSpPr>
          <p:nvPr>
            <p:ph type="sldNum" sz="quarter" idx="4"/>
          </p:nvPr>
        </p:nvSpPr>
        <p:spPr>
          <a:xfrm>
            <a:off x="8681892" y="6521124"/>
            <a:ext cx="402094" cy="217518"/>
          </a:xfrm>
          <a:prstGeom prst="rect">
            <a:avLst/>
          </a:prstGeom>
        </p:spPr>
        <p:txBody>
          <a:bodyPr lIns="91227" tIns="45613" rIns="91227" bIns="45613"/>
          <a:lstStyle>
            <a:lvl1pPr>
              <a:defRPr sz="800">
                <a:solidFill>
                  <a:schemeClr val="bg1"/>
                </a:solidFill>
                <a:latin typeface="+mj-lt"/>
              </a:defRPr>
            </a:lvl1pPr>
          </a:lstStyle>
          <a:p>
            <a:pPr defTabSz="910706" fontAlgn="base">
              <a:spcBef>
                <a:spcPct val="0"/>
              </a:spcBef>
              <a:spcAft>
                <a:spcPct val="0"/>
              </a:spcAft>
            </a:pPr>
            <a:fld id="{8E141AF1-466E-4D9F-B74C-45FFEB47CA13}" type="slidenum">
              <a:rPr kumimoji="1" lang="de-DE" smtClean="0">
                <a:solidFill>
                  <a:srgbClr val="FFFFFF"/>
                </a:solidFill>
                <a:ea typeface="PMingLiU" pitchFamily="18" charset="-120"/>
              </a:rPr>
              <a:pPr defTabSz="910706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kumimoji="1" lang="de-DE" dirty="0">
              <a:solidFill>
                <a:srgbClr val="FFFFFF"/>
              </a:solidFill>
              <a:ea typeface="PMingLiU" pitchFamily="18" charset="-120"/>
            </a:endParaRPr>
          </a:p>
        </p:txBody>
      </p:sp>
    </p:spTree>
    <p:extLst>
      <p:ext uri="{BB962C8B-B14F-4D97-AF65-F5344CB8AC3E}">
        <p14:creationId xmlns:p14="http://schemas.microsoft.com/office/powerpoint/2010/main" val="252863668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3" r:id="rId1"/>
    <p:sldLayoutId id="2147483794" r:id="rId2"/>
    <p:sldLayoutId id="2147483795" r:id="rId3"/>
    <p:sldLayoutId id="2147483796" r:id="rId4"/>
    <p:sldLayoutId id="2147483797" r:id="rId5"/>
    <p:sldLayoutId id="2147483798" r:id="rId6"/>
    <p:sldLayoutId id="2147483799" r:id="rId7"/>
  </p:sldLayoutIdLst>
  <mc:AlternateContent xmlns:mc="http://schemas.openxmlformats.org/markup-compatibility/2006" xmlns:p14="http://schemas.microsoft.com/office/powerpoint/2010/main">
    <mc:Choice Requires="p14">
      <p:transition spd="slow" p14:dur="1600">
        <p14:gallery dir="l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  <p:hf sldNum="0" hdr="0" ft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500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>
          <a:solidFill>
            <a:schemeClr val="tx2"/>
          </a:solidFill>
          <a:latin typeface="Arial" charset="0"/>
          <a:cs typeface="Arial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>
          <a:solidFill>
            <a:schemeClr val="tx2"/>
          </a:solidFill>
          <a:latin typeface="Arial" charset="0"/>
          <a:cs typeface="Arial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>
          <a:solidFill>
            <a:schemeClr val="tx2"/>
          </a:solidFill>
          <a:latin typeface="Arial" charset="0"/>
          <a:cs typeface="Arial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>
          <a:solidFill>
            <a:schemeClr val="tx2"/>
          </a:solidFill>
          <a:latin typeface="Arial" charset="0"/>
          <a:cs typeface="Arial" charset="0"/>
        </a:defRPr>
      </a:lvl5pPr>
      <a:lvl6pPr marL="45615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>
          <a:solidFill>
            <a:schemeClr val="tx2"/>
          </a:solidFill>
          <a:latin typeface="Arial" charset="0"/>
          <a:cs typeface="Arial" charset="0"/>
        </a:defRPr>
      </a:lvl6pPr>
      <a:lvl7pPr marL="9123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>
          <a:solidFill>
            <a:schemeClr val="tx2"/>
          </a:solidFill>
          <a:latin typeface="Arial" charset="0"/>
          <a:cs typeface="Arial" charset="0"/>
        </a:defRPr>
      </a:lvl7pPr>
      <a:lvl8pPr marL="1368448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>
          <a:solidFill>
            <a:schemeClr val="tx2"/>
          </a:solidFill>
          <a:latin typeface="Arial" charset="0"/>
          <a:cs typeface="Arial" charset="0"/>
        </a:defRPr>
      </a:lvl8pPr>
      <a:lvl9pPr marL="1824599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marL="256583" indent="-256583" algn="l" rtl="0" eaLnBrk="1" fontAlgn="base" hangingPunct="1">
        <a:lnSpc>
          <a:spcPct val="110000"/>
        </a:lnSpc>
        <a:spcBef>
          <a:spcPct val="75000"/>
        </a:spcBef>
        <a:spcAft>
          <a:spcPct val="0"/>
        </a:spcAft>
        <a:buClr>
          <a:srgbClr val="3376D9"/>
        </a:buClr>
        <a:buSzPct val="120000"/>
        <a:buFont typeface="Wingdings" pitchFamily="2" charset="2"/>
        <a:buBlip>
          <a:blip r:embed="rId13"/>
        </a:buBlip>
        <a:defRPr sz="1200">
          <a:solidFill>
            <a:schemeClr val="tx1"/>
          </a:solidFill>
          <a:latin typeface="+mn-lt"/>
          <a:ea typeface="+mn-ea"/>
          <a:cs typeface="+mn-cs"/>
        </a:defRPr>
      </a:lvl1pPr>
      <a:lvl2pPr marL="681058" indent="-422888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tx2"/>
        </a:buClr>
        <a:buFont typeface="Arial" pitchFamily="34" charset="0"/>
        <a:buBlip>
          <a:blip r:embed="rId14"/>
        </a:buBlip>
        <a:defRPr sz="1100">
          <a:solidFill>
            <a:schemeClr val="tx1"/>
          </a:solidFill>
          <a:latin typeface="+mn-lt"/>
          <a:cs typeface="+mn-cs"/>
        </a:defRPr>
      </a:lvl2pPr>
      <a:lvl3pPr marL="975651" indent="-293013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bg2"/>
        </a:buClr>
        <a:buSzPct val="85000"/>
        <a:buFont typeface="Wingdings 3" pitchFamily="18" charset="2"/>
        <a:buChar char=""/>
        <a:defRPr sz="1100">
          <a:solidFill>
            <a:schemeClr val="tx1"/>
          </a:solidFill>
          <a:latin typeface="+mn-lt"/>
          <a:cs typeface="+mn-cs"/>
        </a:defRPr>
      </a:lvl3pPr>
      <a:lvl4pPr marL="1259164" indent="-281925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tx2"/>
        </a:buClr>
        <a:buFont typeface="Wingdings" pitchFamily="2" charset="2"/>
        <a:buChar char="w"/>
        <a:defRPr sz="1600">
          <a:solidFill>
            <a:schemeClr val="tx1"/>
          </a:solidFill>
          <a:latin typeface="+mn-lt"/>
          <a:cs typeface="+mn-cs"/>
        </a:defRPr>
      </a:lvl4pPr>
      <a:lvl5pPr marL="1503076" indent="-242333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tx2"/>
        </a:buClr>
        <a:buFont typeface="Arial" pitchFamily="34" charset="0"/>
        <a:buChar char="–"/>
        <a:defRPr sz="1600">
          <a:solidFill>
            <a:schemeClr val="tx1"/>
          </a:solidFill>
          <a:latin typeface="+mn-lt"/>
          <a:cs typeface="+mn-cs"/>
        </a:defRPr>
      </a:lvl5pPr>
      <a:lvl6pPr marL="1959225" indent="-242333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tx2"/>
        </a:buClr>
        <a:buFont typeface="Arial" charset="0"/>
        <a:buChar char="–"/>
        <a:defRPr sz="1600">
          <a:solidFill>
            <a:schemeClr val="tx1"/>
          </a:solidFill>
          <a:latin typeface="+mn-lt"/>
          <a:cs typeface="+mn-cs"/>
        </a:defRPr>
      </a:lvl6pPr>
      <a:lvl7pPr marL="2415378" indent="-242333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tx2"/>
        </a:buClr>
        <a:buFont typeface="Arial" charset="0"/>
        <a:buChar char="–"/>
        <a:defRPr sz="1600">
          <a:solidFill>
            <a:schemeClr val="tx1"/>
          </a:solidFill>
          <a:latin typeface="+mn-lt"/>
          <a:cs typeface="+mn-cs"/>
        </a:defRPr>
      </a:lvl7pPr>
      <a:lvl8pPr marL="2871528" indent="-242333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tx2"/>
        </a:buClr>
        <a:buFont typeface="Arial" charset="0"/>
        <a:buChar char="–"/>
        <a:defRPr sz="1600">
          <a:solidFill>
            <a:schemeClr val="tx1"/>
          </a:solidFill>
          <a:latin typeface="+mn-lt"/>
          <a:cs typeface="+mn-cs"/>
        </a:defRPr>
      </a:lvl8pPr>
      <a:lvl9pPr marL="3327675" indent="-242333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tx2"/>
        </a:buClr>
        <a:buFont typeface="Arial" charset="0"/>
        <a:buChar char="–"/>
        <a:defRPr sz="16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9123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150" algn="l" defTabSz="9123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2300" algn="l" defTabSz="9123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8448" algn="l" defTabSz="9123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4599" algn="l" defTabSz="9123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0748" algn="l" defTabSz="9123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36891" algn="l" defTabSz="9123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3047" algn="l" defTabSz="9123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49197" algn="l" defTabSz="9123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 userDrawn="1"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2467547332"/>
              </p:ext>
            </p:extLst>
          </p:nvPr>
        </p:nvGraphicFramePr>
        <p:xfrm>
          <a:off x="1590" y="1613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527" name="think-cell Slide" r:id="rId12" imgW="270" imgH="270" progId="TCLayout.ActiveDocument.1">
                  <p:embed/>
                </p:oleObj>
              </mc:Choice>
              <mc:Fallback>
                <p:oleObj name="think-cell Slid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90" y="1613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435" name="Rectangle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386582" y="1465263"/>
            <a:ext cx="8370887" cy="434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906267" name="Line 27"/>
          <p:cNvSpPr>
            <a:spLocks noChangeShapeType="1"/>
          </p:cNvSpPr>
          <p:nvPr/>
        </p:nvSpPr>
        <p:spPr bwMode="auto">
          <a:xfrm>
            <a:off x="252000" y="903288"/>
            <a:ext cx="8640000" cy="0"/>
          </a:xfrm>
          <a:prstGeom prst="line">
            <a:avLst/>
          </a:prstGeom>
          <a:noFill/>
          <a:ln w="28575">
            <a:solidFill>
              <a:srgbClr val="016EB3"/>
            </a:solidFill>
            <a:round/>
            <a:headEnd/>
            <a:tailEnd/>
          </a:ln>
          <a:effectLst/>
        </p:spPr>
        <p:txBody>
          <a:bodyPr wrap="none" lIns="91227" tIns="45613" rIns="91227" bIns="45613"/>
          <a:lstStyle/>
          <a:p>
            <a:pPr defTabSz="910706" fontAlgn="base">
              <a:spcBef>
                <a:spcPct val="50000"/>
              </a:spcBef>
              <a:spcAft>
                <a:spcPct val="0"/>
              </a:spcAft>
              <a:defRPr/>
            </a:pPr>
            <a:endParaRPr kumimoji="1" lang="ru-RU" sz="1000" dirty="0">
              <a:solidFill>
                <a:srgbClr val="002766"/>
              </a:solidFill>
              <a:latin typeface="Tahoma" pitchFamily="34" charset="0"/>
              <a:ea typeface="PMingLiU" pitchFamily="18" charset="-120"/>
            </a:endParaRPr>
          </a:p>
        </p:txBody>
      </p:sp>
      <p:sp>
        <p:nvSpPr>
          <p:cNvPr id="9" name="GS Doctop Placeholder" hidden="1"/>
          <p:cNvSpPr txBox="1"/>
          <p:nvPr/>
        </p:nvSpPr>
        <p:spPr>
          <a:xfrm>
            <a:off x="546102" y="18"/>
            <a:ext cx="5651500" cy="215228"/>
          </a:xfrm>
          <a:prstGeom prst="rect">
            <a:avLst/>
          </a:prstGeom>
          <a:noFill/>
        </p:spPr>
        <p:txBody>
          <a:bodyPr vert="horz" lIns="91227" tIns="45613" rIns="91227" bIns="45613" rtlCol="0">
            <a:spAutoFit/>
          </a:bodyPr>
          <a:lstStyle/>
          <a:p>
            <a:pPr defTabSz="910706" fontAlgn="base">
              <a:spcBef>
                <a:spcPct val="0"/>
              </a:spcBef>
              <a:spcAft>
                <a:spcPct val="0"/>
              </a:spcAft>
            </a:pPr>
            <a:r>
              <a:rPr kumimoji="1" lang="en-GB" sz="800" smtClean="0">
                <a:solidFill>
                  <a:srgbClr val="002766"/>
                </a:solidFill>
                <a:ea typeface="PMingLiU" pitchFamily="18" charset="-120"/>
              </a:rPr>
              <a:t>ALMAZ2013\IPO\Roadshow\October Roadshow\Presentation\13 10 13 Roadshow Presentation RUS vF.pptx</a:t>
            </a:r>
            <a:endParaRPr kumimoji="1" lang="en-US" sz="800" dirty="0">
              <a:solidFill>
                <a:srgbClr val="002766"/>
              </a:solidFill>
              <a:ea typeface="PMingLiU" pitchFamily="18" charset="-120"/>
            </a:endParaRPr>
          </a:p>
        </p:txBody>
      </p:sp>
      <p:sp>
        <p:nvSpPr>
          <p:cNvPr id="8" name="Прямоугольник 7"/>
          <p:cNvSpPr/>
          <p:nvPr/>
        </p:nvSpPr>
        <p:spPr bwMode="auto">
          <a:xfrm>
            <a:off x="8671460" y="6516025"/>
            <a:ext cx="468000" cy="219075"/>
          </a:xfrm>
          <a:prstGeom prst="rect">
            <a:avLst/>
          </a:prstGeom>
          <a:solidFill>
            <a:srgbClr val="016EB3"/>
          </a:solidFill>
          <a:ln w="9525" cap="flat" cmpd="sng" algn="ctr">
            <a:solidFill>
              <a:srgbClr val="016EB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227" tIns="45613" rIns="91227" bIns="45613" numCol="1" rtlCol="0" anchor="t" anchorCtr="0" compatLnSpc="1">
            <a:prstTxWarp prst="textNoShape">
              <a:avLst/>
            </a:prstTxWarp>
          </a:bodyPr>
          <a:lstStyle/>
          <a:p>
            <a:pPr defTabSz="910706" fontAlgn="base">
              <a:spcBef>
                <a:spcPct val="50000"/>
              </a:spcBef>
              <a:spcAft>
                <a:spcPct val="0"/>
              </a:spcAft>
            </a:pPr>
            <a:endParaRPr kumimoji="1" lang="ru-RU" sz="1000" smtClean="0">
              <a:solidFill>
                <a:srgbClr val="0072B6"/>
              </a:solidFill>
              <a:latin typeface="Tahoma" pitchFamily="34" charset="0"/>
              <a:ea typeface="PMingLiU" pitchFamily="18" charset="-120"/>
            </a:endParaRPr>
          </a:p>
        </p:txBody>
      </p:sp>
      <p:sp>
        <p:nvSpPr>
          <p:cNvPr id="10" name="Slide Number Placeholder 8"/>
          <p:cNvSpPr>
            <a:spLocks noGrp="1"/>
          </p:cNvSpPr>
          <p:nvPr>
            <p:ph type="sldNum" sz="quarter" idx="4"/>
          </p:nvPr>
        </p:nvSpPr>
        <p:spPr>
          <a:xfrm>
            <a:off x="8681892" y="6521124"/>
            <a:ext cx="402094" cy="217518"/>
          </a:xfrm>
          <a:prstGeom prst="rect">
            <a:avLst/>
          </a:prstGeom>
        </p:spPr>
        <p:txBody>
          <a:bodyPr lIns="91227" tIns="45613" rIns="91227" bIns="45613"/>
          <a:lstStyle>
            <a:lvl1pPr>
              <a:defRPr sz="800">
                <a:solidFill>
                  <a:schemeClr val="bg1"/>
                </a:solidFill>
                <a:latin typeface="+mj-lt"/>
              </a:defRPr>
            </a:lvl1pPr>
          </a:lstStyle>
          <a:p>
            <a:pPr defTabSz="910706" fontAlgn="base">
              <a:spcBef>
                <a:spcPct val="0"/>
              </a:spcBef>
              <a:spcAft>
                <a:spcPct val="0"/>
              </a:spcAft>
            </a:pPr>
            <a:fld id="{8E141AF1-466E-4D9F-B74C-45FFEB47CA13}" type="slidenum">
              <a:rPr kumimoji="1" lang="de-DE" smtClean="0">
                <a:solidFill>
                  <a:srgbClr val="FFFFFF"/>
                </a:solidFill>
                <a:ea typeface="PMingLiU" pitchFamily="18" charset="-120"/>
              </a:rPr>
              <a:pPr defTabSz="910706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kumimoji="1" lang="de-DE" dirty="0">
              <a:solidFill>
                <a:srgbClr val="FFFFFF"/>
              </a:solidFill>
              <a:ea typeface="PMingLiU" pitchFamily="18" charset="-120"/>
            </a:endParaRPr>
          </a:p>
        </p:txBody>
      </p:sp>
    </p:spTree>
    <p:extLst>
      <p:ext uri="{BB962C8B-B14F-4D97-AF65-F5344CB8AC3E}">
        <p14:creationId xmlns:p14="http://schemas.microsoft.com/office/powerpoint/2010/main" val="23275553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1" r:id="rId1"/>
    <p:sldLayoutId id="2147483802" r:id="rId2"/>
    <p:sldLayoutId id="2147483803" r:id="rId3"/>
    <p:sldLayoutId id="2147483804" r:id="rId4"/>
    <p:sldLayoutId id="2147483805" r:id="rId5"/>
    <p:sldLayoutId id="2147483806" r:id="rId6"/>
    <p:sldLayoutId id="2147483807" r:id="rId7"/>
    <p:sldLayoutId id="2147483808" r:id="rId8"/>
  </p:sldLayoutIdLst>
  <mc:AlternateContent xmlns:mc="http://schemas.openxmlformats.org/markup-compatibility/2006" xmlns:p14="http://schemas.microsoft.com/office/powerpoint/2010/main">
    <mc:Choice Requires="p14">
      <p:transition spd="slow" p14:dur="1600">
        <p14:gallery dir="l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  <p:hf sldNum="0" hdr="0" ft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500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>
          <a:solidFill>
            <a:schemeClr val="tx2"/>
          </a:solidFill>
          <a:latin typeface="Arial" charset="0"/>
          <a:cs typeface="Arial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>
          <a:solidFill>
            <a:schemeClr val="tx2"/>
          </a:solidFill>
          <a:latin typeface="Arial" charset="0"/>
          <a:cs typeface="Arial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>
          <a:solidFill>
            <a:schemeClr val="tx2"/>
          </a:solidFill>
          <a:latin typeface="Arial" charset="0"/>
          <a:cs typeface="Arial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>
          <a:solidFill>
            <a:schemeClr val="tx2"/>
          </a:solidFill>
          <a:latin typeface="Arial" charset="0"/>
          <a:cs typeface="Arial" charset="0"/>
        </a:defRPr>
      </a:lvl5pPr>
      <a:lvl6pPr marL="45615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>
          <a:solidFill>
            <a:schemeClr val="tx2"/>
          </a:solidFill>
          <a:latin typeface="Arial" charset="0"/>
          <a:cs typeface="Arial" charset="0"/>
        </a:defRPr>
      </a:lvl6pPr>
      <a:lvl7pPr marL="9123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>
          <a:solidFill>
            <a:schemeClr val="tx2"/>
          </a:solidFill>
          <a:latin typeface="Arial" charset="0"/>
          <a:cs typeface="Arial" charset="0"/>
        </a:defRPr>
      </a:lvl7pPr>
      <a:lvl8pPr marL="1368448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>
          <a:solidFill>
            <a:schemeClr val="tx2"/>
          </a:solidFill>
          <a:latin typeface="Arial" charset="0"/>
          <a:cs typeface="Arial" charset="0"/>
        </a:defRPr>
      </a:lvl8pPr>
      <a:lvl9pPr marL="1824599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marL="256583" indent="-256583" algn="l" rtl="0" eaLnBrk="1" fontAlgn="base" hangingPunct="1">
        <a:lnSpc>
          <a:spcPct val="110000"/>
        </a:lnSpc>
        <a:spcBef>
          <a:spcPct val="75000"/>
        </a:spcBef>
        <a:spcAft>
          <a:spcPct val="0"/>
        </a:spcAft>
        <a:buClr>
          <a:srgbClr val="3376D9"/>
        </a:buClr>
        <a:buSzPct val="120000"/>
        <a:buFont typeface="Wingdings" pitchFamily="2" charset="2"/>
        <a:buBlip>
          <a:blip r:embed="rId14"/>
        </a:buBlip>
        <a:defRPr sz="1200">
          <a:solidFill>
            <a:schemeClr val="tx1"/>
          </a:solidFill>
          <a:latin typeface="+mn-lt"/>
          <a:ea typeface="+mn-ea"/>
          <a:cs typeface="+mn-cs"/>
        </a:defRPr>
      </a:lvl1pPr>
      <a:lvl2pPr marL="681058" indent="-422888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tx2"/>
        </a:buClr>
        <a:buFont typeface="Arial" pitchFamily="34" charset="0"/>
        <a:buBlip>
          <a:blip r:embed="rId15"/>
        </a:buBlip>
        <a:defRPr sz="1100">
          <a:solidFill>
            <a:schemeClr val="tx1"/>
          </a:solidFill>
          <a:latin typeface="+mn-lt"/>
          <a:cs typeface="+mn-cs"/>
        </a:defRPr>
      </a:lvl2pPr>
      <a:lvl3pPr marL="975651" indent="-293013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bg2"/>
        </a:buClr>
        <a:buSzPct val="85000"/>
        <a:buFont typeface="Wingdings 3" pitchFamily="18" charset="2"/>
        <a:buChar char=""/>
        <a:defRPr sz="1100">
          <a:solidFill>
            <a:schemeClr val="tx1"/>
          </a:solidFill>
          <a:latin typeface="+mn-lt"/>
          <a:cs typeface="+mn-cs"/>
        </a:defRPr>
      </a:lvl3pPr>
      <a:lvl4pPr marL="1259164" indent="-281925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tx2"/>
        </a:buClr>
        <a:buFont typeface="Wingdings" pitchFamily="2" charset="2"/>
        <a:buChar char="w"/>
        <a:defRPr sz="1600">
          <a:solidFill>
            <a:schemeClr val="tx1"/>
          </a:solidFill>
          <a:latin typeface="+mn-lt"/>
          <a:cs typeface="+mn-cs"/>
        </a:defRPr>
      </a:lvl4pPr>
      <a:lvl5pPr marL="1503076" indent="-242333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tx2"/>
        </a:buClr>
        <a:buFont typeface="Arial" pitchFamily="34" charset="0"/>
        <a:buChar char="–"/>
        <a:defRPr sz="1600">
          <a:solidFill>
            <a:schemeClr val="tx1"/>
          </a:solidFill>
          <a:latin typeface="+mn-lt"/>
          <a:cs typeface="+mn-cs"/>
        </a:defRPr>
      </a:lvl5pPr>
      <a:lvl6pPr marL="1959225" indent="-242333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tx2"/>
        </a:buClr>
        <a:buFont typeface="Arial" charset="0"/>
        <a:buChar char="–"/>
        <a:defRPr sz="1600">
          <a:solidFill>
            <a:schemeClr val="tx1"/>
          </a:solidFill>
          <a:latin typeface="+mn-lt"/>
          <a:cs typeface="+mn-cs"/>
        </a:defRPr>
      </a:lvl6pPr>
      <a:lvl7pPr marL="2415378" indent="-242333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tx2"/>
        </a:buClr>
        <a:buFont typeface="Arial" charset="0"/>
        <a:buChar char="–"/>
        <a:defRPr sz="1600">
          <a:solidFill>
            <a:schemeClr val="tx1"/>
          </a:solidFill>
          <a:latin typeface="+mn-lt"/>
          <a:cs typeface="+mn-cs"/>
        </a:defRPr>
      </a:lvl7pPr>
      <a:lvl8pPr marL="2871528" indent="-242333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tx2"/>
        </a:buClr>
        <a:buFont typeface="Arial" charset="0"/>
        <a:buChar char="–"/>
        <a:defRPr sz="1600">
          <a:solidFill>
            <a:schemeClr val="tx1"/>
          </a:solidFill>
          <a:latin typeface="+mn-lt"/>
          <a:cs typeface="+mn-cs"/>
        </a:defRPr>
      </a:lvl8pPr>
      <a:lvl9pPr marL="3327675" indent="-242333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tx2"/>
        </a:buClr>
        <a:buFont typeface="Arial" charset="0"/>
        <a:buChar char="–"/>
        <a:defRPr sz="16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9123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150" algn="l" defTabSz="9123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2300" algn="l" defTabSz="9123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8448" algn="l" defTabSz="9123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4599" algn="l" defTabSz="9123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0748" algn="l" defTabSz="9123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36891" algn="l" defTabSz="9123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3047" algn="l" defTabSz="9123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49197" algn="l" defTabSz="9123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 userDrawn="1"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3775213877"/>
              </p:ext>
            </p:extLst>
          </p:nvPr>
        </p:nvGraphicFramePr>
        <p:xfrm>
          <a:off x="1590" y="1613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550" name="think-cell Slide" r:id="rId12" imgW="270" imgH="270" progId="TCLayout.ActiveDocument.1">
                  <p:embed/>
                </p:oleObj>
              </mc:Choice>
              <mc:Fallback>
                <p:oleObj name="think-cell Slid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90" y="1613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435" name="Rectangle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386582" y="1465263"/>
            <a:ext cx="8370887" cy="434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906267" name="Line 27"/>
          <p:cNvSpPr>
            <a:spLocks noChangeShapeType="1"/>
          </p:cNvSpPr>
          <p:nvPr/>
        </p:nvSpPr>
        <p:spPr bwMode="auto">
          <a:xfrm>
            <a:off x="252000" y="903288"/>
            <a:ext cx="8640000" cy="0"/>
          </a:xfrm>
          <a:prstGeom prst="line">
            <a:avLst/>
          </a:prstGeom>
          <a:noFill/>
          <a:ln w="28575">
            <a:solidFill>
              <a:srgbClr val="016EB3"/>
            </a:solidFill>
            <a:round/>
            <a:headEnd/>
            <a:tailEnd/>
          </a:ln>
          <a:effectLst/>
        </p:spPr>
        <p:txBody>
          <a:bodyPr wrap="none" lIns="91227" tIns="45613" rIns="91227" bIns="45613"/>
          <a:lstStyle/>
          <a:p>
            <a:pPr defTabSz="910706" fontAlgn="base">
              <a:spcBef>
                <a:spcPct val="50000"/>
              </a:spcBef>
              <a:spcAft>
                <a:spcPct val="0"/>
              </a:spcAft>
              <a:defRPr/>
            </a:pPr>
            <a:endParaRPr kumimoji="1" lang="ru-RU" sz="1000" dirty="0">
              <a:solidFill>
                <a:srgbClr val="002766"/>
              </a:solidFill>
              <a:latin typeface="Tahoma" pitchFamily="34" charset="0"/>
              <a:ea typeface="PMingLiU" pitchFamily="18" charset="-120"/>
            </a:endParaRPr>
          </a:p>
        </p:txBody>
      </p:sp>
      <p:sp>
        <p:nvSpPr>
          <p:cNvPr id="9" name="GS Doctop Placeholder" hidden="1"/>
          <p:cNvSpPr txBox="1"/>
          <p:nvPr/>
        </p:nvSpPr>
        <p:spPr>
          <a:xfrm>
            <a:off x="546102" y="18"/>
            <a:ext cx="5651500" cy="215228"/>
          </a:xfrm>
          <a:prstGeom prst="rect">
            <a:avLst/>
          </a:prstGeom>
          <a:noFill/>
        </p:spPr>
        <p:txBody>
          <a:bodyPr vert="horz" lIns="91227" tIns="45613" rIns="91227" bIns="45613" rtlCol="0">
            <a:spAutoFit/>
          </a:bodyPr>
          <a:lstStyle/>
          <a:p>
            <a:pPr defTabSz="910706" fontAlgn="base">
              <a:spcBef>
                <a:spcPct val="0"/>
              </a:spcBef>
              <a:spcAft>
                <a:spcPct val="0"/>
              </a:spcAft>
            </a:pPr>
            <a:r>
              <a:rPr kumimoji="1" lang="en-GB" sz="800" smtClean="0">
                <a:solidFill>
                  <a:srgbClr val="002766"/>
                </a:solidFill>
                <a:ea typeface="PMingLiU" pitchFamily="18" charset="-120"/>
              </a:rPr>
              <a:t>ALMAZ2013\IPO\Roadshow\October Roadshow\Presentation\13 10 13 Roadshow Presentation RUS vF.pptx</a:t>
            </a:r>
            <a:endParaRPr kumimoji="1" lang="en-US" sz="800" dirty="0">
              <a:solidFill>
                <a:srgbClr val="002766"/>
              </a:solidFill>
              <a:ea typeface="PMingLiU" pitchFamily="18" charset="-120"/>
            </a:endParaRPr>
          </a:p>
        </p:txBody>
      </p:sp>
      <p:sp>
        <p:nvSpPr>
          <p:cNvPr id="8" name="Прямоугольник 7"/>
          <p:cNvSpPr/>
          <p:nvPr/>
        </p:nvSpPr>
        <p:spPr bwMode="auto">
          <a:xfrm>
            <a:off x="8671460" y="6516025"/>
            <a:ext cx="468000" cy="219075"/>
          </a:xfrm>
          <a:prstGeom prst="rect">
            <a:avLst/>
          </a:prstGeom>
          <a:solidFill>
            <a:srgbClr val="016EB3"/>
          </a:solidFill>
          <a:ln w="9525" cap="flat" cmpd="sng" algn="ctr">
            <a:solidFill>
              <a:srgbClr val="016EB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227" tIns="45613" rIns="91227" bIns="45613" numCol="1" rtlCol="0" anchor="t" anchorCtr="0" compatLnSpc="1">
            <a:prstTxWarp prst="textNoShape">
              <a:avLst/>
            </a:prstTxWarp>
          </a:bodyPr>
          <a:lstStyle/>
          <a:p>
            <a:pPr defTabSz="910706" fontAlgn="base">
              <a:spcBef>
                <a:spcPct val="50000"/>
              </a:spcBef>
              <a:spcAft>
                <a:spcPct val="0"/>
              </a:spcAft>
            </a:pPr>
            <a:endParaRPr kumimoji="1" lang="ru-RU" sz="1000" smtClean="0">
              <a:solidFill>
                <a:srgbClr val="0072B6"/>
              </a:solidFill>
              <a:latin typeface="Tahoma" pitchFamily="34" charset="0"/>
              <a:ea typeface="PMingLiU" pitchFamily="18" charset="-120"/>
            </a:endParaRPr>
          </a:p>
        </p:txBody>
      </p:sp>
      <p:sp>
        <p:nvSpPr>
          <p:cNvPr id="10" name="Slide Number Placeholder 8"/>
          <p:cNvSpPr>
            <a:spLocks noGrp="1"/>
          </p:cNvSpPr>
          <p:nvPr>
            <p:ph type="sldNum" sz="quarter" idx="4"/>
          </p:nvPr>
        </p:nvSpPr>
        <p:spPr>
          <a:xfrm>
            <a:off x="8681892" y="6521124"/>
            <a:ext cx="402094" cy="217518"/>
          </a:xfrm>
          <a:prstGeom prst="rect">
            <a:avLst/>
          </a:prstGeom>
        </p:spPr>
        <p:txBody>
          <a:bodyPr lIns="91227" tIns="45613" rIns="91227" bIns="45613"/>
          <a:lstStyle>
            <a:lvl1pPr>
              <a:defRPr sz="800">
                <a:solidFill>
                  <a:schemeClr val="bg1"/>
                </a:solidFill>
                <a:latin typeface="+mj-lt"/>
              </a:defRPr>
            </a:lvl1pPr>
          </a:lstStyle>
          <a:p>
            <a:pPr defTabSz="910706" fontAlgn="base">
              <a:spcBef>
                <a:spcPct val="0"/>
              </a:spcBef>
              <a:spcAft>
                <a:spcPct val="0"/>
              </a:spcAft>
            </a:pPr>
            <a:fld id="{8E141AF1-466E-4D9F-B74C-45FFEB47CA13}" type="slidenum">
              <a:rPr kumimoji="1" lang="de-DE" smtClean="0">
                <a:solidFill>
                  <a:srgbClr val="FFFFFF"/>
                </a:solidFill>
                <a:ea typeface="PMingLiU" pitchFamily="18" charset="-120"/>
              </a:rPr>
              <a:pPr defTabSz="910706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kumimoji="1" lang="de-DE" dirty="0">
              <a:solidFill>
                <a:srgbClr val="FFFFFF"/>
              </a:solidFill>
              <a:ea typeface="PMingLiU" pitchFamily="18" charset="-120"/>
            </a:endParaRPr>
          </a:p>
        </p:txBody>
      </p:sp>
    </p:spTree>
    <p:extLst>
      <p:ext uri="{BB962C8B-B14F-4D97-AF65-F5344CB8AC3E}">
        <p14:creationId xmlns:p14="http://schemas.microsoft.com/office/powerpoint/2010/main" val="9130004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0" r:id="rId1"/>
    <p:sldLayoutId id="2147483811" r:id="rId2"/>
    <p:sldLayoutId id="2147483812" r:id="rId3"/>
    <p:sldLayoutId id="2147483813" r:id="rId4"/>
    <p:sldLayoutId id="2147483814" r:id="rId5"/>
    <p:sldLayoutId id="2147483815" r:id="rId6"/>
    <p:sldLayoutId id="2147483816" r:id="rId7"/>
    <p:sldLayoutId id="2147483817" r:id="rId8"/>
  </p:sldLayoutIdLst>
  <mc:AlternateContent xmlns:mc="http://schemas.openxmlformats.org/markup-compatibility/2006" xmlns:p14="http://schemas.microsoft.com/office/powerpoint/2010/main">
    <mc:Choice Requires="p14">
      <p:transition spd="slow" p14:dur="1600">
        <p14:gallery dir="l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  <p:hf sldNum="0" hdr="0" ft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500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>
          <a:solidFill>
            <a:schemeClr val="tx2"/>
          </a:solidFill>
          <a:latin typeface="Arial" charset="0"/>
          <a:cs typeface="Arial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>
          <a:solidFill>
            <a:schemeClr val="tx2"/>
          </a:solidFill>
          <a:latin typeface="Arial" charset="0"/>
          <a:cs typeface="Arial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>
          <a:solidFill>
            <a:schemeClr val="tx2"/>
          </a:solidFill>
          <a:latin typeface="Arial" charset="0"/>
          <a:cs typeface="Arial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>
          <a:solidFill>
            <a:schemeClr val="tx2"/>
          </a:solidFill>
          <a:latin typeface="Arial" charset="0"/>
          <a:cs typeface="Arial" charset="0"/>
        </a:defRPr>
      </a:lvl5pPr>
      <a:lvl6pPr marL="45615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>
          <a:solidFill>
            <a:schemeClr val="tx2"/>
          </a:solidFill>
          <a:latin typeface="Arial" charset="0"/>
          <a:cs typeface="Arial" charset="0"/>
        </a:defRPr>
      </a:lvl6pPr>
      <a:lvl7pPr marL="9123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>
          <a:solidFill>
            <a:schemeClr val="tx2"/>
          </a:solidFill>
          <a:latin typeface="Arial" charset="0"/>
          <a:cs typeface="Arial" charset="0"/>
        </a:defRPr>
      </a:lvl7pPr>
      <a:lvl8pPr marL="1368448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>
          <a:solidFill>
            <a:schemeClr val="tx2"/>
          </a:solidFill>
          <a:latin typeface="Arial" charset="0"/>
          <a:cs typeface="Arial" charset="0"/>
        </a:defRPr>
      </a:lvl8pPr>
      <a:lvl9pPr marL="1824599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marL="256583" indent="-256583" algn="l" rtl="0" eaLnBrk="1" fontAlgn="base" hangingPunct="1">
        <a:lnSpc>
          <a:spcPct val="110000"/>
        </a:lnSpc>
        <a:spcBef>
          <a:spcPct val="75000"/>
        </a:spcBef>
        <a:spcAft>
          <a:spcPct val="0"/>
        </a:spcAft>
        <a:buClr>
          <a:srgbClr val="3376D9"/>
        </a:buClr>
        <a:buSzPct val="120000"/>
        <a:buFont typeface="Wingdings" pitchFamily="2" charset="2"/>
        <a:buBlip>
          <a:blip r:embed="rId14"/>
        </a:buBlip>
        <a:defRPr sz="1200">
          <a:solidFill>
            <a:schemeClr val="tx1"/>
          </a:solidFill>
          <a:latin typeface="+mn-lt"/>
          <a:ea typeface="+mn-ea"/>
          <a:cs typeface="+mn-cs"/>
        </a:defRPr>
      </a:lvl1pPr>
      <a:lvl2pPr marL="681058" indent="-422888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tx2"/>
        </a:buClr>
        <a:buFont typeface="Arial" pitchFamily="34" charset="0"/>
        <a:buBlip>
          <a:blip r:embed="rId15"/>
        </a:buBlip>
        <a:defRPr sz="1100">
          <a:solidFill>
            <a:schemeClr val="tx1"/>
          </a:solidFill>
          <a:latin typeface="+mn-lt"/>
          <a:cs typeface="+mn-cs"/>
        </a:defRPr>
      </a:lvl2pPr>
      <a:lvl3pPr marL="975651" indent="-293013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bg2"/>
        </a:buClr>
        <a:buSzPct val="85000"/>
        <a:buFont typeface="Wingdings 3" pitchFamily="18" charset="2"/>
        <a:buChar char=""/>
        <a:defRPr sz="1100">
          <a:solidFill>
            <a:schemeClr val="tx1"/>
          </a:solidFill>
          <a:latin typeface="+mn-lt"/>
          <a:cs typeface="+mn-cs"/>
        </a:defRPr>
      </a:lvl3pPr>
      <a:lvl4pPr marL="1259164" indent="-281925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tx2"/>
        </a:buClr>
        <a:buFont typeface="Wingdings" pitchFamily="2" charset="2"/>
        <a:buChar char="w"/>
        <a:defRPr sz="1600">
          <a:solidFill>
            <a:schemeClr val="tx1"/>
          </a:solidFill>
          <a:latin typeface="+mn-lt"/>
          <a:cs typeface="+mn-cs"/>
        </a:defRPr>
      </a:lvl4pPr>
      <a:lvl5pPr marL="1503076" indent="-242333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tx2"/>
        </a:buClr>
        <a:buFont typeface="Arial" pitchFamily="34" charset="0"/>
        <a:buChar char="–"/>
        <a:defRPr sz="1600">
          <a:solidFill>
            <a:schemeClr val="tx1"/>
          </a:solidFill>
          <a:latin typeface="+mn-lt"/>
          <a:cs typeface="+mn-cs"/>
        </a:defRPr>
      </a:lvl5pPr>
      <a:lvl6pPr marL="1959225" indent="-242333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tx2"/>
        </a:buClr>
        <a:buFont typeface="Arial" charset="0"/>
        <a:buChar char="–"/>
        <a:defRPr sz="1600">
          <a:solidFill>
            <a:schemeClr val="tx1"/>
          </a:solidFill>
          <a:latin typeface="+mn-lt"/>
          <a:cs typeface="+mn-cs"/>
        </a:defRPr>
      </a:lvl6pPr>
      <a:lvl7pPr marL="2415378" indent="-242333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tx2"/>
        </a:buClr>
        <a:buFont typeface="Arial" charset="0"/>
        <a:buChar char="–"/>
        <a:defRPr sz="1600">
          <a:solidFill>
            <a:schemeClr val="tx1"/>
          </a:solidFill>
          <a:latin typeface="+mn-lt"/>
          <a:cs typeface="+mn-cs"/>
        </a:defRPr>
      </a:lvl7pPr>
      <a:lvl8pPr marL="2871528" indent="-242333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tx2"/>
        </a:buClr>
        <a:buFont typeface="Arial" charset="0"/>
        <a:buChar char="–"/>
        <a:defRPr sz="1600">
          <a:solidFill>
            <a:schemeClr val="tx1"/>
          </a:solidFill>
          <a:latin typeface="+mn-lt"/>
          <a:cs typeface="+mn-cs"/>
        </a:defRPr>
      </a:lvl8pPr>
      <a:lvl9pPr marL="3327675" indent="-242333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tx2"/>
        </a:buClr>
        <a:buFont typeface="Arial" charset="0"/>
        <a:buChar char="–"/>
        <a:defRPr sz="16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9123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150" algn="l" defTabSz="9123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2300" algn="l" defTabSz="9123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8448" algn="l" defTabSz="9123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4599" algn="l" defTabSz="9123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0748" algn="l" defTabSz="9123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36891" algn="l" defTabSz="9123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3047" algn="l" defTabSz="9123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49197" algn="l" defTabSz="9123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 userDrawn="1"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856081290"/>
              </p:ext>
            </p:extLst>
          </p:nvPr>
        </p:nvGraphicFramePr>
        <p:xfrm>
          <a:off x="1590" y="1611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494" name="think-cell Slide" r:id="rId13" imgW="270" imgH="270" progId="TCLayout.ActiveDocument.1">
                  <p:embed/>
                </p:oleObj>
              </mc:Choice>
              <mc:Fallback>
                <p:oleObj name="think-cell Slide" r:id="rId1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90" y="1611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435" name="Rectangle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386580" y="1465263"/>
            <a:ext cx="8370887" cy="434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906267" name="Line 27"/>
          <p:cNvSpPr>
            <a:spLocks noChangeShapeType="1"/>
          </p:cNvSpPr>
          <p:nvPr/>
        </p:nvSpPr>
        <p:spPr bwMode="auto">
          <a:xfrm>
            <a:off x="252000" y="903288"/>
            <a:ext cx="8640000" cy="0"/>
          </a:xfrm>
          <a:prstGeom prst="line">
            <a:avLst/>
          </a:prstGeom>
          <a:noFill/>
          <a:ln w="28575">
            <a:solidFill>
              <a:srgbClr val="016EB3"/>
            </a:solidFill>
            <a:round/>
            <a:headEnd/>
            <a:tailEnd/>
          </a:ln>
          <a:effectLst/>
        </p:spPr>
        <p:txBody>
          <a:bodyPr wrap="none" lIns="91243" tIns="45622" rIns="91243" bIns="45622"/>
          <a:lstStyle/>
          <a:p>
            <a:pPr fontAlgn="base">
              <a:spcBef>
                <a:spcPct val="50000"/>
              </a:spcBef>
              <a:spcAft>
                <a:spcPct val="0"/>
              </a:spcAft>
              <a:defRPr/>
            </a:pPr>
            <a:endParaRPr kumimoji="1" lang="ru-RU" sz="1000" dirty="0">
              <a:solidFill>
                <a:srgbClr val="002766"/>
              </a:solidFill>
              <a:latin typeface="Tahoma" pitchFamily="34" charset="0"/>
              <a:ea typeface="PMingLiU" pitchFamily="18" charset="-120"/>
            </a:endParaRPr>
          </a:p>
        </p:txBody>
      </p:sp>
      <p:sp>
        <p:nvSpPr>
          <p:cNvPr id="9" name="GS Doctop Placeholder" hidden="1"/>
          <p:cNvSpPr txBox="1"/>
          <p:nvPr/>
        </p:nvSpPr>
        <p:spPr>
          <a:xfrm>
            <a:off x="546102" y="17"/>
            <a:ext cx="5651500" cy="215246"/>
          </a:xfrm>
          <a:prstGeom prst="rect">
            <a:avLst/>
          </a:prstGeom>
          <a:noFill/>
        </p:spPr>
        <p:txBody>
          <a:bodyPr vert="horz" lIns="91243" tIns="45622" rIns="91243" bIns="45622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kumimoji="1" lang="en-GB" sz="800" smtClean="0">
                <a:solidFill>
                  <a:srgbClr val="002766"/>
                </a:solidFill>
                <a:ea typeface="PMingLiU" pitchFamily="18" charset="-120"/>
              </a:rPr>
              <a:t>ALMAZ2013\IPO\Roadshow\October Roadshow\Presentation\13 10 13 Roadshow Presentation RUS vF.pptx</a:t>
            </a:r>
            <a:endParaRPr kumimoji="1" lang="en-US" sz="800" dirty="0">
              <a:solidFill>
                <a:srgbClr val="002766"/>
              </a:solidFill>
              <a:ea typeface="PMingLiU" pitchFamily="18" charset="-120"/>
            </a:endParaRPr>
          </a:p>
        </p:txBody>
      </p:sp>
      <p:sp>
        <p:nvSpPr>
          <p:cNvPr id="8" name="Прямоугольник 7"/>
          <p:cNvSpPr/>
          <p:nvPr/>
        </p:nvSpPr>
        <p:spPr bwMode="auto">
          <a:xfrm>
            <a:off x="8671460" y="6516023"/>
            <a:ext cx="468000" cy="219075"/>
          </a:xfrm>
          <a:prstGeom prst="rect">
            <a:avLst/>
          </a:prstGeom>
          <a:solidFill>
            <a:srgbClr val="016EB3"/>
          </a:solidFill>
          <a:ln w="9525" cap="flat" cmpd="sng" algn="ctr">
            <a:solidFill>
              <a:srgbClr val="016EB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243" tIns="45622" rIns="91243" bIns="45622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</a:pPr>
            <a:endParaRPr kumimoji="1" lang="ru-RU" sz="1000" smtClean="0">
              <a:solidFill>
                <a:srgbClr val="0072B6"/>
              </a:solidFill>
              <a:latin typeface="Tahoma" pitchFamily="34" charset="0"/>
              <a:ea typeface="PMingLiU" pitchFamily="18" charset="-120"/>
            </a:endParaRPr>
          </a:p>
        </p:txBody>
      </p:sp>
      <p:sp>
        <p:nvSpPr>
          <p:cNvPr id="10" name="Slide Number Placeholder 8"/>
          <p:cNvSpPr>
            <a:spLocks noGrp="1"/>
          </p:cNvSpPr>
          <p:nvPr>
            <p:ph type="sldNum" sz="quarter" idx="4"/>
          </p:nvPr>
        </p:nvSpPr>
        <p:spPr>
          <a:xfrm>
            <a:off x="8681892" y="6521124"/>
            <a:ext cx="402094" cy="217518"/>
          </a:xfrm>
          <a:prstGeom prst="rect">
            <a:avLst/>
          </a:prstGeom>
        </p:spPr>
        <p:txBody>
          <a:bodyPr lIns="91243" tIns="45622" rIns="91243" bIns="45622"/>
          <a:lstStyle>
            <a:lvl1pPr>
              <a:defRPr sz="800">
                <a:solidFill>
                  <a:schemeClr val="bg1"/>
                </a:solidFill>
                <a:latin typeface="+mj-lt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8E141AF1-466E-4D9F-B74C-45FFEB47CA13}" type="slidenum">
              <a:rPr kumimoji="1" lang="de-DE" smtClean="0">
                <a:solidFill>
                  <a:srgbClr val="FFFFFF"/>
                </a:solidFill>
                <a:ea typeface="PMingLiU" pitchFamily="18" charset="-12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kumimoji="1" lang="de-DE" dirty="0">
              <a:solidFill>
                <a:srgbClr val="FFFFFF"/>
              </a:solidFill>
              <a:ea typeface="PMingLiU" pitchFamily="18" charset="-120"/>
            </a:endParaRPr>
          </a:p>
        </p:txBody>
      </p:sp>
    </p:spTree>
    <p:extLst>
      <p:ext uri="{BB962C8B-B14F-4D97-AF65-F5344CB8AC3E}">
        <p14:creationId xmlns:p14="http://schemas.microsoft.com/office/powerpoint/2010/main" val="41563199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0" r:id="rId1"/>
    <p:sldLayoutId id="2147483821" r:id="rId2"/>
    <p:sldLayoutId id="2147483822" r:id="rId3"/>
    <p:sldLayoutId id="2147483823" r:id="rId4"/>
    <p:sldLayoutId id="2147483824" r:id="rId5"/>
    <p:sldLayoutId id="2147483825" r:id="rId6"/>
    <p:sldLayoutId id="2147483826" r:id="rId7"/>
    <p:sldLayoutId id="2147483827" r:id="rId8"/>
    <p:sldLayoutId id="2147483828" r:id="rId9"/>
  </p:sldLayoutIdLst>
  <mc:AlternateContent xmlns:mc="http://schemas.openxmlformats.org/markup-compatibility/2006" xmlns:p14="http://schemas.microsoft.com/office/powerpoint/2010/main">
    <mc:Choice Requires="p14">
      <p:transition spd="slow" p14:dur="1600">
        <p14:gallery dir="l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  <p:hf sldNum="0" hdr="0" ft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500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>
          <a:solidFill>
            <a:schemeClr val="tx2"/>
          </a:solidFill>
          <a:latin typeface="Arial" charset="0"/>
          <a:cs typeface="Arial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>
          <a:solidFill>
            <a:schemeClr val="tx2"/>
          </a:solidFill>
          <a:latin typeface="Arial" charset="0"/>
          <a:cs typeface="Arial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>
          <a:solidFill>
            <a:schemeClr val="tx2"/>
          </a:solidFill>
          <a:latin typeface="Arial" charset="0"/>
          <a:cs typeface="Arial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>
          <a:solidFill>
            <a:schemeClr val="tx2"/>
          </a:solidFill>
          <a:latin typeface="Arial" charset="0"/>
          <a:cs typeface="Arial" charset="0"/>
        </a:defRPr>
      </a:lvl5pPr>
      <a:lvl6pPr marL="456234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>
          <a:solidFill>
            <a:schemeClr val="tx2"/>
          </a:solidFill>
          <a:latin typeface="Arial" charset="0"/>
          <a:cs typeface="Arial" charset="0"/>
        </a:defRPr>
      </a:lvl6pPr>
      <a:lvl7pPr marL="912468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>
          <a:solidFill>
            <a:schemeClr val="tx2"/>
          </a:solidFill>
          <a:latin typeface="Arial" charset="0"/>
          <a:cs typeface="Arial" charset="0"/>
        </a:defRPr>
      </a:lvl7pPr>
      <a:lvl8pPr marL="13687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>
          <a:solidFill>
            <a:schemeClr val="tx2"/>
          </a:solidFill>
          <a:latin typeface="Arial" charset="0"/>
          <a:cs typeface="Arial" charset="0"/>
        </a:defRPr>
      </a:lvl8pPr>
      <a:lvl9pPr marL="1824935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marL="256630" indent="-256630" algn="l" rtl="0" eaLnBrk="1" fontAlgn="base" hangingPunct="1">
        <a:lnSpc>
          <a:spcPct val="110000"/>
        </a:lnSpc>
        <a:spcBef>
          <a:spcPct val="75000"/>
        </a:spcBef>
        <a:spcAft>
          <a:spcPct val="0"/>
        </a:spcAft>
        <a:buClr>
          <a:srgbClr val="3376D9"/>
        </a:buClr>
        <a:buSzPct val="120000"/>
        <a:buFont typeface="Wingdings" pitchFamily="2" charset="2"/>
        <a:buBlip>
          <a:blip r:embed="rId15"/>
        </a:buBlip>
        <a:defRPr sz="1200">
          <a:solidFill>
            <a:schemeClr val="tx1"/>
          </a:solidFill>
          <a:latin typeface="+mn-lt"/>
          <a:ea typeface="+mn-ea"/>
          <a:cs typeface="+mn-cs"/>
        </a:defRPr>
      </a:lvl1pPr>
      <a:lvl2pPr marL="681182" indent="-422966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tx2"/>
        </a:buClr>
        <a:buFont typeface="Arial" pitchFamily="34" charset="0"/>
        <a:buBlip>
          <a:blip r:embed="rId16"/>
        </a:buBlip>
        <a:defRPr sz="1100">
          <a:solidFill>
            <a:schemeClr val="tx1"/>
          </a:solidFill>
          <a:latin typeface="+mn-lt"/>
          <a:cs typeface="+mn-cs"/>
        </a:defRPr>
      </a:lvl2pPr>
      <a:lvl3pPr marL="975831" indent="-293067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bg2"/>
        </a:buClr>
        <a:buSzPct val="85000"/>
        <a:buFont typeface="Wingdings 3" pitchFamily="18" charset="2"/>
        <a:buChar char=""/>
        <a:defRPr sz="1100">
          <a:solidFill>
            <a:schemeClr val="tx1"/>
          </a:solidFill>
          <a:latin typeface="+mn-lt"/>
          <a:cs typeface="+mn-cs"/>
        </a:defRPr>
      </a:lvl3pPr>
      <a:lvl4pPr marL="1259396" indent="-281977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tx2"/>
        </a:buClr>
        <a:buFont typeface="Wingdings" pitchFamily="2" charset="2"/>
        <a:buChar char="w"/>
        <a:defRPr sz="1600">
          <a:solidFill>
            <a:schemeClr val="tx1"/>
          </a:solidFill>
          <a:latin typeface="+mn-lt"/>
          <a:cs typeface="+mn-cs"/>
        </a:defRPr>
      </a:lvl4pPr>
      <a:lvl5pPr marL="1503353" indent="-242377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tx2"/>
        </a:buClr>
        <a:buFont typeface="Arial" pitchFamily="34" charset="0"/>
        <a:buChar char="–"/>
        <a:defRPr sz="1600">
          <a:solidFill>
            <a:schemeClr val="tx1"/>
          </a:solidFill>
          <a:latin typeface="+mn-lt"/>
          <a:cs typeface="+mn-cs"/>
        </a:defRPr>
      </a:lvl5pPr>
      <a:lvl6pPr marL="1959585" indent="-242377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tx2"/>
        </a:buClr>
        <a:buFont typeface="Arial" charset="0"/>
        <a:buChar char="–"/>
        <a:defRPr sz="1600">
          <a:solidFill>
            <a:schemeClr val="tx1"/>
          </a:solidFill>
          <a:latin typeface="+mn-lt"/>
          <a:cs typeface="+mn-cs"/>
        </a:defRPr>
      </a:lvl6pPr>
      <a:lvl7pPr marL="2415823" indent="-242377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tx2"/>
        </a:buClr>
        <a:buFont typeface="Arial" charset="0"/>
        <a:buChar char="–"/>
        <a:defRPr sz="1600">
          <a:solidFill>
            <a:schemeClr val="tx1"/>
          </a:solidFill>
          <a:latin typeface="+mn-lt"/>
          <a:cs typeface="+mn-cs"/>
        </a:defRPr>
      </a:lvl7pPr>
      <a:lvl8pPr marL="2872056" indent="-242377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tx2"/>
        </a:buClr>
        <a:buFont typeface="Arial" charset="0"/>
        <a:buChar char="–"/>
        <a:defRPr sz="1600">
          <a:solidFill>
            <a:schemeClr val="tx1"/>
          </a:solidFill>
          <a:latin typeface="+mn-lt"/>
          <a:cs typeface="+mn-cs"/>
        </a:defRPr>
      </a:lvl8pPr>
      <a:lvl9pPr marL="3328287" indent="-242377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tx2"/>
        </a:buClr>
        <a:buFont typeface="Arial" charset="0"/>
        <a:buChar char="–"/>
        <a:defRPr sz="16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91246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234" algn="l" defTabSz="91246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2468" algn="l" defTabSz="91246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8700" algn="l" defTabSz="91246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4935" algn="l" defTabSz="91246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1167" algn="l" defTabSz="91246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37394" algn="l" defTabSz="91246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3635" algn="l" defTabSz="91246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49869" algn="l" defTabSz="91246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 userDrawn="1"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2259679035"/>
              </p:ext>
            </p:extLst>
          </p:nvPr>
        </p:nvGraphicFramePr>
        <p:xfrm>
          <a:off x="1590" y="1611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519" name="think-cell Slide" r:id="rId13" imgW="270" imgH="270" progId="TCLayout.ActiveDocument.1">
                  <p:embed/>
                </p:oleObj>
              </mc:Choice>
              <mc:Fallback>
                <p:oleObj name="think-cell Slide" r:id="rId1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90" y="1611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435" name="Rectangle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386580" y="1465263"/>
            <a:ext cx="8370887" cy="434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906267" name="Line 27"/>
          <p:cNvSpPr>
            <a:spLocks noChangeShapeType="1"/>
          </p:cNvSpPr>
          <p:nvPr/>
        </p:nvSpPr>
        <p:spPr bwMode="auto">
          <a:xfrm>
            <a:off x="252000" y="903288"/>
            <a:ext cx="8640000" cy="0"/>
          </a:xfrm>
          <a:prstGeom prst="line">
            <a:avLst/>
          </a:prstGeom>
          <a:noFill/>
          <a:ln w="28575">
            <a:solidFill>
              <a:srgbClr val="016EB3"/>
            </a:solidFill>
            <a:round/>
            <a:headEnd/>
            <a:tailEnd/>
          </a:ln>
          <a:effectLst/>
        </p:spPr>
        <p:txBody>
          <a:bodyPr wrap="none" lIns="91243" tIns="45622" rIns="91243" bIns="45622"/>
          <a:lstStyle/>
          <a:p>
            <a:pPr fontAlgn="base">
              <a:spcBef>
                <a:spcPct val="50000"/>
              </a:spcBef>
              <a:spcAft>
                <a:spcPct val="0"/>
              </a:spcAft>
              <a:defRPr/>
            </a:pPr>
            <a:endParaRPr kumimoji="1" lang="ru-RU" sz="1000" dirty="0">
              <a:solidFill>
                <a:srgbClr val="002766"/>
              </a:solidFill>
              <a:latin typeface="Tahoma" pitchFamily="34" charset="0"/>
              <a:ea typeface="PMingLiU" pitchFamily="18" charset="-120"/>
            </a:endParaRPr>
          </a:p>
        </p:txBody>
      </p:sp>
      <p:sp>
        <p:nvSpPr>
          <p:cNvPr id="9" name="GS Doctop Placeholder" hidden="1"/>
          <p:cNvSpPr txBox="1"/>
          <p:nvPr/>
        </p:nvSpPr>
        <p:spPr>
          <a:xfrm>
            <a:off x="546102" y="17"/>
            <a:ext cx="5651500" cy="215246"/>
          </a:xfrm>
          <a:prstGeom prst="rect">
            <a:avLst/>
          </a:prstGeom>
          <a:noFill/>
        </p:spPr>
        <p:txBody>
          <a:bodyPr vert="horz" lIns="91243" tIns="45622" rIns="91243" bIns="45622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kumimoji="1" lang="en-GB" sz="800" smtClean="0">
                <a:solidFill>
                  <a:srgbClr val="002766"/>
                </a:solidFill>
                <a:ea typeface="PMingLiU" pitchFamily="18" charset="-120"/>
              </a:rPr>
              <a:t>ALMAZ2013\IPO\Roadshow\October Roadshow\Presentation\13 10 13 Roadshow Presentation RUS vF.pptx</a:t>
            </a:r>
            <a:endParaRPr kumimoji="1" lang="en-US" sz="800" dirty="0">
              <a:solidFill>
                <a:srgbClr val="002766"/>
              </a:solidFill>
              <a:ea typeface="PMingLiU" pitchFamily="18" charset="-120"/>
            </a:endParaRPr>
          </a:p>
        </p:txBody>
      </p:sp>
      <p:sp>
        <p:nvSpPr>
          <p:cNvPr id="8" name="Прямоугольник 7"/>
          <p:cNvSpPr/>
          <p:nvPr/>
        </p:nvSpPr>
        <p:spPr bwMode="auto">
          <a:xfrm>
            <a:off x="8671460" y="6516023"/>
            <a:ext cx="468000" cy="219075"/>
          </a:xfrm>
          <a:prstGeom prst="rect">
            <a:avLst/>
          </a:prstGeom>
          <a:solidFill>
            <a:srgbClr val="016EB3"/>
          </a:solidFill>
          <a:ln w="9525" cap="flat" cmpd="sng" algn="ctr">
            <a:solidFill>
              <a:srgbClr val="016EB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243" tIns="45622" rIns="91243" bIns="45622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</a:pPr>
            <a:endParaRPr kumimoji="1" lang="ru-RU" sz="1000" smtClean="0">
              <a:solidFill>
                <a:srgbClr val="0072B6"/>
              </a:solidFill>
              <a:latin typeface="Tahoma" pitchFamily="34" charset="0"/>
              <a:ea typeface="PMingLiU" pitchFamily="18" charset="-120"/>
            </a:endParaRPr>
          </a:p>
        </p:txBody>
      </p:sp>
      <p:sp>
        <p:nvSpPr>
          <p:cNvPr id="10" name="Slide Number Placeholder 8"/>
          <p:cNvSpPr>
            <a:spLocks noGrp="1"/>
          </p:cNvSpPr>
          <p:nvPr>
            <p:ph type="sldNum" sz="quarter" idx="4"/>
          </p:nvPr>
        </p:nvSpPr>
        <p:spPr>
          <a:xfrm>
            <a:off x="8681892" y="6521124"/>
            <a:ext cx="402094" cy="217518"/>
          </a:xfrm>
          <a:prstGeom prst="rect">
            <a:avLst/>
          </a:prstGeom>
        </p:spPr>
        <p:txBody>
          <a:bodyPr lIns="91243" tIns="45622" rIns="91243" bIns="45622"/>
          <a:lstStyle>
            <a:lvl1pPr>
              <a:defRPr sz="800">
                <a:solidFill>
                  <a:schemeClr val="bg1"/>
                </a:solidFill>
                <a:latin typeface="+mj-lt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8E141AF1-466E-4D9F-B74C-45FFEB47CA13}" type="slidenum">
              <a:rPr kumimoji="1" lang="de-DE" smtClean="0">
                <a:solidFill>
                  <a:srgbClr val="FFFFFF"/>
                </a:solidFill>
                <a:ea typeface="PMingLiU" pitchFamily="18" charset="-12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kumimoji="1" lang="de-DE" dirty="0">
              <a:solidFill>
                <a:srgbClr val="FFFFFF"/>
              </a:solidFill>
              <a:ea typeface="PMingLiU" pitchFamily="18" charset="-120"/>
            </a:endParaRPr>
          </a:p>
        </p:txBody>
      </p:sp>
    </p:spTree>
    <p:extLst>
      <p:ext uri="{BB962C8B-B14F-4D97-AF65-F5344CB8AC3E}">
        <p14:creationId xmlns:p14="http://schemas.microsoft.com/office/powerpoint/2010/main" val="41191464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0" r:id="rId1"/>
    <p:sldLayoutId id="2147483831" r:id="rId2"/>
    <p:sldLayoutId id="2147483832" r:id="rId3"/>
    <p:sldLayoutId id="2147483833" r:id="rId4"/>
    <p:sldLayoutId id="2147483834" r:id="rId5"/>
    <p:sldLayoutId id="2147483835" r:id="rId6"/>
    <p:sldLayoutId id="2147483836" r:id="rId7"/>
    <p:sldLayoutId id="2147483837" r:id="rId8"/>
    <p:sldLayoutId id="2147483838" r:id="rId9"/>
  </p:sldLayoutIdLst>
  <mc:AlternateContent xmlns:mc="http://schemas.openxmlformats.org/markup-compatibility/2006" xmlns:p14="http://schemas.microsoft.com/office/powerpoint/2010/main">
    <mc:Choice Requires="p14">
      <p:transition spd="slow" p14:dur="1600">
        <p14:gallery dir="l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  <p:hf sldNum="0" hdr="0" ft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500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>
          <a:solidFill>
            <a:schemeClr val="tx2"/>
          </a:solidFill>
          <a:latin typeface="Arial" charset="0"/>
          <a:cs typeface="Arial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>
          <a:solidFill>
            <a:schemeClr val="tx2"/>
          </a:solidFill>
          <a:latin typeface="Arial" charset="0"/>
          <a:cs typeface="Arial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>
          <a:solidFill>
            <a:schemeClr val="tx2"/>
          </a:solidFill>
          <a:latin typeface="Arial" charset="0"/>
          <a:cs typeface="Arial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>
          <a:solidFill>
            <a:schemeClr val="tx2"/>
          </a:solidFill>
          <a:latin typeface="Arial" charset="0"/>
          <a:cs typeface="Arial" charset="0"/>
        </a:defRPr>
      </a:lvl5pPr>
      <a:lvl6pPr marL="456234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>
          <a:solidFill>
            <a:schemeClr val="tx2"/>
          </a:solidFill>
          <a:latin typeface="Arial" charset="0"/>
          <a:cs typeface="Arial" charset="0"/>
        </a:defRPr>
      </a:lvl6pPr>
      <a:lvl7pPr marL="912468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>
          <a:solidFill>
            <a:schemeClr val="tx2"/>
          </a:solidFill>
          <a:latin typeface="Arial" charset="0"/>
          <a:cs typeface="Arial" charset="0"/>
        </a:defRPr>
      </a:lvl7pPr>
      <a:lvl8pPr marL="13687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>
          <a:solidFill>
            <a:schemeClr val="tx2"/>
          </a:solidFill>
          <a:latin typeface="Arial" charset="0"/>
          <a:cs typeface="Arial" charset="0"/>
        </a:defRPr>
      </a:lvl8pPr>
      <a:lvl9pPr marL="1824935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marL="256630" indent="-256630" algn="l" rtl="0" eaLnBrk="1" fontAlgn="base" hangingPunct="1">
        <a:lnSpc>
          <a:spcPct val="110000"/>
        </a:lnSpc>
        <a:spcBef>
          <a:spcPct val="75000"/>
        </a:spcBef>
        <a:spcAft>
          <a:spcPct val="0"/>
        </a:spcAft>
        <a:buClr>
          <a:srgbClr val="3376D9"/>
        </a:buClr>
        <a:buSzPct val="120000"/>
        <a:buFont typeface="Wingdings" pitchFamily="2" charset="2"/>
        <a:buBlip>
          <a:blip r:embed="rId15"/>
        </a:buBlip>
        <a:defRPr sz="1200">
          <a:solidFill>
            <a:schemeClr val="tx1"/>
          </a:solidFill>
          <a:latin typeface="+mn-lt"/>
          <a:ea typeface="+mn-ea"/>
          <a:cs typeface="+mn-cs"/>
        </a:defRPr>
      </a:lvl1pPr>
      <a:lvl2pPr marL="681182" indent="-422966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tx2"/>
        </a:buClr>
        <a:buFont typeface="Arial" pitchFamily="34" charset="0"/>
        <a:buBlip>
          <a:blip r:embed="rId16"/>
        </a:buBlip>
        <a:defRPr sz="1100">
          <a:solidFill>
            <a:schemeClr val="tx1"/>
          </a:solidFill>
          <a:latin typeface="+mn-lt"/>
          <a:cs typeface="+mn-cs"/>
        </a:defRPr>
      </a:lvl2pPr>
      <a:lvl3pPr marL="975831" indent="-293067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bg2"/>
        </a:buClr>
        <a:buSzPct val="85000"/>
        <a:buFont typeface="Wingdings 3" pitchFamily="18" charset="2"/>
        <a:buChar char=""/>
        <a:defRPr sz="1100">
          <a:solidFill>
            <a:schemeClr val="tx1"/>
          </a:solidFill>
          <a:latin typeface="+mn-lt"/>
          <a:cs typeface="+mn-cs"/>
        </a:defRPr>
      </a:lvl3pPr>
      <a:lvl4pPr marL="1259396" indent="-281977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tx2"/>
        </a:buClr>
        <a:buFont typeface="Wingdings" pitchFamily="2" charset="2"/>
        <a:buChar char="w"/>
        <a:defRPr sz="1600">
          <a:solidFill>
            <a:schemeClr val="tx1"/>
          </a:solidFill>
          <a:latin typeface="+mn-lt"/>
          <a:cs typeface="+mn-cs"/>
        </a:defRPr>
      </a:lvl4pPr>
      <a:lvl5pPr marL="1503353" indent="-242377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tx2"/>
        </a:buClr>
        <a:buFont typeface="Arial" pitchFamily="34" charset="0"/>
        <a:buChar char="–"/>
        <a:defRPr sz="1600">
          <a:solidFill>
            <a:schemeClr val="tx1"/>
          </a:solidFill>
          <a:latin typeface="+mn-lt"/>
          <a:cs typeface="+mn-cs"/>
        </a:defRPr>
      </a:lvl5pPr>
      <a:lvl6pPr marL="1959585" indent="-242377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tx2"/>
        </a:buClr>
        <a:buFont typeface="Arial" charset="0"/>
        <a:buChar char="–"/>
        <a:defRPr sz="1600">
          <a:solidFill>
            <a:schemeClr val="tx1"/>
          </a:solidFill>
          <a:latin typeface="+mn-lt"/>
          <a:cs typeface="+mn-cs"/>
        </a:defRPr>
      </a:lvl6pPr>
      <a:lvl7pPr marL="2415823" indent="-242377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tx2"/>
        </a:buClr>
        <a:buFont typeface="Arial" charset="0"/>
        <a:buChar char="–"/>
        <a:defRPr sz="1600">
          <a:solidFill>
            <a:schemeClr val="tx1"/>
          </a:solidFill>
          <a:latin typeface="+mn-lt"/>
          <a:cs typeface="+mn-cs"/>
        </a:defRPr>
      </a:lvl7pPr>
      <a:lvl8pPr marL="2872056" indent="-242377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tx2"/>
        </a:buClr>
        <a:buFont typeface="Arial" charset="0"/>
        <a:buChar char="–"/>
        <a:defRPr sz="1600">
          <a:solidFill>
            <a:schemeClr val="tx1"/>
          </a:solidFill>
          <a:latin typeface="+mn-lt"/>
          <a:cs typeface="+mn-cs"/>
        </a:defRPr>
      </a:lvl8pPr>
      <a:lvl9pPr marL="3328287" indent="-242377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tx2"/>
        </a:buClr>
        <a:buFont typeface="Arial" charset="0"/>
        <a:buChar char="–"/>
        <a:defRPr sz="16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91246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234" algn="l" defTabSz="91246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2468" algn="l" defTabSz="91246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8700" algn="l" defTabSz="91246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4935" algn="l" defTabSz="91246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1167" algn="l" defTabSz="91246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37394" algn="l" defTabSz="91246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3635" algn="l" defTabSz="91246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49869" algn="l" defTabSz="91246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 userDrawn="1"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496565467"/>
              </p:ext>
            </p:extLst>
          </p:nvPr>
        </p:nvGraphicFramePr>
        <p:xfrm>
          <a:off x="1590" y="1611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940" name="think-cell Slide" r:id="rId12" imgW="270" imgH="270" progId="TCLayout.ActiveDocument.1">
                  <p:embed/>
                </p:oleObj>
              </mc:Choice>
              <mc:Fallback>
                <p:oleObj name="think-cell Slid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90" y="1611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435" name="Rectangle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386580" y="1465263"/>
            <a:ext cx="8370887" cy="434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906267" name="Line 27"/>
          <p:cNvSpPr>
            <a:spLocks noChangeShapeType="1"/>
          </p:cNvSpPr>
          <p:nvPr/>
        </p:nvSpPr>
        <p:spPr bwMode="auto">
          <a:xfrm>
            <a:off x="252000" y="903288"/>
            <a:ext cx="8640000" cy="0"/>
          </a:xfrm>
          <a:prstGeom prst="line">
            <a:avLst/>
          </a:prstGeom>
          <a:noFill/>
          <a:ln w="28575">
            <a:solidFill>
              <a:srgbClr val="016EB3"/>
            </a:solidFill>
            <a:round/>
            <a:headEnd/>
            <a:tailEnd/>
          </a:ln>
          <a:effectLst/>
        </p:spPr>
        <p:txBody>
          <a:bodyPr wrap="none" lIns="91243" tIns="45622" rIns="91243" bIns="45622"/>
          <a:lstStyle/>
          <a:p>
            <a:pPr fontAlgn="base">
              <a:spcBef>
                <a:spcPct val="50000"/>
              </a:spcBef>
              <a:spcAft>
                <a:spcPct val="0"/>
              </a:spcAft>
              <a:defRPr/>
            </a:pPr>
            <a:endParaRPr kumimoji="1" lang="ru-RU" sz="1000" dirty="0">
              <a:solidFill>
                <a:srgbClr val="002766"/>
              </a:solidFill>
              <a:latin typeface="Tahoma" pitchFamily="34" charset="0"/>
              <a:ea typeface="PMingLiU" pitchFamily="18" charset="-120"/>
            </a:endParaRPr>
          </a:p>
        </p:txBody>
      </p:sp>
      <p:sp>
        <p:nvSpPr>
          <p:cNvPr id="9" name="GS Doctop Placeholder" hidden="1"/>
          <p:cNvSpPr txBox="1"/>
          <p:nvPr/>
        </p:nvSpPr>
        <p:spPr>
          <a:xfrm>
            <a:off x="546102" y="17"/>
            <a:ext cx="5651500" cy="215246"/>
          </a:xfrm>
          <a:prstGeom prst="rect">
            <a:avLst/>
          </a:prstGeom>
          <a:noFill/>
        </p:spPr>
        <p:txBody>
          <a:bodyPr vert="horz" lIns="91243" tIns="45622" rIns="91243" bIns="45622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kumimoji="1" lang="en-GB" sz="800" smtClean="0">
                <a:solidFill>
                  <a:srgbClr val="002766"/>
                </a:solidFill>
                <a:ea typeface="PMingLiU" pitchFamily="18" charset="-120"/>
              </a:rPr>
              <a:t>ALMAZ2013\IPO\Roadshow\October Roadshow\Presentation\13 10 13 Roadshow Presentation RUS vF.pptx</a:t>
            </a:r>
            <a:endParaRPr kumimoji="1" lang="en-US" sz="800" dirty="0">
              <a:solidFill>
                <a:srgbClr val="002766"/>
              </a:solidFill>
              <a:ea typeface="PMingLiU" pitchFamily="18" charset="-120"/>
            </a:endParaRPr>
          </a:p>
        </p:txBody>
      </p:sp>
      <p:sp>
        <p:nvSpPr>
          <p:cNvPr id="8" name="Прямоугольник 7"/>
          <p:cNvSpPr/>
          <p:nvPr/>
        </p:nvSpPr>
        <p:spPr bwMode="auto">
          <a:xfrm>
            <a:off x="8671460" y="6516023"/>
            <a:ext cx="468000" cy="219075"/>
          </a:xfrm>
          <a:prstGeom prst="rect">
            <a:avLst/>
          </a:prstGeom>
          <a:solidFill>
            <a:srgbClr val="016EB3"/>
          </a:solidFill>
          <a:ln w="9525" cap="flat" cmpd="sng" algn="ctr">
            <a:solidFill>
              <a:srgbClr val="016EB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243" tIns="45622" rIns="91243" bIns="45622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</a:pPr>
            <a:endParaRPr kumimoji="1" lang="ru-RU" sz="1000" smtClean="0">
              <a:solidFill>
                <a:srgbClr val="0072B6"/>
              </a:solidFill>
              <a:latin typeface="Tahoma" pitchFamily="34" charset="0"/>
              <a:ea typeface="PMingLiU" pitchFamily="18" charset="-120"/>
            </a:endParaRPr>
          </a:p>
        </p:txBody>
      </p:sp>
      <p:sp>
        <p:nvSpPr>
          <p:cNvPr id="10" name="Slide Number Placeholder 8"/>
          <p:cNvSpPr>
            <a:spLocks noGrp="1"/>
          </p:cNvSpPr>
          <p:nvPr>
            <p:ph type="sldNum" sz="quarter" idx="4"/>
          </p:nvPr>
        </p:nvSpPr>
        <p:spPr>
          <a:xfrm>
            <a:off x="8681892" y="6521124"/>
            <a:ext cx="402094" cy="217518"/>
          </a:xfrm>
          <a:prstGeom prst="rect">
            <a:avLst/>
          </a:prstGeom>
        </p:spPr>
        <p:txBody>
          <a:bodyPr lIns="91243" tIns="45622" rIns="91243" bIns="45622"/>
          <a:lstStyle>
            <a:lvl1pPr>
              <a:defRPr sz="800">
                <a:solidFill>
                  <a:schemeClr val="bg1"/>
                </a:solidFill>
                <a:latin typeface="+mj-lt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8E141AF1-466E-4D9F-B74C-45FFEB47CA13}" type="slidenum">
              <a:rPr kumimoji="1" lang="de-DE" smtClean="0">
                <a:solidFill>
                  <a:srgbClr val="FFFFFF"/>
                </a:solidFill>
                <a:ea typeface="PMingLiU" pitchFamily="18" charset="-12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kumimoji="1" lang="de-DE" dirty="0">
              <a:solidFill>
                <a:srgbClr val="FFFFFF"/>
              </a:solidFill>
              <a:ea typeface="PMingLiU" pitchFamily="18" charset="-120"/>
            </a:endParaRPr>
          </a:p>
        </p:txBody>
      </p:sp>
    </p:spTree>
    <p:extLst>
      <p:ext uri="{BB962C8B-B14F-4D97-AF65-F5344CB8AC3E}">
        <p14:creationId xmlns:p14="http://schemas.microsoft.com/office/powerpoint/2010/main" val="2801456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44" r:id="rId1"/>
    <p:sldLayoutId id="2147483845" r:id="rId2"/>
    <p:sldLayoutId id="2147483846" r:id="rId3"/>
    <p:sldLayoutId id="2147483847" r:id="rId4"/>
    <p:sldLayoutId id="2147483848" r:id="rId5"/>
    <p:sldLayoutId id="2147483849" r:id="rId6"/>
    <p:sldLayoutId id="2147483850" r:id="rId7"/>
    <p:sldLayoutId id="2147483851" r:id="rId8"/>
  </p:sldLayoutIdLst>
  <mc:AlternateContent xmlns:mc="http://schemas.openxmlformats.org/markup-compatibility/2006" xmlns:p14="http://schemas.microsoft.com/office/powerpoint/2010/main">
    <mc:Choice Requires="p14">
      <p:transition spd="slow" p14:dur="1600">
        <p14:gallery dir="l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  <p:hf sldNum="0" hdr="0" ft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500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>
          <a:solidFill>
            <a:schemeClr val="tx2"/>
          </a:solidFill>
          <a:latin typeface="Arial" charset="0"/>
          <a:cs typeface="Arial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>
          <a:solidFill>
            <a:schemeClr val="tx2"/>
          </a:solidFill>
          <a:latin typeface="Arial" charset="0"/>
          <a:cs typeface="Arial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>
          <a:solidFill>
            <a:schemeClr val="tx2"/>
          </a:solidFill>
          <a:latin typeface="Arial" charset="0"/>
          <a:cs typeface="Arial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>
          <a:solidFill>
            <a:schemeClr val="tx2"/>
          </a:solidFill>
          <a:latin typeface="Arial" charset="0"/>
          <a:cs typeface="Arial" charset="0"/>
        </a:defRPr>
      </a:lvl5pPr>
      <a:lvl6pPr marL="456234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>
          <a:solidFill>
            <a:schemeClr val="tx2"/>
          </a:solidFill>
          <a:latin typeface="Arial" charset="0"/>
          <a:cs typeface="Arial" charset="0"/>
        </a:defRPr>
      </a:lvl6pPr>
      <a:lvl7pPr marL="912468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>
          <a:solidFill>
            <a:schemeClr val="tx2"/>
          </a:solidFill>
          <a:latin typeface="Arial" charset="0"/>
          <a:cs typeface="Arial" charset="0"/>
        </a:defRPr>
      </a:lvl7pPr>
      <a:lvl8pPr marL="13687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>
          <a:solidFill>
            <a:schemeClr val="tx2"/>
          </a:solidFill>
          <a:latin typeface="Arial" charset="0"/>
          <a:cs typeface="Arial" charset="0"/>
        </a:defRPr>
      </a:lvl8pPr>
      <a:lvl9pPr marL="1824935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marL="256630" indent="-256630" algn="l" rtl="0" eaLnBrk="1" fontAlgn="base" hangingPunct="1">
        <a:lnSpc>
          <a:spcPct val="110000"/>
        </a:lnSpc>
        <a:spcBef>
          <a:spcPct val="75000"/>
        </a:spcBef>
        <a:spcAft>
          <a:spcPct val="0"/>
        </a:spcAft>
        <a:buClr>
          <a:srgbClr val="3376D9"/>
        </a:buClr>
        <a:buSzPct val="120000"/>
        <a:buFont typeface="Wingdings" pitchFamily="2" charset="2"/>
        <a:buBlip>
          <a:blip r:embed="rId14"/>
        </a:buBlip>
        <a:defRPr sz="1200">
          <a:solidFill>
            <a:schemeClr val="tx1"/>
          </a:solidFill>
          <a:latin typeface="+mn-lt"/>
          <a:ea typeface="+mn-ea"/>
          <a:cs typeface="+mn-cs"/>
        </a:defRPr>
      </a:lvl1pPr>
      <a:lvl2pPr marL="681182" indent="-422966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tx2"/>
        </a:buClr>
        <a:buFont typeface="Arial" pitchFamily="34" charset="0"/>
        <a:buBlip>
          <a:blip r:embed="rId15"/>
        </a:buBlip>
        <a:defRPr sz="1100">
          <a:solidFill>
            <a:schemeClr val="tx1"/>
          </a:solidFill>
          <a:latin typeface="+mn-lt"/>
          <a:cs typeface="+mn-cs"/>
        </a:defRPr>
      </a:lvl2pPr>
      <a:lvl3pPr marL="975831" indent="-293067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bg2"/>
        </a:buClr>
        <a:buSzPct val="85000"/>
        <a:buFont typeface="Wingdings 3" pitchFamily="18" charset="2"/>
        <a:buChar char=""/>
        <a:defRPr sz="1100">
          <a:solidFill>
            <a:schemeClr val="tx1"/>
          </a:solidFill>
          <a:latin typeface="+mn-lt"/>
          <a:cs typeface="+mn-cs"/>
        </a:defRPr>
      </a:lvl3pPr>
      <a:lvl4pPr marL="1259396" indent="-281977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tx2"/>
        </a:buClr>
        <a:buFont typeface="Wingdings" pitchFamily="2" charset="2"/>
        <a:buChar char="w"/>
        <a:defRPr sz="1600">
          <a:solidFill>
            <a:schemeClr val="tx1"/>
          </a:solidFill>
          <a:latin typeface="+mn-lt"/>
          <a:cs typeface="+mn-cs"/>
        </a:defRPr>
      </a:lvl4pPr>
      <a:lvl5pPr marL="1503353" indent="-242377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tx2"/>
        </a:buClr>
        <a:buFont typeface="Arial" pitchFamily="34" charset="0"/>
        <a:buChar char="–"/>
        <a:defRPr sz="1600">
          <a:solidFill>
            <a:schemeClr val="tx1"/>
          </a:solidFill>
          <a:latin typeface="+mn-lt"/>
          <a:cs typeface="+mn-cs"/>
        </a:defRPr>
      </a:lvl5pPr>
      <a:lvl6pPr marL="1959585" indent="-242377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tx2"/>
        </a:buClr>
        <a:buFont typeface="Arial" charset="0"/>
        <a:buChar char="–"/>
        <a:defRPr sz="1600">
          <a:solidFill>
            <a:schemeClr val="tx1"/>
          </a:solidFill>
          <a:latin typeface="+mn-lt"/>
          <a:cs typeface="+mn-cs"/>
        </a:defRPr>
      </a:lvl6pPr>
      <a:lvl7pPr marL="2415823" indent="-242377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tx2"/>
        </a:buClr>
        <a:buFont typeface="Arial" charset="0"/>
        <a:buChar char="–"/>
        <a:defRPr sz="1600">
          <a:solidFill>
            <a:schemeClr val="tx1"/>
          </a:solidFill>
          <a:latin typeface="+mn-lt"/>
          <a:cs typeface="+mn-cs"/>
        </a:defRPr>
      </a:lvl7pPr>
      <a:lvl8pPr marL="2872056" indent="-242377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tx2"/>
        </a:buClr>
        <a:buFont typeface="Arial" charset="0"/>
        <a:buChar char="–"/>
        <a:defRPr sz="1600">
          <a:solidFill>
            <a:schemeClr val="tx1"/>
          </a:solidFill>
          <a:latin typeface="+mn-lt"/>
          <a:cs typeface="+mn-cs"/>
        </a:defRPr>
      </a:lvl8pPr>
      <a:lvl9pPr marL="3328287" indent="-242377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tx2"/>
        </a:buClr>
        <a:buFont typeface="Arial" charset="0"/>
        <a:buChar char="–"/>
        <a:defRPr sz="16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91246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234" algn="l" defTabSz="91246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2468" algn="l" defTabSz="91246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8700" algn="l" defTabSz="91246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4935" algn="l" defTabSz="91246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1167" algn="l" defTabSz="91246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37394" algn="l" defTabSz="91246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3635" algn="l" defTabSz="91246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49869" algn="l" defTabSz="91246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 userDrawn="1"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2084224449"/>
              </p:ext>
            </p:extLst>
          </p:nvPr>
        </p:nvGraphicFramePr>
        <p:xfrm>
          <a:off x="1590" y="1611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961" name="think-cell Slide" r:id="rId12" imgW="270" imgH="270" progId="TCLayout.ActiveDocument.1">
                  <p:embed/>
                </p:oleObj>
              </mc:Choice>
              <mc:Fallback>
                <p:oleObj name="think-cell Slid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90" y="1611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435" name="Rectangle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386580" y="1465263"/>
            <a:ext cx="8370887" cy="434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906267" name="Line 27"/>
          <p:cNvSpPr>
            <a:spLocks noChangeShapeType="1"/>
          </p:cNvSpPr>
          <p:nvPr/>
        </p:nvSpPr>
        <p:spPr bwMode="auto">
          <a:xfrm>
            <a:off x="252000" y="903288"/>
            <a:ext cx="8640000" cy="0"/>
          </a:xfrm>
          <a:prstGeom prst="line">
            <a:avLst/>
          </a:prstGeom>
          <a:noFill/>
          <a:ln w="28575">
            <a:solidFill>
              <a:srgbClr val="016EB3"/>
            </a:solidFill>
            <a:round/>
            <a:headEnd/>
            <a:tailEnd/>
          </a:ln>
          <a:effectLst/>
        </p:spPr>
        <p:txBody>
          <a:bodyPr wrap="none" lIns="91243" tIns="45622" rIns="91243" bIns="45622"/>
          <a:lstStyle/>
          <a:p>
            <a:pPr fontAlgn="base">
              <a:spcBef>
                <a:spcPct val="50000"/>
              </a:spcBef>
              <a:spcAft>
                <a:spcPct val="0"/>
              </a:spcAft>
              <a:defRPr/>
            </a:pPr>
            <a:endParaRPr kumimoji="1" lang="ru-RU" sz="1000" dirty="0">
              <a:solidFill>
                <a:srgbClr val="002766"/>
              </a:solidFill>
              <a:latin typeface="Tahoma" pitchFamily="34" charset="0"/>
              <a:ea typeface="PMingLiU" pitchFamily="18" charset="-120"/>
            </a:endParaRPr>
          </a:p>
        </p:txBody>
      </p:sp>
      <p:sp>
        <p:nvSpPr>
          <p:cNvPr id="9" name="GS Doctop Placeholder" hidden="1"/>
          <p:cNvSpPr txBox="1"/>
          <p:nvPr/>
        </p:nvSpPr>
        <p:spPr>
          <a:xfrm>
            <a:off x="546102" y="17"/>
            <a:ext cx="5651500" cy="215246"/>
          </a:xfrm>
          <a:prstGeom prst="rect">
            <a:avLst/>
          </a:prstGeom>
          <a:noFill/>
        </p:spPr>
        <p:txBody>
          <a:bodyPr vert="horz" lIns="91243" tIns="45622" rIns="91243" bIns="45622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kumimoji="1" lang="en-GB" sz="800" smtClean="0">
                <a:solidFill>
                  <a:srgbClr val="002766"/>
                </a:solidFill>
                <a:ea typeface="PMingLiU" pitchFamily="18" charset="-120"/>
              </a:rPr>
              <a:t>ALMAZ2013\IPO\Roadshow\October Roadshow\Presentation\13 10 13 Roadshow Presentation RUS vF.pptx</a:t>
            </a:r>
            <a:endParaRPr kumimoji="1" lang="en-US" sz="800" dirty="0">
              <a:solidFill>
                <a:srgbClr val="002766"/>
              </a:solidFill>
              <a:ea typeface="PMingLiU" pitchFamily="18" charset="-120"/>
            </a:endParaRPr>
          </a:p>
        </p:txBody>
      </p:sp>
      <p:sp>
        <p:nvSpPr>
          <p:cNvPr id="8" name="Прямоугольник 7"/>
          <p:cNvSpPr/>
          <p:nvPr/>
        </p:nvSpPr>
        <p:spPr bwMode="auto">
          <a:xfrm>
            <a:off x="8671460" y="6516023"/>
            <a:ext cx="468000" cy="219075"/>
          </a:xfrm>
          <a:prstGeom prst="rect">
            <a:avLst/>
          </a:prstGeom>
          <a:solidFill>
            <a:srgbClr val="016EB3"/>
          </a:solidFill>
          <a:ln w="9525" cap="flat" cmpd="sng" algn="ctr">
            <a:solidFill>
              <a:srgbClr val="016EB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243" tIns="45622" rIns="91243" bIns="45622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</a:pPr>
            <a:endParaRPr kumimoji="1" lang="ru-RU" sz="1000" smtClean="0">
              <a:solidFill>
                <a:srgbClr val="0072B6"/>
              </a:solidFill>
              <a:latin typeface="Tahoma" pitchFamily="34" charset="0"/>
              <a:ea typeface="PMingLiU" pitchFamily="18" charset="-120"/>
            </a:endParaRPr>
          </a:p>
        </p:txBody>
      </p:sp>
      <p:sp>
        <p:nvSpPr>
          <p:cNvPr id="10" name="Slide Number Placeholder 8"/>
          <p:cNvSpPr>
            <a:spLocks noGrp="1"/>
          </p:cNvSpPr>
          <p:nvPr>
            <p:ph type="sldNum" sz="quarter" idx="4"/>
          </p:nvPr>
        </p:nvSpPr>
        <p:spPr>
          <a:xfrm>
            <a:off x="8681892" y="6521124"/>
            <a:ext cx="402094" cy="217518"/>
          </a:xfrm>
          <a:prstGeom prst="rect">
            <a:avLst/>
          </a:prstGeom>
        </p:spPr>
        <p:txBody>
          <a:bodyPr lIns="91243" tIns="45622" rIns="91243" bIns="45622"/>
          <a:lstStyle>
            <a:lvl1pPr>
              <a:defRPr sz="800">
                <a:solidFill>
                  <a:schemeClr val="bg1"/>
                </a:solidFill>
                <a:latin typeface="+mj-lt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8E141AF1-466E-4D9F-B74C-45FFEB47CA13}" type="slidenum">
              <a:rPr kumimoji="1" lang="de-DE" smtClean="0">
                <a:solidFill>
                  <a:srgbClr val="FFFFFF"/>
                </a:solidFill>
                <a:ea typeface="PMingLiU" pitchFamily="18" charset="-12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kumimoji="1" lang="de-DE" dirty="0">
              <a:solidFill>
                <a:srgbClr val="FFFFFF"/>
              </a:solidFill>
              <a:ea typeface="PMingLiU" pitchFamily="18" charset="-120"/>
            </a:endParaRPr>
          </a:p>
        </p:txBody>
      </p:sp>
    </p:spTree>
    <p:extLst>
      <p:ext uri="{BB962C8B-B14F-4D97-AF65-F5344CB8AC3E}">
        <p14:creationId xmlns:p14="http://schemas.microsoft.com/office/powerpoint/2010/main" val="126744503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62" r:id="rId1"/>
    <p:sldLayoutId id="2147483863" r:id="rId2"/>
    <p:sldLayoutId id="2147483864" r:id="rId3"/>
    <p:sldLayoutId id="2147483865" r:id="rId4"/>
    <p:sldLayoutId id="2147483866" r:id="rId5"/>
    <p:sldLayoutId id="2147483867" r:id="rId6"/>
    <p:sldLayoutId id="2147483868" r:id="rId7"/>
    <p:sldLayoutId id="2147483869" r:id="rId8"/>
  </p:sldLayoutIdLst>
  <mc:AlternateContent xmlns:mc="http://schemas.openxmlformats.org/markup-compatibility/2006" xmlns:p14="http://schemas.microsoft.com/office/powerpoint/2010/main">
    <mc:Choice Requires="p14">
      <p:transition spd="slow" p14:dur="1600">
        <p14:gallery dir="l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  <p:hf sldNum="0" hdr="0" ft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500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>
          <a:solidFill>
            <a:schemeClr val="tx2"/>
          </a:solidFill>
          <a:latin typeface="Arial" charset="0"/>
          <a:cs typeface="Arial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>
          <a:solidFill>
            <a:schemeClr val="tx2"/>
          </a:solidFill>
          <a:latin typeface="Arial" charset="0"/>
          <a:cs typeface="Arial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>
          <a:solidFill>
            <a:schemeClr val="tx2"/>
          </a:solidFill>
          <a:latin typeface="Arial" charset="0"/>
          <a:cs typeface="Arial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>
          <a:solidFill>
            <a:schemeClr val="tx2"/>
          </a:solidFill>
          <a:latin typeface="Arial" charset="0"/>
          <a:cs typeface="Arial" charset="0"/>
        </a:defRPr>
      </a:lvl5pPr>
      <a:lvl6pPr marL="456234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>
          <a:solidFill>
            <a:schemeClr val="tx2"/>
          </a:solidFill>
          <a:latin typeface="Arial" charset="0"/>
          <a:cs typeface="Arial" charset="0"/>
        </a:defRPr>
      </a:lvl6pPr>
      <a:lvl7pPr marL="912468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>
          <a:solidFill>
            <a:schemeClr val="tx2"/>
          </a:solidFill>
          <a:latin typeface="Arial" charset="0"/>
          <a:cs typeface="Arial" charset="0"/>
        </a:defRPr>
      </a:lvl7pPr>
      <a:lvl8pPr marL="13687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>
          <a:solidFill>
            <a:schemeClr val="tx2"/>
          </a:solidFill>
          <a:latin typeface="Arial" charset="0"/>
          <a:cs typeface="Arial" charset="0"/>
        </a:defRPr>
      </a:lvl8pPr>
      <a:lvl9pPr marL="1824935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marL="256630" indent="-256630" algn="l" rtl="0" eaLnBrk="1" fontAlgn="base" hangingPunct="1">
        <a:lnSpc>
          <a:spcPct val="110000"/>
        </a:lnSpc>
        <a:spcBef>
          <a:spcPct val="75000"/>
        </a:spcBef>
        <a:spcAft>
          <a:spcPct val="0"/>
        </a:spcAft>
        <a:buClr>
          <a:srgbClr val="3376D9"/>
        </a:buClr>
        <a:buSzPct val="120000"/>
        <a:buFont typeface="Wingdings" pitchFamily="2" charset="2"/>
        <a:buBlip>
          <a:blip r:embed="rId14"/>
        </a:buBlip>
        <a:defRPr sz="1200">
          <a:solidFill>
            <a:schemeClr val="tx1"/>
          </a:solidFill>
          <a:latin typeface="+mn-lt"/>
          <a:ea typeface="+mn-ea"/>
          <a:cs typeface="+mn-cs"/>
        </a:defRPr>
      </a:lvl1pPr>
      <a:lvl2pPr marL="681182" indent="-422966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tx2"/>
        </a:buClr>
        <a:buFont typeface="Arial" pitchFamily="34" charset="0"/>
        <a:buBlip>
          <a:blip r:embed="rId15"/>
        </a:buBlip>
        <a:defRPr sz="1100">
          <a:solidFill>
            <a:schemeClr val="tx1"/>
          </a:solidFill>
          <a:latin typeface="+mn-lt"/>
          <a:cs typeface="+mn-cs"/>
        </a:defRPr>
      </a:lvl2pPr>
      <a:lvl3pPr marL="975831" indent="-293067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bg2"/>
        </a:buClr>
        <a:buSzPct val="85000"/>
        <a:buFont typeface="Wingdings 3" pitchFamily="18" charset="2"/>
        <a:buChar char=""/>
        <a:defRPr sz="1100">
          <a:solidFill>
            <a:schemeClr val="tx1"/>
          </a:solidFill>
          <a:latin typeface="+mn-lt"/>
          <a:cs typeface="+mn-cs"/>
        </a:defRPr>
      </a:lvl3pPr>
      <a:lvl4pPr marL="1259396" indent="-281977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tx2"/>
        </a:buClr>
        <a:buFont typeface="Wingdings" pitchFamily="2" charset="2"/>
        <a:buChar char="w"/>
        <a:defRPr sz="1600">
          <a:solidFill>
            <a:schemeClr val="tx1"/>
          </a:solidFill>
          <a:latin typeface="+mn-lt"/>
          <a:cs typeface="+mn-cs"/>
        </a:defRPr>
      </a:lvl4pPr>
      <a:lvl5pPr marL="1503353" indent="-242377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tx2"/>
        </a:buClr>
        <a:buFont typeface="Arial" pitchFamily="34" charset="0"/>
        <a:buChar char="–"/>
        <a:defRPr sz="1600">
          <a:solidFill>
            <a:schemeClr val="tx1"/>
          </a:solidFill>
          <a:latin typeface="+mn-lt"/>
          <a:cs typeface="+mn-cs"/>
        </a:defRPr>
      </a:lvl5pPr>
      <a:lvl6pPr marL="1959585" indent="-242377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tx2"/>
        </a:buClr>
        <a:buFont typeface="Arial" charset="0"/>
        <a:buChar char="–"/>
        <a:defRPr sz="1600">
          <a:solidFill>
            <a:schemeClr val="tx1"/>
          </a:solidFill>
          <a:latin typeface="+mn-lt"/>
          <a:cs typeface="+mn-cs"/>
        </a:defRPr>
      </a:lvl6pPr>
      <a:lvl7pPr marL="2415823" indent="-242377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tx2"/>
        </a:buClr>
        <a:buFont typeface="Arial" charset="0"/>
        <a:buChar char="–"/>
        <a:defRPr sz="1600">
          <a:solidFill>
            <a:schemeClr val="tx1"/>
          </a:solidFill>
          <a:latin typeface="+mn-lt"/>
          <a:cs typeface="+mn-cs"/>
        </a:defRPr>
      </a:lvl7pPr>
      <a:lvl8pPr marL="2872056" indent="-242377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tx2"/>
        </a:buClr>
        <a:buFont typeface="Arial" charset="0"/>
        <a:buChar char="–"/>
        <a:defRPr sz="1600">
          <a:solidFill>
            <a:schemeClr val="tx1"/>
          </a:solidFill>
          <a:latin typeface="+mn-lt"/>
          <a:cs typeface="+mn-cs"/>
        </a:defRPr>
      </a:lvl8pPr>
      <a:lvl9pPr marL="3328287" indent="-242377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tx2"/>
        </a:buClr>
        <a:buFont typeface="Arial" charset="0"/>
        <a:buChar char="–"/>
        <a:defRPr sz="16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91246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234" algn="l" defTabSz="91246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2468" algn="l" defTabSz="91246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8700" algn="l" defTabSz="91246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4935" algn="l" defTabSz="91246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1167" algn="l" defTabSz="91246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37394" algn="l" defTabSz="91246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3635" algn="l" defTabSz="91246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49869" algn="l" defTabSz="91246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 userDrawn="1"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163110301"/>
              </p:ext>
            </p:extLst>
          </p:nvPr>
        </p:nvGraphicFramePr>
        <p:xfrm>
          <a:off x="1590" y="1611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985" name="think-cell Slide" r:id="rId12" imgW="270" imgH="270" progId="TCLayout.ActiveDocument.1">
                  <p:embed/>
                </p:oleObj>
              </mc:Choice>
              <mc:Fallback>
                <p:oleObj name="think-cell Slid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90" y="1611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435" name="Rectangle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386580" y="1465263"/>
            <a:ext cx="8370887" cy="434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906267" name="Line 27"/>
          <p:cNvSpPr>
            <a:spLocks noChangeShapeType="1"/>
          </p:cNvSpPr>
          <p:nvPr/>
        </p:nvSpPr>
        <p:spPr bwMode="auto">
          <a:xfrm>
            <a:off x="252000" y="903288"/>
            <a:ext cx="8640000" cy="0"/>
          </a:xfrm>
          <a:prstGeom prst="line">
            <a:avLst/>
          </a:prstGeom>
          <a:noFill/>
          <a:ln w="28575">
            <a:solidFill>
              <a:srgbClr val="016EB3"/>
            </a:solidFill>
            <a:round/>
            <a:headEnd/>
            <a:tailEnd/>
          </a:ln>
          <a:effectLst/>
        </p:spPr>
        <p:txBody>
          <a:bodyPr wrap="none" lIns="91243" tIns="45622" rIns="91243" bIns="45622"/>
          <a:lstStyle/>
          <a:p>
            <a:pPr fontAlgn="base">
              <a:spcBef>
                <a:spcPct val="50000"/>
              </a:spcBef>
              <a:spcAft>
                <a:spcPct val="0"/>
              </a:spcAft>
              <a:defRPr/>
            </a:pPr>
            <a:endParaRPr kumimoji="1" lang="ru-RU" sz="1000" dirty="0">
              <a:solidFill>
                <a:srgbClr val="002766"/>
              </a:solidFill>
              <a:latin typeface="Tahoma" pitchFamily="34" charset="0"/>
              <a:ea typeface="PMingLiU" pitchFamily="18" charset="-120"/>
            </a:endParaRPr>
          </a:p>
        </p:txBody>
      </p:sp>
      <p:sp>
        <p:nvSpPr>
          <p:cNvPr id="9" name="GS Doctop Placeholder" hidden="1"/>
          <p:cNvSpPr txBox="1"/>
          <p:nvPr/>
        </p:nvSpPr>
        <p:spPr>
          <a:xfrm>
            <a:off x="546102" y="17"/>
            <a:ext cx="5651500" cy="215246"/>
          </a:xfrm>
          <a:prstGeom prst="rect">
            <a:avLst/>
          </a:prstGeom>
          <a:noFill/>
        </p:spPr>
        <p:txBody>
          <a:bodyPr vert="horz" lIns="91243" tIns="45622" rIns="91243" bIns="45622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kumimoji="1" lang="en-GB" sz="800" smtClean="0">
                <a:solidFill>
                  <a:srgbClr val="002766"/>
                </a:solidFill>
                <a:ea typeface="PMingLiU" pitchFamily="18" charset="-120"/>
              </a:rPr>
              <a:t>ALMAZ2013\IPO\Roadshow\October Roadshow\Presentation\13 10 13 Roadshow Presentation RUS vF.pptx</a:t>
            </a:r>
            <a:endParaRPr kumimoji="1" lang="en-US" sz="800" dirty="0">
              <a:solidFill>
                <a:srgbClr val="002766"/>
              </a:solidFill>
              <a:ea typeface="PMingLiU" pitchFamily="18" charset="-120"/>
            </a:endParaRPr>
          </a:p>
        </p:txBody>
      </p:sp>
      <p:sp>
        <p:nvSpPr>
          <p:cNvPr id="8" name="Прямоугольник 7"/>
          <p:cNvSpPr/>
          <p:nvPr/>
        </p:nvSpPr>
        <p:spPr bwMode="auto">
          <a:xfrm>
            <a:off x="8671460" y="6516023"/>
            <a:ext cx="468000" cy="219075"/>
          </a:xfrm>
          <a:prstGeom prst="rect">
            <a:avLst/>
          </a:prstGeom>
          <a:solidFill>
            <a:srgbClr val="016EB3"/>
          </a:solidFill>
          <a:ln w="9525" cap="flat" cmpd="sng" algn="ctr">
            <a:solidFill>
              <a:srgbClr val="016EB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243" tIns="45622" rIns="91243" bIns="45622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</a:pPr>
            <a:endParaRPr kumimoji="1" lang="ru-RU" sz="1000" smtClean="0">
              <a:solidFill>
                <a:srgbClr val="0072B6"/>
              </a:solidFill>
              <a:latin typeface="Tahoma" pitchFamily="34" charset="0"/>
              <a:ea typeface="PMingLiU" pitchFamily="18" charset="-120"/>
            </a:endParaRPr>
          </a:p>
        </p:txBody>
      </p:sp>
      <p:sp>
        <p:nvSpPr>
          <p:cNvPr id="10" name="Slide Number Placeholder 8"/>
          <p:cNvSpPr>
            <a:spLocks noGrp="1"/>
          </p:cNvSpPr>
          <p:nvPr>
            <p:ph type="sldNum" sz="quarter" idx="4"/>
          </p:nvPr>
        </p:nvSpPr>
        <p:spPr>
          <a:xfrm>
            <a:off x="8681892" y="6521124"/>
            <a:ext cx="402094" cy="217518"/>
          </a:xfrm>
          <a:prstGeom prst="rect">
            <a:avLst/>
          </a:prstGeom>
        </p:spPr>
        <p:txBody>
          <a:bodyPr lIns="91243" tIns="45622" rIns="91243" bIns="45622"/>
          <a:lstStyle>
            <a:lvl1pPr>
              <a:defRPr sz="800">
                <a:solidFill>
                  <a:schemeClr val="bg1"/>
                </a:solidFill>
                <a:latin typeface="+mj-lt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8E141AF1-466E-4D9F-B74C-45FFEB47CA13}" type="slidenum">
              <a:rPr kumimoji="1" lang="de-DE" smtClean="0">
                <a:solidFill>
                  <a:srgbClr val="FFFFFF"/>
                </a:solidFill>
                <a:ea typeface="PMingLiU" pitchFamily="18" charset="-12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kumimoji="1" lang="de-DE" dirty="0">
              <a:solidFill>
                <a:srgbClr val="FFFFFF"/>
              </a:solidFill>
              <a:ea typeface="PMingLiU" pitchFamily="18" charset="-120"/>
            </a:endParaRPr>
          </a:p>
        </p:txBody>
      </p:sp>
    </p:spTree>
    <p:extLst>
      <p:ext uri="{BB962C8B-B14F-4D97-AF65-F5344CB8AC3E}">
        <p14:creationId xmlns:p14="http://schemas.microsoft.com/office/powerpoint/2010/main" val="19901721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71" r:id="rId1"/>
    <p:sldLayoutId id="2147483872" r:id="rId2"/>
    <p:sldLayoutId id="2147483873" r:id="rId3"/>
    <p:sldLayoutId id="2147483874" r:id="rId4"/>
    <p:sldLayoutId id="2147483875" r:id="rId5"/>
    <p:sldLayoutId id="2147483876" r:id="rId6"/>
    <p:sldLayoutId id="2147483877" r:id="rId7"/>
    <p:sldLayoutId id="2147483878" r:id="rId8"/>
  </p:sldLayoutIdLst>
  <mc:AlternateContent xmlns:mc="http://schemas.openxmlformats.org/markup-compatibility/2006" xmlns:p14="http://schemas.microsoft.com/office/powerpoint/2010/main">
    <mc:Choice Requires="p14">
      <p:transition spd="slow" p14:dur="1600">
        <p14:gallery dir="l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  <p:hf sldNum="0" hdr="0" ft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500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>
          <a:solidFill>
            <a:schemeClr val="tx2"/>
          </a:solidFill>
          <a:latin typeface="Arial" charset="0"/>
          <a:cs typeface="Arial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>
          <a:solidFill>
            <a:schemeClr val="tx2"/>
          </a:solidFill>
          <a:latin typeface="Arial" charset="0"/>
          <a:cs typeface="Arial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>
          <a:solidFill>
            <a:schemeClr val="tx2"/>
          </a:solidFill>
          <a:latin typeface="Arial" charset="0"/>
          <a:cs typeface="Arial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>
          <a:solidFill>
            <a:schemeClr val="tx2"/>
          </a:solidFill>
          <a:latin typeface="Arial" charset="0"/>
          <a:cs typeface="Arial" charset="0"/>
        </a:defRPr>
      </a:lvl5pPr>
      <a:lvl6pPr marL="456234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>
          <a:solidFill>
            <a:schemeClr val="tx2"/>
          </a:solidFill>
          <a:latin typeface="Arial" charset="0"/>
          <a:cs typeface="Arial" charset="0"/>
        </a:defRPr>
      </a:lvl6pPr>
      <a:lvl7pPr marL="912468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>
          <a:solidFill>
            <a:schemeClr val="tx2"/>
          </a:solidFill>
          <a:latin typeface="Arial" charset="0"/>
          <a:cs typeface="Arial" charset="0"/>
        </a:defRPr>
      </a:lvl7pPr>
      <a:lvl8pPr marL="13687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>
          <a:solidFill>
            <a:schemeClr val="tx2"/>
          </a:solidFill>
          <a:latin typeface="Arial" charset="0"/>
          <a:cs typeface="Arial" charset="0"/>
        </a:defRPr>
      </a:lvl8pPr>
      <a:lvl9pPr marL="1824935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marL="256630" indent="-256630" algn="l" rtl="0" eaLnBrk="1" fontAlgn="base" hangingPunct="1">
        <a:lnSpc>
          <a:spcPct val="110000"/>
        </a:lnSpc>
        <a:spcBef>
          <a:spcPct val="75000"/>
        </a:spcBef>
        <a:spcAft>
          <a:spcPct val="0"/>
        </a:spcAft>
        <a:buClr>
          <a:srgbClr val="3376D9"/>
        </a:buClr>
        <a:buSzPct val="120000"/>
        <a:buFont typeface="Wingdings" pitchFamily="2" charset="2"/>
        <a:buBlip>
          <a:blip r:embed="rId14"/>
        </a:buBlip>
        <a:defRPr sz="1200">
          <a:solidFill>
            <a:schemeClr val="tx1"/>
          </a:solidFill>
          <a:latin typeface="+mn-lt"/>
          <a:ea typeface="+mn-ea"/>
          <a:cs typeface="+mn-cs"/>
        </a:defRPr>
      </a:lvl1pPr>
      <a:lvl2pPr marL="681182" indent="-422966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tx2"/>
        </a:buClr>
        <a:buFont typeface="Arial" pitchFamily="34" charset="0"/>
        <a:buBlip>
          <a:blip r:embed="rId15"/>
        </a:buBlip>
        <a:defRPr sz="1100">
          <a:solidFill>
            <a:schemeClr val="tx1"/>
          </a:solidFill>
          <a:latin typeface="+mn-lt"/>
          <a:cs typeface="+mn-cs"/>
        </a:defRPr>
      </a:lvl2pPr>
      <a:lvl3pPr marL="975831" indent="-293067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bg2"/>
        </a:buClr>
        <a:buSzPct val="85000"/>
        <a:buFont typeface="Wingdings 3" pitchFamily="18" charset="2"/>
        <a:buChar char=""/>
        <a:defRPr sz="1100">
          <a:solidFill>
            <a:schemeClr val="tx1"/>
          </a:solidFill>
          <a:latin typeface="+mn-lt"/>
          <a:cs typeface="+mn-cs"/>
        </a:defRPr>
      </a:lvl3pPr>
      <a:lvl4pPr marL="1259396" indent="-281977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tx2"/>
        </a:buClr>
        <a:buFont typeface="Wingdings" pitchFamily="2" charset="2"/>
        <a:buChar char="w"/>
        <a:defRPr sz="1600">
          <a:solidFill>
            <a:schemeClr val="tx1"/>
          </a:solidFill>
          <a:latin typeface="+mn-lt"/>
          <a:cs typeface="+mn-cs"/>
        </a:defRPr>
      </a:lvl4pPr>
      <a:lvl5pPr marL="1503353" indent="-242377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tx2"/>
        </a:buClr>
        <a:buFont typeface="Arial" pitchFamily="34" charset="0"/>
        <a:buChar char="–"/>
        <a:defRPr sz="1600">
          <a:solidFill>
            <a:schemeClr val="tx1"/>
          </a:solidFill>
          <a:latin typeface="+mn-lt"/>
          <a:cs typeface="+mn-cs"/>
        </a:defRPr>
      </a:lvl5pPr>
      <a:lvl6pPr marL="1959585" indent="-242377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tx2"/>
        </a:buClr>
        <a:buFont typeface="Arial" charset="0"/>
        <a:buChar char="–"/>
        <a:defRPr sz="1600">
          <a:solidFill>
            <a:schemeClr val="tx1"/>
          </a:solidFill>
          <a:latin typeface="+mn-lt"/>
          <a:cs typeface="+mn-cs"/>
        </a:defRPr>
      </a:lvl6pPr>
      <a:lvl7pPr marL="2415823" indent="-242377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tx2"/>
        </a:buClr>
        <a:buFont typeface="Arial" charset="0"/>
        <a:buChar char="–"/>
        <a:defRPr sz="1600">
          <a:solidFill>
            <a:schemeClr val="tx1"/>
          </a:solidFill>
          <a:latin typeface="+mn-lt"/>
          <a:cs typeface="+mn-cs"/>
        </a:defRPr>
      </a:lvl7pPr>
      <a:lvl8pPr marL="2872056" indent="-242377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tx2"/>
        </a:buClr>
        <a:buFont typeface="Arial" charset="0"/>
        <a:buChar char="–"/>
        <a:defRPr sz="1600">
          <a:solidFill>
            <a:schemeClr val="tx1"/>
          </a:solidFill>
          <a:latin typeface="+mn-lt"/>
          <a:cs typeface="+mn-cs"/>
        </a:defRPr>
      </a:lvl8pPr>
      <a:lvl9pPr marL="3328287" indent="-242377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tx2"/>
        </a:buClr>
        <a:buFont typeface="Arial" charset="0"/>
        <a:buChar char="–"/>
        <a:defRPr sz="16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91246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234" algn="l" defTabSz="91246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2468" algn="l" defTabSz="91246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8700" algn="l" defTabSz="91246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4935" algn="l" defTabSz="91246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1167" algn="l" defTabSz="91246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37394" algn="l" defTabSz="91246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3635" algn="l" defTabSz="91246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49869" algn="l" defTabSz="91246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 userDrawn="1"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2053748030"/>
              </p:ext>
            </p:extLst>
          </p:nvPr>
        </p:nvGraphicFramePr>
        <p:xfrm>
          <a:off x="1590" y="1611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009" name="think-cell Slide" r:id="rId12" imgW="270" imgH="270" progId="TCLayout.ActiveDocument.1">
                  <p:embed/>
                </p:oleObj>
              </mc:Choice>
              <mc:Fallback>
                <p:oleObj name="think-cell Slid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90" y="1611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435" name="Rectangle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386580" y="1465263"/>
            <a:ext cx="8370887" cy="434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906267" name="Line 27"/>
          <p:cNvSpPr>
            <a:spLocks noChangeShapeType="1"/>
          </p:cNvSpPr>
          <p:nvPr/>
        </p:nvSpPr>
        <p:spPr bwMode="auto">
          <a:xfrm>
            <a:off x="252000" y="903288"/>
            <a:ext cx="8640000" cy="0"/>
          </a:xfrm>
          <a:prstGeom prst="line">
            <a:avLst/>
          </a:prstGeom>
          <a:noFill/>
          <a:ln w="28575">
            <a:solidFill>
              <a:srgbClr val="016EB3"/>
            </a:solidFill>
            <a:round/>
            <a:headEnd/>
            <a:tailEnd/>
          </a:ln>
          <a:effectLst/>
        </p:spPr>
        <p:txBody>
          <a:bodyPr wrap="none" lIns="91243" tIns="45622" rIns="91243" bIns="45622"/>
          <a:lstStyle/>
          <a:p>
            <a:pPr fontAlgn="base">
              <a:spcBef>
                <a:spcPct val="50000"/>
              </a:spcBef>
              <a:spcAft>
                <a:spcPct val="0"/>
              </a:spcAft>
              <a:defRPr/>
            </a:pPr>
            <a:endParaRPr kumimoji="1" lang="ru-RU" sz="1000" dirty="0">
              <a:solidFill>
                <a:srgbClr val="002766"/>
              </a:solidFill>
              <a:latin typeface="Tahoma" pitchFamily="34" charset="0"/>
              <a:ea typeface="PMingLiU" pitchFamily="18" charset="-120"/>
            </a:endParaRPr>
          </a:p>
        </p:txBody>
      </p:sp>
      <p:sp>
        <p:nvSpPr>
          <p:cNvPr id="9" name="GS Doctop Placeholder" hidden="1"/>
          <p:cNvSpPr txBox="1"/>
          <p:nvPr/>
        </p:nvSpPr>
        <p:spPr>
          <a:xfrm>
            <a:off x="546102" y="17"/>
            <a:ext cx="5651500" cy="215246"/>
          </a:xfrm>
          <a:prstGeom prst="rect">
            <a:avLst/>
          </a:prstGeom>
          <a:noFill/>
        </p:spPr>
        <p:txBody>
          <a:bodyPr vert="horz" lIns="91243" tIns="45622" rIns="91243" bIns="45622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kumimoji="1" lang="en-GB" sz="800" smtClean="0">
                <a:solidFill>
                  <a:srgbClr val="002766"/>
                </a:solidFill>
                <a:ea typeface="PMingLiU" pitchFamily="18" charset="-120"/>
              </a:rPr>
              <a:t>ALMAZ2013\IPO\Roadshow\October Roadshow\Presentation\13 10 13 Roadshow Presentation RUS vF.pptx</a:t>
            </a:r>
            <a:endParaRPr kumimoji="1" lang="en-US" sz="800" dirty="0">
              <a:solidFill>
                <a:srgbClr val="002766"/>
              </a:solidFill>
              <a:ea typeface="PMingLiU" pitchFamily="18" charset="-120"/>
            </a:endParaRPr>
          </a:p>
        </p:txBody>
      </p:sp>
      <p:sp>
        <p:nvSpPr>
          <p:cNvPr id="8" name="Прямоугольник 7"/>
          <p:cNvSpPr/>
          <p:nvPr/>
        </p:nvSpPr>
        <p:spPr bwMode="auto">
          <a:xfrm>
            <a:off x="8671460" y="6516023"/>
            <a:ext cx="468000" cy="219075"/>
          </a:xfrm>
          <a:prstGeom prst="rect">
            <a:avLst/>
          </a:prstGeom>
          <a:solidFill>
            <a:srgbClr val="016EB3"/>
          </a:solidFill>
          <a:ln w="9525" cap="flat" cmpd="sng" algn="ctr">
            <a:solidFill>
              <a:srgbClr val="016EB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243" tIns="45622" rIns="91243" bIns="45622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</a:pPr>
            <a:endParaRPr kumimoji="1" lang="ru-RU" sz="1000" smtClean="0">
              <a:solidFill>
                <a:srgbClr val="0072B6"/>
              </a:solidFill>
              <a:latin typeface="Tahoma" pitchFamily="34" charset="0"/>
              <a:ea typeface="PMingLiU" pitchFamily="18" charset="-120"/>
            </a:endParaRPr>
          </a:p>
        </p:txBody>
      </p:sp>
      <p:sp>
        <p:nvSpPr>
          <p:cNvPr id="10" name="Slide Number Placeholder 8"/>
          <p:cNvSpPr>
            <a:spLocks noGrp="1"/>
          </p:cNvSpPr>
          <p:nvPr>
            <p:ph type="sldNum" sz="quarter" idx="4"/>
          </p:nvPr>
        </p:nvSpPr>
        <p:spPr>
          <a:xfrm>
            <a:off x="8681892" y="6521124"/>
            <a:ext cx="402094" cy="217518"/>
          </a:xfrm>
          <a:prstGeom prst="rect">
            <a:avLst/>
          </a:prstGeom>
        </p:spPr>
        <p:txBody>
          <a:bodyPr lIns="91243" tIns="45622" rIns="91243" bIns="45622"/>
          <a:lstStyle>
            <a:lvl1pPr>
              <a:defRPr sz="800">
                <a:solidFill>
                  <a:schemeClr val="bg1"/>
                </a:solidFill>
                <a:latin typeface="+mj-lt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8E141AF1-466E-4D9F-B74C-45FFEB47CA13}" type="slidenum">
              <a:rPr kumimoji="1" lang="de-DE" smtClean="0">
                <a:solidFill>
                  <a:srgbClr val="FFFFFF"/>
                </a:solidFill>
                <a:ea typeface="PMingLiU" pitchFamily="18" charset="-12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kumimoji="1" lang="de-DE" dirty="0">
              <a:solidFill>
                <a:srgbClr val="FFFFFF"/>
              </a:solidFill>
              <a:ea typeface="PMingLiU" pitchFamily="18" charset="-120"/>
            </a:endParaRPr>
          </a:p>
        </p:txBody>
      </p:sp>
    </p:spTree>
    <p:extLst>
      <p:ext uri="{BB962C8B-B14F-4D97-AF65-F5344CB8AC3E}">
        <p14:creationId xmlns:p14="http://schemas.microsoft.com/office/powerpoint/2010/main" val="83681675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80" r:id="rId1"/>
    <p:sldLayoutId id="2147483881" r:id="rId2"/>
    <p:sldLayoutId id="2147483882" r:id="rId3"/>
    <p:sldLayoutId id="2147483883" r:id="rId4"/>
    <p:sldLayoutId id="2147483884" r:id="rId5"/>
    <p:sldLayoutId id="2147483885" r:id="rId6"/>
    <p:sldLayoutId id="2147483886" r:id="rId7"/>
    <p:sldLayoutId id="2147483887" r:id="rId8"/>
  </p:sldLayoutIdLst>
  <mc:AlternateContent xmlns:mc="http://schemas.openxmlformats.org/markup-compatibility/2006" xmlns:p14="http://schemas.microsoft.com/office/powerpoint/2010/main">
    <mc:Choice Requires="p14">
      <p:transition spd="slow" p14:dur="1600">
        <p14:gallery dir="l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  <p:hf sldNum="0" hdr="0" ft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500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>
          <a:solidFill>
            <a:schemeClr val="tx2"/>
          </a:solidFill>
          <a:latin typeface="Arial" charset="0"/>
          <a:cs typeface="Arial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>
          <a:solidFill>
            <a:schemeClr val="tx2"/>
          </a:solidFill>
          <a:latin typeface="Arial" charset="0"/>
          <a:cs typeface="Arial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>
          <a:solidFill>
            <a:schemeClr val="tx2"/>
          </a:solidFill>
          <a:latin typeface="Arial" charset="0"/>
          <a:cs typeface="Arial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>
          <a:solidFill>
            <a:schemeClr val="tx2"/>
          </a:solidFill>
          <a:latin typeface="Arial" charset="0"/>
          <a:cs typeface="Arial" charset="0"/>
        </a:defRPr>
      </a:lvl5pPr>
      <a:lvl6pPr marL="456234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>
          <a:solidFill>
            <a:schemeClr val="tx2"/>
          </a:solidFill>
          <a:latin typeface="Arial" charset="0"/>
          <a:cs typeface="Arial" charset="0"/>
        </a:defRPr>
      </a:lvl6pPr>
      <a:lvl7pPr marL="912468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>
          <a:solidFill>
            <a:schemeClr val="tx2"/>
          </a:solidFill>
          <a:latin typeface="Arial" charset="0"/>
          <a:cs typeface="Arial" charset="0"/>
        </a:defRPr>
      </a:lvl7pPr>
      <a:lvl8pPr marL="13687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>
          <a:solidFill>
            <a:schemeClr val="tx2"/>
          </a:solidFill>
          <a:latin typeface="Arial" charset="0"/>
          <a:cs typeface="Arial" charset="0"/>
        </a:defRPr>
      </a:lvl8pPr>
      <a:lvl9pPr marL="1824935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marL="256630" indent="-256630" algn="l" rtl="0" eaLnBrk="1" fontAlgn="base" hangingPunct="1">
        <a:lnSpc>
          <a:spcPct val="110000"/>
        </a:lnSpc>
        <a:spcBef>
          <a:spcPct val="75000"/>
        </a:spcBef>
        <a:spcAft>
          <a:spcPct val="0"/>
        </a:spcAft>
        <a:buClr>
          <a:srgbClr val="3376D9"/>
        </a:buClr>
        <a:buSzPct val="120000"/>
        <a:buFont typeface="Wingdings" pitchFamily="2" charset="2"/>
        <a:buBlip>
          <a:blip r:embed="rId14"/>
        </a:buBlip>
        <a:defRPr sz="1200">
          <a:solidFill>
            <a:schemeClr val="tx1"/>
          </a:solidFill>
          <a:latin typeface="+mn-lt"/>
          <a:ea typeface="+mn-ea"/>
          <a:cs typeface="+mn-cs"/>
        </a:defRPr>
      </a:lvl1pPr>
      <a:lvl2pPr marL="681182" indent="-422966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tx2"/>
        </a:buClr>
        <a:buFont typeface="Arial" pitchFamily="34" charset="0"/>
        <a:buBlip>
          <a:blip r:embed="rId15"/>
        </a:buBlip>
        <a:defRPr sz="1100">
          <a:solidFill>
            <a:schemeClr val="tx1"/>
          </a:solidFill>
          <a:latin typeface="+mn-lt"/>
          <a:cs typeface="+mn-cs"/>
        </a:defRPr>
      </a:lvl2pPr>
      <a:lvl3pPr marL="975831" indent="-293067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bg2"/>
        </a:buClr>
        <a:buSzPct val="85000"/>
        <a:buFont typeface="Wingdings 3" pitchFamily="18" charset="2"/>
        <a:buChar char=""/>
        <a:defRPr sz="1100">
          <a:solidFill>
            <a:schemeClr val="tx1"/>
          </a:solidFill>
          <a:latin typeface="+mn-lt"/>
          <a:cs typeface="+mn-cs"/>
        </a:defRPr>
      </a:lvl3pPr>
      <a:lvl4pPr marL="1259396" indent="-281977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tx2"/>
        </a:buClr>
        <a:buFont typeface="Wingdings" pitchFamily="2" charset="2"/>
        <a:buChar char="w"/>
        <a:defRPr sz="1600">
          <a:solidFill>
            <a:schemeClr val="tx1"/>
          </a:solidFill>
          <a:latin typeface="+mn-lt"/>
          <a:cs typeface="+mn-cs"/>
        </a:defRPr>
      </a:lvl4pPr>
      <a:lvl5pPr marL="1503353" indent="-242377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tx2"/>
        </a:buClr>
        <a:buFont typeface="Arial" pitchFamily="34" charset="0"/>
        <a:buChar char="–"/>
        <a:defRPr sz="1600">
          <a:solidFill>
            <a:schemeClr val="tx1"/>
          </a:solidFill>
          <a:latin typeface="+mn-lt"/>
          <a:cs typeface="+mn-cs"/>
        </a:defRPr>
      </a:lvl5pPr>
      <a:lvl6pPr marL="1959585" indent="-242377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tx2"/>
        </a:buClr>
        <a:buFont typeface="Arial" charset="0"/>
        <a:buChar char="–"/>
        <a:defRPr sz="1600">
          <a:solidFill>
            <a:schemeClr val="tx1"/>
          </a:solidFill>
          <a:latin typeface="+mn-lt"/>
          <a:cs typeface="+mn-cs"/>
        </a:defRPr>
      </a:lvl6pPr>
      <a:lvl7pPr marL="2415823" indent="-242377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tx2"/>
        </a:buClr>
        <a:buFont typeface="Arial" charset="0"/>
        <a:buChar char="–"/>
        <a:defRPr sz="1600">
          <a:solidFill>
            <a:schemeClr val="tx1"/>
          </a:solidFill>
          <a:latin typeface="+mn-lt"/>
          <a:cs typeface="+mn-cs"/>
        </a:defRPr>
      </a:lvl7pPr>
      <a:lvl8pPr marL="2872056" indent="-242377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tx2"/>
        </a:buClr>
        <a:buFont typeface="Arial" charset="0"/>
        <a:buChar char="–"/>
        <a:defRPr sz="1600">
          <a:solidFill>
            <a:schemeClr val="tx1"/>
          </a:solidFill>
          <a:latin typeface="+mn-lt"/>
          <a:cs typeface="+mn-cs"/>
        </a:defRPr>
      </a:lvl8pPr>
      <a:lvl9pPr marL="3328287" indent="-242377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tx2"/>
        </a:buClr>
        <a:buFont typeface="Arial" charset="0"/>
        <a:buChar char="–"/>
        <a:defRPr sz="16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91246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234" algn="l" defTabSz="91246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2468" algn="l" defTabSz="91246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8700" algn="l" defTabSz="91246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4935" algn="l" defTabSz="91246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1167" algn="l" defTabSz="91246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37394" algn="l" defTabSz="91246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3635" algn="l" defTabSz="91246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49869" algn="l" defTabSz="91246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9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idx="1"/>
            <p:custDataLst>
              <p:tags r:id="rId11"/>
            </p:custDataLst>
          </p:nvPr>
        </p:nvSpPr>
        <p:spPr>
          <a:xfrm>
            <a:off x="376937" y="1104817"/>
            <a:ext cx="8390173" cy="5277846"/>
          </a:xfrm>
          <a:prstGeom prst="rect">
            <a:avLst/>
          </a:prstGeom>
        </p:spPr>
        <p:txBody>
          <a:bodyPr vert="horz" lIns="83032" tIns="41517" rIns="83032" bIns="41517" rtlCol="0" anchor="t" anchorCtr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5" name="SlideNumber"/>
          <p:cNvSpPr/>
          <p:nvPr/>
        </p:nvSpPr>
        <p:spPr>
          <a:xfrm>
            <a:off x="8216375" y="6668489"/>
            <a:ext cx="300772" cy="86818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 defTabSz="891127"/>
            <a:fld id="{BB69BBE8-4DB2-4642-B003-B220ACD5A2FD}" type="slidenum">
              <a:rPr lang="en-US" sz="900" b="1" smtClean="0">
                <a:solidFill>
                  <a:srgbClr val="080808"/>
                </a:solidFill>
                <a:latin typeface="Verdana" pitchFamily="34" charset="0"/>
              </a:rPr>
              <a:pPr algn="ctr" defTabSz="891127"/>
              <a:t>‹#›</a:t>
            </a:fld>
            <a:endParaRPr lang="fr-FR" sz="900" b="1" dirty="0">
              <a:solidFill>
                <a:srgbClr val="080808"/>
              </a:solidFill>
            </a:endParaRPr>
          </a:p>
        </p:txBody>
      </p:sp>
      <p:cxnSp>
        <p:nvCxnSpPr>
          <p:cNvPr id="28" name="Straight Connector 27"/>
          <p:cNvCxnSpPr/>
          <p:nvPr/>
        </p:nvCxnSpPr>
        <p:spPr>
          <a:xfrm>
            <a:off x="0" y="6555697"/>
            <a:ext cx="9144000" cy="0"/>
          </a:xfrm>
          <a:prstGeom prst="line">
            <a:avLst/>
          </a:prstGeom>
          <a:ln w="12700">
            <a:solidFill>
              <a:srgbClr val="999999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6" name="Notes"/>
          <p:cNvSpPr txBox="1">
            <a:spLocks noChangeArrowheads="1"/>
          </p:cNvSpPr>
          <p:nvPr/>
        </p:nvSpPr>
        <p:spPr bwMode="auto">
          <a:xfrm>
            <a:off x="169485" y="6410649"/>
            <a:ext cx="6145498" cy="138499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lIns="0" tIns="0" rIns="0" bIns="0" anchor="b">
            <a:spAutoFit/>
          </a:bodyPr>
          <a:lstStyle/>
          <a:p>
            <a:pPr marL="167228" indent="-167228" defTabSz="800072" fontAlgn="t"/>
            <a:endParaRPr lang="en-CA" sz="900" dirty="0">
              <a:solidFill>
                <a:srgbClr val="003149"/>
              </a:solidFill>
            </a:endParaRPr>
          </a:p>
        </p:txBody>
      </p:sp>
      <p:sp>
        <p:nvSpPr>
          <p:cNvPr id="10" name="VCT_Marker_ID_10" hidden="1"/>
          <p:cNvSpPr/>
          <p:nvPr>
            <p:custDataLst>
              <p:tags r:id="rId12"/>
            </p:custDataLst>
          </p:nvPr>
        </p:nvSpPr>
        <p:spPr>
          <a:xfrm>
            <a:off x="1120934" y="120580"/>
            <a:ext cx="112093" cy="120580"/>
          </a:xfrm>
          <a:prstGeom prst="rect">
            <a:avLst/>
          </a:prstGeom>
          <a:solidFill>
            <a:schemeClr val="accent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891127"/>
            <a:endParaRPr lang="en-US" dirty="0">
              <a:solidFill>
                <a:srgbClr val="003149"/>
              </a:solidFill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0" y="905107"/>
            <a:ext cx="9144000" cy="34180"/>
          </a:xfrm>
          <a:prstGeom prst="rect">
            <a:avLst/>
          </a:prstGeom>
          <a:solidFill>
            <a:schemeClr val="accent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891127"/>
            <a:endParaRPr lang="en-US" dirty="0">
              <a:solidFill>
                <a:srgbClr val="003149"/>
              </a:solidFill>
            </a:endParaRPr>
          </a:p>
        </p:txBody>
      </p:sp>
      <p:grpSp>
        <p:nvGrpSpPr>
          <p:cNvPr id="21" name="Group 20"/>
          <p:cNvGrpSpPr/>
          <p:nvPr/>
        </p:nvGrpSpPr>
        <p:grpSpPr>
          <a:xfrm>
            <a:off x="8574091" y="6591936"/>
            <a:ext cx="385992" cy="239924"/>
            <a:chOff x="7277614" y="2396353"/>
            <a:chExt cx="1054802" cy="609493"/>
          </a:xfrm>
        </p:grpSpPr>
        <p:sp>
          <p:nvSpPr>
            <p:cNvPr id="23" name="Freeform 7"/>
            <p:cNvSpPr>
              <a:spLocks/>
            </p:cNvSpPr>
            <p:nvPr/>
          </p:nvSpPr>
          <p:spPr bwMode="auto">
            <a:xfrm>
              <a:off x="7277614" y="2396353"/>
              <a:ext cx="527401" cy="154241"/>
            </a:xfrm>
            <a:custGeom>
              <a:avLst/>
              <a:gdLst>
                <a:gd name="T0" fmla="*/ 0 w 691"/>
                <a:gd name="T1" fmla="*/ 200 h 200"/>
                <a:gd name="T2" fmla="*/ 691 w 691"/>
                <a:gd name="T3" fmla="*/ 200 h 200"/>
                <a:gd name="T4" fmla="*/ 346 w 691"/>
                <a:gd name="T5" fmla="*/ 0 h 200"/>
                <a:gd name="T6" fmla="*/ 0 w 691"/>
                <a:gd name="T7" fmla="*/ 200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91" h="200">
                  <a:moveTo>
                    <a:pt x="0" y="200"/>
                  </a:moveTo>
                  <a:lnTo>
                    <a:pt x="691" y="200"/>
                  </a:lnTo>
                  <a:lnTo>
                    <a:pt x="346" y="0"/>
                  </a:lnTo>
                  <a:lnTo>
                    <a:pt x="0" y="200"/>
                  </a:lnTo>
                  <a:close/>
                </a:path>
              </a:pathLst>
            </a:custGeom>
            <a:solidFill>
              <a:srgbClr val="FF0505"/>
            </a:solidFill>
            <a:ln w="1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891127"/>
              <a:endParaRPr lang="en-US" sz="1700" dirty="0">
                <a:solidFill>
                  <a:srgbClr val="003149"/>
                </a:solidFill>
              </a:endParaRPr>
            </a:p>
          </p:txBody>
        </p:sp>
        <p:sp>
          <p:nvSpPr>
            <p:cNvPr id="24" name="Freeform 8"/>
            <p:cNvSpPr>
              <a:spLocks/>
            </p:cNvSpPr>
            <p:nvPr/>
          </p:nvSpPr>
          <p:spPr bwMode="auto">
            <a:xfrm>
              <a:off x="7277614" y="2550591"/>
              <a:ext cx="263702" cy="452770"/>
            </a:xfrm>
            <a:custGeom>
              <a:avLst/>
              <a:gdLst>
                <a:gd name="T0" fmla="*/ 0 w 346"/>
                <a:gd name="T1" fmla="*/ 0 h 598"/>
                <a:gd name="T2" fmla="*/ 0 w 346"/>
                <a:gd name="T3" fmla="*/ 399 h 598"/>
                <a:gd name="T4" fmla="*/ 346 w 346"/>
                <a:gd name="T5" fmla="*/ 598 h 598"/>
                <a:gd name="T6" fmla="*/ 0 w 346"/>
                <a:gd name="T7" fmla="*/ 0 h 5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46" h="598">
                  <a:moveTo>
                    <a:pt x="0" y="0"/>
                  </a:moveTo>
                  <a:lnTo>
                    <a:pt x="0" y="399"/>
                  </a:lnTo>
                  <a:lnTo>
                    <a:pt x="346" y="59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505"/>
            </a:solidFill>
            <a:ln w="2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891127"/>
              <a:endParaRPr lang="en-US" sz="1700" dirty="0">
                <a:solidFill>
                  <a:srgbClr val="003149"/>
                </a:solidFill>
              </a:endParaRPr>
            </a:p>
          </p:txBody>
        </p:sp>
        <p:sp>
          <p:nvSpPr>
            <p:cNvPr id="25" name="Freeform 9"/>
            <p:cNvSpPr>
              <a:spLocks/>
            </p:cNvSpPr>
            <p:nvPr/>
          </p:nvSpPr>
          <p:spPr bwMode="auto">
            <a:xfrm>
              <a:off x="7541313" y="2550591"/>
              <a:ext cx="263702" cy="452770"/>
            </a:xfrm>
            <a:custGeom>
              <a:avLst/>
              <a:gdLst>
                <a:gd name="T0" fmla="*/ 0 w 345"/>
                <a:gd name="T1" fmla="*/ 598 h 598"/>
                <a:gd name="T2" fmla="*/ 345 w 345"/>
                <a:gd name="T3" fmla="*/ 0 h 598"/>
                <a:gd name="T4" fmla="*/ 345 w 345"/>
                <a:gd name="T5" fmla="*/ 399 h 598"/>
                <a:gd name="T6" fmla="*/ 0 w 345"/>
                <a:gd name="T7" fmla="*/ 598 h 5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45" h="598">
                  <a:moveTo>
                    <a:pt x="0" y="598"/>
                  </a:moveTo>
                  <a:lnTo>
                    <a:pt x="345" y="0"/>
                  </a:lnTo>
                  <a:lnTo>
                    <a:pt x="345" y="399"/>
                  </a:lnTo>
                  <a:lnTo>
                    <a:pt x="0" y="598"/>
                  </a:lnTo>
                  <a:close/>
                </a:path>
              </a:pathLst>
            </a:custGeom>
            <a:solidFill>
              <a:srgbClr val="FF0505"/>
            </a:solidFill>
            <a:ln w="1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891127"/>
              <a:endParaRPr lang="en-US" sz="1700" dirty="0">
                <a:solidFill>
                  <a:srgbClr val="003149"/>
                </a:solidFill>
              </a:endParaRPr>
            </a:p>
          </p:txBody>
        </p:sp>
        <p:sp>
          <p:nvSpPr>
            <p:cNvPr id="26" name="Freeform 7"/>
            <p:cNvSpPr>
              <a:spLocks/>
            </p:cNvSpPr>
            <p:nvPr/>
          </p:nvSpPr>
          <p:spPr bwMode="auto">
            <a:xfrm rot="10800000">
              <a:off x="7805015" y="2851605"/>
              <a:ext cx="527401" cy="154241"/>
            </a:xfrm>
            <a:custGeom>
              <a:avLst/>
              <a:gdLst>
                <a:gd name="T0" fmla="*/ 0 w 691"/>
                <a:gd name="T1" fmla="*/ 200 h 200"/>
                <a:gd name="T2" fmla="*/ 691 w 691"/>
                <a:gd name="T3" fmla="*/ 200 h 200"/>
                <a:gd name="T4" fmla="*/ 346 w 691"/>
                <a:gd name="T5" fmla="*/ 0 h 200"/>
                <a:gd name="T6" fmla="*/ 0 w 691"/>
                <a:gd name="T7" fmla="*/ 200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91" h="200">
                  <a:moveTo>
                    <a:pt x="0" y="200"/>
                  </a:moveTo>
                  <a:lnTo>
                    <a:pt x="691" y="200"/>
                  </a:lnTo>
                  <a:lnTo>
                    <a:pt x="346" y="0"/>
                  </a:lnTo>
                  <a:lnTo>
                    <a:pt x="0" y="200"/>
                  </a:lnTo>
                  <a:close/>
                </a:path>
              </a:pathLst>
            </a:custGeom>
            <a:solidFill>
              <a:srgbClr val="058CEC"/>
            </a:solidFill>
            <a:ln w="1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891127"/>
              <a:endParaRPr lang="en-US" sz="1700" dirty="0">
                <a:solidFill>
                  <a:srgbClr val="003149"/>
                </a:solidFill>
              </a:endParaRPr>
            </a:p>
          </p:txBody>
        </p:sp>
        <p:sp>
          <p:nvSpPr>
            <p:cNvPr id="27" name="Freeform 8"/>
            <p:cNvSpPr>
              <a:spLocks/>
            </p:cNvSpPr>
            <p:nvPr/>
          </p:nvSpPr>
          <p:spPr bwMode="auto">
            <a:xfrm rot="10800000">
              <a:off x="8068714" y="2398838"/>
              <a:ext cx="263702" cy="452770"/>
            </a:xfrm>
            <a:custGeom>
              <a:avLst/>
              <a:gdLst>
                <a:gd name="T0" fmla="*/ 0 w 346"/>
                <a:gd name="T1" fmla="*/ 0 h 598"/>
                <a:gd name="T2" fmla="*/ 0 w 346"/>
                <a:gd name="T3" fmla="*/ 399 h 598"/>
                <a:gd name="T4" fmla="*/ 346 w 346"/>
                <a:gd name="T5" fmla="*/ 598 h 598"/>
                <a:gd name="T6" fmla="*/ 0 w 346"/>
                <a:gd name="T7" fmla="*/ 0 h 5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46" h="598">
                  <a:moveTo>
                    <a:pt x="0" y="0"/>
                  </a:moveTo>
                  <a:lnTo>
                    <a:pt x="0" y="399"/>
                  </a:lnTo>
                  <a:lnTo>
                    <a:pt x="346" y="59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58CEC"/>
            </a:solidFill>
            <a:ln w="2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891127"/>
              <a:endParaRPr lang="en-US" sz="1700" dirty="0">
                <a:solidFill>
                  <a:srgbClr val="003149"/>
                </a:solidFill>
              </a:endParaRPr>
            </a:p>
          </p:txBody>
        </p:sp>
        <p:sp>
          <p:nvSpPr>
            <p:cNvPr id="29" name="Freeform 9"/>
            <p:cNvSpPr>
              <a:spLocks/>
            </p:cNvSpPr>
            <p:nvPr/>
          </p:nvSpPr>
          <p:spPr bwMode="auto">
            <a:xfrm rot="10800000">
              <a:off x="7805015" y="2398838"/>
              <a:ext cx="263702" cy="452770"/>
            </a:xfrm>
            <a:custGeom>
              <a:avLst/>
              <a:gdLst>
                <a:gd name="T0" fmla="*/ 0 w 345"/>
                <a:gd name="T1" fmla="*/ 598 h 598"/>
                <a:gd name="T2" fmla="*/ 345 w 345"/>
                <a:gd name="T3" fmla="*/ 0 h 598"/>
                <a:gd name="T4" fmla="*/ 345 w 345"/>
                <a:gd name="T5" fmla="*/ 399 h 598"/>
                <a:gd name="T6" fmla="*/ 0 w 345"/>
                <a:gd name="T7" fmla="*/ 598 h 5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45" h="598">
                  <a:moveTo>
                    <a:pt x="0" y="598"/>
                  </a:moveTo>
                  <a:lnTo>
                    <a:pt x="345" y="0"/>
                  </a:lnTo>
                  <a:lnTo>
                    <a:pt x="345" y="399"/>
                  </a:lnTo>
                  <a:lnTo>
                    <a:pt x="0" y="598"/>
                  </a:lnTo>
                  <a:close/>
                </a:path>
              </a:pathLst>
            </a:custGeom>
            <a:solidFill>
              <a:srgbClr val="058CEC"/>
            </a:solidFill>
            <a:ln w="1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891127"/>
              <a:endParaRPr lang="en-US" sz="1700" dirty="0">
                <a:solidFill>
                  <a:srgbClr val="003149"/>
                </a:solidFill>
              </a:endParaRPr>
            </a:p>
          </p:txBody>
        </p:sp>
      </p:grpSp>
      <p:sp>
        <p:nvSpPr>
          <p:cNvPr id="22" name="Rectangle 2"/>
          <p:cNvSpPr>
            <a:spLocks noGrp="1" noChangeArrowheads="1"/>
          </p:cNvSpPr>
          <p:nvPr>
            <p:ph type="title"/>
          </p:nvPr>
        </p:nvSpPr>
        <p:spPr bwMode="gray">
          <a:xfrm>
            <a:off x="168428" y="53600"/>
            <a:ext cx="7856065" cy="8344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65382" bIns="0" numCol="1" anchor="ctr" anchorCtr="0" compatLnSpc="1">
            <a:prstTxWarp prst="textNoShape">
              <a:avLst/>
            </a:prstTxWarp>
          </a:bodyPr>
          <a:lstStyle/>
          <a:p>
            <a:pPr lvl="0"/>
            <a:endParaRPr lang="en-CA" noProof="1"/>
          </a:p>
        </p:txBody>
      </p:sp>
      <p:sp>
        <p:nvSpPr>
          <p:cNvPr id="8" name="OfficeCode" hidden="1"/>
          <p:cNvSpPr txBox="1"/>
          <p:nvPr userDrawn="1">
            <p:custDataLst>
              <p:tags r:id="rId13"/>
            </p:custDataLst>
          </p:nvPr>
        </p:nvSpPr>
        <p:spPr>
          <a:xfrm>
            <a:off x="8265560" y="6655843"/>
            <a:ext cx="175678" cy="76944"/>
          </a:xfrm>
          <a:prstGeom prst="rect">
            <a:avLst/>
          </a:prstGeom>
          <a:noFill/>
        </p:spPr>
        <p:txBody>
          <a:bodyPr vert="horz" wrap="none" lIns="32691" tIns="0" rIns="0" bIns="0" rtlCol="0" anchor="ctr">
            <a:spAutoFit/>
          </a:bodyPr>
          <a:lstStyle/>
          <a:p>
            <a:pPr defTabSz="891127"/>
            <a:r>
              <a:rPr lang="ru-RU" sz="500" dirty="0">
                <a:solidFill>
                  <a:srgbClr val="000000"/>
                </a:solidFill>
                <a:latin typeface="Verdana"/>
              </a:rPr>
              <a:t>MSC</a:t>
            </a:r>
          </a:p>
        </p:txBody>
      </p:sp>
    </p:spTree>
    <p:custDataLst>
      <p:custData r:id="rId9"/>
      <p:custData r:id="rId10"/>
    </p:custDataLst>
    <p:extLst>
      <p:ext uri="{BB962C8B-B14F-4D97-AF65-F5344CB8AC3E}">
        <p14:creationId xmlns:p14="http://schemas.microsoft.com/office/powerpoint/2010/main" val="143279407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91" r:id="rId1"/>
    <p:sldLayoutId id="2147483892" r:id="rId2"/>
    <p:sldLayoutId id="2147483893" r:id="rId3"/>
    <p:sldLayoutId id="2147483894" r:id="rId4"/>
    <p:sldLayoutId id="2147483895" r:id="rId5"/>
    <p:sldLayoutId id="2147483896" r:id="rId6"/>
    <p:sldLayoutId id="2147483897" r:id="rId7"/>
  </p:sldLayoutIdLst>
  <p:hf sldNum="0" hdr="0" ftr="0" dt="0"/>
  <p:txStyles>
    <p:titleStyle>
      <a:lvl1pPr algn="l" defTabSz="891127" rtl="0" eaLnBrk="1" latinLnBrk="0" hangingPunct="1">
        <a:spcBef>
          <a:spcPct val="0"/>
        </a:spcBef>
        <a:buNone/>
        <a:defRPr sz="25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46509" marR="0" indent="-246509" algn="l" defTabSz="890891" rtl="0" eaLnBrk="1" fontAlgn="base" latinLnBrk="0" hangingPunct="1">
        <a:lnSpc>
          <a:spcPct val="100000"/>
        </a:lnSpc>
        <a:spcBef>
          <a:spcPct val="40000"/>
        </a:spcBef>
        <a:spcAft>
          <a:spcPct val="0"/>
        </a:spcAft>
        <a:buClr>
          <a:schemeClr val="tx1"/>
        </a:buClr>
        <a:buSzPts val="2400"/>
        <a:buFont typeface="Verdana" pitchFamily="34" charset="0"/>
        <a:buChar char="•"/>
        <a:tabLst/>
        <a:defRPr kumimoji="0" lang="en-US" altLang="zh-CN" sz="1800" b="0" i="0" u="none" strike="noStrike" kern="1200" cap="none" spc="0" normalizeH="0" baseline="0" noProof="1">
          <a:ln>
            <a:noFill/>
          </a:ln>
          <a:solidFill>
            <a:schemeClr val="accent1">
              <a:lumMod val="50000"/>
            </a:schemeClr>
          </a:solidFill>
          <a:effectLst/>
          <a:uLnTx/>
          <a:uFillTx/>
          <a:latin typeface="+mn-lt"/>
          <a:ea typeface="+mn-ea"/>
          <a:cs typeface="+mn-cs"/>
        </a:defRPr>
      </a:lvl1pPr>
      <a:lvl2pPr marL="521850" marR="0" indent="-108117" algn="l" defTabSz="890891" rtl="0" eaLnBrk="1" fontAlgn="base" latinLnBrk="0" hangingPunct="1">
        <a:lnSpc>
          <a:spcPct val="100000"/>
        </a:lnSpc>
        <a:spcBef>
          <a:spcPct val="20000"/>
        </a:spcBef>
        <a:spcAft>
          <a:spcPct val="0"/>
        </a:spcAft>
        <a:buClr>
          <a:schemeClr val="tx1"/>
        </a:buClr>
        <a:buSzPts val="2200"/>
        <a:buFont typeface="Verdana"/>
        <a:buChar char="-"/>
        <a:tabLst/>
        <a:defRPr lang="en-CA" altLang="zh-CN" sz="1600" kern="1200" baseline="0" noProof="1">
          <a:solidFill>
            <a:schemeClr val="accent1">
              <a:lumMod val="50000"/>
            </a:schemeClr>
          </a:solidFill>
          <a:latin typeface="+mn-lt"/>
          <a:ea typeface="+mn-ea"/>
          <a:cs typeface="+mn-cs"/>
        </a:defRPr>
      </a:lvl2pPr>
      <a:lvl3pPr marL="955762" marR="0" indent="-260926" algn="l" defTabSz="890891" rtl="0" eaLnBrk="1" fontAlgn="base" latinLnBrk="0" hangingPunct="1">
        <a:lnSpc>
          <a:spcPct val="100000"/>
        </a:lnSpc>
        <a:spcBef>
          <a:spcPct val="20000"/>
        </a:spcBef>
        <a:spcAft>
          <a:spcPct val="0"/>
        </a:spcAft>
        <a:buClr>
          <a:schemeClr val="tx1"/>
        </a:buClr>
        <a:buSzPts val="2200"/>
        <a:buFont typeface="Marlett" pitchFamily="2" charset="2"/>
        <a:buChar char="8"/>
        <a:tabLst/>
        <a:defRPr lang="zh-CN" altLang="en-US" sz="1600" kern="1200" noProof="1">
          <a:solidFill>
            <a:schemeClr val="accent1">
              <a:lumMod val="50000"/>
            </a:schemeClr>
          </a:solidFill>
          <a:latin typeface="+mn-lt"/>
          <a:ea typeface="+mn-ea"/>
          <a:cs typeface="+mn-cs"/>
        </a:defRPr>
      </a:lvl3pPr>
      <a:lvl4pPr marL="1320253" marR="0" indent="-190978" algn="l" defTabSz="891127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>
          <a:schemeClr val="tx1"/>
        </a:buClr>
        <a:buSzTx/>
        <a:buFont typeface="Verdana" pitchFamily="34" charset="0"/>
        <a:buChar char="-"/>
        <a:tabLst/>
        <a:defRPr lang="en-CA" altLang="zh-CN" sz="1600" kern="1200">
          <a:solidFill>
            <a:schemeClr val="accent1">
              <a:lumMod val="50000"/>
            </a:schemeClr>
          </a:solidFill>
          <a:latin typeface="+mn-lt"/>
          <a:ea typeface="+mn-ea"/>
          <a:cs typeface="+mn-cs"/>
        </a:defRPr>
      </a:lvl4pPr>
      <a:lvl5pPr marL="2005035" indent="-222783" algn="l" defTabSz="891127" rtl="0" eaLnBrk="1" latinLnBrk="0" hangingPunct="1">
        <a:spcBef>
          <a:spcPct val="20000"/>
        </a:spcBef>
        <a:buFont typeface="Arial" pitchFamily="34" charset="0"/>
        <a:buChar char="»"/>
        <a:defRPr sz="2200" kern="1200">
          <a:solidFill>
            <a:schemeClr val="tx1"/>
          </a:solidFill>
          <a:latin typeface="Verdana" pitchFamily="34" charset="0"/>
          <a:ea typeface="+mn-ea"/>
          <a:cs typeface="+mn-cs"/>
        </a:defRPr>
      </a:lvl5pPr>
      <a:lvl6pPr marL="2450597" indent="-222783" algn="l" defTabSz="891127" rtl="0" eaLnBrk="1" latinLnBrk="0" hangingPunct="1">
        <a:spcBef>
          <a:spcPct val="20000"/>
        </a:spcBef>
        <a:buFont typeface="Arial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96161" indent="-222783" algn="l" defTabSz="891127" rtl="0" eaLnBrk="1" latinLnBrk="0" hangingPunct="1">
        <a:spcBef>
          <a:spcPct val="20000"/>
        </a:spcBef>
        <a:buFont typeface="Arial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341724" indent="-222783" algn="l" defTabSz="891127" rtl="0" eaLnBrk="1" latinLnBrk="0" hangingPunct="1">
        <a:spcBef>
          <a:spcPct val="20000"/>
        </a:spcBef>
        <a:buFont typeface="Arial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787284" indent="-222783" algn="l" defTabSz="891127" rtl="0" eaLnBrk="1" latinLnBrk="0" hangingPunct="1">
        <a:spcBef>
          <a:spcPct val="20000"/>
        </a:spcBef>
        <a:buFont typeface="Arial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91127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445564" algn="l" defTabSz="891127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891127" algn="l" defTabSz="891127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336691" algn="l" defTabSz="891127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782254" algn="l" defTabSz="891127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227816" algn="l" defTabSz="891127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673380" algn="l" defTabSz="891127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3118942" algn="l" defTabSz="891127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564505" algn="l" defTabSz="891127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 userDrawn="1"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1250125237"/>
              </p:ext>
            </p:extLst>
          </p:nvPr>
        </p:nvGraphicFramePr>
        <p:xfrm>
          <a:off x="1590" y="1611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95" name="think-cell Slide" r:id="rId13" imgW="270" imgH="270" progId="TCLayout.ActiveDocument.1">
                  <p:embed/>
                </p:oleObj>
              </mc:Choice>
              <mc:Fallback>
                <p:oleObj name="think-cell Slide" r:id="rId1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90" y="1611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435" name="Rectangle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386580" y="1465263"/>
            <a:ext cx="8370887" cy="434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906267" name="Line 27"/>
          <p:cNvSpPr>
            <a:spLocks noChangeShapeType="1"/>
          </p:cNvSpPr>
          <p:nvPr/>
        </p:nvSpPr>
        <p:spPr bwMode="auto">
          <a:xfrm>
            <a:off x="252000" y="903288"/>
            <a:ext cx="8640000" cy="0"/>
          </a:xfrm>
          <a:prstGeom prst="line">
            <a:avLst/>
          </a:prstGeom>
          <a:noFill/>
          <a:ln w="28575">
            <a:solidFill>
              <a:srgbClr val="016EB3"/>
            </a:solidFill>
            <a:round/>
            <a:headEnd/>
            <a:tailEnd/>
          </a:ln>
          <a:effectLst/>
        </p:spPr>
        <p:txBody>
          <a:bodyPr wrap="none" lIns="91243" tIns="45622" rIns="91243" bIns="45622"/>
          <a:lstStyle/>
          <a:p>
            <a:pPr fontAlgn="base">
              <a:spcBef>
                <a:spcPct val="50000"/>
              </a:spcBef>
              <a:spcAft>
                <a:spcPct val="0"/>
              </a:spcAft>
              <a:defRPr/>
            </a:pPr>
            <a:endParaRPr kumimoji="1" lang="ru-RU" sz="1000" dirty="0">
              <a:solidFill>
                <a:srgbClr val="002766"/>
              </a:solidFill>
              <a:latin typeface="Tahoma" pitchFamily="34" charset="0"/>
              <a:ea typeface="PMingLiU" pitchFamily="18" charset="-120"/>
            </a:endParaRPr>
          </a:p>
        </p:txBody>
      </p:sp>
      <p:sp>
        <p:nvSpPr>
          <p:cNvPr id="9" name="GS Doctop Placeholder" hidden="1"/>
          <p:cNvSpPr txBox="1"/>
          <p:nvPr/>
        </p:nvSpPr>
        <p:spPr>
          <a:xfrm>
            <a:off x="546102" y="17"/>
            <a:ext cx="5651500" cy="215246"/>
          </a:xfrm>
          <a:prstGeom prst="rect">
            <a:avLst/>
          </a:prstGeom>
          <a:noFill/>
        </p:spPr>
        <p:txBody>
          <a:bodyPr vert="horz" lIns="91243" tIns="45622" rIns="91243" bIns="45622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kumimoji="1" lang="en-GB" sz="800" smtClean="0">
                <a:solidFill>
                  <a:srgbClr val="002766"/>
                </a:solidFill>
                <a:ea typeface="PMingLiU" pitchFamily="18" charset="-120"/>
              </a:rPr>
              <a:t>ALMAZ2013\IPO\Roadshow\October Roadshow\Presentation\13 10 13 Roadshow Presentation RUS vF.pptx</a:t>
            </a:r>
            <a:endParaRPr kumimoji="1" lang="en-US" sz="800" dirty="0">
              <a:solidFill>
                <a:srgbClr val="002766"/>
              </a:solidFill>
              <a:ea typeface="PMingLiU" pitchFamily="18" charset="-120"/>
            </a:endParaRPr>
          </a:p>
        </p:txBody>
      </p:sp>
      <p:sp>
        <p:nvSpPr>
          <p:cNvPr id="8" name="Прямоугольник 7"/>
          <p:cNvSpPr/>
          <p:nvPr/>
        </p:nvSpPr>
        <p:spPr bwMode="auto">
          <a:xfrm>
            <a:off x="8671460" y="6516023"/>
            <a:ext cx="468000" cy="219075"/>
          </a:xfrm>
          <a:prstGeom prst="rect">
            <a:avLst/>
          </a:prstGeom>
          <a:solidFill>
            <a:srgbClr val="016EB3"/>
          </a:solidFill>
          <a:ln w="9525" cap="flat" cmpd="sng" algn="ctr">
            <a:solidFill>
              <a:srgbClr val="016EB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243" tIns="45622" rIns="91243" bIns="45622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</a:pPr>
            <a:endParaRPr kumimoji="1" lang="ru-RU" sz="1000" smtClean="0">
              <a:solidFill>
                <a:srgbClr val="0072B6"/>
              </a:solidFill>
              <a:latin typeface="Tahoma" pitchFamily="34" charset="0"/>
              <a:ea typeface="PMingLiU" pitchFamily="18" charset="-120"/>
            </a:endParaRPr>
          </a:p>
        </p:txBody>
      </p:sp>
      <p:sp>
        <p:nvSpPr>
          <p:cNvPr id="10" name="Slide Number Placeholder 8"/>
          <p:cNvSpPr>
            <a:spLocks noGrp="1"/>
          </p:cNvSpPr>
          <p:nvPr>
            <p:ph type="sldNum" sz="quarter" idx="4"/>
          </p:nvPr>
        </p:nvSpPr>
        <p:spPr>
          <a:xfrm>
            <a:off x="8681892" y="6521124"/>
            <a:ext cx="402094" cy="217518"/>
          </a:xfrm>
          <a:prstGeom prst="rect">
            <a:avLst/>
          </a:prstGeom>
        </p:spPr>
        <p:txBody>
          <a:bodyPr lIns="91243" tIns="45622" rIns="91243" bIns="45622"/>
          <a:lstStyle>
            <a:lvl1pPr>
              <a:defRPr sz="800">
                <a:solidFill>
                  <a:schemeClr val="bg1"/>
                </a:solidFill>
                <a:latin typeface="+mj-lt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8E141AF1-466E-4D9F-B74C-45FFEB47CA13}" type="slidenum">
              <a:rPr kumimoji="1" lang="de-DE" smtClean="0">
                <a:solidFill>
                  <a:srgbClr val="FFFFFF"/>
                </a:solidFill>
                <a:ea typeface="PMingLiU" pitchFamily="18" charset="-12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kumimoji="1" lang="de-DE" dirty="0">
              <a:solidFill>
                <a:srgbClr val="FFFFFF"/>
              </a:solidFill>
              <a:ea typeface="PMingLiU" pitchFamily="18" charset="-120"/>
            </a:endParaRPr>
          </a:p>
        </p:txBody>
      </p:sp>
    </p:spTree>
    <p:extLst>
      <p:ext uri="{BB962C8B-B14F-4D97-AF65-F5344CB8AC3E}">
        <p14:creationId xmlns:p14="http://schemas.microsoft.com/office/powerpoint/2010/main" val="39909632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4" r:id="rId1"/>
    <p:sldLayoutId id="2147483725" r:id="rId2"/>
    <p:sldLayoutId id="2147483726" r:id="rId3"/>
    <p:sldLayoutId id="2147483727" r:id="rId4"/>
    <p:sldLayoutId id="2147483728" r:id="rId5"/>
    <p:sldLayoutId id="2147483729" r:id="rId6"/>
    <p:sldLayoutId id="2147483730" r:id="rId7"/>
    <p:sldLayoutId id="2147483888" r:id="rId8"/>
    <p:sldLayoutId id="2147483889" r:id="rId9"/>
  </p:sldLayoutIdLst>
  <mc:AlternateContent xmlns:mc="http://schemas.openxmlformats.org/markup-compatibility/2006" xmlns:p14="http://schemas.microsoft.com/office/powerpoint/2010/main">
    <mc:Choice Requires="p14">
      <p:transition spd="slow" p14:dur="1600">
        <p14:gallery dir="l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  <p:hf sldNum="0" hdr="0" ft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500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>
          <a:solidFill>
            <a:schemeClr val="tx2"/>
          </a:solidFill>
          <a:latin typeface="Arial" charset="0"/>
          <a:cs typeface="Arial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>
          <a:solidFill>
            <a:schemeClr val="tx2"/>
          </a:solidFill>
          <a:latin typeface="Arial" charset="0"/>
          <a:cs typeface="Arial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>
          <a:solidFill>
            <a:schemeClr val="tx2"/>
          </a:solidFill>
          <a:latin typeface="Arial" charset="0"/>
          <a:cs typeface="Arial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>
          <a:solidFill>
            <a:schemeClr val="tx2"/>
          </a:solidFill>
          <a:latin typeface="Arial" charset="0"/>
          <a:cs typeface="Arial" charset="0"/>
        </a:defRPr>
      </a:lvl5pPr>
      <a:lvl6pPr marL="456234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>
          <a:solidFill>
            <a:schemeClr val="tx2"/>
          </a:solidFill>
          <a:latin typeface="Arial" charset="0"/>
          <a:cs typeface="Arial" charset="0"/>
        </a:defRPr>
      </a:lvl6pPr>
      <a:lvl7pPr marL="912468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>
          <a:solidFill>
            <a:schemeClr val="tx2"/>
          </a:solidFill>
          <a:latin typeface="Arial" charset="0"/>
          <a:cs typeface="Arial" charset="0"/>
        </a:defRPr>
      </a:lvl7pPr>
      <a:lvl8pPr marL="13687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>
          <a:solidFill>
            <a:schemeClr val="tx2"/>
          </a:solidFill>
          <a:latin typeface="Arial" charset="0"/>
          <a:cs typeface="Arial" charset="0"/>
        </a:defRPr>
      </a:lvl8pPr>
      <a:lvl9pPr marL="1824935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marL="256630" indent="-256630" algn="l" rtl="0" eaLnBrk="1" fontAlgn="base" hangingPunct="1">
        <a:lnSpc>
          <a:spcPct val="110000"/>
        </a:lnSpc>
        <a:spcBef>
          <a:spcPct val="75000"/>
        </a:spcBef>
        <a:spcAft>
          <a:spcPct val="0"/>
        </a:spcAft>
        <a:buClr>
          <a:srgbClr val="3376D9"/>
        </a:buClr>
        <a:buSzPct val="120000"/>
        <a:buFont typeface="Wingdings" pitchFamily="2" charset="2"/>
        <a:buBlip>
          <a:blip r:embed="rId15"/>
        </a:buBlip>
        <a:defRPr sz="1200">
          <a:solidFill>
            <a:schemeClr val="tx1"/>
          </a:solidFill>
          <a:latin typeface="+mn-lt"/>
          <a:ea typeface="+mn-ea"/>
          <a:cs typeface="+mn-cs"/>
        </a:defRPr>
      </a:lvl1pPr>
      <a:lvl2pPr marL="681182" indent="-422966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tx2"/>
        </a:buClr>
        <a:buFont typeface="Arial" pitchFamily="34" charset="0"/>
        <a:buBlip>
          <a:blip r:embed="rId16"/>
        </a:buBlip>
        <a:defRPr sz="1100">
          <a:solidFill>
            <a:schemeClr val="tx1"/>
          </a:solidFill>
          <a:latin typeface="+mn-lt"/>
          <a:cs typeface="+mn-cs"/>
        </a:defRPr>
      </a:lvl2pPr>
      <a:lvl3pPr marL="975831" indent="-293067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bg2"/>
        </a:buClr>
        <a:buSzPct val="85000"/>
        <a:buFont typeface="Wingdings 3" pitchFamily="18" charset="2"/>
        <a:buChar char=""/>
        <a:defRPr sz="1100">
          <a:solidFill>
            <a:schemeClr val="tx1"/>
          </a:solidFill>
          <a:latin typeface="+mn-lt"/>
          <a:cs typeface="+mn-cs"/>
        </a:defRPr>
      </a:lvl3pPr>
      <a:lvl4pPr marL="1259396" indent="-281977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tx2"/>
        </a:buClr>
        <a:buFont typeface="Wingdings" pitchFamily="2" charset="2"/>
        <a:buChar char="w"/>
        <a:defRPr sz="1600">
          <a:solidFill>
            <a:schemeClr val="tx1"/>
          </a:solidFill>
          <a:latin typeface="+mn-lt"/>
          <a:cs typeface="+mn-cs"/>
        </a:defRPr>
      </a:lvl4pPr>
      <a:lvl5pPr marL="1503353" indent="-242377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tx2"/>
        </a:buClr>
        <a:buFont typeface="Arial" pitchFamily="34" charset="0"/>
        <a:buChar char="–"/>
        <a:defRPr sz="1600">
          <a:solidFill>
            <a:schemeClr val="tx1"/>
          </a:solidFill>
          <a:latin typeface="+mn-lt"/>
          <a:cs typeface="+mn-cs"/>
        </a:defRPr>
      </a:lvl5pPr>
      <a:lvl6pPr marL="1959585" indent="-242377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tx2"/>
        </a:buClr>
        <a:buFont typeface="Arial" charset="0"/>
        <a:buChar char="–"/>
        <a:defRPr sz="1600">
          <a:solidFill>
            <a:schemeClr val="tx1"/>
          </a:solidFill>
          <a:latin typeface="+mn-lt"/>
          <a:cs typeface="+mn-cs"/>
        </a:defRPr>
      </a:lvl6pPr>
      <a:lvl7pPr marL="2415823" indent="-242377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tx2"/>
        </a:buClr>
        <a:buFont typeface="Arial" charset="0"/>
        <a:buChar char="–"/>
        <a:defRPr sz="1600">
          <a:solidFill>
            <a:schemeClr val="tx1"/>
          </a:solidFill>
          <a:latin typeface="+mn-lt"/>
          <a:cs typeface="+mn-cs"/>
        </a:defRPr>
      </a:lvl7pPr>
      <a:lvl8pPr marL="2872056" indent="-242377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tx2"/>
        </a:buClr>
        <a:buFont typeface="Arial" charset="0"/>
        <a:buChar char="–"/>
        <a:defRPr sz="1600">
          <a:solidFill>
            <a:schemeClr val="tx1"/>
          </a:solidFill>
          <a:latin typeface="+mn-lt"/>
          <a:cs typeface="+mn-cs"/>
        </a:defRPr>
      </a:lvl8pPr>
      <a:lvl9pPr marL="3328287" indent="-242377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tx2"/>
        </a:buClr>
        <a:buFont typeface="Arial" charset="0"/>
        <a:buChar char="–"/>
        <a:defRPr sz="16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91246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234" algn="l" defTabSz="91246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2468" algn="l" defTabSz="91246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8700" algn="l" defTabSz="91246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4935" algn="l" defTabSz="91246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1167" algn="l" defTabSz="91246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37394" algn="l" defTabSz="91246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3635" algn="l" defTabSz="91246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49869" algn="l" defTabSz="91246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 userDrawn="1"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1658241061"/>
              </p:ext>
            </p:extLst>
          </p:nvPr>
        </p:nvGraphicFramePr>
        <p:xfrm>
          <a:off x="1590" y="1611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942" name="think-cell Slide" r:id="rId13" imgW="270" imgH="270" progId="TCLayout.ActiveDocument.1">
                  <p:embed/>
                </p:oleObj>
              </mc:Choice>
              <mc:Fallback>
                <p:oleObj name="think-cell Slide" r:id="rId1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90" y="1611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435" name="Rectangle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386580" y="1465263"/>
            <a:ext cx="8370887" cy="434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906267" name="Line 27"/>
          <p:cNvSpPr>
            <a:spLocks noChangeShapeType="1"/>
          </p:cNvSpPr>
          <p:nvPr/>
        </p:nvSpPr>
        <p:spPr bwMode="auto">
          <a:xfrm>
            <a:off x="252000" y="903288"/>
            <a:ext cx="8640000" cy="0"/>
          </a:xfrm>
          <a:prstGeom prst="line">
            <a:avLst/>
          </a:prstGeom>
          <a:noFill/>
          <a:ln w="28575">
            <a:solidFill>
              <a:srgbClr val="016EB3"/>
            </a:solidFill>
            <a:round/>
            <a:headEnd/>
            <a:tailEnd/>
          </a:ln>
          <a:effectLst/>
        </p:spPr>
        <p:txBody>
          <a:bodyPr wrap="none" lIns="91243" tIns="45622" rIns="91243" bIns="45622"/>
          <a:lstStyle/>
          <a:p>
            <a:pPr fontAlgn="base">
              <a:spcBef>
                <a:spcPct val="50000"/>
              </a:spcBef>
              <a:spcAft>
                <a:spcPct val="0"/>
              </a:spcAft>
              <a:defRPr/>
            </a:pPr>
            <a:endParaRPr kumimoji="1" lang="ru-RU" sz="1000" dirty="0">
              <a:solidFill>
                <a:srgbClr val="002766"/>
              </a:solidFill>
              <a:latin typeface="Tahoma" pitchFamily="34" charset="0"/>
              <a:ea typeface="PMingLiU" pitchFamily="18" charset="-120"/>
            </a:endParaRPr>
          </a:p>
        </p:txBody>
      </p:sp>
      <p:sp>
        <p:nvSpPr>
          <p:cNvPr id="9" name="GS Doctop Placeholder" hidden="1"/>
          <p:cNvSpPr txBox="1"/>
          <p:nvPr/>
        </p:nvSpPr>
        <p:spPr>
          <a:xfrm>
            <a:off x="546102" y="17"/>
            <a:ext cx="5651500" cy="215246"/>
          </a:xfrm>
          <a:prstGeom prst="rect">
            <a:avLst/>
          </a:prstGeom>
          <a:noFill/>
        </p:spPr>
        <p:txBody>
          <a:bodyPr vert="horz" lIns="91243" tIns="45622" rIns="91243" bIns="45622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kumimoji="1" lang="en-GB" sz="800" smtClean="0">
                <a:solidFill>
                  <a:srgbClr val="002766"/>
                </a:solidFill>
                <a:ea typeface="PMingLiU" pitchFamily="18" charset="-120"/>
              </a:rPr>
              <a:t>ALMAZ2013\IPO\Roadshow\October Roadshow\Presentation\13 10 13 Roadshow Presentation RUS vF.pptx</a:t>
            </a:r>
            <a:endParaRPr kumimoji="1" lang="en-US" sz="800" dirty="0">
              <a:solidFill>
                <a:srgbClr val="002766"/>
              </a:solidFill>
              <a:ea typeface="PMingLiU" pitchFamily="18" charset="-120"/>
            </a:endParaRPr>
          </a:p>
        </p:txBody>
      </p:sp>
      <p:sp>
        <p:nvSpPr>
          <p:cNvPr id="8" name="Прямоугольник 7"/>
          <p:cNvSpPr/>
          <p:nvPr/>
        </p:nvSpPr>
        <p:spPr bwMode="auto">
          <a:xfrm>
            <a:off x="8671460" y="6516023"/>
            <a:ext cx="468000" cy="219075"/>
          </a:xfrm>
          <a:prstGeom prst="rect">
            <a:avLst/>
          </a:prstGeom>
          <a:solidFill>
            <a:srgbClr val="016EB3"/>
          </a:solidFill>
          <a:ln w="9525" cap="flat" cmpd="sng" algn="ctr">
            <a:solidFill>
              <a:srgbClr val="016EB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243" tIns="45622" rIns="91243" bIns="45622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</a:pPr>
            <a:endParaRPr kumimoji="1" lang="ru-RU" sz="1000" smtClean="0">
              <a:solidFill>
                <a:srgbClr val="0072B6"/>
              </a:solidFill>
              <a:latin typeface="Tahoma" pitchFamily="34" charset="0"/>
              <a:ea typeface="PMingLiU" pitchFamily="18" charset="-120"/>
            </a:endParaRPr>
          </a:p>
        </p:txBody>
      </p:sp>
      <p:sp>
        <p:nvSpPr>
          <p:cNvPr id="10" name="Slide Number Placeholder 8"/>
          <p:cNvSpPr>
            <a:spLocks noGrp="1"/>
          </p:cNvSpPr>
          <p:nvPr>
            <p:ph type="sldNum" sz="quarter" idx="4"/>
          </p:nvPr>
        </p:nvSpPr>
        <p:spPr>
          <a:xfrm>
            <a:off x="8681892" y="6521124"/>
            <a:ext cx="402094" cy="217518"/>
          </a:xfrm>
          <a:prstGeom prst="rect">
            <a:avLst/>
          </a:prstGeom>
        </p:spPr>
        <p:txBody>
          <a:bodyPr lIns="91243" tIns="45622" rIns="91243" bIns="45622"/>
          <a:lstStyle>
            <a:lvl1pPr>
              <a:defRPr sz="800">
                <a:solidFill>
                  <a:schemeClr val="bg1"/>
                </a:solidFill>
                <a:latin typeface="+mj-lt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8E141AF1-466E-4D9F-B74C-45FFEB47CA13}" type="slidenum">
              <a:rPr kumimoji="1" lang="de-DE" smtClean="0">
                <a:solidFill>
                  <a:srgbClr val="FFFFFF"/>
                </a:solidFill>
                <a:ea typeface="PMingLiU" pitchFamily="18" charset="-12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kumimoji="1" lang="de-DE" dirty="0">
              <a:solidFill>
                <a:srgbClr val="FFFFFF"/>
              </a:solidFill>
              <a:ea typeface="PMingLiU" pitchFamily="18" charset="-120"/>
            </a:endParaRPr>
          </a:p>
        </p:txBody>
      </p:sp>
    </p:spTree>
    <p:extLst>
      <p:ext uri="{BB962C8B-B14F-4D97-AF65-F5344CB8AC3E}">
        <p14:creationId xmlns:p14="http://schemas.microsoft.com/office/powerpoint/2010/main" val="50855289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99" r:id="rId1"/>
    <p:sldLayoutId id="2147483900" r:id="rId2"/>
    <p:sldLayoutId id="2147483901" r:id="rId3"/>
    <p:sldLayoutId id="2147483902" r:id="rId4"/>
    <p:sldLayoutId id="2147483903" r:id="rId5"/>
    <p:sldLayoutId id="2147483904" r:id="rId6"/>
    <p:sldLayoutId id="2147483905" r:id="rId7"/>
    <p:sldLayoutId id="2147483906" r:id="rId8"/>
    <p:sldLayoutId id="2147483907" r:id="rId9"/>
  </p:sldLayoutIdLst>
  <mc:AlternateContent xmlns:mc="http://schemas.openxmlformats.org/markup-compatibility/2006" xmlns:p14="http://schemas.microsoft.com/office/powerpoint/2010/main">
    <mc:Choice Requires="p14">
      <p:transition spd="slow" p14:dur="1600">
        <p14:gallery dir="l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  <p:hf sldNum="0" hdr="0" ft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500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>
          <a:solidFill>
            <a:schemeClr val="tx2"/>
          </a:solidFill>
          <a:latin typeface="Arial" charset="0"/>
          <a:cs typeface="Arial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>
          <a:solidFill>
            <a:schemeClr val="tx2"/>
          </a:solidFill>
          <a:latin typeface="Arial" charset="0"/>
          <a:cs typeface="Arial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>
          <a:solidFill>
            <a:schemeClr val="tx2"/>
          </a:solidFill>
          <a:latin typeface="Arial" charset="0"/>
          <a:cs typeface="Arial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>
          <a:solidFill>
            <a:schemeClr val="tx2"/>
          </a:solidFill>
          <a:latin typeface="Arial" charset="0"/>
          <a:cs typeface="Arial" charset="0"/>
        </a:defRPr>
      </a:lvl5pPr>
      <a:lvl6pPr marL="456234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>
          <a:solidFill>
            <a:schemeClr val="tx2"/>
          </a:solidFill>
          <a:latin typeface="Arial" charset="0"/>
          <a:cs typeface="Arial" charset="0"/>
        </a:defRPr>
      </a:lvl6pPr>
      <a:lvl7pPr marL="912468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>
          <a:solidFill>
            <a:schemeClr val="tx2"/>
          </a:solidFill>
          <a:latin typeface="Arial" charset="0"/>
          <a:cs typeface="Arial" charset="0"/>
        </a:defRPr>
      </a:lvl7pPr>
      <a:lvl8pPr marL="13687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>
          <a:solidFill>
            <a:schemeClr val="tx2"/>
          </a:solidFill>
          <a:latin typeface="Arial" charset="0"/>
          <a:cs typeface="Arial" charset="0"/>
        </a:defRPr>
      </a:lvl8pPr>
      <a:lvl9pPr marL="1824935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marL="256630" indent="-256630" algn="l" rtl="0" eaLnBrk="1" fontAlgn="base" hangingPunct="1">
        <a:lnSpc>
          <a:spcPct val="110000"/>
        </a:lnSpc>
        <a:spcBef>
          <a:spcPct val="75000"/>
        </a:spcBef>
        <a:spcAft>
          <a:spcPct val="0"/>
        </a:spcAft>
        <a:buClr>
          <a:srgbClr val="3376D9"/>
        </a:buClr>
        <a:buSzPct val="120000"/>
        <a:buFont typeface="Wingdings" pitchFamily="2" charset="2"/>
        <a:buBlip>
          <a:blip r:embed="rId15"/>
        </a:buBlip>
        <a:defRPr sz="1200">
          <a:solidFill>
            <a:schemeClr val="tx1"/>
          </a:solidFill>
          <a:latin typeface="+mn-lt"/>
          <a:ea typeface="+mn-ea"/>
          <a:cs typeface="+mn-cs"/>
        </a:defRPr>
      </a:lvl1pPr>
      <a:lvl2pPr marL="681182" indent="-422966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tx2"/>
        </a:buClr>
        <a:buFont typeface="Arial" pitchFamily="34" charset="0"/>
        <a:buBlip>
          <a:blip r:embed="rId16"/>
        </a:buBlip>
        <a:defRPr sz="1100">
          <a:solidFill>
            <a:schemeClr val="tx1"/>
          </a:solidFill>
          <a:latin typeface="+mn-lt"/>
          <a:cs typeface="+mn-cs"/>
        </a:defRPr>
      </a:lvl2pPr>
      <a:lvl3pPr marL="975831" indent="-293067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bg2"/>
        </a:buClr>
        <a:buSzPct val="85000"/>
        <a:buFont typeface="Wingdings 3" pitchFamily="18" charset="2"/>
        <a:buChar char=""/>
        <a:defRPr sz="1100">
          <a:solidFill>
            <a:schemeClr val="tx1"/>
          </a:solidFill>
          <a:latin typeface="+mn-lt"/>
          <a:cs typeface="+mn-cs"/>
        </a:defRPr>
      </a:lvl3pPr>
      <a:lvl4pPr marL="1259396" indent="-281977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tx2"/>
        </a:buClr>
        <a:buFont typeface="Wingdings" pitchFamily="2" charset="2"/>
        <a:buChar char="w"/>
        <a:defRPr sz="1600">
          <a:solidFill>
            <a:schemeClr val="tx1"/>
          </a:solidFill>
          <a:latin typeface="+mn-lt"/>
          <a:cs typeface="+mn-cs"/>
        </a:defRPr>
      </a:lvl4pPr>
      <a:lvl5pPr marL="1503353" indent="-242377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tx2"/>
        </a:buClr>
        <a:buFont typeface="Arial" pitchFamily="34" charset="0"/>
        <a:buChar char="–"/>
        <a:defRPr sz="1600">
          <a:solidFill>
            <a:schemeClr val="tx1"/>
          </a:solidFill>
          <a:latin typeface="+mn-lt"/>
          <a:cs typeface="+mn-cs"/>
        </a:defRPr>
      </a:lvl5pPr>
      <a:lvl6pPr marL="1959585" indent="-242377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tx2"/>
        </a:buClr>
        <a:buFont typeface="Arial" charset="0"/>
        <a:buChar char="–"/>
        <a:defRPr sz="1600">
          <a:solidFill>
            <a:schemeClr val="tx1"/>
          </a:solidFill>
          <a:latin typeface="+mn-lt"/>
          <a:cs typeface="+mn-cs"/>
        </a:defRPr>
      </a:lvl6pPr>
      <a:lvl7pPr marL="2415823" indent="-242377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tx2"/>
        </a:buClr>
        <a:buFont typeface="Arial" charset="0"/>
        <a:buChar char="–"/>
        <a:defRPr sz="1600">
          <a:solidFill>
            <a:schemeClr val="tx1"/>
          </a:solidFill>
          <a:latin typeface="+mn-lt"/>
          <a:cs typeface="+mn-cs"/>
        </a:defRPr>
      </a:lvl7pPr>
      <a:lvl8pPr marL="2872056" indent="-242377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tx2"/>
        </a:buClr>
        <a:buFont typeface="Arial" charset="0"/>
        <a:buChar char="–"/>
        <a:defRPr sz="1600">
          <a:solidFill>
            <a:schemeClr val="tx1"/>
          </a:solidFill>
          <a:latin typeface="+mn-lt"/>
          <a:cs typeface="+mn-cs"/>
        </a:defRPr>
      </a:lvl8pPr>
      <a:lvl9pPr marL="3328287" indent="-242377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tx2"/>
        </a:buClr>
        <a:buFont typeface="Arial" charset="0"/>
        <a:buChar char="–"/>
        <a:defRPr sz="16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91246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234" algn="l" defTabSz="91246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2468" algn="l" defTabSz="91246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8700" algn="l" defTabSz="91246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4935" algn="l" defTabSz="91246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1167" algn="l" defTabSz="91246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37394" algn="l" defTabSz="91246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3635" algn="l" defTabSz="91246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49869" algn="l" defTabSz="91246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 userDrawn="1"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3843041392"/>
              </p:ext>
            </p:extLst>
          </p:nvPr>
        </p:nvGraphicFramePr>
        <p:xfrm>
          <a:off x="1590" y="1611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66" name="think-cell Slide" r:id="rId13" imgW="270" imgH="270" progId="TCLayout.ActiveDocument.1">
                  <p:embed/>
                </p:oleObj>
              </mc:Choice>
              <mc:Fallback>
                <p:oleObj name="think-cell Slide" r:id="rId1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90" y="1611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435" name="Rectangle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386580" y="1465263"/>
            <a:ext cx="8370887" cy="434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906267" name="Line 27"/>
          <p:cNvSpPr>
            <a:spLocks noChangeShapeType="1"/>
          </p:cNvSpPr>
          <p:nvPr/>
        </p:nvSpPr>
        <p:spPr bwMode="auto">
          <a:xfrm>
            <a:off x="252000" y="903288"/>
            <a:ext cx="8640000" cy="0"/>
          </a:xfrm>
          <a:prstGeom prst="line">
            <a:avLst/>
          </a:prstGeom>
          <a:noFill/>
          <a:ln w="28575">
            <a:solidFill>
              <a:srgbClr val="016EB3"/>
            </a:solidFill>
            <a:round/>
            <a:headEnd/>
            <a:tailEnd/>
          </a:ln>
          <a:effectLst/>
        </p:spPr>
        <p:txBody>
          <a:bodyPr wrap="none" lIns="91243" tIns="45622" rIns="91243" bIns="45622"/>
          <a:lstStyle/>
          <a:p>
            <a:pPr fontAlgn="base">
              <a:spcBef>
                <a:spcPct val="50000"/>
              </a:spcBef>
              <a:spcAft>
                <a:spcPct val="0"/>
              </a:spcAft>
              <a:defRPr/>
            </a:pPr>
            <a:endParaRPr kumimoji="1" lang="ru-RU" sz="1000" dirty="0">
              <a:solidFill>
                <a:srgbClr val="002766"/>
              </a:solidFill>
              <a:latin typeface="Tahoma" pitchFamily="34" charset="0"/>
              <a:ea typeface="PMingLiU" pitchFamily="18" charset="-120"/>
            </a:endParaRPr>
          </a:p>
        </p:txBody>
      </p:sp>
      <p:sp>
        <p:nvSpPr>
          <p:cNvPr id="9" name="GS Doctop Placeholder" hidden="1"/>
          <p:cNvSpPr txBox="1"/>
          <p:nvPr/>
        </p:nvSpPr>
        <p:spPr>
          <a:xfrm>
            <a:off x="546102" y="17"/>
            <a:ext cx="5651500" cy="215246"/>
          </a:xfrm>
          <a:prstGeom prst="rect">
            <a:avLst/>
          </a:prstGeom>
          <a:noFill/>
        </p:spPr>
        <p:txBody>
          <a:bodyPr vert="horz" lIns="91243" tIns="45622" rIns="91243" bIns="45622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kumimoji="1" lang="en-GB" sz="800" smtClean="0">
                <a:solidFill>
                  <a:srgbClr val="002766"/>
                </a:solidFill>
                <a:ea typeface="PMingLiU" pitchFamily="18" charset="-120"/>
              </a:rPr>
              <a:t>ALMAZ2013\IPO\Roadshow\October Roadshow\Presentation\13 10 13 Roadshow Presentation RUS vF.pptx</a:t>
            </a:r>
            <a:endParaRPr kumimoji="1" lang="en-US" sz="800" dirty="0">
              <a:solidFill>
                <a:srgbClr val="002766"/>
              </a:solidFill>
              <a:ea typeface="PMingLiU" pitchFamily="18" charset="-120"/>
            </a:endParaRPr>
          </a:p>
        </p:txBody>
      </p:sp>
      <p:sp>
        <p:nvSpPr>
          <p:cNvPr id="8" name="Прямоугольник 7"/>
          <p:cNvSpPr/>
          <p:nvPr/>
        </p:nvSpPr>
        <p:spPr bwMode="auto">
          <a:xfrm>
            <a:off x="8671460" y="6516023"/>
            <a:ext cx="468000" cy="219075"/>
          </a:xfrm>
          <a:prstGeom prst="rect">
            <a:avLst/>
          </a:prstGeom>
          <a:solidFill>
            <a:srgbClr val="016EB3"/>
          </a:solidFill>
          <a:ln w="9525" cap="flat" cmpd="sng" algn="ctr">
            <a:solidFill>
              <a:srgbClr val="016EB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243" tIns="45622" rIns="91243" bIns="45622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</a:pPr>
            <a:endParaRPr kumimoji="1" lang="ru-RU" sz="1000" smtClean="0">
              <a:solidFill>
                <a:srgbClr val="0072B6"/>
              </a:solidFill>
              <a:latin typeface="Tahoma" pitchFamily="34" charset="0"/>
              <a:ea typeface="PMingLiU" pitchFamily="18" charset="-120"/>
            </a:endParaRPr>
          </a:p>
        </p:txBody>
      </p:sp>
      <p:sp>
        <p:nvSpPr>
          <p:cNvPr id="10" name="Slide Number Placeholder 8"/>
          <p:cNvSpPr>
            <a:spLocks noGrp="1"/>
          </p:cNvSpPr>
          <p:nvPr>
            <p:ph type="sldNum" sz="quarter" idx="4"/>
          </p:nvPr>
        </p:nvSpPr>
        <p:spPr>
          <a:xfrm>
            <a:off x="8681892" y="6521124"/>
            <a:ext cx="402094" cy="217518"/>
          </a:xfrm>
          <a:prstGeom prst="rect">
            <a:avLst/>
          </a:prstGeom>
        </p:spPr>
        <p:txBody>
          <a:bodyPr lIns="91243" tIns="45622" rIns="91243" bIns="45622"/>
          <a:lstStyle>
            <a:lvl1pPr>
              <a:defRPr sz="800">
                <a:solidFill>
                  <a:schemeClr val="bg1"/>
                </a:solidFill>
                <a:latin typeface="+mj-lt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8E141AF1-466E-4D9F-B74C-45FFEB47CA13}" type="slidenum">
              <a:rPr kumimoji="1" lang="de-DE" smtClean="0">
                <a:solidFill>
                  <a:srgbClr val="FFFFFF"/>
                </a:solidFill>
                <a:ea typeface="PMingLiU" pitchFamily="18" charset="-12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kumimoji="1" lang="de-DE" dirty="0">
              <a:solidFill>
                <a:srgbClr val="FFFFFF"/>
              </a:solidFill>
              <a:ea typeface="PMingLiU" pitchFamily="18" charset="-120"/>
            </a:endParaRPr>
          </a:p>
        </p:txBody>
      </p:sp>
    </p:spTree>
    <p:extLst>
      <p:ext uri="{BB962C8B-B14F-4D97-AF65-F5344CB8AC3E}">
        <p14:creationId xmlns:p14="http://schemas.microsoft.com/office/powerpoint/2010/main" val="25484204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09" r:id="rId1"/>
    <p:sldLayoutId id="2147483910" r:id="rId2"/>
    <p:sldLayoutId id="2147483911" r:id="rId3"/>
    <p:sldLayoutId id="2147483912" r:id="rId4"/>
    <p:sldLayoutId id="2147483913" r:id="rId5"/>
    <p:sldLayoutId id="2147483914" r:id="rId6"/>
    <p:sldLayoutId id="2147483915" r:id="rId7"/>
    <p:sldLayoutId id="2147483916" r:id="rId8"/>
    <p:sldLayoutId id="2147483917" r:id="rId9"/>
  </p:sldLayoutIdLst>
  <mc:AlternateContent xmlns:mc="http://schemas.openxmlformats.org/markup-compatibility/2006" xmlns:p14="http://schemas.microsoft.com/office/powerpoint/2010/main">
    <mc:Choice Requires="p14">
      <p:transition spd="slow" p14:dur="1600">
        <p14:gallery dir="l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  <p:hf sldNum="0" hdr="0" ft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500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>
          <a:solidFill>
            <a:schemeClr val="tx2"/>
          </a:solidFill>
          <a:latin typeface="Arial" charset="0"/>
          <a:cs typeface="Arial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>
          <a:solidFill>
            <a:schemeClr val="tx2"/>
          </a:solidFill>
          <a:latin typeface="Arial" charset="0"/>
          <a:cs typeface="Arial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>
          <a:solidFill>
            <a:schemeClr val="tx2"/>
          </a:solidFill>
          <a:latin typeface="Arial" charset="0"/>
          <a:cs typeface="Arial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>
          <a:solidFill>
            <a:schemeClr val="tx2"/>
          </a:solidFill>
          <a:latin typeface="Arial" charset="0"/>
          <a:cs typeface="Arial" charset="0"/>
        </a:defRPr>
      </a:lvl5pPr>
      <a:lvl6pPr marL="456234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>
          <a:solidFill>
            <a:schemeClr val="tx2"/>
          </a:solidFill>
          <a:latin typeface="Arial" charset="0"/>
          <a:cs typeface="Arial" charset="0"/>
        </a:defRPr>
      </a:lvl6pPr>
      <a:lvl7pPr marL="912468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>
          <a:solidFill>
            <a:schemeClr val="tx2"/>
          </a:solidFill>
          <a:latin typeface="Arial" charset="0"/>
          <a:cs typeface="Arial" charset="0"/>
        </a:defRPr>
      </a:lvl7pPr>
      <a:lvl8pPr marL="13687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>
          <a:solidFill>
            <a:schemeClr val="tx2"/>
          </a:solidFill>
          <a:latin typeface="Arial" charset="0"/>
          <a:cs typeface="Arial" charset="0"/>
        </a:defRPr>
      </a:lvl8pPr>
      <a:lvl9pPr marL="1824935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marL="256630" indent="-256630" algn="l" rtl="0" eaLnBrk="1" fontAlgn="base" hangingPunct="1">
        <a:lnSpc>
          <a:spcPct val="110000"/>
        </a:lnSpc>
        <a:spcBef>
          <a:spcPct val="75000"/>
        </a:spcBef>
        <a:spcAft>
          <a:spcPct val="0"/>
        </a:spcAft>
        <a:buClr>
          <a:srgbClr val="3376D9"/>
        </a:buClr>
        <a:buSzPct val="120000"/>
        <a:buFont typeface="Wingdings" pitchFamily="2" charset="2"/>
        <a:buBlip>
          <a:blip r:embed="rId15"/>
        </a:buBlip>
        <a:defRPr sz="1200">
          <a:solidFill>
            <a:schemeClr val="tx1"/>
          </a:solidFill>
          <a:latin typeface="+mn-lt"/>
          <a:ea typeface="+mn-ea"/>
          <a:cs typeface="+mn-cs"/>
        </a:defRPr>
      </a:lvl1pPr>
      <a:lvl2pPr marL="681182" indent="-422966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tx2"/>
        </a:buClr>
        <a:buFont typeface="Arial" pitchFamily="34" charset="0"/>
        <a:buBlip>
          <a:blip r:embed="rId16"/>
        </a:buBlip>
        <a:defRPr sz="1100">
          <a:solidFill>
            <a:schemeClr val="tx1"/>
          </a:solidFill>
          <a:latin typeface="+mn-lt"/>
          <a:cs typeface="+mn-cs"/>
        </a:defRPr>
      </a:lvl2pPr>
      <a:lvl3pPr marL="975831" indent="-293067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bg2"/>
        </a:buClr>
        <a:buSzPct val="85000"/>
        <a:buFont typeface="Wingdings 3" pitchFamily="18" charset="2"/>
        <a:buChar char=""/>
        <a:defRPr sz="1100">
          <a:solidFill>
            <a:schemeClr val="tx1"/>
          </a:solidFill>
          <a:latin typeface="+mn-lt"/>
          <a:cs typeface="+mn-cs"/>
        </a:defRPr>
      </a:lvl3pPr>
      <a:lvl4pPr marL="1259396" indent="-281977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tx2"/>
        </a:buClr>
        <a:buFont typeface="Wingdings" pitchFamily="2" charset="2"/>
        <a:buChar char="w"/>
        <a:defRPr sz="1600">
          <a:solidFill>
            <a:schemeClr val="tx1"/>
          </a:solidFill>
          <a:latin typeface="+mn-lt"/>
          <a:cs typeface="+mn-cs"/>
        </a:defRPr>
      </a:lvl4pPr>
      <a:lvl5pPr marL="1503353" indent="-242377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tx2"/>
        </a:buClr>
        <a:buFont typeface="Arial" pitchFamily="34" charset="0"/>
        <a:buChar char="–"/>
        <a:defRPr sz="1600">
          <a:solidFill>
            <a:schemeClr val="tx1"/>
          </a:solidFill>
          <a:latin typeface="+mn-lt"/>
          <a:cs typeface="+mn-cs"/>
        </a:defRPr>
      </a:lvl5pPr>
      <a:lvl6pPr marL="1959585" indent="-242377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tx2"/>
        </a:buClr>
        <a:buFont typeface="Arial" charset="0"/>
        <a:buChar char="–"/>
        <a:defRPr sz="1600">
          <a:solidFill>
            <a:schemeClr val="tx1"/>
          </a:solidFill>
          <a:latin typeface="+mn-lt"/>
          <a:cs typeface="+mn-cs"/>
        </a:defRPr>
      </a:lvl6pPr>
      <a:lvl7pPr marL="2415823" indent="-242377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tx2"/>
        </a:buClr>
        <a:buFont typeface="Arial" charset="0"/>
        <a:buChar char="–"/>
        <a:defRPr sz="1600">
          <a:solidFill>
            <a:schemeClr val="tx1"/>
          </a:solidFill>
          <a:latin typeface="+mn-lt"/>
          <a:cs typeface="+mn-cs"/>
        </a:defRPr>
      </a:lvl7pPr>
      <a:lvl8pPr marL="2872056" indent="-242377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tx2"/>
        </a:buClr>
        <a:buFont typeface="Arial" charset="0"/>
        <a:buChar char="–"/>
        <a:defRPr sz="1600">
          <a:solidFill>
            <a:schemeClr val="tx1"/>
          </a:solidFill>
          <a:latin typeface="+mn-lt"/>
          <a:cs typeface="+mn-cs"/>
        </a:defRPr>
      </a:lvl8pPr>
      <a:lvl9pPr marL="3328287" indent="-242377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tx2"/>
        </a:buClr>
        <a:buFont typeface="Arial" charset="0"/>
        <a:buChar char="–"/>
        <a:defRPr sz="16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91246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234" algn="l" defTabSz="91246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2468" algn="l" defTabSz="91246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8700" algn="l" defTabSz="91246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4935" algn="l" defTabSz="91246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1167" algn="l" defTabSz="91246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37394" algn="l" defTabSz="91246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3635" algn="l" defTabSz="91246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49869" algn="l" defTabSz="91246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idx="1"/>
            <p:custDataLst>
              <p:tags r:id="rId11"/>
            </p:custDataLst>
          </p:nvPr>
        </p:nvSpPr>
        <p:spPr>
          <a:xfrm>
            <a:off x="376936" y="1104817"/>
            <a:ext cx="8390173" cy="5277846"/>
          </a:xfrm>
          <a:prstGeom prst="rect">
            <a:avLst/>
          </a:prstGeom>
        </p:spPr>
        <p:txBody>
          <a:bodyPr vert="horz" lIns="83040" tIns="41521" rIns="83040" bIns="41521" rtlCol="0" anchor="t" anchorCtr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5" name="SlideNumber"/>
          <p:cNvSpPr/>
          <p:nvPr/>
        </p:nvSpPr>
        <p:spPr>
          <a:xfrm>
            <a:off x="8216375" y="6668489"/>
            <a:ext cx="300772" cy="86818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 defTabSz="891209"/>
            <a:fld id="{BB69BBE8-4DB2-4642-B003-B220ACD5A2FD}" type="slidenum">
              <a:rPr lang="en-US" sz="900" b="1" smtClean="0">
                <a:solidFill>
                  <a:srgbClr val="080808"/>
                </a:solidFill>
                <a:latin typeface="Verdana" pitchFamily="34" charset="0"/>
              </a:rPr>
              <a:pPr algn="ctr" defTabSz="891209"/>
              <a:t>‹#›</a:t>
            </a:fld>
            <a:endParaRPr lang="fr-FR" sz="900" b="1" dirty="0">
              <a:solidFill>
                <a:srgbClr val="080808"/>
              </a:solidFill>
            </a:endParaRPr>
          </a:p>
        </p:txBody>
      </p:sp>
      <p:cxnSp>
        <p:nvCxnSpPr>
          <p:cNvPr id="28" name="Straight Connector 27"/>
          <p:cNvCxnSpPr/>
          <p:nvPr/>
        </p:nvCxnSpPr>
        <p:spPr>
          <a:xfrm>
            <a:off x="0" y="6555697"/>
            <a:ext cx="9144000" cy="0"/>
          </a:xfrm>
          <a:prstGeom prst="line">
            <a:avLst/>
          </a:prstGeom>
          <a:ln w="12700">
            <a:solidFill>
              <a:srgbClr val="999999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6" name="Notes"/>
          <p:cNvSpPr txBox="1">
            <a:spLocks noChangeArrowheads="1"/>
          </p:cNvSpPr>
          <p:nvPr/>
        </p:nvSpPr>
        <p:spPr bwMode="auto">
          <a:xfrm>
            <a:off x="169485" y="6410649"/>
            <a:ext cx="6145498" cy="138499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lIns="0" tIns="0" rIns="0" bIns="0" anchor="b">
            <a:spAutoFit/>
          </a:bodyPr>
          <a:lstStyle/>
          <a:p>
            <a:pPr marL="167243" indent="-167243" defTabSz="800146" fontAlgn="t"/>
            <a:endParaRPr lang="en-CA" sz="900" dirty="0">
              <a:solidFill>
                <a:srgbClr val="003149"/>
              </a:solidFill>
            </a:endParaRPr>
          </a:p>
        </p:txBody>
      </p:sp>
      <p:sp>
        <p:nvSpPr>
          <p:cNvPr id="10" name="VCT_Marker_ID_10" hidden="1"/>
          <p:cNvSpPr/>
          <p:nvPr>
            <p:custDataLst>
              <p:tags r:id="rId12"/>
            </p:custDataLst>
          </p:nvPr>
        </p:nvSpPr>
        <p:spPr>
          <a:xfrm>
            <a:off x="1120934" y="120580"/>
            <a:ext cx="112093" cy="120580"/>
          </a:xfrm>
          <a:prstGeom prst="rect">
            <a:avLst/>
          </a:prstGeom>
          <a:solidFill>
            <a:schemeClr val="accent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891209"/>
            <a:endParaRPr lang="en-US" dirty="0">
              <a:solidFill>
                <a:srgbClr val="003149"/>
              </a:solidFill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0" y="905107"/>
            <a:ext cx="9144000" cy="34180"/>
          </a:xfrm>
          <a:prstGeom prst="rect">
            <a:avLst/>
          </a:prstGeom>
          <a:solidFill>
            <a:schemeClr val="accent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891209"/>
            <a:endParaRPr lang="en-US" dirty="0">
              <a:solidFill>
                <a:srgbClr val="003149"/>
              </a:solidFill>
            </a:endParaRPr>
          </a:p>
        </p:txBody>
      </p:sp>
      <p:grpSp>
        <p:nvGrpSpPr>
          <p:cNvPr id="21" name="Group 20"/>
          <p:cNvGrpSpPr/>
          <p:nvPr/>
        </p:nvGrpSpPr>
        <p:grpSpPr>
          <a:xfrm>
            <a:off x="8574091" y="6591936"/>
            <a:ext cx="385992" cy="239924"/>
            <a:chOff x="7277614" y="2396353"/>
            <a:chExt cx="1054802" cy="609493"/>
          </a:xfrm>
        </p:grpSpPr>
        <p:sp>
          <p:nvSpPr>
            <p:cNvPr id="23" name="Freeform 7"/>
            <p:cNvSpPr>
              <a:spLocks/>
            </p:cNvSpPr>
            <p:nvPr/>
          </p:nvSpPr>
          <p:spPr bwMode="auto">
            <a:xfrm>
              <a:off x="7277614" y="2396353"/>
              <a:ext cx="527401" cy="154241"/>
            </a:xfrm>
            <a:custGeom>
              <a:avLst/>
              <a:gdLst>
                <a:gd name="T0" fmla="*/ 0 w 691"/>
                <a:gd name="T1" fmla="*/ 200 h 200"/>
                <a:gd name="T2" fmla="*/ 691 w 691"/>
                <a:gd name="T3" fmla="*/ 200 h 200"/>
                <a:gd name="T4" fmla="*/ 346 w 691"/>
                <a:gd name="T5" fmla="*/ 0 h 200"/>
                <a:gd name="T6" fmla="*/ 0 w 691"/>
                <a:gd name="T7" fmla="*/ 200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91" h="200">
                  <a:moveTo>
                    <a:pt x="0" y="200"/>
                  </a:moveTo>
                  <a:lnTo>
                    <a:pt x="691" y="200"/>
                  </a:lnTo>
                  <a:lnTo>
                    <a:pt x="346" y="0"/>
                  </a:lnTo>
                  <a:lnTo>
                    <a:pt x="0" y="200"/>
                  </a:lnTo>
                  <a:close/>
                </a:path>
              </a:pathLst>
            </a:custGeom>
            <a:solidFill>
              <a:srgbClr val="FF0505"/>
            </a:solidFill>
            <a:ln w="1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891209"/>
              <a:endParaRPr lang="en-US" sz="1700" dirty="0">
                <a:solidFill>
                  <a:srgbClr val="003149"/>
                </a:solidFill>
              </a:endParaRPr>
            </a:p>
          </p:txBody>
        </p:sp>
        <p:sp>
          <p:nvSpPr>
            <p:cNvPr id="24" name="Freeform 8"/>
            <p:cNvSpPr>
              <a:spLocks/>
            </p:cNvSpPr>
            <p:nvPr/>
          </p:nvSpPr>
          <p:spPr bwMode="auto">
            <a:xfrm>
              <a:off x="7277614" y="2550591"/>
              <a:ext cx="263702" cy="452770"/>
            </a:xfrm>
            <a:custGeom>
              <a:avLst/>
              <a:gdLst>
                <a:gd name="T0" fmla="*/ 0 w 346"/>
                <a:gd name="T1" fmla="*/ 0 h 598"/>
                <a:gd name="T2" fmla="*/ 0 w 346"/>
                <a:gd name="T3" fmla="*/ 399 h 598"/>
                <a:gd name="T4" fmla="*/ 346 w 346"/>
                <a:gd name="T5" fmla="*/ 598 h 598"/>
                <a:gd name="T6" fmla="*/ 0 w 346"/>
                <a:gd name="T7" fmla="*/ 0 h 5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46" h="598">
                  <a:moveTo>
                    <a:pt x="0" y="0"/>
                  </a:moveTo>
                  <a:lnTo>
                    <a:pt x="0" y="399"/>
                  </a:lnTo>
                  <a:lnTo>
                    <a:pt x="346" y="59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505"/>
            </a:solidFill>
            <a:ln w="2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891209"/>
              <a:endParaRPr lang="en-US" sz="1700" dirty="0">
                <a:solidFill>
                  <a:srgbClr val="003149"/>
                </a:solidFill>
              </a:endParaRPr>
            </a:p>
          </p:txBody>
        </p:sp>
        <p:sp>
          <p:nvSpPr>
            <p:cNvPr id="25" name="Freeform 9"/>
            <p:cNvSpPr>
              <a:spLocks/>
            </p:cNvSpPr>
            <p:nvPr/>
          </p:nvSpPr>
          <p:spPr bwMode="auto">
            <a:xfrm>
              <a:off x="7541313" y="2550591"/>
              <a:ext cx="263702" cy="452770"/>
            </a:xfrm>
            <a:custGeom>
              <a:avLst/>
              <a:gdLst>
                <a:gd name="T0" fmla="*/ 0 w 345"/>
                <a:gd name="T1" fmla="*/ 598 h 598"/>
                <a:gd name="T2" fmla="*/ 345 w 345"/>
                <a:gd name="T3" fmla="*/ 0 h 598"/>
                <a:gd name="T4" fmla="*/ 345 w 345"/>
                <a:gd name="T5" fmla="*/ 399 h 598"/>
                <a:gd name="T6" fmla="*/ 0 w 345"/>
                <a:gd name="T7" fmla="*/ 598 h 5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45" h="598">
                  <a:moveTo>
                    <a:pt x="0" y="598"/>
                  </a:moveTo>
                  <a:lnTo>
                    <a:pt x="345" y="0"/>
                  </a:lnTo>
                  <a:lnTo>
                    <a:pt x="345" y="399"/>
                  </a:lnTo>
                  <a:lnTo>
                    <a:pt x="0" y="598"/>
                  </a:lnTo>
                  <a:close/>
                </a:path>
              </a:pathLst>
            </a:custGeom>
            <a:solidFill>
              <a:srgbClr val="FF0505"/>
            </a:solidFill>
            <a:ln w="1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891209"/>
              <a:endParaRPr lang="en-US" sz="1700" dirty="0">
                <a:solidFill>
                  <a:srgbClr val="003149"/>
                </a:solidFill>
              </a:endParaRPr>
            </a:p>
          </p:txBody>
        </p:sp>
        <p:sp>
          <p:nvSpPr>
            <p:cNvPr id="26" name="Freeform 7"/>
            <p:cNvSpPr>
              <a:spLocks/>
            </p:cNvSpPr>
            <p:nvPr/>
          </p:nvSpPr>
          <p:spPr bwMode="auto">
            <a:xfrm rot="10800000">
              <a:off x="7805015" y="2851605"/>
              <a:ext cx="527401" cy="154241"/>
            </a:xfrm>
            <a:custGeom>
              <a:avLst/>
              <a:gdLst>
                <a:gd name="T0" fmla="*/ 0 w 691"/>
                <a:gd name="T1" fmla="*/ 200 h 200"/>
                <a:gd name="T2" fmla="*/ 691 w 691"/>
                <a:gd name="T3" fmla="*/ 200 h 200"/>
                <a:gd name="T4" fmla="*/ 346 w 691"/>
                <a:gd name="T5" fmla="*/ 0 h 200"/>
                <a:gd name="T6" fmla="*/ 0 w 691"/>
                <a:gd name="T7" fmla="*/ 200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91" h="200">
                  <a:moveTo>
                    <a:pt x="0" y="200"/>
                  </a:moveTo>
                  <a:lnTo>
                    <a:pt x="691" y="200"/>
                  </a:lnTo>
                  <a:lnTo>
                    <a:pt x="346" y="0"/>
                  </a:lnTo>
                  <a:lnTo>
                    <a:pt x="0" y="200"/>
                  </a:lnTo>
                  <a:close/>
                </a:path>
              </a:pathLst>
            </a:custGeom>
            <a:solidFill>
              <a:srgbClr val="058CEC"/>
            </a:solidFill>
            <a:ln w="1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891209"/>
              <a:endParaRPr lang="en-US" sz="1700" dirty="0">
                <a:solidFill>
                  <a:srgbClr val="003149"/>
                </a:solidFill>
              </a:endParaRPr>
            </a:p>
          </p:txBody>
        </p:sp>
        <p:sp>
          <p:nvSpPr>
            <p:cNvPr id="27" name="Freeform 8"/>
            <p:cNvSpPr>
              <a:spLocks/>
            </p:cNvSpPr>
            <p:nvPr/>
          </p:nvSpPr>
          <p:spPr bwMode="auto">
            <a:xfrm rot="10800000">
              <a:off x="8068714" y="2398838"/>
              <a:ext cx="263702" cy="452770"/>
            </a:xfrm>
            <a:custGeom>
              <a:avLst/>
              <a:gdLst>
                <a:gd name="T0" fmla="*/ 0 w 346"/>
                <a:gd name="T1" fmla="*/ 0 h 598"/>
                <a:gd name="T2" fmla="*/ 0 w 346"/>
                <a:gd name="T3" fmla="*/ 399 h 598"/>
                <a:gd name="T4" fmla="*/ 346 w 346"/>
                <a:gd name="T5" fmla="*/ 598 h 598"/>
                <a:gd name="T6" fmla="*/ 0 w 346"/>
                <a:gd name="T7" fmla="*/ 0 h 5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46" h="598">
                  <a:moveTo>
                    <a:pt x="0" y="0"/>
                  </a:moveTo>
                  <a:lnTo>
                    <a:pt x="0" y="399"/>
                  </a:lnTo>
                  <a:lnTo>
                    <a:pt x="346" y="59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58CEC"/>
            </a:solidFill>
            <a:ln w="2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891209"/>
              <a:endParaRPr lang="en-US" sz="1700" dirty="0">
                <a:solidFill>
                  <a:srgbClr val="003149"/>
                </a:solidFill>
              </a:endParaRPr>
            </a:p>
          </p:txBody>
        </p:sp>
        <p:sp>
          <p:nvSpPr>
            <p:cNvPr id="29" name="Freeform 9"/>
            <p:cNvSpPr>
              <a:spLocks/>
            </p:cNvSpPr>
            <p:nvPr/>
          </p:nvSpPr>
          <p:spPr bwMode="auto">
            <a:xfrm rot="10800000">
              <a:off x="7805015" y="2398838"/>
              <a:ext cx="263702" cy="452770"/>
            </a:xfrm>
            <a:custGeom>
              <a:avLst/>
              <a:gdLst>
                <a:gd name="T0" fmla="*/ 0 w 345"/>
                <a:gd name="T1" fmla="*/ 598 h 598"/>
                <a:gd name="T2" fmla="*/ 345 w 345"/>
                <a:gd name="T3" fmla="*/ 0 h 598"/>
                <a:gd name="T4" fmla="*/ 345 w 345"/>
                <a:gd name="T5" fmla="*/ 399 h 598"/>
                <a:gd name="T6" fmla="*/ 0 w 345"/>
                <a:gd name="T7" fmla="*/ 598 h 5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45" h="598">
                  <a:moveTo>
                    <a:pt x="0" y="598"/>
                  </a:moveTo>
                  <a:lnTo>
                    <a:pt x="345" y="0"/>
                  </a:lnTo>
                  <a:lnTo>
                    <a:pt x="345" y="399"/>
                  </a:lnTo>
                  <a:lnTo>
                    <a:pt x="0" y="598"/>
                  </a:lnTo>
                  <a:close/>
                </a:path>
              </a:pathLst>
            </a:custGeom>
            <a:solidFill>
              <a:srgbClr val="058CEC"/>
            </a:solidFill>
            <a:ln w="1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891209"/>
              <a:endParaRPr lang="en-US" sz="1700" dirty="0">
                <a:solidFill>
                  <a:srgbClr val="003149"/>
                </a:solidFill>
              </a:endParaRPr>
            </a:p>
          </p:txBody>
        </p:sp>
      </p:grpSp>
      <p:sp>
        <p:nvSpPr>
          <p:cNvPr id="22" name="Rectangle 2"/>
          <p:cNvSpPr>
            <a:spLocks noGrp="1" noChangeArrowheads="1"/>
          </p:cNvSpPr>
          <p:nvPr>
            <p:ph type="title"/>
          </p:nvPr>
        </p:nvSpPr>
        <p:spPr bwMode="gray">
          <a:xfrm>
            <a:off x="168427" y="53599"/>
            <a:ext cx="7856065" cy="8344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65388" bIns="0" numCol="1" anchor="ctr" anchorCtr="0" compatLnSpc="1">
            <a:prstTxWarp prst="textNoShape">
              <a:avLst/>
            </a:prstTxWarp>
          </a:bodyPr>
          <a:lstStyle/>
          <a:p>
            <a:pPr lvl="0"/>
            <a:endParaRPr lang="en-CA" noProof="1"/>
          </a:p>
        </p:txBody>
      </p:sp>
      <p:sp>
        <p:nvSpPr>
          <p:cNvPr id="8" name="OfficeCode" hidden="1"/>
          <p:cNvSpPr txBox="1"/>
          <p:nvPr userDrawn="1">
            <p:custDataLst>
              <p:tags r:id="rId13"/>
            </p:custDataLst>
          </p:nvPr>
        </p:nvSpPr>
        <p:spPr>
          <a:xfrm>
            <a:off x="8265559" y="6655843"/>
            <a:ext cx="175681" cy="76944"/>
          </a:xfrm>
          <a:prstGeom prst="rect">
            <a:avLst/>
          </a:prstGeom>
          <a:noFill/>
        </p:spPr>
        <p:txBody>
          <a:bodyPr vert="horz" wrap="none" lIns="32694" tIns="0" rIns="0" bIns="0" rtlCol="0" anchor="ctr">
            <a:spAutoFit/>
          </a:bodyPr>
          <a:lstStyle/>
          <a:p>
            <a:pPr defTabSz="891209"/>
            <a:r>
              <a:rPr lang="ru-RU" sz="500" dirty="0">
                <a:solidFill>
                  <a:srgbClr val="000000"/>
                </a:solidFill>
                <a:latin typeface="Verdana"/>
              </a:rPr>
              <a:t>MSC</a:t>
            </a:r>
          </a:p>
        </p:txBody>
      </p:sp>
    </p:spTree>
    <p:custDataLst>
      <p:custData r:id="rId9"/>
      <p:custData r:id="rId10"/>
    </p:custDataLst>
    <p:extLst>
      <p:ext uri="{BB962C8B-B14F-4D97-AF65-F5344CB8AC3E}">
        <p14:creationId xmlns:p14="http://schemas.microsoft.com/office/powerpoint/2010/main" val="15900343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19" r:id="rId1"/>
    <p:sldLayoutId id="2147483920" r:id="rId2"/>
    <p:sldLayoutId id="2147483921" r:id="rId3"/>
    <p:sldLayoutId id="2147483922" r:id="rId4"/>
    <p:sldLayoutId id="2147483923" r:id="rId5"/>
    <p:sldLayoutId id="2147483924" r:id="rId6"/>
    <p:sldLayoutId id="2147483925" r:id="rId7"/>
  </p:sldLayoutIdLst>
  <p:hf sldNum="0" hdr="0" ftr="0" dt="0"/>
  <p:txStyles>
    <p:titleStyle>
      <a:lvl1pPr algn="l" defTabSz="891209" rtl="0" eaLnBrk="1" latinLnBrk="0" hangingPunct="1">
        <a:spcBef>
          <a:spcPct val="0"/>
        </a:spcBef>
        <a:buNone/>
        <a:defRPr sz="25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46532" marR="0" indent="-246532" algn="l" defTabSz="890973" rtl="0" eaLnBrk="1" fontAlgn="base" latinLnBrk="0" hangingPunct="1">
        <a:lnSpc>
          <a:spcPct val="100000"/>
        </a:lnSpc>
        <a:spcBef>
          <a:spcPct val="40000"/>
        </a:spcBef>
        <a:spcAft>
          <a:spcPct val="0"/>
        </a:spcAft>
        <a:buClr>
          <a:schemeClr val="tx1"/>
        </a:buClr>
        <a:buSzPts val="2400"/>
        <a:buFont typeface="Verdana" pitchFamily="34" charset="0"/>
        <a:buChar char="•"/>
        <a:tabLst/>
        <a:defRPr kumimoji="0" lang="en-US" altLang="zh-CN" sz="1800" b="0" i="0" u="none" strike="noStrike" kern="1200" cap="none" spc="0" normalizeH="0" baseline="0" noProof="1">
          <a:ln>
            <a:noFill/>
          </a:ln>
          <a:solidFill>
            <a:schemeClr val="accent1">
              <a:lumMod val="50000"/>
            </a:schemeClr>
          </a:solidFill>
          <a:effectLst/>
          <a:uLnTx/>
          <a:uFillTx/>
          <a:latin typeface="+mn-lt"/>
          <a:ea typeface="+mn-ea"/>
          <a:cs typeface="+mn-cs"/>
        </a:defRPr>
      </a:lvl1pPr>
      <a:lvl2pPr marL="521898" marR="0" indent="-108127" algn="l" defTabSz="890973" rtl="0" eaLnBrk="1" fontAlgn="base" latinLnBrk="0" hangingPunct="1">
        <a:lnSpc>
          <a:spcPct val="100000"/>
        </a:lnSpc>
        <a:spcBef>
          <a:spcPct val="20000"/>
        </a:spcBef>
        <a:spcAft>
          <a:spcPct val="0"/>
        </a:spcAft>
        <a:buClr>
          <a:schemeClr val="tx1"/>
        </a:buClr>
        <a:buSzPts val="2200"/>
        <a:buFont typeface="Verdana"/>
        <a:buChar char="-"/>
        <a:tabLst/>
        <a:defRPr lang="en-CA" altLang="zh-CN" sz="1600" kern="1200" baseline="0" noProof="1">
          <a:solidFill>
            <a:schemeClr val="accent1">
              <a:lumMod val="50000"/>
            </a:schemeClr>
          </a:solidFill>
          <a:latin typeface="+mn-lt"/>
          <a:ea typeface="+mn-ea"/>
          <a:cs typeface="+mn-cs"/>
        </a:defRPr>
      </a:lvl2pPr>
      <a:lvl3pPr marL="955850" marR="0" indent="-260950" algn="l" defTabSz="890973" rtl="0" eaLnBrk="1" fontAlgn="base" latinLnBrk="0" hangingPunct="1">
        <a:lnSpc>
          <a:spcPct val="100000"/>
        </a:lnSpc>
        <a:spcBef>
          <a:spcPct val="20000"/>
        </a:spcBef>
        <a:spcAft>
          <a:spcPct val="0"/>
        </a:spcAft>
        <a:buClr>
          <a:schemeClr val="tx1"/>
        </a:buClr>
        <a:buSzPts val="2200"/>
        <a:buFont typeface="Marlett" pitchFamily="2" charset="2"/>
        <a:buChar char="8"/>
        <a:tabLst/>
        <a:defRPr lang="zh-CN" altLang="en-US" sz="1600" kern="1200" noProof="1">
          <a:solidFill>
            <a:schemeClr val="accent1">
              <a:lumMod val="50000"/>
            </a:schemeClr>
          </a:solidFill>
          <a:latin typeface="+mn-lt"/>
          <a:ea typeface="+mn-ea"/>
          <a:cs typeface="+mn-cs"/>
        </a:defRPr>
      </a:lvl3pPr>
      <a:lvl4pPr marL="1320375" marR="0" indent="-190996" algn="l" defTabSz="891209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>
          <a:schemeClr val="tx1"/>
        </a:buClr>
        <a:buSzTx/>
        <a:buFont typeface="Verdana" pitchFamily="34" charset="0"/>
        <a:buChar char="-"/>
        <a:tabLst/>
        <a:defRPr lang="en-CA" altLang="zh-CN" sz="1600" kern="1200">
          <a:solidFill>
            <a:schemeClr val="accent1">
              <a:lumMod val="50000"/>
            </a:schemeClr>
          </a:solidFill>
          <a:latin typeface="+mn-lt"/>
          <a:ea typeface="+mn-ea"/>
          <a:cs typeface="+mn-cs"/>
        </a:defRPr>
      </a:lvl4pPr>
      <a:lvl5pPr marL="2005219" indent="-222803" algn="l" defTabSz="891209" rtl="0" eaLnBrk="1" latinLnBrk="0" hangingPunct="1">
        <a:spcBef>
          <a:spcPct val="20000"/>
        </a:spcBef>
        <a:buFont typeface="Arial" pitchFamily="34" charset="0"/>
        <a:buChar char="»"/>
        <a:defRPr sz="2200" kern="1200">
          <a:solidFill>
            <a:schemeClr val="tx1"/>
          </a:solidFill>
          <a:latin typeface="Verdana" pitchFamily="34" charset="0"/>
          <a:ea typeface="+mn-ea"/>
          <a:cs typeface="+mn-cs"/>
        </a:defRPr>
      </a:lvl5pPr>
      <a:lvl6pPr marL="2450823" indent="-222803" algn="l" defTabSz="891209" rtl="0" eaLnBrk="1" latinLnBrk="0" hangingPunct="1">
        <a:spcBef>
          <a:spcPct val="20000"/>
        </a:spcBef>
        <a:buFont typeface="Arial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96427" indent="-222803" algn="l" defTabSz="891209" rtl="0" eaLnBrk="1" latinLnBrk="0" hangingPunct="1">
        <a:spcBef>
          <a:spcPct val="20000"/>
        </a:spcBef>
        <a:buFont typeface="Arial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342031" indent="-222803" algn="l" defTabSz="891209" rtl="0" eaLnBrk="1" latinLnBrk="0" hangingPunct="1">
        <a:spcBef>
          <a:spcPct val="20000"/>
        </a:spcBef>
        <a:buFont typeface="Arial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787633" indent="-222803" algn="l" defTabSz="891209" rtl="0" eaLnBrk="1" latinLnBrk="0" hangingPunct="1">
        <a:spcBef>
          <a:spcPct val="20000"/>
        </a:spcBef>
        <a:buFont typeface="Arial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91209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445605" algn="l" defTabSz="891209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891209" algn="l" defTabSz="891209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336814" algn="l" defTabSz="891209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782418" algn="l" defTabSz="891209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228021" algn="l" defTabSz="891209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673626" algn="l" defTabSz="891209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3119229" algn="l" defTabSz="891209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564833" algn="l" defTabSz="891209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idx="1"/>
            <p:custDataLst>
              <p:tags r:id="rId11"/>
            </p:custDataLst>
          </p:nvPr>
        </p:nvSpPr>
        <p:spPr>
          <a:xfrm>
            <a:off x="376930" y="1104817"/>
            <a:ext cx="8390173" cy="5277846"/>
          </a:xfrm>
          <a:prstGeom prst="rect">
            <a:avLst/>
          </a:prstGeom>
        </p:spPr>
        <p:txBody>
          <a:bodyPr vert="horz" lIns="83087" tIns="41544" rIns="83087" bIns="41544" rtlCol="0" anchor="t" anchorCtr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5" name="SlideNumber"/>
          <p:cNvSpPr/>
          <p:nvPr/>
        </p:nvSpPr>
        <p:spPr>
          <a:xfrm>
            <a:off x="8216375" y="6668489"/>
            <a:ext cx="300772" cy="86818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 defTabSz="891701"/>
            <a:fld id="{BB69BBE8-4DB2-4642-B003-B220ACD5A2FD}" type="slidenum">
              <a:rPr lang="en-US" sz="900" b="1" smtClean="0">
                <a:solidFill>
                  <a:srgbClr val="080808"/>
                </a:solidFill>
                <a:latin typeface="Verdana" pitchFamily="34" charset="0"/>
              </a:rPr>
              <a:pPr algn="ctr" defTabSz="891701"/>
              <a:t>‹#›</a:t>
            </a:fld>
            <a:endParaRPr lang="fr-FR" sz="900" b="1" dirty="0">
              <a:solidFill>
                <a:srgbClr val="080808"/>
              </a:solidFill>
            </a:endParaRPr>
          </a:p>
        </p:txBody>
      </p:sp>
      <p:cxnSp>
        <p:nvCxnSpPr>
          <p:cNvPr id="28" name="Straight Connector 27"/>
          <p:cNvCxnSpPr/>
          <p:nvPr/>
        </p:nvCxnSpPr>
        <p:spPr>
          <a:xfrm>
            <a:off x="0" y="6555697"/>
            <a:ext cx="9144000" cy="0"/>
          </a:xfrm>
          <a:prstGeom prst="line">
            <a:avLst/>
          </a:prstGeom>
          <a:ln w="12700">
            <a:solidFill>
              <a:srgbClr val="999999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6" name="Notes"/>
          <p:cNvSpPr txBox="1">
            <a:spLocks noChangeArrowheads="1"/>
          </p:cNvSpPr>
          <p:nvPr/>
        </p:nvSpPr>
        <p:spPr bwMode="auto">
          <a:xfrm>
            <a:off x="169485" y="6410649"/>
            <a:ext cx="6145498" cy="138499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lIns="0" tIns="0" rIns="0" bIns="0" anchor="b">
            <a:spAutoFit/>
          </a:bodyPr>
          <a:lstStyle/>
          <a:p>
            <a:pPr marL="167334" indent="-167334" defTabSz="800587" fontAlgn="t"/>
            <a:endParaRPr lang="en-CA" sz="900" dirty="0">
              <a:solidFill>
                <a:srgbClr val="003149"/>
              </a:solidFill>
            </a:endParaRPr>
          </a:p>
        </p:txBody>
      </p:sp>
      <p:sp>
        <p:nvSpPr>
          <p:cNvPr id="10" name="VCT_Marker_ID_10" hidden="1"/>
          <p:cNvSpPr/>
          <p:nvPr>
            <p:custDataLst>
              <p:tags r:id="rId12"/>
            </p:custDataLst>
          </p:nvPr>
        </p:nvSpPr>
        <p:spPr>
          <a:xfrm>
            <a:off x="1120934" y="120580"/>
            <a:ext cx="112093" cy="120580"/>
          </a:xfrm>
          <a:prstGeom prst="rect">
            <a:avLst/>
          </a:prstGeom>
          <a:solidFill>
            <a:schemeClr val="accent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891701"/>
            <a:endParaRPr lang="en-US" dirty="0">
              <a:solidFill>
                <a:srgbClr val="003149"/>
              </a:solidFill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0" y="905107"/>
            <a:ext cx="9144000" cy="34180"/>
          </a:xfrm>
          <a:prstGeom prst="rect">
            <a:avLst/>
          </a:prstGeom>
          <a:solidFill>
            <a:schemeClr val="accent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891701"/>
            <a:endParaRPr lang="en-US" dirty="0">
              <a:solidFill>
                <a:srgbClr val="003149"/>
              </a:solidFill>
            </a:endParaRPr>
          </a:p>
        </p:txBody>
      </p:sp>
      <p:grpSp>
        <p:nvGrpSpPr>
          <p:cNvPr id="21" name="Group 20"/>
          <p:cNvGrpSpPr/>
          <p:nvPr/>
        </p:nvGrpSpPr>
        <p:grpSpPr>
          <a:xfrm>
            <a:off x="8574091" y="6591936"/>
            <a:ext cx="385992" cy="239924"/>
            <a:chOff x="7277614" y="2396353"/>
            <a:chExt cx="1054802" cy="609493"/>
          </a:xfrm>
        </p:grpSpPr>
        <p:sp>
          <p:nvSpPr>
            <p:cNvPr id="23" name="Freeform 7"/>
            <p:cNvSpPr>
              <a:spLocks/>
            </p:cNvSpPr>
            <p:nvPr/>
          </p:nvSpPr>
          <p:spPr bwMode="auto">
            <a:xfrm>
              <a:off x="7277614" y="2396353"/>
              <a:ext cx="527401" cy="154241"/>
            </a:xfrm>
            <a:custGeom>
              <a:avLst/>
              <a:gdLst>
                <a:gd name="T0" fmla="*/ 0 w 691"/>
                <a:gd name="T1" fmla="*/ 200 h 200"/>
                <a:gd name="T2" fmla="*/ 691 w 691"/>
                <a:gd name="T3" fmla="*/ 200 h 200"/>
                <a:gd name="T4" fmla="*/ 346 w 691"/>
                <a:gd name="T5" fmla="*/ 0 h 200"/>
                <a:gd name="T6" fmla="*/ 0 w 691"/>
                <a:gd name="T7" fmla="*/ 200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91" h="200">
                  <a:moveTo>
                    <a:pt x="0" y="200"/>
                  </a:moveTo>
                  <a:lnTo>
                    <a:pt x="691" y="200"/>
                  </a:lnTo>
                  <a:lnTo>
                    <a:pt x="346" y="0"/>
                  </a:lnTo>
                  <a:lnTo>
                    <a:pt x="0" y="200"/>
                  </a:lnTo>
                  <a:close/>
                </a:path>
              </a:pathLst>
            </a:custGeom>
            <a:solidFill>
              <a:srgbClr val="FF0505"/>
            </a:solidFill>
            <a:ln w="1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891701"/>
              <a:endParaRPr lang="en-US" sz="1700" dirty="0">
                <a:solidFill>
                  <a:srgbClr val="003149"/>
                </a:solidFill>
              </a:endParaRPr>
            </a:p>
          </p:txBody>
        </p:sp>
        <p:sp>
          <p:nvSpPr>
            <p:cNvPr id="24" name="Freeform 8"/>
            <p:cNvSpPr>
              <a:spLocks/>
            </p:cNvSpPr>
            <p:nvPr/>
          </p:nvSpPr>
          <p:spPr bwMode="auto">
            <a:xfrm>
              <a:off x="7277614" y="2550591"/>
              <a:ext cx="263702" cy="452770"/>
            </a:xfrm>
            <a:custGeom>
              <a:avLst/>
              <a:gdLst>
                <a:gd name="T0" fmla="*/ 0 w 346"/>
                <a:gd name="T1" fmla="*/ 0 h 598"/>
                <a:gd name="T2" fmla="*/ 0 w 346"/>
                <a:gd name="T3" fmla="*/ 399 h 598"/>
                <a:gd name="T4" fmla="*/ 346 w 346"/>
                <a:gd name="T5" fmla="*/ 598 h 598"/>
                <a:gd name="T6" fmla="*/ 0 w 346"/>
                <a:gd name="T7" fmla="*/ 0 h 5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46" h="598">
                  <a:moveTo>
                    <a:pt x="0" y="0"/>
                  </a:moveTo>
                  <a:lnTo>
                    <a:pt x="0" y="399"/>
                  </a:lnTo>
                  <a:lnTo>
                    <a:pt x="346" y="59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505"/>
            </a:solidFill>
            <a:ln w="2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891701"/>
              <a:endParaRPr lang="en-US" sz="1700" dirty="0">
                <a:solidFill>
                  <a:srgbClr val="003149"/>
                </a:solidFill>
              </a:endParaRPr>
            </a:p>
          </p:txBody>
        </p:sp>
        <p:sp>
          <p:nvSpPr>
            <p:cNvPr id="25" name="Freeform 9"/>
            <p:cNvSpPr>
              <a:spLocks/>
            </p:cNvSpPr>
            <p:nvPr/>
          </p:nvSpPr>
          <p:spPr bwMode="auto">
            <a:xfrm>
              <a:off x="7541313" y="2550591"/>
              <a:ext cx="263702" cy="452770"/>
            </a:xfrm>
            <a:custGeom>
              <a:avLst/>
              <a:gdLst>
                <a:gd name="T0" fmla="*/ 0 w 345"/>
                <a:gd name="T1" fmla="*/ 598 h 598"/>
                <a:gd name="T2" fmla="*/ 345 w 345"/>
                <a:gd name="T3" fmla="*/ 0 h 598"/>
                <a:gd name="T4" fmla="*/ 345 w 345"/>
                <a:gd name="T5" fmla="*/ 399 h 598"/>
                <a:gd name="T6" fmla="*/ 0 w 345"/>
                <a:gd name="T7" fmla="*/ 598 h 5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45" h="598">
                  <a:moveTo>
                    <a:pt x="0" y="598"/>
                  </a:moveTo>
                  <a:lnTo>
                    <a:pt x="345" y="0"/>
                  </a:lnTo>
                  <a:lnTo>
                    <a:pt x="345" y="399"/>
                  </a:lnTo>
                  <a:lnTo>
                    <a:pt x="0" y="598"/>
                  </a:lnTo>
                  <a:close/>
                </a:path>
              </a:pathLst>
            </a:custGeom>
            <a:solidFill>
              <a:srgbClr val="FF0505"/>
            </a:solidFill>
            <a:ln w="1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891701"/>
              <a:endParaRPr lang="en-US" sz="1700" dirty="0">
                <a:solidFill>
                  <a:srgbClr val="003149"/>
                </a:solidFill>
              </a:endParaRPr>
            </a:p>
          </p:txBody>
        </p:sp>
        <p:sp>
          <p:nvSpPr>
            <p:cNvPr id="26" name="Freeform 7"/>
            <p:cNvSpPr>
              <a:spLocks/>
            </p:cNvSpPr>
            <p:nvPr/>
          </p:nvSpPr>
          <p:spPr bwMode="auto">
            <a:xfrm rot="10800000">
              <a:off x="7805015" y="2851605"/>
              <a:ext cx="527401" cy="154241"/>
            </a:xfrm>
            <a:custGeom>
              <a:avLst/>
              <a:gdLst>
                <a:gd name="T0" fmla="*/ 0 w 691"/>
                <a:gd name="T1" fmla="*/ 200 h 200"/>
                <a:gd name="T2" fmla="*/ 691 w 691"/>
                <a:gd name="T3" fmla="*/ 200 h 200"/>
                <a:gd name="T4" fmla="*/ 346 w 691"/>
                <a:gd name="T5" fmla="*/ 0 h 200"/>
                <a:gd name="T6" fmla="*/ 0 w 691"/>
                <a:gd name="T7" fmla="*/ 200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91" h="200">
                  <a:moveTo>
                    <a:pt x="0" y="200"/>
                  </a:moveTo>
                  <a:lnTo>
                    <a:pt x="691" y="200"/>
                  </a:lnTo>
                  <a:lnTo>
                    <a:pt x="346" y="0"/>
                  </a:lnTo>
                  <a:lnTo>
                    <a:pt x="0" y="200"/>
                  </a:lnTo>
                  <a:close/>
                </a:path>
              </a:pathLst>
            </a:custGeom>
            <a:solidFill>
              <a:srgbClr val="058CEC"/>
            </a:solidFill>
            <a:ln w="1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891701"/>
              <a:endParaRPr lang="en-US" sz="1700" dirty="0">
                <a:solidFill>
                  <a:srgbClr val="003149"/>
                </a:solidFill>
              </a:endParaRPr>
            </a:p>
          </p:txBody>
        </p:sp>
        <p:sp>
          <p:nvSpPr>
            <p:cNvPr id="27" name="Freeform 8"/>
            <p:cNvSpPr>
              <a:spLocks/>
            </p:cNvSpPr>
            <p:nvPr/>
          </p:nvSpPr>
          <p:spPr bwMode="auto">
            <a:xfrm rot="10800000">
              <a:off x="8068714" y="2398838"/>
              <a:ext cx="263702" cy="452770"/>
            </a:xfrm>
            <a:custGeom>
              <a:avLst/>
              <a:gdLst>
                <a:gd name="T0" fmla="*/ 0 w 346"/>
                <a:gd name="T1" fmla="*/ 0 h 598"/>
                <a:gd name="T2" fmla="*/ 0 w 346"/>
                <a:gd name="T3" fmla="*/ 399 h 598"/>
                <a:gd name="T4" fmla="*/ 346 w 346"/>
                <a:gd name="T5" fmla="*/ 598 h 598"/>
                <a:gd name="T6" fmla="*/ 0 w 346"/>
                <a:gd name="T7" fmla="*/ 0 h 5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46" h="598">
                  <a:moveTo>
                    <a:pt x="0" y="0"/>
                  </a:moveTo>
                  <a:lnTo>
                    <a:pt x="0" y="399"/>
                  </a:lnTo>
                  <a:lnTo>
                    <a:pt x="346" y="59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58CEC"/>
            </a:solidFill>
            <a:ln w="2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891701"/>
              <a:endParaRPr lang="en-US" sz="1700" dirty="0">
                <a:solidFill>
                  <a:srgbClr val="003149"/>
                </a:solidFill>
              </a:endParaRPr>
            </a:p>
          </p:txBody>
        </p:sp>
        <p:sp>
          <p:nvSpPr>
            <p:cNvPr id="29" name="Freeform 9"/>
            <p:cNvSpPr>
              <a:spLocks/>
            </p:cNvSpPr>
            <p:nvPr/>
          </p:nvSpPr>
          <p:spPr bwMode="auto">
            <a:xfrm rot="10800000">
              <a:off x="7805015" y="2398838"/>
              <a:ext cx="263702" cy="452770"/>
            </a:xfrm>
            <a:custGeom>
              <a:avLst/>
              <a:gdLst>
                <a:gd name="T0" fmla="*/ 0 w 345"/>
                <a:gd name="T1" fmla="*/ 598 h 598"/>
                <a:gd name="T2" fmla="*/ 345 w 345"/>
                <a:gd name="T3" fmla="*/ 0 h 598"/>
                <a:gd name="T4" fmla="*/ 345 w 345"/>
                <a:gd name="T5" fmla="*/ 399 h 598"/>
                <a:gd name="T6" fmla="*/ 0 w 345"/>
                <a:gd name="T7" fmla="*/ 598 h 5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45" h="598">
                  <a:moveTo>
                    <a:pt x="0" y="598"/>
                  </a:moveTo>
                  <a:lnTo>
                    <a:pt x="345" y="0"/>
                  </a:lnTo>
                  <a:lnTo>
                    <a:pt x="345" y="399"/>
                  </a:lnTo>
                  <a:lnTo>
                    <a:pt x="0" y="598"/>
                  </a:lnTo>
                  <a:close/>
                </a:path>
              </a:pathLst>
            </a:custGeom>
            <a:solidFill>
              <a:srgbClr val="058CEC"/>
            </a:solidFill>
            <a:ln w="1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891701"/>
              <a:endParaRPr lang="en-US" sz="1700" dirty="0">
                <a:solidFill>
                  <a:srgbClr val="003149"/>
                </a:solidFill>
              </a:endParaRPr>
            </a:p>
          </p:txBody>
        </p:sp>
      </p:grpSp>
      <p:sp>
        <p:nvSpPr>
          <p:cNvPr id="22" name="Rectangle 2"/>
          <p:cNvSpPr>
            <a:spLocks noGrp="1" noChangeArrowheads="1"/>
          </p:cNvSpPr>
          <p:nvPr>
            <p:ph type="title"/>
          </p:nvPr>
        </p:nvSpPr>
        <p:spPr bwMode="gray">
          <a:xfrm>
            <a:off x="168421" y="53593"/>
            <a:ext cx="7856065" cy="8344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65424" bIns="0" numCol="1" anchor="ctr" anchorCtr="0" compatLnSpc="1">
            <a:prstTxWarp prst="textNoShape">
              <a:avLst/>
            </a:prstTxWarp>
          </a:bodyPr>
          <a:lstStyle/>
          <a:p>
            <a:pPr lvl="0"/>
            <a:endParaRPr lang="en-CA" noProof="1"/>
          </a:p>
        </p:txBody>
      </p:sp>
      <p:sp>
        <p:nvSpPr>
          <p:cNvPr id="8" name="OfficeCode" hidden="1"/>
          <p:cNvSpPr txBox="1"/>
          <p:nvPr userDrawn="1">
            <p:custDataLst>
              <p:tags r:id="rId13"/>
            </p:custDataLst>
          </p:nvPr>
        </p:nvSpPr>
        <p:spPr>
          <a:xfrm>
            <a:off x="8265557" y="6655843"/>
            <a:ext cx="175699" cy="76944"/>
          </a:xfrm>
          <a:prstGeom prst="rect">
            <a:avLst/>
          </a:prstGeom>
          <a:noFill/>
        </p:spPr>
        <p:txBody>
          <a:bodyPr vert="horz" wrap="none" lIns="32712" tIns="0" rIns="0" bIns="0" rtlCol="0" anchor="ctr">
            <a:spAutoFit/>
          </a:bodyPr>
          <a:lstStyle/>
          <a:p>
            <a:pPr defTabSz="891701"/>
            <a:r>
              <a:rPr lang="ru-RU" sz="500" dirty="0">
                <a:solidFill>
                  <a:srgbClr val="000000"/>
                </a:solidFill>
                <a:latin typeface="Verdana"/>
              </a:rPr>
              <a:t>MSC</a:t>
            </a:r>
          </a:p>
        </p:txBody>
      </p:sp>
    </p:spTree>
    <p:custDataLst>
      <p:custData r:id="rId9"/>
      <p:custData r:id="rId10"/>
    </p:custDataLst>
    <p:extLst>
      <p:ext uri="{BB962C8B-B14F-4D97-AF65-F5344CB8AC3E}">
        <p14:creationId xmlns:p14="http://schemas.microsoft.com/office/powerpoint/2010/main" val="69746675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35" r:id="rId1"/>
    <p:sldLayoutId id="2147483936" r:id="rId2"/>
    <p:sldLayoutId id="2147483937" r:id="rId3"/>
    <p:sldLayoutId id="2147483938" r:id="rId4"/>
    <p:sldLayoutId id="2147483939" r:id="rId5"/>
    <p:sldLayoutId id="2147483940" r:id="rId6"/>
    <p:sldLayoutId id="2147483941" r:id="rId7"/>
  </p:sldLayoutIdLst>
  <p:hf sldNum="0" hdr="0" ftr="0" dt="0"/>
  <p:txStyles>
    <p:titleStyle>
      <a:lvl1pPr algn="l" defTabSz="891701" rtl="0" eaLnBrk="1" latinLnBrk="0" hangingPunct="1">
        <a:spcBef>
          <a:spcPct val="0"/>
        </a:spcBef>
        <a:buNone/>
        <a:defRPr sz="25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46668" marR="0" indent="-246668" algn="l" defTabSz="891465" rtl="0" eaLnBrk="1" fontAlgn="base" latinLnBrk="0" hangingPunct="1">
        <a:lnSpc>
          <a:spcPct val="100000"/>
        </a:lnSpc>
        <a:spcBef>
          <a:spcPct val="40000"/>
        </a:spcBef>
        <a:spcAft>
          <a:spcPct val="0"/>
        </a:spcAft>
        <a:buClr>
          <a:schemeClr val="tx1"/>
        </a:buClr>
        <a:buSzPts val="2400"/>
        <a:buFont typeface="Verdana" pitchFamily="34" charset="0"/>
        <a:buChar char="•"/>
        <a:tabLst/>
        <a:defRPr kumimoji="0" lang="en-US" altLang="zh-CN" sz="1800" b="0" i="0" u="none" strike="noStrike" kern="1200" cap="none" spc="0" normalizeH="0" baseline="0" noProof="1">
          <a:ln>
            <a:noFill/>
          </a:ln>
          <a:solidFill>
            <a:schemeClr val="accent1">
              <a:lumMod val="50000"/>
            </a:schemeClr>
          </a:solidFill>
          <a:effectLst/>
          <a:uLnTx/>
          <a:uFillTx/>
          <a:latin typeface="+mn-lt"/>
          <a:ea typeface="+mn-ea"/>
          <a:cs typeface="+mn-cs"/>
        </a:defRPr>
      </a:lvl1pPr>
      <a:lvl2pPr marL="522186" marR="0" indent="-108187" algn="l" defTabSz="891465" rtl="0" eaLnBrk="1" fontAlgn="base" latinLnBrk="0" hangingPunct="1">
        <a:lnSpc>
          <a:spcPct val="100000"/>
        </a:lnSpc>
        <a:spcBef>
          <a:spcPct val="20000"/>
        </a:spcBef>
        <a:spcAft>
          <a:spcPct val="0"/>
        </a:spcAft>
        <a:buClr>
          <a:schemeClr val="tx1"/>
        </a:buClr>
        <a:buSzPts val="2200"/>
        <a:buFont typeface="Verdana"/>
        <a:buChar char="-"/>
        <a:tabLst/>
        <a:defRPr lang="en-CA" altLang="zh-CN" sz="1600" kern="1200" baseline="0" noProof="1">
          <a:solidFill>
            <a:schemeClr val="accent1">
              <a:lumMod val="50000"/>
            </a:schemeClr>
          </a:solidFill>
          <a:latin typeface="+mn-lt"/>
          <a:ea typeface="+mn-ea"/>
          <a:cs typeface="+mn-cs"/>
        </a:defRPr>
      </a:lvl2pPr>
      <a:lvl3pPr marL="956378" marR="0" indent="-261094" algn="l" defTabSz="891465" rtl="0" eaLnBrk="1" fontAlgn="base" latinLnBrk="0" hangingPunct="1">
        <a:lnSpc>
          <a:spcPct val="100000"/>
        </a:lnSpc>
        <a:spcBef>
          <a:spcPct val="20000"/>
        </a:spcBef>
        <a:spcAft>
          <a:spcPct val="0"/>
        </a:spcAft>
        <a:buClr>
          <a:schemeClr val="tx1"/>
        </a:buClr>
        <a:buSzPts val="2200"/>
        <a:buFont typeface="Marlett" pitchFamily="2" charset="2"/>
        <a:buChar char="8"/>
        <a:tabLst/>
        <a:defRPr lang="zh-CN" altLang="en-US" sz="1600" kern="1200" noProof="1">
          <a:solidFill>
            <a:schemeClr val="accent1">
              <a:lumMod val="50000"/>
            </a:schemeClr>
          </a:solidFill>
          <a:latin typeface="+mn-lt"/>
          <a:ea typeface="+mn-ea"/>
          <a:cs typeface="+mn-cs"/>
        </a:defRPr>
      </a:lvl3pPr>
      <a:lvl4pPr marL="1321103" marR="0" indent="-191103" algn="l" defTabSz="891701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>
          <a:schemeClr val="tx1"/>
        </a:buClr>
        <a:buSzTx/>
        <a:buFont typeface="Verdana" pitchFamily="34" charset="0"/>
        <a:buChar char="-"/>
        <a:tabLst/>
        <a:defRPr lang="en-CA" altLang="zh-CN" sz="1600" kern="1200">
          <a:solidFill>
            <a:schemeClr val="accent1">
              <a:lumMod val="50000"/>
            </a:schemeClr>
          </a:solidFill>
          <a:latin typeface="+mn-lt"/>
          <a:ea typeface="+mn-ea"/>
          <a:cs typeface="+mn-cs"/>
        </a:defRPr>
      </a:lvl4pPr>
      <a:lvl5pPr marL="2006325" indent="-222925" algn="l" defTabSz="891701" rtl="0" eaLnBrk="1" latinLnBrk="0" hangingPunct="1">
        <a:spcBef>
          <a:spcPct val="20000"/>
        </a:spcBef>
        <a:buFont typeface="Arial" pitchFamily="34" charset="0"/>
        <a:buChar char="»"/>
        <a:defRPr sz="2200" kern="1200">
          <a:solidFill>
            <a:schemeClr val="tx1"/>
          </a:solidFill>
          <a:latin typeface="Verdana" pitchFamily="34" charset="0"/>
          <a:ea typeface="+mn-ea"/>
          <a:cs typeface="+mn-cs"/>
        </a:defRPr>
      </a:lvl5pPr>
      <a:lvl6pPr marL="2452176" indent="-222925" algn="l" defTabSz="891701" rtl="0" eaLnBrk="1" latinLnBrk="0" hangingPunct="1">
        <a:spcBef>
          <a:spcPct val="20000"/>
        </a:spcBef>
        <a:buFont typeface="Arial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98027" indent="-222925" algn="l" defTabSz="891701" rtl="0" eaLnBrk="1" latinLnBrk="0" hangingPunct="1">
        <a:spcBef>
          <a:spcPct val="20000"/>
        </a:spcBef>
        <a:buFont typeface="Arial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343876" indent="-222925" algn="l" defTabSz="891701" rtl="0" eaLnBrk="1" latinLnBrk="0" hangingPunct="1">
        <a:spcBef>
          <a:spcPct val="20000"/>
        </a:spcBef>
        <a:buFont typeface="Arial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789726" indent="-222925" algn="l" defTabSz="891701" rtl="0" eaLnBrk="1" latinLnBrk="0" hangingPunct="1">
        <a:spcBef>
          <a:spcPct val="20000"/>
        </a:spcBef>
        <a:buFont typeface="Arial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91701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445851" algn="l" defTabSz="891701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891701" algn="l" defTabSz="891701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337552" algn="l" defTabSz="891701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783402" algn="l" defTabSz="891701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229251" algn="l" defTabSz="891701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675102" algn="l" defTabSz="891701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3120951" algn="l" defTabSz="891701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566801" algn="l" defTabSz="891701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 userDrawn="1"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3678765381"/>
              </p:ext>
            </p:extLst>
          </p:nvPr>
        </p:nvGraphicFramePr>
        <p:xfrm>
          <a:off x="1590" y="1611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988" name="think-cell Slide" r:id="rId13" imgW="270" imgH="270" progId="TCLayout.ActiveDocument.1">
                  <p:embed/>
                </p:oleObj>
              </mc:Choice>
              <mc:Fallback>
                <p:oleObj name="think-cell Slide" r:id="rId1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90" y="1611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435" name="Rectangle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386580" y="1465263"/>
            <a:ext cx="8370887" cy="434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906267" name="Line 27"/>
          <p:cNvSpPr>
            <a:spLocks noChangeShapeType="1"/>
          </p:cNvSpPr>
          <p:nvPr/>
        </p:nvSpPr>
        <p:spPr bwMode="auto">
          <a:xfrm>
            <a:off x="252000" y="903288"/>
            <a:ext cx="8640000" cy="0"/>
          </a:xfrm>
          <a:prstGeom prst="line">
            <a:avLst/>
          </a:prstGeom>
          <a:noFill/>
          <a:ln w="28575">
            <a:solidFill>
              <a:srgbClr val="016EB3"/>
            </a:solidFill>
            <a:round/>
            <a:headEnd/>
            <a:tailEnd/>
          </a:ln>
          <a:effectLst/>
        </p:spPr>
        <p:txBody>
          <a:bodyPr wrap="none" lIns="91243" tIns="45622" rIns="91243" bIns="45622"/>
          <a:lstStyle/>
          <a:p>
            <a:pPr fontAlgn="base">
              <a:spcBef>
                <a:spcPct val="50000"/>
              </a:spcBef>
              <a:spcAft>
                <a:spcPct val="0"/>
              </a:spcAft>
              <a:defRPr/>
            </a:pPr>
            <a:endParaRPr kumimoji="1" lang="ru-RU" sz="1000" dirty="0">
              <a:solidFill>
                <a:srgbClr val="002766"/>
              </a:solidFill>
              <a:latin typeface="Tahoma" pitchFamily="34" charset="0"/>
              <a:ea typeface="PMingLiU" pitchFamily="18" charset="-120"/>
            </a:endParaRPr>
          </a:p>
        </p:txBody>
      </p:sp>
      <p:sp>
        <p:nvSpPr>
          <p:cNvPr id="9" name="GS Doctop Placeholder" hidden="1"/>
          <p:cNvSpPr txBox="1"/>
          <p:nvPr/>
        </p:nvSpPr>
        <p:spPr>
          <a:xfrm>
            <a:off x="546102" y="17"/>
            <a:ext cx="5651500" cy="215246"/>
          </a:xfrm>
          <a:prstGeom prst="rect">
            <a:avLst/>
          </a:prstGeom>
          <a:noFill/>
        </p:spPr>
        <p:txBody>
          <a:bodyPr vert="horz" lIns="91243" tIns="45622" rIns="91243" bIns="45622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kumimoji="1" lang="en-GB" sz="800" smtClean="0">
                <a:solidFill>
                  <a:srgbClr val="002766"/>
                </a:solidFill>
                <a:ea typeface="PMingLiU" pitchFamily="18" charset="-120"/>
              </a:rPr>
              <a:t>ALMAZ2013\IPO\Roadshow\October Roadshow\Presentation\13 10 13 Roadshow Presentation RUS vF.pptx</a:t>
            </a:r>
            <a:endParaRPr kumimoji="1" lang="en-US" sz="800" dirty="0">
              <a:solidFill>
                <a:srgbClr val="002766"/>
              </a:solidFill>
              <a:ea typeface="PMingLiU" pitchFamily="18" charset="-120"/>
            </a:endParaRPr>
          </a:p>
        </p:txBody>
      </p:sp>
      <p:sp>
        <p:nvSpPr>
          <p:cNvPr id="8" name="Прямоугольник 7"/>
          <p:cNvSpPr/>
          <p:nvPr/>
        </p:nvSpPr>
        <p:spPr bwMode="auto">
          <a:xfrm>
            <a:off x="8671460" y="6516023"/>
            <a:ext cx="468000" cy="219075"/>
          </a:xfrm>
          <a:prstGeom prst="rect">
            <a:avLst/>
          </a:prstGeom>
          <a:solidFill>
            <a:srgbClr val="016EB3"/>
          </a:solidFill>
          <a:ln w="9525" cap="flat" cmpd="sng" algn="ctr">
            <a:solidFill>
              <a:srgbClr val="016EB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243" tIns="45622" rIns="91243" bIns="45622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</a:pPr>
            <a:endParaRPr kumimoji="1" lang="ru-RU" sz="1000" smtClean="0">
              <a:solidFill>
                <a:srgbClr val="0072B6"/>
              </a:solidFill>
              <a:latin typeface="Tahoma" pitchFamily="34" charset="0"/>
              <a:ea typeface="PMingLiU" pitchFamily="18" charset="-120"/>
            </a:endParaRPr>
          </a:p>
        </p:txBody>
      </p:sp>
      <p:sp>
        <p:nvSpPr>
          <p:cNvPr id="10" name="Slide Number Placeholder 8"/>
          <p:cNvSpPr>
            <a:spLocks noGrp="1"/>
          </p:cNvSpPr>
          <p:nvPr>
            <p:ph type="sldNum" sz="quarter" idx="4"/>
          </p:nvPr>
        </p:nvSpPr>
        <p:spPr>
          <a:xfrm>
            <a:off x="8681892" y="6521124"/>
            <a:ext cx="402094" cy="217518"/>
          </a:xfrm>
          <a:prstGeom prst="rect">
            <a:avLst/>
          </a:prstGeom>
        </p:spPr>
        <p:txBody>
          <a:bodyPr lIns="91243" tIns="45622" rIns="91243" bIns="45622"/>
          <a:lstStyle>
            <a:lvl1pPr>
              <a:defRPr sz="800">
                <a:solidFill>
                  <a:schemeClr val="bg1"/>
                </a:solidFill>
                <a:latin typeface="+mj-lt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8E141AF1-466E-4D9F-B74C-45FFEB47CA13}" type="slidenum">
              <a:rPr kumimoji="1" lang="de-DE" smtClean="0">
                <a:solidFill>
                  <a:srgbClr val="FFFFFF"/>
                </a:solidFill>
                <a:ea typeface="PMingLiU" pitchFamily="18" charset="-12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kumimoji="1" lang="de-DE" dirty="0">
              <a:solidFill>
                <a:srgbClr val="FFFFFF"/>
              </a:solidFill>
              <a:ea typeface="PMingLiU" pitchFamily="18" charset="-120"/>
            </a:endParaRPr>
          </a:p>
        </p:txBody>
      </p:sp>
    </p:spTree>
    <p:extLst>
      <p:ext uri="{BB962C8B-B14F-4D97-AF65-F5344CB8AC3E}">
        <p14:creationId xmlns:p14="http://schemas.microsoft.com/office/powerpoint/2010/main" val="139563443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43" r:id="rId1"/>
    <p:sldLayoutId id="2147483944" r:id="rId2"/>
    <p:sldLayoutId id="2147483945" r:id="rId3"/>
    <p:sldLayoutId id="2147483946" r:id="rId4"/>
    <p:sldLayoutId id="2147483947" r:id="rId5"/>
    <p:sldLayoutId id="2147483948" r:id="rId6"/>
    <p:sldLayoutId id="2147483949" r:id="rId7"/>
    <p:sldLayoutId id="2147483950" r:id="rId8"/>
    <p:sldLayoutId id="2147483951" r:id="rId9"/>
  </p:sldLayoutIdLst>
  <mc:AlternateContent xmlns:mc="http://schemas.openxmlformats.org/markup-compatibility/2006" xmlns:p14="http://schemas.microsoft.com/office/powerpoint/2010/main">
    <mc:Choice Requires="p14">
      <p:transition spd="slow" p14:dur="1600">
        <p14:gallery dir="l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  <p:hf sldNum="0" hdr="0" ft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500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>
          <a:solidFill>
            <a:schemeClr val="tx2"/>
          </a:solidFill>
          <a:latin typeface="Arial" charset="0"/>
          <a:cs typeface="Arial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>
          <a:solidFill>
            <a:schemeClr val="tx2"/>
          </a:solidFill>
          <a:latin typeface="Arial" charset="0"/>
          <a:cs typeface="Arial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>
          <a:solidFill>
            <a:schemeClr val="tx2"/>
          </a:solidFill>
          <a:latin typeface="Arial" charset="0"/>
          <a:cs typeface="Arial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>
          <a:solidFill>
            <a:schemeClr val="tx2"/>
          </a:solidFill>
          <a:latin typeface="Arial" charset="0"/>
          <a:cs typeface="Arial" charset="0"/>
        </a:defRPr>
      </a:lvl5pPr>
      <a:lvl6pPr marL="456234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>
          <a:solidFill>
            <a:schemeClr val="tx2"/>
          </a:solidFill>
          <a:latin typeface="Arial" charset="0"/>
          <a:cs typeface="Arial" charset="0"/>
        </a:defRPr>
      </a:lvl6pPr>
      <a:lvl7pPr marL="912468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>
          <a:solidFill>
            <a:schemeClr val="tx2"/>
          </a:solidFill>
          <a:latin typeface="Arial" charset="0"/>
          <a:cs typeface="Arial" charset="0"/>
        </a:defRPr>
      </a:lvl7pPr>
      <a:lvl8pPr marL="13687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>
          <a:solidFill>
            <a:schemeClr val="tx2"/>
          </a:solidFill>
          <a:latin typeface="Arial" charset="0"/>
          <a:cs typeface="Arial" charset="0"/>
        </a:defRPr>
      </a:lvl8pPr>
      <a:lvl9pPr marL="1824935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marL="256630" indent="-256630" algn="l" rtl="0" eaLnBrk="1" fontAlgn="base" hangingPunct="1">
        <a:lnSpc>
          <a:spcPct val="110000"/>
        </a:lnSpc>
        <a:spcBef>
          <a:spcPct val="75000"/>
        </a:spcBef>
        <a:spcAft>
          <a:spcPct val="0"/>
        </a:spcAft>
        <a:buClr>
          <a:srgbClr val="3376D9"/>
        </a:buClr>
        <a:buSzPct val="120000"/>
        <a:buFont typeface="Wingdings" pitchFamily="2" charset="2"/>
        <a:buBlip>
          <a:blip r:embed="rId15"/>
        </a:buBlip>
        <a:defRPr sz="1200">
          <a:solidFill>
            <a:schemeClr val="tx1"/>
          </a:solidFill>
          <a:latin typeface="+mn-lt"/>
          <a:ea typeface="+mn-ea"/>
          <a:cs typeface="+mn-cs"/>
        </a:defRPr>
      </a:lvl1pPr>
      <a:lvl2pPr marL="681182" indent="-422966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tx2"/>
        </a:buClr>
        <a:buFont typeface="Arial" pitchFamily="34" charset="0"/>
        <a:buBlip>
          <a:blip r:embed="rId16"/>
        </a:buBlip>
        <a:defRPr sz="1100">
          <a:solidFill>
            <a:schemeClr val="tx1"/>
          </a:solidFill>
          <a:latin typeface="+mn-lt"/>
          <a:cs typeface="+mn-cs"/>
        </a:defRPr>
      </a:lvl2pPr>
      <a:lvl3pPr marL="975831" indent="-293067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bg2"/>
        </a:buClr>
        <a:buSzPct val="85000"/>
        <a:buFont typeface="Wingdings 3" pitchFamily="18" charset="2"/>
        <a:buChar char=""/>
        <a:defRPr sz="1100">
          <a:solidFill>
            <a:schemeClr val="tx1"/>
          </a:solidFill>
          <a:latin typeface="+mn-lt"/>
          <a:cs typeface="+mn-cs"/>
        </a:defRPr>
      </a:lvl3pPr>
      <a:lvl4pPr marL="1259396" indent="-281977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tx2"/>
        </a:buClr>
        <a:buFont typeface="Wingdings" pitchFamily="2" charset="2"/>
        <a:buChar char="w"/>
        <a:defRPr sz="1600">
          <a:solidFill>
            <a:schemeClr val="tx1"/>
          </a:solidFill>
          <a:latin typeface="+mn-lt"/>
          <a:cs typeface="+mn-cs"/>
        </a:defRPr>
      </a:lvl4pPr>
      <a:lvl5pPr marL="1503353" indent="-242377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tx2"/>
        </a:buClr>
        <a:buFont typeface="Arial" pitchFamily="34" charset="0"/>
        <a:buChar char="–"/>
        <a:defRPr sz="1600">
          <a:solidFill>
            <a:schemeClr val="tx1"/>
          </a:solidFill>
          <a:latin typeface="+mn-lt"/>
          <a:cs typeface="+mn-cs"/>
        </a:defRPr>
      </a:lvl5pPr>
      <a:lvl6pPr marL="1959585" indent="-242377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tx2"/>
        </a:buClr>
        <a:buFont typeface="Arial" charset="0"/>
        <a:buChar char="–"/>
        <a:defRPr sz="1600">
          <a:solidFill>
            <a:schemeClr val="tx1"/>
          </a:solidFill>
          <a:latin typeface="+mn-lt"/>
          <a:cs typeface="+mn-cs"/>
        </a:defRPr>
      </a:lvl6pPr>
      <a:lvl7pPr marL="2415823" indent="-242377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tx2"/>
        </a:buClr>
        <a:buFont typeface="Arial" charset="0"/>
        <a:buChar char="–"/>
        <a:defRPr sz="1600">
          <a:solidFill>
            <a:schemeClr val="tx1"/>
          </a:solidFill>
          <a:latin typeface="+mn-lt"/>
          <a:cs typeface="+mn-cs"/>
        </a:defRPr>
      </a:lvl7pPr>
      <a:lvl8pPr marL="2872056" indent="-242377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tx2"/>
        </a:buClr>
        <a:buFont typeface="Arial" charset="0"/>
        <a:buChar char="–"/>
        <a:defRPr sz="1600">
          <a:solidFill>
            <a:schemeClr val="tx1"/>
          </a:solidFill>
          <a:latin typeface="+mn-lt"/>
          <a:cs typeface="+mn-cs"/>
        </a:defRPr>
      </a:lvl8pPr>
      <a:lvl9pPr marL="3328287" indent="-242377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tx2"/>
        </a:buClr>
        <a:buFont typeface="Arial" charset="0"/>
        <a:buChar char="–"/>
        <a:defRPr sz="16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91246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234" algn="l" defTabSz="91246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2468" algn="l" defTabSz="91246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8700" algn="l" defTabSz="91246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4935" algn="l" defTabSz="91246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1167" algn="l" defTabSz="91246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37394" algn="l" defTabSz="91246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3635" algn="l" defTabSz="91246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49869" algn="l" defTabSz="91246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 userDrawn="1"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1792170315"/>
              </p:ext>
            </p:extLst>
          </p:nvPr>
        </p:nvGraphicFramePr>
        <p:xfrm>
          <a:off x="1590" y="1611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12" name="think-cell Slide" r:id="rId13" imgW="270" imgH="270" progId="TCLayout.ActiveDocument.1">
                  <p:embed/>
                </p:oleObj>
              </mc:Choice>
              <mc:Fallback>
                <p:oleObj name="think-cell Slide" r:id="rId1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90" y="1611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435" name="Rectangle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386580" y="1465263"/>
            <a:ext cx="8370887" cy="434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906267" name="Line 27"/>
          <p:cNvSpPr>
            <a:spLocks noChangeShapeType="1"/>
          </p:cNvSpPr>
          <p:nvPr/>
        </p:nvSpPr>
        <p:spPr bwMode="auto">
          <a:xfrm>
            <a:off x="252000" y="903288"/>
            <a:ext cx="8640000" cy="0"/>
          </a:xfrm>
          <a:prstGeom prst="line">
            <a:avLst/>
          </a:prstGeom>
          <a:noFill/>
          <a:ln w="28575">
            <a:solidFill>
              <a:srgbClr val="016EB3"/>
            </a:solidFill>
            <a:round/>
            <a:headEnd/>
            <a:tailEnd/>
          </a:ln>
          <a:effectLst/>
        </p:spPr>
        <p:txBody>
          <a:bodyPr wrap="none" lIns="91243" tIns="45622" rIns="91243" bIns="45622"/>
          <a:lstStyle/>
          <a:p>
            <a:pPr fontAlgn="base">
              <a:spcBef>
                <a:spcPct val="50000"/>
              </a:spcBef>
              <a:spcAft>
                <a:spcPct val="0"/>
              </a:spcAft>
              <a:defRPr/>
            </a:pPr>
            <a:endParaRPr kumimoji="1" lang="ru-RU" sz="1000" dirty="0">
              <a:solidFill>
                <a:srgbClr val="002766"/>
              </a:solidFill>
              <a:latin typeface="Tahoma" pitchFamily="34" charset="0"/>
              <a:ea typeface="PMingLiU" pitchFamily="18" charset="-120"/>
            </a:endParaRPr>
          </a:p>
        </p:txBody>
      </p:sp>
      <p:sp>
        <p:nvSpPr>
          <p:cNvPr id="9" name="GS Doctop Placeholder" hidden="1"/>
          <p:cNvSpPr txBox="1"/>
          <p:nvPr/>
        </p:nvSpPr>
        <p:spPr>
          <a:xfrm>
            <a:off x="546102" y="17"/>
            <a:ext cx="5651500" cy="215246"/>
          </a:xfrm>
          <a:prstGeom prst="rect">
            <a:avLst/>
          </a:prstGeom>
          <a:noFill/>
        </p:spPr>
        <p:txBody>
          <a:bodyPr vert="horz" lIns="91243" tIns="45622" rIns="91243" bIns="45622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kumimoji="1" lang="en-GB" sz="800" smtClean="0">
                <a:solidFill>
                  <a:srgbClr val="002766"/>
                </a:solidFill>
                <a:ea typeface="PMingLiU" pitchFamily="18" charset="-120"/>
              </a:rPr>
              <a:t>ALMAZ2013\IPO\Roadshow\October Roadshow\Presentation\13 10 13 Roadshow Presentation RUS vF.pptx</a:t>
            </a:r>
            <a:endParaRPr kumimoji="1" lang="en-US" sz="800" dirty="0">
              <a:solidFill>
                <a:srgbClr val="002766"/>
              </a:solidFill>
              <a:ea typeface="PMingLiU" pitchFamily="18" charset="-120"/>
            </a:endParaRPr>
          </a:p>
        </p:txBody>
      </p:sp>
      <p:sp>
        <p:nvSpPr>
          <p:cNvPr id="8" name="Прямоугольник 7"/>
          <p:cNvSpPr/>
          <p:nvPr/>
        </p:nvSpPr>
        <p:spPr bwMode="auto">
          <a:xfrm>
            <a:off x="8671460" y="6516023"/>
            <a:ext cx="468000" cy="219075"/>
          </a:xfrm>
          <a:prstGeom prst="rect">
            <a:avLst/>
          </a:prstGeom>
          <a:solidFill>
            <a:srgbClr val="016EB3"/>
          </a:solidFill>
          <a:ln w="9525" cap="flat" cmpd="sng" algn="ctr">
            <a:solidFill>
              <a:srgbClr val="016EB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243" tIns="45622" rIns="91243" bIns="45622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</a:pPr>
            <a:endParaRPr kumimoji="1" lang="ru-RU" sz="1000" smtClean="0">
              <a:solidFill>
                <a:srgbClr val="0072B6"/>
              </a:solidFill>
              <a:latin typeface="Tahoma" pitchFamily="34" charset="0"/>
              <a:ea typeface="PMingLiU" pitchFamily="18" charset="-120"/>
            </a:endParaRPr>
          </a:p>
        </p:txBody>
      </p:sp>
      <p:sp>
        <p:nvSpPr>
          <p:cNvPr id="10" name="Slide Number Placeholder 8"/>
          <p:cNvSpPr>
            <a:spLocks noGrp="1"/>
          </p:cNvSpPr>
          <p:nvPr>
            <p:ph type="sldNum" sz="quarter" idx="4"/>
          </p:nvPr>
        </p:nvSpPr>
        <p:spPr>
          <a:xfrm>
            <a:off x="8681892" y="6521124"/>
            <a:ext cx="402094" cy="217518"/>
          </a:xfrm>
          <a:prstGeom prst="rect">
            <a:avLst/>
          </a:prstGeom>
        </p:spPr>
        <p:txBody>
          <a:bodyPr lIns="91243" tIns="45622" rIns="91243" bIns="45622"/>
          <a:lstStyle>
            <a:lvl1pPr>
              <a:defRPr sz="800">
                <a:solidFill>
                  <a:schemeClr val="bg1"/>
                </a:solidFill>
                <a:latin typeface="+mj-lt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8E141AF1-466E-4D9F-B74C-45FFEB47CA13}" type="slidenum">
              <a:rPr kumimoji="1" lang="de-DE" smtClean="0">
                <a:solidFill>
                  <a:srgbClr val="FFFFFF"/>
                </a:solidFill>
                <a:ea typeface="PMingLiU" pitchFamily="18" charset="-12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kumimoji="1" lang="de-DE" dirty="0">
              <a:solidFill>
                <a:srgbClr val="FFFFFF"/>
              </a:solidFill>
              <a:ea typeface="PMingLiU" pitchFamily="18" charset="-120"/>
            </a:endParaRPr>
          </a:p>
        </p:txBody>
      </p:sp>
    </p:spTree>
    <p:extLst>
      <p:ext uri="{BB962C8B-B14F-4D97-AF65-F5344CB8AC3E}">
        <p14:creationId xmlns:p14="http://schemas.microsoft.com/office/powerpoint/2010/main" val="166310004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68" r:id="rId1"/>
    <p:sldLayoutId id="2147483969" r:id="rId2"/>
    <p:sldLayoutId id="2147483970" r:id="rId3"/>
    <p:sldLayoutId id="2147483971" r:id="rId4"/>
    <p:sldLayoutId id="2147483972" r:id="rId5"/>
    <p:sldLayoutId id="2147483973" r:id="rId6"/>
    <p:sldLayoutId id="2147483974" r:id="rId7"/>
    <p:sldLayoutId id="2147483975" r:id="rId8"/>
    <p:sldLayoutId id="2147483976" r:id="rId9"/>
  </p:sldLayoutIdLst>
  <mc:AlternateContent xmlns:mc="http://schemas.openxmlformats.org/markup-compatibility/2006" xmlns:p14="http://schemas.microsoft.com/office/powerpoint/2010/main">
    <mc:Choice Requires="p14">
      <p:transition spd="slow" p14:dur="1600">
        <p14:gallery dir="l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  <p:hf sldNum="0" hdr="0" ft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500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>
          <a:solidFill>
            <a:schemeClr val="tx2"/>
          </a:solidFill>
          <a:latin typeface="Arial" charset="0"/>
          <a:cs typeface="Arial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>
          <a:solidFill>
            <a:schemeClr val="tx2"/>
          </a:solidFill>
          <a:latin typeface="Arial" charset="0"/>
          <a:cs typeface="Arial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>
          <a:solidFill>
            <a:schemeClr val="tx2"/>
          </a:solidFill>
          <a:latin typeface="Arial" charset="0"/>
          <a:cs typeface="Arial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>
          <a:solidFill>
            <a:schemeClr val="tx2"/>
          </a:solidFill>
          <a:latin typeface="Arial" charset="0"/>
          <a:cs typeface="Arial" charset="0"/>
        </a:defRPr>
      </a:lvl5pPr>
      <a:lvl6pPr marL="456234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>
          <a:solidFill>
            <a:schemeClr val="tx2"/>
          </a:solidFill>
          <a:latin typeface="Arial" charset="0"/>
          <a:cs typeface="Arial" charset="0"/>
        </a:defRPr>
      </a:lvl6pPr>
      <a:lvl7pPr marL="912468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>
          <a:solidFill>
            <a:schemeClr val="tx2"/>
          </a:solidFill>
          <a:latin typeface="Arial" charset="0"/>
          <a:cs typeface="Arial" charset="0"/>
        </a:defRPr>
      </a:lvl7pPr>
      <a:lvl8pPr marL="13687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>
          <a:solidFill>
            <a:schemeClr val="tx2"/>
          </a:solidFill>
          <a:latin typeface="Arial" charset="0"/>
          <a:cs typeface="Arial" charset="0"/>
        </a:defRPr>
      </a:lvl8pPr>
      <a:lvl9pPr marL="1824935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marL="256630" indent="-256630" algn="l" rtl="0" eaLnBrk="1" fontAlgn="base" hangingPunct="1">
        <a:lnSpc>
          <a:spcPct val="110000"/>
        </a:lnSpc>
        <a:spcBef>
          <a:spcPct val="75000"/>
        </a:spcBef>
        <a:spcAft>
          <a:spcPct val="0"/>
        </a:spcAft>
        <a:buClr>
          <a:srgbClr val="3376D9"/>
        </a:buClr>
        <a:buSzPct val="120000"/>
        <a:buFont typeface="Wingdings" pitchFamily="2" charset="2"/>
        <a:buBlip>
          <a:blip r:embed="rId15"/>
        </a:buBlip>
        <a:defRPr sz="1200">
          <a:solidFill>
            <a:schemeClr val="tx1"/>
          </a:solidFill>
          <a:latin typeface="+mn-lt"/>
          <a:ea typeface="+mn-ea"/>
          <a:cs typeface="+mn-cs"/>
        </a:defRPr>
      </a:lvl1pPr>
      <a:lvl2pPr marL="681182" indent="-422966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tx2"/>
        </a:buClr>
        <a:buFont typeface="Arial" pitchFamily="34" charset="0"/>
        <a:buBlip>
          <a:blip r:embed="rId16"/>
        </a:buBlip>
        <a:defRPr sz="1100">
          <a:solidFill>
            <a:schemeClr val="tx1"/>
          </a:solidFill>
          <a:latin typeface="+mn-lt"/>
          <a:cs typeface="+mn-cs"/>
        </a:defRPr>
      </a:lvl2pPr>
      <a:lvl3pPr marL="975831" indent="-293067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bg2"/>
        </a:buClr>
        <a:buSzPct val="85000"/>
        <a:buFont typeface="Wingdings 3" pitchFamily="18" charset="2"/>
        <a:buChar char=""/>
        <a:defRPr sz="1100">
          <a:solidFill>
            <a:schemeClr val="tx1"/>
          </a:solidFill>
          <a:latin typeface="+mn-lt"/>
          <a:cs typeface="+mn-cs"/>
        </a:defRPr>
      </a:lvl3pPr>
      <a:lvl4pPr marL="1259396" indent="-281977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tx2"/>
        </a:buClr>
        <a:buFont typeface="Wingdings" pitchFamily="2" charset="2"/>
        <a:buChar char="w"/>
        <a:defRPr sz="1600">
          <a:solidFill>
            <a:schemeClr val="tx1"/>
          </a:solidFill>
          <a:latin typeface="+mn-lt"/>
          <a:cs typeface="+mn-cs"/>
        </a:defRPr>
      </a:lvl4pPr>
      <a:lvl5pPr marL="1503353" indent="-242377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tx2"/>
        </a:buClr>
        <a:buFont typeface="Arial" pitchFamily="34" charset="0"/>
        <a:buChar char="–"/>
        <a:defRPr sz="1600">
          <a:solidFill>
            <a:schemeClr val="tx1"/>
          </a:solidFill>
          <a:latin typeface="+mn-lt"/>
          <a:cs typeface="+mn-cs"/>
        </a:defRPr>
      </a:lvl5pPr>
      <a:lvl6pPr marL="1959585" indent="-242377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tx2"/>
        </a:buClr>
        <a:buFont typeface="Arial" charset="0"/>
        <a:buChar char="–"/>
        <a:defRPr sz="1600">
          <a:solidFill>
            <a:schemeClr val="tx1"/>
          </a:solidFill>
          <a:latin typeface="+mn-lt"/>
          <a:cs typeface="+mn-cs"/>
        </a:defRPr>
      </a:lvl6pPr>
      <a:lvl7pPr marL="2415823" indent="-242377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tx2"/>
        </a:buClr>
        <a:buFont typeface="Arial" charset="0"/>
        <a:buChar char="–"/>
        <a:defRPr sz="1600">
          <a:solidFill>
            <a:schemeClr val="tx1"/>
          </a:solidFill>
          <a:latin typeface="+mn-lt"/>
          <a:cs typeface="+mn-cs"/>
        </a:defRPr>
      </a:lvl7pPr>
      <a:lvl8pPr marL="2872056" indent="-242377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tx2"/>
        </a:buClr>
        <a:buFont typeface="Arial" charset="0"/>
        <a:buChar char="–"/>
        <a:defRPr sz="1600">
          <a:solidFill>
            <a:schemeClr val="tx1"/>
          </a:solidFill>
          <a:latin typeface="+mn-lt"/>
          <a:cs typeface="+mn-cs"/>
        </a:defRPr>
      </a:lvl8pPr>
      <a:lvl9pPr marL="3328287" indent="-242377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tx2"/>
        </a:buClr>
        <a:buFont typeface="Arial" charset="0"/>
        <a:buChar char="–"/>
        <a:defRPr sz="16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91246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234" algn="l" defTabSz="91246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2468" algn="l" defTabSz="91246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8700" algn="l" defTabSz="91246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4935" algn="l" defTabSz="91246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1167" algn="l" defTabSz="91246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37394" algn="l" defTabSz="91246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3635" algn="l" defTabSz="91246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49869" algn="l" defTabSz="91246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idx="1"/>
            <p:custDataLst>
              <p:tags r:id="rId11"/>
            </p:custDataLst>
          </p:nvPr>
        </p:nvSpPr>
        <p:spPr>
          <a:xfrm>
            <a:off x="376920" y="1104817"/>
            <a:ext cx="8390173" cy="5277846"/>
          </a:xfrm>
          <a:prstGeom prst="rect">
            <a:avLst/>
          </a:prstGeom>
        </p:spPr>
        <p:txBody>
          <a:bodyPr vert="horz" lIns="83163" tIns="41582" rIns="83163" bIns="41582" rtlCol="0" anchor="t" anchorCtr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5" name="SlideNumber"/>
          <p:cNvSpPr/>
          <p:nvPr/>
        </p:nvSpPr>
        <p:spPr>
          <a:xfrm>
            <a:off x="8216375" y="6668489"/>
            <a:ext cx="300772" cy="86818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 defTabSz="892521"/>
            <a:fld id="{BB69BBE8-4DB2-4642-B003-B220ACD5A2FD}" type="slidenum">
              <a:rPr lang="en-US" sz="900" b="1" smtClean="0">
                <a:solidFill>
                  <a:srgbClr val="080808"/>
                </a:solidFill>
                <a:latin typeface="Verdana" pitchFamily="34" charset="0"/>
              </a:rPr>
              <a:pPr algn="ctr" defTabSz="892521"/>
              <a:t>‹#›</a:t>
            </a:fld>
            <a:endParaRPr lang="fr-FR" sz="900" b="1" dirty="0">
              <a:solidFill>
                <a:srgbClr val="080808"/>
              </a:solidFill>
            </a:endParaRPr>
          </a:p>
        </p:txBody>
      </p:sp>
      <p:cxnSp>
        <p:nvCxnSpPr>
          <p:cNvPr id="28" name="Straight Connector 27"/>
          <p:cNvCxnSpPr/>
          <p:nvPr/>
        </p:nvCxnSpPr>
        <p:spPr>
          <a:xfrm>
            <a:off x="0" y="6555697"/>
            <a:ext cx="9144000" cy="0"/>
          </a:xfrm>
          <a:prstGeom prst="line">
            <a:avLst/>
          </a:prstGeom>
          <a:ln w="12700">
            <a:solidFill>
              <a:srgbClr val="999999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6" name="Notes"/>
          <p:cNvSpPr txBox="1">
            <a:spLocks noChangeArrowheads="1"/>
          </p:cNvSpPr>
          <p:nvPr/>
        </p:nvSpPr>
        <p:spPr bwMode="auto">
          <a:xfrm>
            <a:off x="169485" y="6410644"/>
            <a:ext cx="6145498" cy="138499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lIns="0" tIns="0" rIns="0" bIns="0" anchor="b">
            <a:spAutoFit/>
          </a:bodyPr>
          <a:lstStyle/>
          <a:p>
            <a:pPr marL="167486" indent="-167486" defTabSz="801324" fontAlgn="t"/>
            <a:endParaRPr lang="en-CA" sz="900" dirty="0">
              <a:solidFill>
                <a:srgbClr val="003149"/>
              </a:solidFill>
            </a:endParaRPr>
          </a:p>
        </p:txBody>
      </p:sp>
      <p:sp>
        <p:nvSpPr>
          <p:cNvPr id="10" name="VCT_Marker_ID_10" hidden="1"/>
          <p:cNvSpPr/>
          <p:nvPr>
            <p:custDataLst>
              <p:tags r:id="rId12"/>
            </p:custDataLst>
          </p:nvPr>
        </p:nvSpPr>
        <p:spPr>
          <a:xfrm>
            <a:off x="1120934" y="120580"/>
            <a:ext cx="112093" cy="120580"/>
          </a:xfrm>
          <a:prstGeom prst="rect">
            <a:avLst/>
          </a:prstGeom>
          <a:solidFill>
            <a:schemeClr val="accent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892521"/>
            <a:endParaRPr lang="en-US" dirty="0">
              <a:solidFill>
                <a:srgbClr val="003149"/>
              </a:solidFill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0" y="905107"/>
            <a:ext cx="9144000" cy="34180"/>
          </a:xfrm>
          <a:prstGeom prst="rect">
            <a:avLst/>
          </a:prstGeom>
          <a:solidFill>
            <a:schemeClr val="accent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892521"/>
            <a:endParaRPr lang="en-US" dirty="0">
              <a:solidFill>
                <a:srgbClr val="003149"/>
              </a:solidFill>
            </a:endParaRPr>
          </a:p>
        </p:txBody>
      </p:sp>
      <p:grpSp>
        <p:nvGrpSpPr>
          <p:cNvPr id="21" name="Group 20"/>
          <p:cNvGrpSpPr/>
          <p:nvPr/>
        </p:nvGrpSpPr>
        <p:grpSpPr>
          <a:xfrm>
            <a:off x="8574091" y="6591936"/>
            <a:ext cx="385992" cy="239924"/>
            <a:chOff x="7277614" y="2396353"/>
            <a:chExt cx="1054802" cy="609493"/>
          </a:xfrm>
        </p:grpSpPr>
        <p:sp>
          <p:nvSpPr>
            <p:cNvPr id="23" name="Freeform 7"/>
            <p:cNvSpPr>
              <a:spLocks/>
            </p:cNvSpPr>
            <p:nvPr/>
          </p:nvSpPr>
          <p:spPr bwMode="auto">
            <a:xfrm>
              <a:off x="7277614" y="2396353"/>
              <a:ext cx="527401" cy="154241"/>
            </a:xfrm>
            <a:custGeom>
              <a:avLst/>
              <a:gdLst>
                <a:gd name="T0" fmla="*/ 0 w 691"/>
                <a:gd name="T1" fmla="*/ 200 h 200"/>
                <a:gd name="T2" fmla="*/ 691 w 691"/>
                <a:gd name="T3" fmla="*/ 200 h 200"/>
                <a:gd name="T4" fmla="*/ 346 w 691"/>
                <a:gd name="T5" fmla="*/ 0 h 200"/>
                <a:gd name="T6" fmla="*/ 0 w 691"/>
                <a:gd name="T7" fmla="*/ 200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91" h="200">
                  <a:moveTo>
                    <a:pt x="0" y="200"/>
                  </a:moveTo>
                  <a:lnTo>
                    <a:pt x="691" y="200"/>
                  </a:lnTo>
                  <a:lnTo>
                    <a:pt x="346" y="0"/>
                  </a:lnTo>
                  <a:lnTo>
                    <a:pt x="0" y="200"/>
                  </a:lnTo>
                  <a:close/>
                </a:path>
              </a:pathLst>
            </a:custGeom>
            <a:solidFill>
              <a:srgbClr val="FF0505"/>
            </a:solidFill>
            <a:ln w="1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892521"/>
              <a:endParaRPr lang="en-US" sz="1700" dirty="0">
                <a:solidFill>
                  <a:srgbClr val="003149"/>
                </a:solidFill>
              </a:endParaRPr>
            </a:p>
          </p:txBody>
        </p:sp>
        <p:sp>
          <p:nvSpPr>
            <p:cNvPr id="24" name="Freeform 8"/>
            <p:cNvSpPr>
              <a:spLocks/>
            </p:cNvSpPr>
            <p:nvPr/>
          </p:nvSpPr>
          <p:spPr bwMode="auto">
            <a:xfrm>
              <a:off x="7277614" y="2550591"/>
              <a:ext cx="263702" cy="452770"/>
            </a:xfrm>
            <a:custGeom>
              <a:avLst/>
              <a:gdLst>
                <a:gd name="T0" fmla="*/ 0 w 346"/>
                <a:gd name="T1" fmla="*/ 0 h 598"/>
                <a:gd name="T2" fmla="*/ 0 w 346"/>
                <a:gd name="T3" fmla="*/ 399 h 598"/>
                <a:gd name="T4" fmla="*/ 346 w 346"/>
                <a:gd name="T5" fmla="*/ 598 h 598"/>
                <a:gd name="T6" fmla="*/ 0 w 346"/>
                <a:gd name="T7" fmla="*/ 0 h 5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46" h="598">
                  <a:moveTo>
                    <a:pt x="0" y="0"/>
                  </a:moveTo>
                  <a:lnTo>
                    <a:pt x="0" y="399"/>
                  </a:lnTo>
                  <a:lnTo>
                    <a:pt x="346" y="59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505"/>
            </a:solidFill>
            <a:ln w="2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892521"/>
              <a:endParaRPr lang="en-US" sz="1700" dirty="0">
                <a:solidFill>
                  <a:srgbClr val="003149"/>
                </a:solidFill>
              </a:endParaRPr>
            </a:p>
          </p:txBody>
        </p:sp>
        <p:sp>
          <p:nvSpPr>
            <p:cNvPr id="25" name="Freeform 9"/>
            <p:cNvSpPr>
              <a:spLocks/>
            </p:cNvSpPr>
            <p:nvPr/>
          </p:nvSpPr>
          <p:spPr bwMode="auto">
            <a:xfrm>
              <a:off x="7541313" y="2550591"/>
              <a:ext cx="263702" cy="452770"/>
            </a:xfrm>
            <a:custGeom>
              <a:avLst/>
              <a:gdLst>
                <a:gd name="T0" fmla="*/ 0 w 345"/>
                <a:gd name="T1" fmla="*/ 598 h 598"/>
                <a:gd name="T2" fmla="*/ 345 w 345"/>
                <a:gd name="T3" fmla="*/ 0 h 598"/>
                <a:gd name="T4" fmla="*/ 345 w 345"/>
                <a:gd name="T5" fmla="*/ 399 h 598"/>
                <a:gd name="T6" fmla="*/ 0 w 345"/>
                <a:gd name="T7" fmla="*/ 598 h 5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45" h="598">
                  <a:moveTo>
                    <a:pt x="0" y="598"/>
                  </a:moveTo>
                  <a:lnTo>
                    <a:pt x="345" y="0"/>
                  </a:lnTo>
                  <a:lnTo>
                    <a:pt x="345" y="399"/>
                  </a:lnTo>
                  <a:lnTo>
                    <a:pt x="0" y="598"/>
                  </a:lnTo>
                  <a:close/>
                </a:path>
              </a:pathLst>
            </a:custGeom>
            <a:solidFill>
              <a:srgbClr val="FF0505"/>
            </a:solidFill>
            <a:ln w="1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892521"/>
              <a:endParaRPr lang="en-US" sz="1700" dirty="0">
                <a:solidFill>
                  <a:srgbClr val="003149"/>
                </a:solidFill>
              </a:endParaRPr>
            </a:p>
          </p:txBody>
        </p:sp>
        <p:sp>
          <p:nvSpPr>
            <p:cNvPr id="26" name="Freeform 7"/>
            <p:cNvSpPr>
              <a:spLocks/>
            </p:cNvSpPr>
            <p:nvPr/>
          </p:nvSpPr>
          <p:spPr bwMode="auto">
            <a:xfrm rot="10800000">
              <a:off x="7805015" y="2851605"/>
              <a:ext cx="527401" cy="154241"/>
            </a:xfrm>
            <a:custGeom>
              <a:avLst/>
              <a:gdLst>
                <a:gd name="T0" fmla="*/ 0 w 691"/>
                <a:gd name="T1" fmla="*/ 200 h 200"/>
                <a:gd name="T2" fmla="*/ 691 w 691"/>
                <a:gd name="T3" fmla="*/ 200 h 200"/>
                <a:gd name="T4" fmla="*/ 346 w 691"/>
                <a:gd name="T5" fmla="*/ 0 h 200"/>
                <a:gd name="T6" fmla="*/ 0 w 691"/>
                <a:gd name="T7" fmla="*/ 200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91" h="200">
                  <a:moveTo>
                    <a:pt x="0" y="200"/>
                  </a:moveTo>
                  <a:lnTo>
                    <a:pt x="691" y="200"/>
                  </a:lnTo>
                  <a:lnTo>
                    <a:pt x="346" y="0"/>
                  </a:lnTo>
                  <a:lnTo>
                    <a:pt x="0" y="200"/>
                  </a:lnTo>
                  <a:close/>
                </a:path>
              </a:pathLst>
            </a:custGeom>
            <a:solidFill>
              <a:srgbClr val="058CEC"/>
            </a:solidFill>
            <a:ln w="1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892521"/>
              <a:endParaRPr lang="en-US" sz="1700" dirty="0">
                <a:solidFill>
                  <a:srgbClr val="003149"/>
                </a:solidFill>
              </a:endParaRPr>
            </a:p>
          </p:txBody>
        </p:sp>
        <p:sp>
          <p:nvSpPr>
            <p:cNvPr id="27" name="Freeform 8"/>
            <p:cNvSpPr>
              <a:spLocks/>
            </p:cNvSpPr>
            <p:nvPr/>
          </p:nvSpPr>
          <p:spPr bwMode="auto">
            <a:xfrm rot="10800000">
              <a:off x="8068714" y="2398838"/>
              <a:ext cx="263702" cy="452770"/>
            </a:xfrm>
            <a:custGeom>
              <a:avLst/>
              <a:gdLst>
                <a:gd name="T0" fmla="*/ 0 w 346"/>
                <a:gd name="T1" fmla="*/ 0 h 598"/>
                <a:gd name="T2" fmla="*/ 0 w 346"/>
                <a:gd name="T3" fmla="*/ 399 h 598"/>
                <a:gd name="T4" fmla="*/ 346 w 346"/>
                <a:gd name="T5" fmla="*/ 598 h 598"/>
                <a:gd name="T6" fmla="*/ 0 w 346"/>
                <a:gd name="T7" fmla="*/ 0 h 5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46" h="598">
                  <a:moveTo>
                    <a:pt x="0" y="0"/>
                  </a:moveTo>
                  <a:lnTo>
                    <a:pt x="0" y="399"/>
                  </a:lnTo>
                  <a:lnTo>
                    <a:pt x="346" y="59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58CEC"/>
            </a:solidFill>
            <a:ln w="2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892521"/>
              <a:endParaRPr lang="en-US" sz="1700" dirty="0">
                <a:solidFill>
                  <a:srgbClr val="003149"/>
                </a:solidFill>
              </a:endParaRPr>
            </a:p>
          </p:txBody>
        </p:sp>
        <p:sp>
          <p:nvSpPr>
            <p:cNvPr id="29" name="Freeform 9"/>
            <p:cNvSpPr>
              <a:spLocks/>
            </p:cNvSpPr>
            <p:nvPr/>
          </p:nvSpPr>
          <p:spPr bwMode="auto">
            <a:xfrm rot="10800000">
              <a:off x="7805015" y="2398838"/>
              <a:ext cx="263702" cy="452770"/>
            </a:xfrm>
            <a:custGeom>
              <a:avLst/>
              <a:gdLst>
                <a:gd name="T0" fmla="*/ 0 w 345"/>
                <a:gd name="T1" fmla="*/ 598 h 598"/>
                <a:gd name="T2" fmla="*/ 345 w 345"/>
                <a:gd name="T3" fmla="*/ 0 h 598"/>
                <a:gd name="T4" fmla="*/ 345 w 345"/>
                <a:gd name="T5" fmla="*/ 399 h 598"/>
                <a:gd name="T6" fmla="*/ 0 w 345"/>
                <a:gd name="T7" fmla="*/ 598 h 5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45" h="598">
                  <a:moveTo>
                    <a:pt x="0" y="598"/>
                  </a:moveTo>
                  <a:lnTo>
                    <a:pt x="345" y="0"/>
                  </a:lnTo>
                  <a:lnTo>
                    <a:pt x="345" y="399"/>
                  </a:lnTo>
                  <a:lnTo>
                    <a:pt x="0" y="598"/>
                  </a:lnTo>
                  <a:close/>
                </a:path>
              </a:pathLst>
            </a:custGeom>
            <a:solidFill>
              <a:srgbClr val="058CEC"/>
            </a:solidFill>
            <a:ln w="1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892521"/>
              <a:endParaRPr lang="en-US" sz="1700" dirty="0">
                <a:solidFill>
                  <a:srgbClr val="003149"/>
                </a:solidFill>
              </a:endParaRPr>
            </a:p>
          </p:txBody>
        </p:sp>
      </p:grpSp>
      <p:sp>
        <p:nvSpPr>
          <p:cNvPr id="22" name="Rectangle 2"/>
          <p:cNvSpPr>
            <a:spLocks noGrp="1" noChangeArrowheads="1"/>
          </p:cNvSpPr>
          <p:nvPr>
            <p:ph type="title"/>
          </p:nvPr>
        </p:nvSpPr>
        <p:spPr bwMode="gray">
          <a:xfrm>
            <a:off x="168411" y="53583"/>
            <a:ext cx="7856065" cy="8344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65484" bIns="0" numCol="1" anchor="ctr" anchorCtr="0" compatLnSpc="1">
            <a:prstTxWarp prst="textNoShape">
              <a:avLst/>
            </a:prstTxWarp>
          </a:bodyPr>
          <a:lstStyle/>
          <a:p>
            <a:pPr lvl="0"/>
            <a:endParaRPr lang="en-CA" noProof="1"/>
          </a:p>
        </p:txBody>
      </p:sp>
      <p:sp>
        <p:nvSpPr>
          <p:cNvPr id="8" name="OfficeCode" hidden="1"/>
          <p:cNvSpPr txBox="1"/>
          <p:nvPr userDrawn="1">
            <p:custDataLst>
              <p:tags r:id="rId13"/>
            </p:custDataLst>
          </p:nvPr>
        </p:nvSpPr>
        <p:spPr>
          <a:xfrm>
            <a:off x="8265553" y="6655843"/>
            <a:ext cx="175730" cy="76944"/>
          </a:xfrm>
          <a:prstGeom prst="rect">
            <a:avLst/>
          </a:prstGeom>
          <a:noFill/>
        </p:spPr>
        <p:txBody>
          <a:bodyPr vert="horz" wrap="none" lIns="32742" tIns="0" rIns="0" bIns="0" rtlCol="0" anchor="ctr">
            <a:spAutoFit/>
          </a:bodyPr>
          <a:lstStyle/>
          <a:p>
            <a:pPr defTabSz="892521"/>
            <a:r>
              <a:rPr lang="ru-RU" sz="500" dirty="0">
                <a:solidFill>
                  <a:srgbClr val="000000"/>
                </a:solidFill>
                <a:latin typeface="Verdana"/>
              </a:rPr>
              <a:t>MSC</a:t>
            </a:r>
          </a:p>
        </p:txBody>
      </p:sp>
    </p:spTree>
    <p:custDataLst>
      <p:custData r:id="rId9"/>
      <p:custData r:id="rId10"/>
    </p:custDataLst>
    <p:extLst>
      <p:ext uri="{BB962C8B-B14F-4D97-AF65-F5344CB8AC3E}">
        <p14:creationId xmlns:p14="http://schemas.microsoft.com/office/powerpoint/2010/main" val="23802053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78" r:id="rId1"/>
    <p:sldLayoutId id="2147483979" r:id="rId2"/>
    <p:sldLayoutId id="2147483980" r:id="rId3"/>
    <p:sldLayoutId id="2147483981" r:id="rId4"/>
    <p:sldLayoutId id="2147483982" r:id="rId5"/>
    <p:sldLayoutId id="2147483983" r:id="rId6"/>
    <p:sldLayoutId id="2147483984" r:id="rId7"/>
  </p:sldLayoutIdLst>
  <p:hf sldNum="0" hdr="0" ftr="0" dt="0"/>
  <p:txStyles>
    <p:titleStyle>
      <a:lvl1pPr algn="l" defTabSz="892521" rtl="0" eaLnBrk="1" latinLnBrk="0" hangingPunct="1">
        <a:spcBef>
          <a:spcPct val="0"/>
        </a:spcBef>
        <a:buNone/>
        <a:defRPr sz="25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46895" marR="0" indent="-246895" algn="l" defTabSz="892285" rtl="0" eaLnBrk="1" fontAlgn="base" latinLnBrk="0" hangingPunct="1">
        <a:lnSpc>
          <a:spcPct val="100000"/>
        </a:lnSpc>
        <a:spcBef>
          <a:spcPct val="40000"/>
        </a:spcBef>
        <a:spcAft>
          <a:spcPct val="0"/>
        </a:spcAft>
        <a:buClr>
          <a:schemeClr val="tx1"/>
        </a:buClr>
        <a:buSzPts val="2400"/>
        <a:buFont typeface="Verdana" pitchFamily="34" charset="0"/>
        <a:buChar char="•"/>
        <a:tabLst/>
        <a:defRPr kumimoji="0" lang="en-US" altLang="zh-CN" sz="1800" b="0" i="0" u="none" strike="noStrike" kern="1200" cap="none" spc="0" normalizeH="0" baseline="0" noProof="1">
          <a:ln>
            <a:noFill/>
          </a:ln>
          <a:solidFill>
            <a:schemeClr val="accent1">
              <a:lumMod val="50000"/>
            </a:schemeClr>
          </a:solidFill>
          <a:effectLst/>
          <a:uLnTx/>
          <a:uFillTx/>
          <a:latin typeface="+mn-lt"/>
          <a:ea typeface="+mn-ea"/>
          <a:cs typeface="+mn-cs"/>
        </a:defRPr>
      </a:lvl1pPr>
      <a:lvl2pPr marL="522666" marR="0" indent="-108287" algn="l" defTabSz="892285" rtl="0" eaLnBrk="1" fontAlgn="base" latinLnBrk="0" hangingPunct="1">
        <a:lnSpc>
          <a:spcPct val="100000"/>
        </a:lnSpc>
        <a:spcBef>
          <a:spcPct val="20000"/>
        </a:spcBef>
        <a:spcAft>
          <a:spcPct val="0"/>
        </a:spcAft>
        <a:buClr>
          <a:schemeClr val="tx1"/>
        </a:buClr>
        <a:buSzPts val="2200"/>
        <a:buFont typeface="Verdana"/>
        <a:buChar char="-"/>
        <a:tabLst/>
        <a:defRPr lang="en-CA" altLang="zh-CN" sz="1600" kern="1200" baseline="0" noProof="1">
          <a:solidFill>
            <a:schemeClr val="accent1">
              <a:lumMod val="50000"/>
            </a:schemeClr>
          </a:solidFill>
          <a:latin typeface="+mn-lt"/>
          <a:ea typeface="+mn-ea"/>
          <a:cs typeface="+mn-cs"/>
        </a:defRPr>
      </a:lvl2pPr>
      <a:lvl3pPr marL="957259" marR="0" indent="-261334" algn="l" defTabSz="892285" rtl="0" eaLnBrk="1" fontAlgn="base" latinLnBrk="0" hangingPunct="1">
        <a:lnSpc>
          <a:spcPct val="100000"/>
        </a:lnSpc>
        <a:spcBef>
          <a:spcPct val="20000"/>
        </a:spcBef>
        <a:spcAft>
          <a:spcPct val="0"/>
        </a:spcAft>
        <a:buClr>
          <a:schemeClr val="tx1"/>
        </a:buClr>
        <a:buSzPts val="2200"/>
        <a:buFont typeface="Marlett" pitchFamily="2" charset="2"/>
        <a:buChar char="8"/>
        <a:tabLst/>
        <a:defRPr lang="zh-CN" altLang="en-US" sz="1600" kern="1200" noProof="1">
          <a:solidFill>
            <a:schemeClr val="accent1">
              <a:lumMod val="50000"/>
            </a:schemeClr>
          </a:solidFill>
          <a:latin typeface="+mn-lt"/>
          <a:ea typeface="+mn-ea"/>
          <a:cs typeface="+mn-cs"/>
        </a:defRPr>
      </a:lvl3pPr>
      <a:lvl4pPr marL="1322316" marR="0" indent="-191279" algn="l" defTabSz="892521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>
          <a:schemeClr val="tx1"/>
        </a:buClr>
        <a:buSzTx/>
        <a:buFont typeface="Verdana" pitchFamily="34" charset="0"/>
        <a:buChar char="-"/>
        <a:tabLst/>
        <a:defRPr lang="en-CA" altLang="zh-CN" sz="1600" kern="1200">
          <a:solidFill>
            <a:schemeClr val="accent1">
              <a:lumMod val="50000"/>
            </a:schemeClr>
          </a:solidFill>
          <a:latin typeface="+mn-lt"/>
          <a:ea typeface="+mn-ea"/>
          <a:cs typeface="+mn-cs"/>
        </a:defRPr>
      </a:lvl4pPr>
      <a:lvl5pPr marL="2008173" indent="-223128" algn="l" defTabSz="892521" rtl="0" eaLnBrk="1" latinLnBrk="0" hangingPunct="1">
        <a:spcBef>
          <a:spcPct val="20000"/>
        </a:spcBef>
        <a:buFont typeface="Arial" pitchFamily="34" charset="0"/>
        <a:buChar char="»"/>
        <a:defRPr sz="2200" kern="1200">
          <a:solidFill>
            <a:schemeClr val="tx1"/>
          </a:solidFill>
          <a:latin typeface="Verdana" pitchFamily="34" charset="0"/>
          <a:ea typeface="+mn-ea"/>
          <a:cs typeface="+mn-cs"/>
        </a:defRPr>
      </a:lvl5pPr>
      <a:lvl6pPr marL="2454433" indent="-223128" algn="l" defTabSz="892521" rtl="0" eaLnBrk="1" latinLnBrk="0" hangingPunct="1">
        <a:spcBef>
          <a:spcPct val="20000"/>
        </a:spcBef>
        <a:buFont typeface="Arial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900694" indent="-223128" algn="l" defTabSz="892521" rtl="0" eaLnBrk="1" latinLnBrk="0" hangingPunct="1">
        <a:spcBef>
          <a:spcPct val="20000"/>
        </a:spcBef>
        <a:buFont typeface="Arial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346955" indent="-223128" algn="l" defTabSz="892521" rtl="0" eaLnBrk="1" latinLnBrk="0" hangingPunct="1">
        <a:spcBef>
          <a:spcPct val="20000"/>
        </a:spcBef>
        <a:buFont typeface="Arial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793216" indent="-223128" algn="l" defTabSz="892521" rtl="0" eaLnBrk="1" latinLnBrk="0" hangingPunct="1">
        <a:spcBef>
          <a:spcPct val="20000"/>
        </a:spcBef>
        <a:buFont typeface="Arial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92521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446261" algn="l" defTabSz="892521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892521" algn="l" defTabSz="892521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338782" algn="l" defTabSz="892521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785042" algn="l" defTabSz="892521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231303" algn="l" defTabSz="892521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677564" algn="l" defTabSz="892521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3123824" algn="l" defTabSz="892521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570085" algn="l" defTabSz="892521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7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idx="1"/>
            <p:custDataLst>
              <p:tags r:id="rId11"/>
            </p:custDataLst>
          </p:nvPr>
        </p:nvSpPr>
        <p:spPr>
          <a:xfrm>
            <a:off x="376914" y="1104817"/>
            <a:ext cx="8390173" cy="5277846"/>
          </a:xfrm>
          <a:prstGeom prst="rect">
            <a:avLst/>
          </a:prstGeom>
        </p:spPr>
        <p:txBody>
          <a:bodyPr vert="horz" lIns="83210" tIns="41605" rIns="83210" bIns="41605" rtlCol="0" anchor="t" anchorCtr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5" name="SlideNumber"/>
          <p:cNvSpPr/>
          <p:nvPr/>
        </p:nvSpPr>
        <p:spPr>
          <a:xfrm>
            <a:off x="8216375" y="6668489"/>
            <a:ext cx="300772" cy="86818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 defTabSz="893014"/>
            <a:fld id="{BB69BBE8-4DB2-4642-B003-B220ACD5A2FD}" type="slidenum">
              <a:rPr lang="en-US" sz="900" b="1" smtClean="0">
                <a:solidFill>
                  <a:srgbClr val="080808"/>
                </a:solidFill>
                <a:latin typeface="Verdana" pitchFamily="34" charset="0"/>
              </a:rPr>
              <a:pPr algn="ctr" defTabSz="893014"/>
              <a:t>‹#›</a:t>
            </a:fld>
            <a:endParaRPr lang="fr-FR" sz="900" b="1" dirty="0">
              <a:solidFill>
                <a:srgbClr val="080808"/>
              </a:solidFill>
            </a:endParaRPr>
          </a:p>
        </p:txBody>
      </p:sp>
      <p:cxnSp>
        <p:nvCxnSpPr>
          <p:cNvPr id="28" name="Straight Connector 27"/>
          <p:cNvCxnSpPr/>
          <p:nvPr/>
        </p:nvCxnSpPr>
        <p:spPr>
          <a:xfrm>
            <a:off x="0" y="6555697"/>
            <a:ext cx="9144000" cy="0"/>
          </a:xfrm>
          <a:prstGeom prst="line">
            <a:avLst/>
          </a:prstGeom>
          <a:ln w="12700">
            <a:solidFill>
              <a:srgbClr val="999999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6" name="Notes"/>
          <p:cNvSpPr txBox="1">
            <a:spLocks noChangeArrowheads="1"/>
          </p:cNvSpPr>
          <p:nvPr/>
        </p:nvSpPr>
        <p:spPr bwMode="auto">
          <a:xfrm>
            <a:off x="169485" y="6410638"/>
            <a:ext cx="6145498" cy="138499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lIns="0" tIns="0" rIns="0" bIns="0" anchor="b">
            <a:spAutoFit/>
          </a:bodyPr>
          <a:lstStyle/>
          <a:p>
            <a:pPr marL="167577" indent="-167577" defTabSz="801767" fontAlgn="t"/>
            <a:endParaRPr lang="en-CA" sz="900" dirty="0">
              <a:solidFill>
                <a:srgbClr val="003149"/>
              </a:solidFill>
            </a:endParaRPr>
          </a:p>
        </p:txBody>
      </p:sp>
      <p:sp>
        <p:nvSpPr>
          <p:cNvPr id="10" name="VCT_Marker_ID_10" hidden="1"/>
          <p:cNvSpPr/>
          <p:nvPr>
            <p:custDataLst>
              <p:tags r:id="rId12"/>
            </p:custDataLst>
          </p:nvPr>
        </p:nvSpPr>
        <p:spPr>
          <a:xfrm>
            <a:off x="1120932" y="120580"/>
            <a:ext cx="112093" cy="120580"/>
          </a:xfrm>
          <a:prstGeom prst="rect">
            <a:avLst/>
          </a:prstGeom>
          <a:solidFill>
            <a:schemeClr val="accent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893014"/>
            <a:endParaRPr lang="en-US" dirty="0">
              <a:solidFill>
                <a:srgbClr val="003149"/>
              </a:solidFill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0" y="905107"/>
            <a:ext cx="9144000" cy="34180"/>
          </a:xfrm>
          <a:prstGeom prst="rect">
            <a:avLst/>
          </a:prstGeom>
          <a:solidFill>
            <a:schemeClr val="accent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893014"/>
            <a:endParaRPr lang="en-US" dirty="0">
              <a:solidFill>
                <a:srgbClr val="003149"/>
              </a:solidFill>
            </a:endParaRPr>
          </a:p>
        </p:txBody>
      </p:sp>
      <p:grpSp>
        <p:nvGrpSpPr>
          <p:cNvPr id="21" name="Group 20"/>
          <p:cNvGrpSpPr/>
          <p:nvPr/>
        </p:nvGrpSpPr>
        <p:grpSpPr>
          <a:xfrm>
            <a:off x="8574091" y="6591936"/>
            <a:ext cx="385992" cy="239924"/>
            <a:chOff x="7277614" y="2396353"/>
            <a:chExt cx="1054802" cy="609493"/>
          </a:xfrm>
        </p:grpSpPr>
        <p:sp>
          <p:nvSpPr>
            <p:cNvPr id="23" name="Freeform 7"/>
            <p:cNvSpPr>
              <a:spLocks/>
            </p:cNvSpPr>
            <p:nvPr/>
          </p:nvSpPr>
          <p:spPr bwMode="auto">
            <a:xfrm>
              <a:off x="7277614" y="2396353"/>
              <a:ext cx="527401" cy="154241"/>
            </a:xfrm>
            <a:custGeom>
              <a:avLst/>
              <a:gdLst>
                <a:gd name="T0" fmla="*/ 0 w 691"/>
                <a:gd name="T1" fmla="*/ 200 h 200"/>
                <a:gd name="T2" fmla="*/ 691 w 691"/>
                <a:gd name="T3" fmla="*/ 200 h 200"/>
                <a:gd name="T4" fmla="*/ 346 w 691"/>
                <a:gd name="T5" fmla="*/ 0 h 200"/>
                <a:gd name="T6" fmla="*/ 0 w 691"/>
                <a:gd name="T7" fmla="*/ 200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91" h="200">
                  <a:moveTo>
                    <a:pt x="0" y="200"/>
                  </a:moveTo>
                  <a:lnTo>
                    <a:pt x="691" y="200"/>
                  </a:lnTo>
                  <a:lnTo>
                    <a:pt x="346" y="0"/>
                  </a:lnTo>
                  <a:lnTo>
                    <a:pt x="0" y="200"/>
                  </a:lnTo>
                  <a:close/>
                </a:path>
              </a:pathLst>
            </a:custGeom>
            <a:solidFill>
              <a:srgbClr val="FF0505"/>
            </a:solidFill>
            <a:ln w="1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893014"/>
              <a:endParaRPr lang="en-US" sz="1700" dirty="0">
                <a:solidFill>
                  <a:srgbClr val="003149"/>
                </a:solidFill>
              </a:endParaRPr>
            </a:p>
          </p:txBody>
        </p:sp>
        <p:sp>
          <p:nvSpPr>
            <p:cNvPr id="24" name="Freeform 8"/>
            <p:cNvSpPr>
              <a:spLocks/>
            </p:cNvSpPr>
            <p:nvPr/>
          </p:nvSpPr>
          <p:spPr bwMode="auto">
            <a:xfrm>
              <a:off x="7277614" y="2550591"/>
              <a:ext cx="263702" cy="452770"/>
            </a:xfrm>
            <a:custGeom>
              <a:avLst/>
              <a:gdLst>
                <a:gd name="T0" fmla="*/ 0 w 346"/>
                <a:gd name="T1" fmla="*/ 0 h 598"/>
                <a:gd name="T2" fmla="*/ 0 w 346"/>
                <a:gd name="T3" fmla="*/ 399 h 598"/>
                <a:gd name="T4" fmla="*/ 346 w 346"/>
                <a:gd name="T5" fmla="*/ 598 h 598"/>
                <a:gd name="T6" fmla="*/ 0 w 346"/>
                <a:gd name="T7" fmla="*/ 0 h 5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46" h="598">
                  <a:moveTo>
                    <a:pt x="0" y="0"/>
                  </a:moveTo>
                  <a:lnTo>
                    <a:pt x="0" y="399"/>
                  </a:lnTo>
                  <a:lnTo>
                    <a:pt x="346" y="59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505"/>
            </a:solidFill>
            <a:ln w="2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893014"/>
              <a:endParaRPr lang="en-US" sz="1700" dirty="0">
                <a:solidFill>
                  <a:srgbClr val="003149"/>
                </a:solidFill>
              </a:endParaRPr>
            </a:p>
          </p:txBody>
        </p:sp>
        <p:sp>
          <p:nvSpPr>
            <p:cNvPr id="25" name="Freeform 9"/>
            <p:cNvSpPr>
              <a:spLocks/>
            </p:cNvSpPr>
            <p:nvPr/>
          </p:nvSpPr>
          <p:spPr bwMode="auto">
            <a:xfrm>
              <a:off x="7541313" y="2550591"/>
              <a:ext cx="263702" cy="452770"/>
            </a:xfrm>
            <a:custGeom>
              <a:avLst/>
              <a:gdLst>
                <a:gd name="T0" fmla="*/ 0 w 345"/>
                <a:gd name="T1" fmla="*/ 598 h 598"/>
                <a:gd name="T2" fmla="*/ 345 w 345"/>
                <a:gd name="T3" fmla="*/ 0 h 598"/>
                <a:gd name="T4" fmla="*/ 345 w 345"/>
                <a:gd name="T5" fmla="*/ 399 h 598"/>
                <a:gd name="T6" fmla="*/ 0 w 345"/>
                <a:gd name="T7" fmla="*/ 598 h 5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45" h="598">
                  <a:moveTo>
                    <a:pt x="0" y="598"/>
                  </a:moveTo>
                  <a:lnTo>
                    <a:pt x="345" y="0"/>
                  </a:lnTo>
                  <a:lnTo>
                    <a:pt x="345" y="399"/>
                  </a:lnTo>
                  <a:lnTo>
                    <a:pt x="0" y="598"/>
                  </a:lnTo>
                  <a:close/>
                </a:path>
              </a:pathLst>
            </a:custGeom>
            <a:solidFill>
              <a:srgbClr val="FF0505"/>
            </a:solidFill>
            <a:ln w="1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893014"/>
              <a:endParaRPr lang="en-US" sz="1700" dirty="0">
                <a:solidFill>
                  <a:srgbClr val="003149"/>
                </a:solidFill>
              </a:endParaRPr>
            </a:p>
          </p:txBody>
        </p:sp>
        <p:sp>
          <p:nvSpPr>
            <p:cNvPr id="26" name="Freeform 7"/>
            <p:cNvSpPr>
              <a:spLocks/>
            </p:cNvSpPr>
            <p:nvPr/>
          </p:nvSpPr>
          <p:spPr bwMode="auto">
            <a:xfrm rot="10800000">
              <a:off x="7805015" y="2851605"/>
              <a:ext cx="527401" cy="154241"/>
            </a:xfrm>
            <a:custGeom>
              <a:avLst/>
              <a:gdLst>
                <a:gd name="T0" fmla="*/ 0 w 691"/>
                <a:gd name="T1" fmla="*/ 200 h 200"/>
                <a:gd name="T2" fmla="*/ 691 w 691"/>
                <a:gd name="T3" fmla="*/ 200 h 200"/>
                <a:gd name="T4" fmla="*/ 346 w 691"/>
                <a:gd name="T5" fmla="*/ 0 h 200"/>
                <a:gd name="T6" fmla="*/ 0 w 691"/>
                <a:gd name="T7" fmla="*/ 200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91" h="200">
                  <a:moveTo>
                    <a:pt x="0" y="200"/>
                  </a:moveTo>
                  <a:lnTo>
                    <a:pt x="691" y="200"/>
                  </a:lnTo>
                  <a:lnTo>
                    <a:pt x="346" y="0"/>
                  </a:lnTo>
                  <a:lnTo>
                    <a:pt x="0" y="200"/>
                  </a:lnTo>
                  <a:close/>
                </a:path>
              </a:pathLst>
            </a:custGeom>
            <a:solidFill>
              <a:srgbClr val="058CEC"/>
            </a:solidFill>
            <a:ln w="1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893014"/>
              <a:endParaRPr lang="en-US" sz="1700" dirty="0">
                <a:solidFill>
                  <a:srgbClr val="003149"/>
                </a:solidFill>
              </a:endParaRPr>
            </a:p>
          </p:txBody>
        </p:sp>
        <p:sp>
          <p:nvSpPr>
            <p:cNvPr id="27" name="Freeform 8"/>
            <p:cNvSpPr>
              <a:spLocks/>
            </p:cNvSpPr>
            <p:nvPr/>
          </p:nvSpPr>
          <p:spPr bwMode="auto">
            <a:xfrm rot="10800000">
              <a:off x="8068714" y="2398838"/>
              <a:ext cx="263702" cy="452770"/>
            </a:xfrm>
            <a:custGeom>
              <a:avLst/>
              <a:gdLst>
                <a:gd name="T0" fmla="*/ 0 w 346"/>
                <a:gd name="T1" fmla="*/ 0 h 598"/>
                <a:gd name="T2" fmla="*/ 0 w 346"/>
                <a:gd name="T3" fmla="*/ 399 h 598"/>
                <a:gd name="T4" fmla="*/ 346 w 346"/>
                <a:gd name="T5" fmla="*/ 598 h 598"/>
                <a:gd name="T6" fmla="*/ 0 w 346"/>
                <a:gd name="T7" fmla="*/ 0 h 5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46" h="598">
                  <a:moveTo>
                    <a:pt x="0" y="0"/>
                  </a:moveTo>
                  <a:lnTo>
                    <a:pt x="0" y="399"/>
                  </a:lnTo>
                  <a:lnTo>
                    <a:pt x="346" y="59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58CEC"/>
            </a:solidFill>
            <a:ln w="2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893014"/>
              <a:endParaRPr lang="en-US" sz="1700" dirty="0">
                <a:solidFill>
                  <a:srgbClr val="003149"/>
                </a:solidFill>
              </a:endParaRPr>
            </a:p>
          </p:txBody>
        </p:sp>
        <p:sp>
          <p:nvSpPr>
            <p:cNvPr id="29" name="Freeform 9"/>
            <p:cNvSpPr>
              <a:spLocks/>
            </p:cNvSpPr>
            <p:nvPr/>
          </p:nvSpPr>
          <p:spPr bwMode="auto">
            <a:xfrm rot="10800000">
              <a:off x="7805015" y="2398838"/>
              <a:ext cx="263702" cy="452770"/>
            </a:xfrm>
            <a:custGeom>
              <a:avLst/>
              <a:gdLst>
                <a:gd name="T0" fmla="*/ 0 w 345"/>
                <a:gd name="T1" fmla="*/ 598 h 598"/>
                <a:gd name="T2" fmla="*/ 345 w 345"/>
                <a:gd name="T3" fmla="*/ 0 h 598"/>
                <a:gd name="T4" fmla="*/ 345 w 345"/>
                <a:gd name="T5" fmla="*/ 399 h 598"/>
                <a:gd name="T6" fmla="*/ 0 w 345"/>
                <a:gd name="T7" fmla="*/ 598 h 5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45" h="598">
                  <a:moveTo>
                    <a:pt x="0" y="598"/>
                  </a:moveTo>
                  <a:lnTo>
                    <a:pt x="345" y="0"/>
                  </a:lnTo>
                  <a:lnTo>
                    <a:pt x="345" y="399"/>
                  </a:lnTo>
                  <a:lnTo>
                    <a:pt x="0" y="598"/>
                  </a:lnTo>
                  <a:close/>
                </a:path>
              </a:pathLst>
            </a:custGeom>
            <a:solidFill>
              <a:srgbClr val="058CEC"/>
            </a:solidFill>
            <a:ln w="1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893014"/>
              <a:endParaRPr lang="en-US" sz="1700" dirty="0">
                <a:solidFill>
                  <a:srgbClr val="003149"/>
                </a:solidFill>
              </a:endParaRPr>
            </a:p>
          </p:txBody>
        </p:sp>
      </p:grpSp>
      <p:sp>
        <p:nvSpPr>
          <p:cNvPr id="22" name="Rectangle 2"/>
          <p:cNvSpPr>
            <a:spLocks noGrp="1" noChangeArrowheads="1"/>
          </p:cNvSpPr>
          <p:nvPr>
            <p:ph type="title"/>
          </p:nvPr>
        </p:nvSpPr>
        <p:spPr bwMode="gray">
          <a:xfrm>
            <a:off x="168405" y="53577"/>
            <a:ext cx="7856065" cy="8344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65520" bIns="0" numCol="1" anchor="ctr" anchorCtr="0" compatLnSpc="1">
            <a:prstTxWarp prst="textNoShape">
              <a:avLst/>
            </a:prstTxWarp>
          </a:bodyPr>
          <a:lstStyle/>
          <a:p>
            <a:pPr lvl="0"/>
            <a:endParaRPr lang="en-CA" noProof="1"/>
          </a:p>
        </p:txBody>
      </p:sp>
      <p:sp>
        <p:nvSpPr>
          <p:cNvPr id="8" name="OfficeCode" hidden="1"/>
          <p:cNvSpPr txBox="1"/>
          <p:nvPr userDrawn="1">
            <p:custDataLst>
              <p:tags r:id="rId13"/>
            </p:custDataLst>
          </p:nvPr>
        </p:nvSpPr>
        <p:spPr>
          <a:xfrm>
            <a:off x="8265549" y="6655843"/>
            <a:ext cx="175748" cy="76944"/>
          </a:xfrm>
          <a:prstGeom prst="rect">
            <a:avLst/>
          </a:prstGeom>
          <a:noFill/>
        </p:spPr>
        <p:txBody>
          <a:bodyPr vert="horz" wrap="none" lIns="32760" tIns="0" rIns="0" bIns="0" rtlCol="0" anchor="ctr">
            <a:spAutoFit/>
          </a:bodyPr>
          <a:lstStyle/>
          <a:p>
            <a:pPr defTabSz="893014"/>
            <a:r>
              <a:rPr lang="ru-RU" sz="500" dirty="0">
                <a:solidFill>
                  <a:srgbClr val="000000"/>
                </a:solidFill>
                <a:latin typeface="Verdana"/>
              </a:rPr>
              <a:t>MSC</a:t>
            </a:r>
          </a:p>
        </p:txBody>
      </p:sp>
    </p:spTree>
    <p:custDataLst>
      <p:custData r:id="rId9"/>
      <p:custData r:id="rId10"/>
    </p:custDataLst>
    <p:extLst>
      <p:ext uri="{BB962C8B-B14F-4D97-AF65-F5344CB8AC3E}">
        <p14:creationId xmlns:p14="http://schemas.microsoft.com/office/powerpoint/2010/main" val="118362574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93" r:id="rId1"/>
    <p:sldLayoutId id="2147483994" r:id="rId2"/>
    <p:sldLayoutId id="2147483995" r:id="rId3"/>
    <p:sldLayoutId id="2147483996" r:id="rId4"/>
    <p:sldLayoutId id="2147483997" r:id="rId5"/>
    <p:sldLayoutId id="2147483998" r:id="rId6"/>
    <p:sldLayoutId id="2147483999" r:id="rId7"/>
  </p:sldLayoutIdLst>
  <p:hf sldNum="0" hdr="0" ftr="0" dt="0"/>
  <p:txStyles>
    <p:titleStyle>
      <a:lvl1pPr algn="l" defTabSz="893014" rtl="0" eaLnBrk="1" latinLnBrk="0" hangingPunct="1">
        <a:spcBef>
          <a:spcPct val="0"/>
        </a:spcBef>
        <a:buNone/>
        <a:defRPr sz="25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47031" marR="0" indent="-247031" algn="l" defTabSz="892778" rtl="0" eaLnBrk="1" fontAlgn="base" latinLnBrk="0" hangingPunct="1">
        <a:lnSpc>
          <a:spcPct val="100000"/>
        </a:lnSpc>
        <a:spcBef>
          <a:spcPct val="40000"/>
        </a:spcBef>
        <a:spcAft>
          <a:spcPct val="0"/>
        </a:spcAft>
        <a:buClr>
          <a:schemeClr val="tx1"/>
        </a:buClr>
        <a:buSzPts val="2400"/>
        <a:buFont typeface="Verdana" pitchFamily="34" charset="0"/>
        <a:buChar char="•"/>
        <a:tabLst/>
        <a:defRPr kumimoji="0" lang="en-US" altLang="zh-CN" sz="1800" b="0" i="0" u="none" strike="noStrike" kern="1200" cap="none" spc="0" normalizeH="0" baseline="0" noProof="1">
          <a:ln>
            <a:noFill/>
          </a:ln>
          <a:solidFill>
            <a:schemeClr val="accent1">
              <a:lumMod val="50000"/>
            </a:schemeClr>
          </a:solidFill>
          <a:effectLst/>
          <a:uLnTx/>
          <a:uFillTx/>
          <a:latin typeface="+mn-lt"/>
          <a:ea typeface="+mn-ea"/>
          <a:cs typeface="+mn-cs"/>
        </a:defRPr>
      </a:lvl1pPr>
      <a:lvl2pPr marL="522954" marR="0" indent="-108347" algn="l" defTabSz="892778" rtl="0" eaLnBrk="1" fontAlgn="base" latinLnBrk="0" hangingPunct="1">
        <a:lnSpc>
          <a:spcPct val="100000"/>
        </a:lnSpc>
        <a:spcBef>
          <a:spcPct val="20000"/>
        </a:spcBef>
        <a:spcAft>
          <a:spcPct val="0"/>
        </a:spcAft>
        <a:buClr>
          <a:schemeClr val="tx1"/>
        </a:buClr>
        <a:buSzPts val="2200"/>
        <a:buFont typeface="Verdana"/>
        <a:buChar char="-"/>
        <a:tabLst/>
        <a:defRPr lang="en-CA" altLang="zh-CN" sz="1600" kern="1200" baseline="0" noProof="1">
          <a:solidFill>
            <a:schemeClr val="accent1">
              <a:lumMod val="50000"/>
            </a:schemeClr>
          </a:solidFill>
          <a:latin typeface="+mn-lt"/>
          <a:ea typeface="+mn-ea"/>
          <a:cs typeface="+mn-cs"/>
        </a:defRPr>
      </a:lvl2pPr>
      <a:lvl3pPr marL="957787" marR="0" indent="-261478" algn="l" defTabSz="892778" rtl="0" eaLnBrk="1" fontAlgn="base" latinLnBrk="0" hangingPunct="1">
        <a:lnSpc>
          <a:spcPct val="100000"/>
        </a:lnSpc>
        <a:spcBef>
          <a:spcPct val="20000"/>
        </a:spcBef>
        <a:spcAft>
          <a:spcPct val="0"/>
        </a:spcAft>
        <a:buClr>
          <a:schemeClr val="tx1"/>
        </a:buClr>
        <a:buSzPts val="2200"/>
        <a:buFont typeface="Marlett" pitchFamily="2" charset="2"/>
        <a:buChar char="8"/>
        <a:tabLst/>
        <a:defRPr lang="zh-CN" altLang="en-US" sz="1600" kern="1200" noProof="1">
          <a:solidFill>
            <a:schemeClr val="accent1">
              <a:lumMod val="50000"/>
            </a:schemeClr>
          </a:solidFill>
          <a:latin typeface="+mn-lt"/>
          <a:ea typeface="+mn-ea"/>
          <a:cs typeface="+mn-cs"/>
        </a:defRPr>
      </a:lvl3pPr>
      <a:lvl4pPr marL="1323045" marR="0" indent="-191384" algn="l" defTabSz="893014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>
          <a:schemeClr val="tx1"/>
        </a:buClr>
        <a:buSzTx/>
        <a:buFont typeface="Verdana" pitchFamily="34" charset="0"/>
        <a:buChar char="-"/>
        <a:tabLst/>
        <a:defRPr lang="en-CA" altLang="zh-CN" sz="1600" kern="1200">
          <a:solidFill>
            <a:schemeClr val="accent1">
              <a:lumMod val="50000"/>
            </a:schemeClr>
          </a:solidFill>
          <a:latin typeface="+mn-lt"/>
          <a:ea typeface="+mn-ea"/>
          <a:cs typeface="+mn-cs"/>
        </a:defRPr>
      </a:lvl4pPr>
      <a:lvl5pPr marL="2009282" indent="-223254" algn="l" defTabSz="893014" rtl="0" eaLnBrk="1" latinLnBrk="0" hangingPunct="1">
        <a:spcBef>
          <a:spcPct val="20000"/>
        </a:spcBef>
        <a:buFont typeface="Arial" pitchFamily="34" charset="0"/>
        <a:buChar char="»"/>
        <a:defRPr sz="2200" kern="1200">
          <a:solidFill>
            <a:schemeClr val="tx1"/>
          </a:solidFill>
          <a:latin typeface="Verdana" pitchFamily="34" charset="0"/>
          <a:ea typeface="+mn-ea"/>
          <a:cs typeface="+mn-cs"/>
        </a:defRPr>
      </a:lvl5pPr>
      <a:lvl6pPr marL="2455789" indent="-223254" algn="l" defTabSz="893014" rtl="0" eaLnBrk="1" latinLnBrk="0" hangingPunct="1">
        <a:spcBef>
          <a:spcPct val="20000"/>
        </a:spcBef>
        <a:buFont typeface="Arial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902296" indent="-223254" algn="l" defTabSz="893014" rtl="0" eaLnBrk="1" latinLnBrk="0" hangingPunct="1">
        <a:spcBef>
          <a:spcPct val="20000"/>
        </a:spcBef>
        <a:buFont typeface="Arial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348803" indent="-223254" algn="l" defTabSz="893014" rtl="0" eaLnBrk="1" latinLnBrk="0" hangingPunct="1">
        <a:spcBef>
          <a:spcPct val="20000"/>
        </a:spcBef>
        <a:buFont typeface="Arial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795310" indent="-223254" algn="l" defTabSz="893014" rtl="0" eaLnBrk="1" latinLnBrk="0" hangingPunct="1">
        <a:spcBef>
          <a:spcPct val="20000"/>
        </a:spcBef>
        <a:buFont typeface="Arial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93014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446507" algn="l" defTabSz="89301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893014" algn="l" defTabSz="89301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339521" algn="l" defTabSz="89301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786028" algn="l" defTabSz="89301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232535" algn="l" defTabSz="89301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679042" algn="l" defTabSz="89301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3125549" algn="l" defTabSz="89301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572056" algn="l" defTabSz="89301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 userDrawn="1"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78253362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034" name="think-cell Slide" r:id="rId12" imgW="270" imgH="270" progId="">
                  <p:embed/>
                </p:oleObj>
              </mc:Choice>
              <mc:Fallback>
                <p:oleObj name="think-cell Slide" r:id="rId12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435" name="Rectangle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386557" y="1465263"/>
            <a:ext cx="8370887" cy="434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906267" name="Line 27"/>
          <p:cNvSpPr>
            <a:spLocks noChangeShapeType="1"/>
          </p:cNvSpPr>
          <p:nvPr/>
        </p:nvSpPr>
        <p:spPr bwMode="auto">
          <a:xfrm>
            <a:off x="252000" y="903288"/>
            <a:ext cx="8640000" cy="0"/>
          </a:xfrm>
          <a:prstGeom prst="line">
            <a:avLst/>
          </a:prstGeom>
          <a:noFill/>
          <a:ln w="28575">
            <a:solidFill>
              <a:srgbClr val="016EB3"/>
            </a:solidFill>
            <a:round/>
            <a:headEnd/>
            <a:tailEnd/>
          </a:ln>
          <a:effectLst/>
        </p:spPr>
        <p:txBody>
          <a:bodyPr wrap="none"/>
          <a:lstStyle/>
          <a:p>
            <a:pPr defTabSz="912804" fontAlgn="base">
              <a:spcBef>
                <a:spcPct val="50000"/>
              </a:spcBef>
              <a:spcAft>
                <a:spcPct val="0"/>
              </a:spcAft>
              <a:defRPr/>
            </a:pPr>
            <a:endParaRPr kumimoji="1" lang="ru-RU" sz="1000" dirty="0">
              <a:solidFill>
                <a:srgbClr val="002766"/>
              </a:solidFill>
              <a:latin typeface="Tahoma" pitchFamily="34" charset="0"/>
              <a:ea typeface="PMingLiU" pitchFamily="18" charset="-120"/>
            </a:endParaRPr>
          </a:p>
        </p:txBody>
      </p:sp>
      <p:sp>
        <p:nvSpPr>
          <p:cNvPr id="9" name="GS Doctop Placeholder" hidden="1"/>
          <p:cNvSpPr txBox="1"/>
          <p:nvPr/>
        </p:nvSpPr>
        <p:spPr>
          <a:xfrm>
            <a:off x="546100" y="0"/>
            <a:ext cx="5651500" cy="215444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pPr defTabSz="912804" fontAlgn="base">
              <a:spcBef>
                <a:spcPct val="0"/>
              </a:spcBef>
              <a:spcAft>
                <a:spcPct val="0"/>
              </a:spcAft>
            </a:pPr>
            <a:r>
              <a:rPr kumimoji="1" lang="en-GB" sz="800" dirty="0" smtClean="0">
                <a:solidFill>
                  <a:srgbClr val="002766"/>
                </a:solidFill>
                <a:ea typeface="PMingLiU" pitchFamily="18" charset="-120"/>
              </a:rPr>
              <a:t>ALMAZ2013\IPO\Roadshow\October Roadshow\Presentation\13 10 13 Roadshow Presentation RUS vF.pptx</a:t>
            </a:r>
            <a:endParaRPr kumimoji="1" lang="en-US" sz="800" dirty="0">
              <a:solidFill>
                <a:srgbClr val="002766"/>
              </a:solidFill>
              <a:ea typeface="PMingLiU" pitchFamily="18" charset="-120"/>
            </a:endParaRPr>
          </a:p>
        </p:txBody>
      </p:sp>
      <p:sp>
        <p:nvSpPr>
          <p:cNvPr id="8" name="Прямоугольник 7"/>
          <p:cNvSpPr/>
          <p:nvPr/>
        </p:nvSpPr>
        <p:spPr bwMode="auto">
          <a:xfrm>
            <a:off x="8671460" y="6516000"/>
            <a:ext cx="468000" cy="219075"/>
          </a:xfrm>
          <a:prstGeom prst="rect">
            <a:avLst/>
          </a:prstGeom>
          <a:solidFill>
            <a:srgbClr val="016EB3"/>
          </a:solidFill>
          <a:ln w="9525" cap="flat" cmpd="sng" algn="ctr">
            <a:solidFill>
              <a:srgbClr val="016EB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defTabSz="912804" fontAlgn="base">
              <a:spcBef>
                <a:spcPct val="50000"/>
              </a:spcBef>
              <a:spcAft>
                <a:spcPct val="0"/>
              </a:spcAft>
            </a:pPr>
            <a:endParaRPr kumimoji="1" lang="ru-RU" sz="1000" dirty="0" smtClean="0">
              <a:solidFill>
                <a:srgbClr val="0072B6"/>
              </a:solidFill>
              <a:latin typeface="Tahoma" pitchFamily="34" charset="0"/>
              <a:ea typeface="PMingLiU" pitchFamily="18" charset="-120"/>
            </a:endParaRPr>
          </a:p>
        </p:txBody>
      </p:sp>
      <p:sp>
        <p:nvSpPr>
          <p:cNvPr id="10" name="Slide Number Placeholder 8"/>
          <p:cNvSpPr>
            <a:spLocks noGrp="1"/>
          </p:cNvSpPr>
          <p:nvPr>
            <p:ph type="sldNum" sz="quarter" idx="4"/>
          </p:nvPr>
        </p:nvSpPr>
        <p:spPr>
          <a:xfrm>
            <a:off x="8681890" y="6521124"/>
            <a:ext cx="402094" cy="217518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chemeClr val="bg1"/>
                </a:solidFill>
                <a:latin typeface="+mj-lt"/>
              </a:defRPr>
            </a:lvl1pPr>
          </a:lstStyle>
          <a:p>
            <a:pPr defTabSz="912804" fontAlgn="base">
              <a:spcBef>
                <a:spcPct val="0"/>
              </a:spcBef>
              <a:spcAft>
                <a:spcPct val="0"/>
              </a:spcAft>
            </a:pPr>
            <a:fld id="{8E141AF1-466E-4D9F-B74C-45FFEB47CA13}" type="slidenum">
              <a:rPr kumimoji="1" lang="de-DE" smtClean="0">
                <a:solidFill>
                  <a:srgbClr val="FFFFFF"/>
                </a:solidFill>
                <a:ea typeface="PMingLiU" pitchFamily="18" charset="-120"/>
              </a:rPr>
              <a:pPr defTabSz="912804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kumimoji="1" lang="de-DE" dirty="0">
              <a:solidFill>
                <a:srgbClr val="FFFFFF"/>
              </a:solidFill>
              <a:ea typeface="PMingLiU" pitchFamily="18" charset="-120"/>
            </a:endParaRPr>
          </a:p>
        </p:txBody>
      </p:sp>
    </p:spTree>
    <p:extLst>
      <p:ext uri="{BB962C8B-B14F-4D97-AF65-F5344CB8AC3E}">
        <p14:creationId xmlns:p14="http://schemas.microsoft.com/office/powerpoint/2010/main" val="365413090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01" r:id="rId1"/>
    <p:sldLayoutId id="2147484002" r:id="rId2"/>
    <p:sldLayoutId id="2147484003" r:id="rId3"/>
    <p:sldLayoutId id="2147484004" r:id="rId4"/>
    <p:sldLayoutId id="2147484005" r:id="rId5"/>
    <p:sldLayoutId id="2147484006" r:id="rId6"/>
    <p:sldLayoutId id="2147484007" r:id="rId7"/>
    <p:sldLayoutId id="2147484008" r:id="rId8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500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>
          <a:solidFill>
            <a:schemeClr val="tx2"/>
          </a:solidFill>
          <a:latin typeface="Arial" charset="0"/>
          <a:cs typeface="Arial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>
          <a:solidFill>
            <a:schemeClr val="tx2"/>
          </a:solidFill>
          <a:latin typeface="Arial" charset="0"/>
          <a:cs typeface="Arial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>
          <a:solidFill>
            <a:schemeClr val="tx2"/>
          </a:solidFill>
          <a:latin typeface="Arial" charset="0"/>
          <a:cs typeface="Arial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>
          <a:solidFill>
            <a:schemeClr val="tx2"/>
          </a:solidFill>
          <a:latin typeface="Arial" charset="0"/>
          <a:cs typeface="Arial" charset="0"/>
        </a:defRPr>
      </a:lvl5pPr>
      <a:lvl6pPr marL="4572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>
          <a:solidFill>
            <a:schemeClr val="tx2"/>
          </a:solidFill>
          <a:latin typeface="Arial" charset="0"/>
          <a:cs typeface="Arial" charset="0"/>
        </a:defRPr>
      </a:lvl6pPr>
      <a:lvl7pPr marL="9144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>
          <a:solidFill>
            <a:schemeClr val="tx2"/>
          </a:solidFill>
          <a:latin typeface="Arial" charset="0"/>
          <a:cs typeface="Arial" charset="0"/>
        </a:defRPr>
      </a:lvl7pPr>
      <a:lvl8pPr marL="13716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>
          <a:solidFill>
            <a:schemeClr val="tx2"/>
          </a:solidFill>
          <a:latin typeface="Arial" charset="0"/>
          <a:cs typeface="Arial" charset="0"/>
        </a:defRPr>
      </a:lvl8pPr>
      <a:lvl9pPr marL="18288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marL="257175" indent="-257175" algn="l" rtl="0" eaLnBrk="1" fontAlgn="base" hangingPunct="1">
        <a:lnSpc>
          <a:spcPct val="110000"/>
        </a:lnSpc>
        <a:spcBef>
          <a:spcPct val="75000"/>
        </a:spcBef>
        <a:spcAft>
          <a:spcPct val="0"/>
        </a:spcAft>
        <a:buClr>
          <a:srgbClr val="3376D9"/>
        </a:buClr>
        <a:buSzPct val="120000"/>
        <a:buFont typeface="Wingdings" pitchFamily="2" charset="2"/>
        <a:buBlip>
          <a:blip r:embed="rId14"/>
        </a:buBlip>
        <a:defRPr sz="1200">
          <a:solidFill>
            <a:schemeClr val="tx1"/>
          </a:solidFill>
          <a:latin typeface="+mn-lt"/>
          <a:ea typeface="+mn-ea"/>
          <a:cs typeface="+mn-cs"/>
        </a:defRPr>
      </a:lvl1pPr>
      <a:lvl2pPr marL="682625" indent="-423863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tx2"/>
        </a:buClr>
        <a:buFont typeface="Arial" pitchFamily="34" charset="0"/>
        <a:buBlip>
          <a:blip r:embed="rId15"/>
        </a:buBlip>
        <a:defRPr sz="1100">
          <a:solidFill>
            <a:schemeClr val="tx1"/>
          </a:solidFill>
          <a:latin typeface="+mn-lt"/>
          <a:cs typeface="+mn-cs"/>
        </a:defRPr>
      </a:lvl2pPr>
      <a:lvl3pPr marL="977900" indent="-293688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bg2"/>
        </a:buClr>
        <a:buSzPct val="85000"/>
        <a:buFont typeface="Wingdings 3" pitchFamily="18" charset="2"/>
        <a:buChar char=""/>
        <a:defRPr sz="1100">
          <a:solidFill>
            <a:schemeClr val="tx1"/>
          </a:solidFill>
          <a:latin typeface="+mn-lt"/>
          <a:cs typeface="+mn-cs"/>
        </a:defRPr>
      </a:lvl3pPr>
      <a:lvl4pPr marL="1262063" indent="-282575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tx2"/>
        </a:buClr>
        <a:buFont typeface="Wingdings" pitchFamily="2" charset="2"/>
        <a:buChar char="w"/>
        <a:defRPr sz="1600">
          <a:solidFill>
            <a:schemeClr val="tx1"/>
          </a:solidFill>
          <a:latin typeface="+mn-lt"/>
          <a:cs typeface="+mn-cs"/>
        </a:defRPr>
      </a:lvl4pPr>
      <a:lvl5pPr marL="1506538" indent="-242888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tx2"/>
        </a:buClr>
        <a:buFont typeface="Arial" pitchFamily="34" charset="0"/>
        <a:buChar char="–"/>
        <a:defRPr sz="1600">
          <a:solidFill>
            <a:schemeClr val="tx1"/>
          </a:solidFill>
          <a:latin typeface="+mn-lt"/>
          <a:cs typeface="+mn-cs"/>
        </a:defRPr>
      </a:lvl5pPr>
      <a:lvl6pPr marL="1963738" indent="-242888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tx2"/>
        </a:buClr>
        <a:buFont typeface="Arial" charset="0"/>
        <a:buChar char="–"/>
        <a:defRPr sz="1600">
          <a:solidFill>
            <a:schemeClr val="tx1"/>
          </a:solidFill>
          <a:latin typeface="+mn-lt"/>
          <a:cs typeface="+mn-cs"/>
        </a:defRPr>
      </a:lvl6pPr>
      <a:lvl7pPr marL="2420938" indent="-242888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tx2"/>
        </a:buClr>
        <a:buFont typeface="Arial" charset="0"/>
        <a:buChar char="–"/>
        <a:defRPr sz="1600">
          <a:solidFill>
            <a:schemeClr val="tx1"/>
          </a:solidFill>
          <a:latin typeface="+mn-lt"/>
          <a:cs typeface="+mn-cs"/>
        </a:defRPr>
      </a:lvl7pPr>
      <a:lvl8pPr marL="2878138" indent="-242888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tx2"/>
        </a:buClr>
        <a:buFont typeface="Arial" charset="0"/>
        <a:buChar char="–"/>
        <a:defRPr sz="1600">
          <a:solidFill>
            <a:schemeClr val="tx1"/>
          </a:solidFill>
          <a:latin typeface="+mn-lt"/>
          <a:cs typeface="+mn-cs"/>
        </a:defRPr>
      </a:lvl8pPr>
      <a:lvl9pPr marL="3335338" indent="-242888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tx2"/>
        </a:buClr>
        <a:buFont typeface="Arial" charset="0"/>
        <a:buChar char="–"/>
        <a:defRPr sz="16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 userDrawn="1"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385704132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58" name="think-cell Slide" r:id="rId12" imgW="270" imgH="270" progId="">
                  <p:embed/>
                </p:oleObj>
              </mc:Choice>
              <mc:Fallback>
                <p:oleObj name="think-cell Slide" r:id="rId12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435" name="Rectangle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386557" y="1465263"/>
            <a:ext cx="8370887" cy="434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906267" name="Line 27"/>
          <p:cNvSpPr>
            <a:spLocks noChangeShapeType="1"/>
          </p:cNvSpPr>
          <p:nvPr/>
        </p:nvSpPr>
        <p:spPr bwMode="auto">
          <a:xfrm>
            <a:off x="252000" y="903288"/>
            <a:ext cx="8640000" cy="0"/>
          </a:xfrm>
          <a:prstGeom prst="line">
            <a:avLst/>
          </a:prstGeom>
          <a:noFill/>
          <a:ln w="28575">
            <a:solidFill>
              <a:srgbClr val="016EB3"/>
            </a:solidFill>
            <a:round/>
            <a:headEnd/>
            <a:tailEnd/>
          </a:ln>
          <a:effectLst/>
        </p:spPr>
        <p:txBody>
          <a:bodyPr wrap="none"/>
          <a:lstStyle/>
          <a:p>
            <a:pPr defTabSz="912804" fontAlgn="base">
              <a:spcBef>
                <a:spcPct val="50000"/>
              </a:spcBef>
              <a:spcAft>
                <a:spcPct val="0"/>
              </a:spcAft>
              <a:defRPr/>
            </a:pPr>
            <a:endParaRPr kumimoji="1" lang="ru-RU" sz="1000" dirty="0">
              <a:solidFill>
                <a:srgbClr val="002766"/>
              </a:solidFill>
              <a:latin typeface="Tahoma" pitchFamily="34" charset="0"/>
              <a:ea typeface="PMingLiU" pitchFamily="18" charset="-120"/>
            </a:endParaRPr>
          </a:p>
        </p:txBody>
      </p:sp>
      <p:sp>
        <p:nvSpPr>
          <p:cNvPr id="9" name="GS Doctop Placeholder" hidden="1"/>
          <p:cNvSpPr txBox="1"/>
          <p:nvPr/>
        </p:nvSpPr>
        <p:spPr>
          <a:xfrm>
            <a:off x="546100" y="0"/>
            <a:ext cx="5651500" cy="215444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pPr defTabSz="912804" fontAlgn="base">
              <a:spcBef>
                <a:spcPct val="0"/>
              </a:spcBef>
              <a:spcAft>
                <a:spcPct val="0"/>
              </a:spcAft>
            </a:pPr>
            <a:r>
              <a:rPr kumimoji="1" lang="en-GB" sz="800" dirty="0" smtClean="0">
                <a:solidFill>
                  <a:srgbClr val="002766"/>
                </a:solidFill>
                <a:ea typeface="PMingLiU" pitchFamily="18" charset="-120"/>
              </a:rPr>
              <a:t>ALMAZ2013\IPO\Roadshow\October Roadshow\Presentation\13 10 13 Roadshow Presentation RUS vF.pptx</a:t>
            </a:r>
            <a:endParaRPr kumimoji="1" lang="en-US" sz="800" dirty="0">
              <a:solidFill>
                <a:srgbClr val="002766"/>
              </a:solidFill>
              <a:ea typeface="PMingLiU" pitchFamily="18" charset="-120"/>
            </a:endParaRPr>
          </a:p>
        </p:txBody>
      </p:sp>
      <p:sp>
        <p:nvSpPr>
          <p:cNvPr id="8" name="Прямоугольник 7"/>
          <p:cNvSpPr/>
          <p:nvPr/>
        </p:nvSpPr>
        <p:spPr bwMode="auto">
          <a:xfrm>
            <a:off x="8671460" y="6516000"/>
            <a:ext cx="468000" cy="219075"/>
          </a:xfrm>
          <a:prstGeom prst="rect">
            <a:avLst/>
          </a:prstGeom>
          <a:solidFill>
            <a:srgbClr val="016EB3"/>
          </a:solidFill>
          <a:ln w="9525" cap="flat" cmpd="sng" algn="ctr">
            <a:solidFill>
              <a:srgbClr val="016EB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defTabSz="912804" fontAlgn="base">
              <a:spcBef>
                <a:spcPct val="50000"/>
              </a:spcBef>
              <a:spcAft>
                <a:spcPct val="0"/>
              </a:spcAft>
            </a:pPr>
            <a:endParaRPr kumimoji="1" lang="ru-RU" sz="1000" dirty="0" smtClean="0">
              <a:solidFill>
                <a:srgbClr val="0072B6"/>
              </a:solidFill>
              <a:latin typeface="Tahoma" pitchFamily="34" charset="0"/>
              <a:ea typeface="PMingLiU" pitchFamily="18" charset="-120"/>
            </a:endParaRPr>
          </a:p>
        </p:txBody>
      </p:sp>
      <p:sp>
        <p:nvSpPr>
          <p:cNvPr id="10" name="Slide Number Placeholder 8"/>
          <p:cNvSpPr>
            <a:spLocks noGrp="1"/>
          </p:cNvSpPr>
          <p:nvPr>
            <p:ph type="sldNum" sz="quarter" idx="4"/>
          </p:nvPr>
        </p:nvSpPr>
        <p:spPr>
          <a:xfrm>
            <a:off x="8681890" y="6521124"/>
            <a:ext cx="402094" cy="217518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chemeClr val="bg1"/>
                </a:solidFill>
                <a:latin typeface="+mj-lt"/>
              </a:defRPr>
            </a:lvl1pPr>
          </a:lstStyle>
          <a:p>
            <a:pPr defTabSz="912804" fontAlgn="base">
              <a:spcBef>
                <a:spcPct val="0"/>
              </a:spcBef>
              <a:spcAft>
                <a:spcPct val="0"/>
              </a:spcAft>
            </a:pPr>
            <a:fld id="{8E141AF1-466E-4D9F-B74C-45FFEB47CA13}" type="slidenum">
              <a:rPr kumimoji="1" lang="de-DE" smtClean="0">
                <a:solidFill>
                  <a:srgbClr val="FFFFFF"/>
                </a:solidFill>
                <a:ea typeface="PMingLiU" pitchFamily="18" charset="-120"/>
              </a:rPr>
              <a:pPr defTabSz="912804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kumimoji="1" lang="de-DE" dirty="0">
              <a:solidFill>
                <a:srgbClr val="FFFFFF"/>
              </a:solidFill>
              <a:ea typeface="PMingLiU" pitchFamily="18" charset="-120"/>
            </a:endParaRPr>
          </a:p>
        </p:txBody>
      </p:sp>
    </p:spTree>
    <p:extLst>
      <p:ext uri="{BB962C8B-B14F-4D97-AF65-F5344CB8AC3E}">
        <p14:creationId xmlns:p14="http://schemas.microsoft.com/office/powerpoint/2010/main" val="30803350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10" r:id="rId1"/>
    <p:sldLayoutId id="2147484011" r:id="rId2"/>
    <p:sldLayoutId id="2147484012" r:id="rId3"/>
    <p:sldLayoutId id="2147484013" r:id="rId4"/>
    <p:sldLayoutId id="2147484014" r:id="rId5"/>
    <p:sldLayoutId id="2147484015" r:id="rId6"/>
    <p:sldLayoutId id="2147484016" r:id="rId7"/>
    <p:sldLayoutId id="2147484017" r:id="rId8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500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>
          <a:solidFill>
            <a:schemeClr val="tx2"/>
          </a:solidFill>
          <a:latin typeface="Arial" charset="0"/>
          <a:cs typeface="Arial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>
          <a:solidFill>
            <a:schemeClr val="tx2"/>
          </a:solidFill>
          <a:latin typeface="Arial" charset="0"/>
          <a:cs typeface="Arial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>
          <a:solidFill>
            <a:schemeClr val="tx2"/>
          </a:solidFill>
          <a:latin typeface="Arial" charset="0"/>
          <a:cs typeface="Arial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>
          <a:solidFill>
            <a:schemeClr val="tx2"/>
          </a:solidFill>
          <a:latin typeface="Arial" charset="0"/>
          <a:cs typeface="Arial" charset="0"/>
        </a:defRPr>
      </a:lvl5pPr>
      <a:lvl6pPr marL="4572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>
          <a:solidFill>
            <a:schemeClr val="tx2"/>
          </a:solidFill>
          <a:latin typeface="Arial" charset="0"/>
          <a:cs typeface="Arial" charset="0"/>
        </a:defRPr>
      </a:lvl6pPr>
      <a:lvl7pPr marL="9144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>
          <a:solidFill>
            <a:schemeClr val="tx2"/>
          </a:solidFill>
          <a:latin typeface="Arial" charset="0"/>
          <a:cs typeface="Arial" charset="0"/>
        </a:defRPr>
      </a:lvl7pPr>
      <a:lvl8pPr marL="13716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>
          <a:solidFill>
            <a:schemeClr val="tx2"/>
          </a:solidFill>
          <a:latin typeface="Arial" charset="0"/>
          <a:cs typeface="Arial" charset="0"/>
        </a:defRPr>
      </a:lvl8pPr>
      <a:lvl9pPr marL="18288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marL="257175" indent="-257175" algn="l" rtl="0" eaLnBrk="1" fontAlgn="base" hangingPunct="1">
        <a:lnSpc>
          <a:spcPct val="110000"/>
        </a:lnSpc>
        <a:spcBef>
          <a:spcPct val="75000"/>
        </a:spcBef>
        <a:spcAft>
          <a:spcPct val="0"/>
        </a:spcAft>
        <a:buClr>
          <a:srgbClr val="3376D9"/>
        </a:buClr>
        <a:buSzPct val="120000"/>
        <a:buFont typeface="Wingdings" pitchFamily="2" charset="2"/>
        <a:buBlip>
          <a:blip r:embed="rId14"/>
        </a:buBlip>
        <a:defRPr sz="1200">
          <a:solidFill>
            <a:schemeClr val="tx1"/>
          </a:solidFill>
          <a:latin typeface="+mn-lt"/>
          <a:ea typeface="+mn-ea"/>
          <a:cs typeface="+mn-cs"/>
        </a:defRPr>
      </a:lvl1pPr>
      <a:lvl2pPr marL="682625" indent="-423863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tx2"/>
        </a:buClr>
        <a:buFont typeface="Arial" pitchFamily="34" charset="0"/>
        <a:buBlip>
          <a:blip r:embed="rId15"/>
        </a:buBlip>
        <a:defRPr sz="1100">
          <a:solidFill>
            <a:schemeClr val="tx1"/>
          </a:solidFill>
          <a:latin typeface="+mn-lt"/>
          <a:cs typeface="+mn-cs"/>
        </a:defRPr>
      </a:lvl2pPr>
      <a:lvl3pPr marL="977900" indent="-293688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bg2"/>
        </a:buClr>
        <a:buSzPct val="85000"/>
        <a:buFont typeface="Wingdings 3" pitchFamily="18" charset="2"/>
        <a:buChar char=""/>
        <a:defRPr sz="1100">
          <a:solidFill>
            <a:schemeClr val="tx1"/>
          </a:solidFill>
          <a:latin typeface="+mn-lt"/>
          <a:cs typeface="+mn-cs"/>
        </a:defRPr>
      </a:lvl3pPr>
      <a:lvl4pPr marL="1262063" indent="-282575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tx2"/>
        </a:buClr>
        <a:buFont typeface="Wingdings" pitchFamily="2" charset="2"/>
        <a:buChar char="w"/>
        <a:defRPr sz="1600">
          <a:solidFill>
            <a:schemeClr val="tx1"/>
          </a:solidFill>
          <a:latin typeface="+mn-lt"/>
          <a:cs typeface="+mn-cs"/>
        </a:defRPr>
      </a:lvl4pPr>
      <a:lvl5pPr marL="1506538" indent="-242888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tx2"/>
        </a:buClr>
        <a:buFont typeface="Arial" pitchFamily="34" charset="0"/>
        <a:buChar char="–"/>
        <a:defRPr sz="1600">
          <a:solidFill>
            <a:schemeClr val="tx1"/>
          </a:solidFill>
          <a:latin typeface="+mn-lt"/>
          <a:cs typeface="+mn-cs"/>
        </a:defRPr>
      </a:lvl5pPr>
      <a:lvl6pPr marL="1963738" indent="-242888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tx2"/>
        </a:buClr>
        <a:buFont typeface="Arial" charset="0"/>
        <a:buChar char="–"/>
        <a:defRPr sz="1600">
          <a:solidFill>
            <a:schemeClr val="tx1"/>
          </a:solidFill>
          <a:latin typeface="+mn-lt"/>
          <a:cs typeface="+mn-cs"/>
        </a:defRPr>
      </a:lvl6pPr>
      <a:lvl7pPr marL="2420938" indent="-242888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tx2"/>
        </a:buClr>
        <a:buFont typeface="Arial" charset="0"/>
        <a:buChar char="–"/>
        <a:defRPr sz="1600">
          <a:solidFill>
            <a:schemeClr val="tx1"/>
          </a:solidFill>
          <a:latin typeface="+mn-lt"/>
          <a:cs typeface="+mn-cs"/>
        </a:defRPr>
      </a:lvl7pPr>
      <a:lvl8pPr marL="2878138" indent="-242888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tx2"/>
        </a:buClr>
        <a:buFont typeface="Arial" charset="0"/>
        <a:buChar char="–"/>
        <a:defRPr sz="1600">
          <a:solidFill>
            <a:schemeClr val="tx1"/>
          </a:solidFill>
          <a:latin typeface="+mn-lt"/>
          <a:cs typeface="+mn-cs"/>
        </a:defRPr>
      </a:lvl8pPr>
      <a:lvl9pPr marL="3335338" indent="-242888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tx2"/>
        </a:buClr>
        <a:buFont typeface="Arial" charset="0"/>
        <a:buChar char="–"/>
        <a:defRPr sz="16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 userDrawn="1"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1815544523"/>
              </p:ext>
            </p:extLst>
          </p:nvPr>
        </p:nvGraphicFramePr>
        <p:xfrm>
          <a:off x="1590" y="1611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340" name="think-cell Slide" r:id="rId12" imgW="270" imgH="270" progId="TCLayout.ActiveDocument.1">
                  <p:embed/>
                </p:oleObj>
              </mc:Choice>
              <mc:Fallback>
                <p:oleObj name="think-cell Slid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90" y="1611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435" name="Rectangle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386580" y="1465263"/>
            <a:ext cx="8370887" cy="434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906267" name="Line 27"/>
          <p:cNvSpPr>
            <a:spLocks noChangeShapeType="1"/>
          </p:cNvSpPr>
          <p:nvPr/>
        </p:nvSpPr>
        <p:spPr bwMode="auto">
          <a:xfrm>
            <a:off x="252000" y="903288"/>
            <a:ext cx="8640000" cy="0"/>
          </a:xfrm>
          <a:prstGeom prst="line">
            <a:avLst/>
          </a:prstGeom>
          <a:noFill/>
          <a:ln w="28575">
            <a:solidFill>
              <a:srgbClr val="016EB3"/>
            </a:solidFill>
            <a:round/>
            <a:headEnd/>
            <a:tailEnd/>
          </a:ln>
          <a:effectLst/>
        </p:spPr>
        <p:txBody>
          <a:bodyPr wrap="none" lIns="91243" tIns="45622" rIns="91243" bIns="45622"/>
          <a:lstStyle/>
          <a:p>
            <a:pPr fontAlgn="base">
              <a:spcBef>
                <a:spcPct val="50000"/>
              </a:spcBef>
              <a:spcAft>
                <a:spcPct val="0"/>
              </a:spcAft>
              <a:defRPr/>
            </a:pPr>
            <a:endParaRPr kumimoji="1" lang="ru-RU" sz="1000" dirty="0">
              <a:solidFill>
                <a:srgbClr val="002766"/>
              </a:solidFill>
              <a:latin typeface="Tahoma" pitchFamily="34" charset="0"/>
              <a:ea typeface="PMingLiU" pitchFamily="18" charset="-120"/>
            </a:endParaRPr>
          </a:p>
        </p:txBody>
      </p:sp>
      <p:sp>
        <p:nvSpPr>
          <p:cNvPr id="9" name="GS Doctop Placeholder" hidden="1"/>
          <p:cNvSpPr txBox="1"/>
          <p:nvPr/>
        </p:nvSpPr>
        <p:spPr>
          <a:xfrm>
            <a:off x="546102" y="17"/>
            <a:ext cx="5651500" cy="215246"/>
          </a:xfrm>
          <a:prstGeom prst="rect">
            <a:avLst/>
          </a:prstGeom>
          <a:noFill/>
        </p:spPr>
        <p:txBody>
          <a:bodyPr vert="horz" lIns="91243" tIns="45622" rIns="91243" bIns="45622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kumimoji="1" lang="en-GB" sz="800" smtClean="0">
                <a:solidFill>
                  <a:srgbClr val="002766"/>
                </a:solidFill>
                <a:ea typeface="PMingLiU" pitchFamily="18" charset="-120"/>
              </a:rPr>
              <a:t>ALMAZ2013\IPO\Roadshow\October Roadshow\Presentation\13 10 13 Roadshow Presentation RUS vF.pptx</a:t>
            </a:r>
            <a:endParaRPr kumimoji="1" lang="en-US" sz="800" dirty="0">
              <a:solidFill>
                <a:srgbClr val="002766"/>
              </a:solidFill>
              <a:ea typeface="PMingLiU" pitchFamily="18" charset="-120"/>
            </a:endParaRPr>
          </a:p>
        </p:txBody>
      </p:sp>
      <p:sp>
        <p:nvSpPr>
          <p:cNvPr id="8" name="Прямоугольник 7"/>
          <p:cNvSpPr/>
          <p:nvPr/>
        </p:nvSpPr>
        <p:spPr bwMode="auto">
          <a:xfrm>
            <a:off x="8671460" y="6516023"/>
            <a:ext cx="468000" cy="219075"/>
          </a:xfrm>
          <a:prstGeom prst="rect">
            <a:avLst/>
          </a:prstGeom>
          <a:solidFill>
            <a:srgbClr val="016EB3"/>
          </a:solidFill>
          <a:ln w="9525" cap="flat" cmpd="sng" algn="ctr">
            <a:solidFill>
              <a:srgbClr val="016EB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243" tIns="45622" rIns="91243" bIns="45622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</a:pPr>
            <a:endParaRPr kumimoji="1" lang="ru-RU" sz="1000" smtClean="0">
              <a:solidFill>
                <a:srgbClr val="0072B6"/>
              </a:solidFill>
              <a:latin typeface="Tahoma" pitchFamily="34" charset="0"/>
              <a:ea typeface="PMingLiU" pitchFamily="18" charset="-120"/>
            </a:endParaRPr>
          </a:p>
        </p:txBody>
      </p:sp>
      <p:sp>
        <p:nvSpPr>
          <p:cNvPr id="10" name="Slide Number Placeholder 8"/>
          <p:cNvSpPr>
            <a:spLocks noGrp="1"/>
          </p:cNvSpPr>
          <p:nvPr>
            <p:ph type="sldNum" sz="quarter" idx="4"/>
          </p:nvPr>
        </p:nvSpPr>
        <p:spPr>
          <a:xfrm>
            <a:off x="8681892" y="6521124"/>
            <a:ext cx="402094" cy="217518"/>
          </a:xfrm>
          <a:prstGeom prst="rect">
            <a:avLst/>
          </a:prstGeom>
        </p:spPr>
        <p:txBody>
          <a:bodyPr lIns="91243" tIns="45622" rIns="91243" bIns="45622"/>
          <a:lstStyle>
            <a:lvl1pPr>
              <a:defRPr sz="800">
                <a:solidFill>
                  <a:schemeClr val="bg1"/>
                </a:solidFill>
                <a:latin typeface="+mj-lt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8E141AF1-466E-4D9F-B74C-45FFEB47CA13}" type="slidenum">
              <a:rPr kumimoji="1" lang="de-DE" smtClean="0">
                <a:solidFill>
                  <a:srgbClr val="FFFFFF"/>
                </a:solidFill>
                <a:ea typeface="PMingLiU" pitchFamily="18" charset="-12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kumimoji="1" lang="de-DE" dirty="0">
              <a:solidFill>
                <a:srgbClr val="FFFFFF"/>
              </a:solidFill>
              <a:ea typeface="PMingLiU" pitchFamily="18" charset="-120"/>
            </a:endParaRPr>
          </a:p>
        </p:txBody>
      </p:sp>
    </p:spTree>
    <p:extLst>
      <p:ext uri="{BB962C8B-B14F-4D97-AF65-F5344CB8AC3E}">
        <p14:creationId xmlns:p14="http://schemas.microsoft.com/office/powerpoint/2010/main" val="26241474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3" r:id="rId1"/>
    <p:sldLayoutId id="2147483734" r:id="rId2"/>
    <p:sldLayoutId id="2147483735" r:id="rId3"/>
    <p:sldLayoutId id="2147483736" r:id="rId4"/>
    <p:sldLayoutId id="2147483737" r:id="rId5"/>
    <p:sldLayoutId id="2147483738" r:id="rId6"/>
    <p:sldLayoutId id="2147483739" r:id="rId7"/>
    <p:sldLayoutId id="2147483740" r:id="rId8"/>
  </p:sldLayoutIdLst>
  <mc:AlternateContent xmlns:mc="http://schemas.openxmlformats.org/markup-compatibility/2006" xmlns:p14="http://schemas.microsoft.com/office/powerpoint/2010/main">
    <mc:Choice Requires="p14">
      <p:transition spd="slow" p14:dur="1600">
        <p14:gallery dir="l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  <p:hf sldNum="0" hdr="0" ft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500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>
          <a:solidFill>
            <a:schemeClr val="tx2"/>
          </a:solidFill>
          <a:latin typeface="Arial" charset="0"/>
          <a:cs typeface="Arial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>
          <a:solidFill>
            <a:schemeClr val="tx2"/>
          </a:solidFill>
          <a:latin typeface="Arial" charset="0"/>
          <a:cs typeface="Arial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>
          <a:solidFill>
            <a:schemeClr val="tx2"/>
          </a:solidFill>
          <a:latin typeface="Arial" charset="0"/>
          <a:cs typeface="Arial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>
          <a:solidFill>
            <a:schemeClr val="tx2"/>
          </a:solidFill>
          <a:latin typeface="Arial" charset="0"/>
          <a:cs typeface="Arial" charset="0"/>
        </a:defRPr>
      </a:lvl5pPr>
      <a:lvl6pPr marL="456234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>
          <a:solidFill>
            <a:schemeClr val="tx2"/>
          </a:solidFill>
          <a:latin typeface="Arial" charset="0"/>
          <a:cs typeface="Arial" charset="0"/>
        </a:defRPr>
      </a:lvl6pPr>
      <a:lvl7pPr marL="912468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>
          <a:solidFill>
            <a:schemeClr val="tx2"/>
          </a:solidFill>
          <a:latin typeface="Arial" charset="0"/>
          <a:cs typeface="Arial" charset="0"/>
        </a:defRPr>
      </a:lvl7pPr>
      <a:lvl8pPr marL="13687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>
          <a:solidFill>
            <a:schemeClr val="tx2"/>
          </a:solidFill>
          <a:latin typeface="Arial" charset="0"/>
          <a:cs typeface="Arial" charset="0"/>
        </a:defRPr>
      </a:lvl8pPr>
      <a:lvl9pPr marL="1824935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marL="256630" indent="-256630" algn="l" rtl="0" eaLnBrk="1" fontAlgn="base" hangingPunct="1">
        <a:lnSpc>
          <a:spcPct val="110000"/>
        </a:lnSpc>
        <a:spcBef>
          <a:spcPct val="75000"/>
        </a:spcBef>
        <a:spcAft>
          <a:spcPct val="0"/>
        </a:spcAft>
        <a:buClr>
          <a:srgbClr val="3376D9"/>
        </a:buClr>
        <a:buSzPct val="120000"/>
        <a:buFont typeface="Wingdings" pitchFamily="2" charset="2"/>
        <a:buBlip>
          <a:blip r:embed="rId14"/>
        </a:buBlip>
        <a:defRPr sz="1200">
          <a:solidFill>
            <a:schemeClr val="tx1"/>
          </a:solidFill>
          <a:latin typeface="+mn-lt"/>
          <a:ea typeface="+mn-ea"/>
          <a:cs typeface="+mn-cs"/>
        </a:defRPr>
      </a:lvl1pPr>
      <a:lvl2pPr marL="681182" indent="-422966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tx2"/>
        </a:buClr>
        <a:buFont typeface="Arial" pitchFamily="34" charset="0"/>
        <a:buBlip>
          <a:blip r:embed="rId15"/>
        </a:buBlip>
        <a:defRPr sz="1100">
          <a:solidFill>
            <a:schemeClr val="tx1"/>
          </a:solidFill>
          <a:latin typeface="+mn-lt"/>
          <a:cs typeface="+mn-cs"/>
        </a:defRPr>
      </a:lvl2pPr>
      <a:lvl3pPr marL="975831" indent="-293067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bg2"/>
        </a:buClr>
        <a:buSzPct val="85000"/>
        <a:buFont typeface="Wingdings 3" pitchFamily="18" charset="2"/>
        <a:buChar char=""/>
        <a:defRPr sz="1100">
          <a:solidFill>
            <a:schemeClr val="tx1"/>
          </a:solidFill>
          <a:latin typeface="+mn-lt"/>
          <a:cs typeface="+mn-cs"/>
        </a:defRPr>
      </a:lvl3pPr>
      <a:lvl4pPr marL="1259396" indent="-281977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tx2"/>
        </a:buClr>
        <a:buFont typeface="Wingdings" pitchFamily="2" charset="2"/>
        <a:buChar char="w"/>
        <a:defRPr sz="1600">
          <a:solidFill>
            <a:schemeClr val="tx1"/>
          </a:solidFill>
          <a:latin typeface="+mn-lt"/>
          <a:cs typeface="+mn-cs"/>
        </a:defRPr>
      </a:lvl4pPr>
      <a:lvl5pPr marL="1503353" indent="-242377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tx2"/>
        </a:buClr>
        <a:buFont typeface="Arial" pitchFamily="34" charset="0"/>
        <a:buChar char="–"/>
        <a:defRPr sz="1600">
          <a:solidFill>
            <a:schemeClr val="tx1"/>
          </a:solidFill>
          <a:latin typeface="+mn-lt"/>
          <a:cs typeface="+mn-cs"/>
        </a:defRPr>
      </a:lvl5pPr>
      <a:lvl6pPr marL="1959585" indent="-242377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tx2"/>
        </a:buClr>
        <a:buFont typeface="Arial" charset="0"/>
        <a:buChar char="–"/>
        <a:defRPr sz="1600">
          <a:solidFill>
            <a:schemeClr val="tx1"/>
          </a:solidFill>
          <a:latin typeface="+mn-lt"/>
          <a:cs typeface="+mn-cs"/>
        </a:defRPr>
      </a:lvl6pPr>
      <a:lvl7pPr marL="2415823" indent="-242377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tx2"/>
        </a:buClr>
        <a:buFont typeface="Arial" charset="0"/>
        <a:buChar char="–"/>
        <a:defRPr sz="1600">
          <a:solidFill>
            <a:schemeClr val="tx1"/>
          </a:solidFill>
          <a:latin typeface="+mn-lt"/>
          <a:cs typeface="+mn-cs"/>
        </a:defRPr>
      </a:lvl7pPr>
      <a:lvl8pPr marL="2872056" indent="-242377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tx2"/>
        </a:buClr>
        <a:buFont typeface="Arial" charset="0"/>
        <a:buChar char="–"/>
        <a:defRPr sz="1600">
          <a:solidFill>
            <a:schemeClr val="tx1"/>
          </a:solidFill>
          <a:latin typeface="+mn-lt"/>
          <a:cs typeface="+mn-cs"/>
        </a:defRPr>
      </a:lvl8pPr>
      <a:lvl9pPr marL="3328287" indent="-242377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tx2"/>
        </a:buClr>
        <a:buFont typeface="Arial" charset="0"/>
        <a:buChar char="–"/>
        <a:defRPr sz="16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91246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234" algn="l" defTabSz="91246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2468" algn="l" defTabSz="91246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8700" algn="l" defTabSz="91246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4935" algn="l" defTabSz="91246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1167" algn="l" defTabSz="91246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37394" algn="l" defTabSz="91246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3635" algn="l" defTabSz="91246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49869" algn="l" defTabSz="91246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 userDrawn="1">
            <p:custDataLst>
              <p:tags r:id="rId11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082" name="think-cell Slide" r:id="rId12" imgW="270" imgH="270" progId="">
                  <p:embed/>
                </p:oleObj>
              </mc:Choice>
              <mc:Fallback>
                <p:oleObj name="think-cell Slide" r:id="rId12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435" name="Rectangle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386557" y="1465263"/>
            <a:ext cx="8370887" cy="434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906267" name="Line 27"/>
          <p:cNvSpPr>
            <a:spLocks noChangeShapeType="1"/>
          </p:cNvSpPr>
          <p:nvPr/>
        </p:nvSpPr>
        <p:spPr bwMode="auto">
          <a:xfrm>
            <a:off x="252000" y="903288"/>
            <a:ext cx="8640000" cy="0"/>
          </a:xfrm>
          <a:prstGeom prst="line">
            <a:avLst/>
          </a:prstGeom>
          <a:noFill/>
          <a:ln w="28575">
            <a:solidFill>
              <a:srgbClr val="016EB3"/>
            </a:solidFill>
            <a:round/>
            <a:headEnd/>
            <a:tailEnd/>
          </a:ln>
          <a:effectLst/>
        </p:spPr>
        <p:txBody>
          <a:bodyPr wrap="none"/>
          <a:lstStyle/>
          <a:p>
            <a:pPr defTabSz="912804" fontAlgn="base">
              <a:spcBef>
                <a:spcPct val="50000"/>
              </a:spcBef>
              <a:spcAft>
                <a:spcPct val="0"/>
              </a:spcAft>
              <a:defRPr/>
            </a:pPr>
            <a:endParaRPr kumimoji="1" lang="ru-RU" sz="1000" dirty="0">
              <a:solidFill>
                <a:srgbClr val="002766"/>
              </a:solidFill>
              <a:latin typeface="Tahoma" pitchFamily="34" charset="0"/>
              <a:ea typeface="PMingLiU" pitchFamily="18" charset="-120"/>
            </a:endParaRPr>
          </a:p>
        </p:txBody>
      </p:sp>
      <p:sp>
        <p:nvSpPr>
          <p:cNvPr id="9" name="GS Doctop Placeholder" hidden="1"/>
          <p:cNvSpPr txBox="1"/>
          <p:nvPr/>
        </p:nvSpPr>
        <p:spPr>
          <a:xfrm>
            <a:off x="546100" y="0"/>
            <a:ext cx="5651500" cy="215444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pPr defTabSz="912804" fontAlgn="base">
              <a:spcBef>
                <a:spcPct val="0"/>
              </a:spcBef>
              <a:spcAft>
                <a:spcPct val="0"/>
              </a:spcAft>
            </a:pPr>
            <a:r>
              <a:rPr kumimoji="1" lang="en-GB" sz="800" dirty="0" smtClean="0">
                <a:solidFill>
                  <a:srgbClr val="002766"/>
                </a:solidFill>
                <a:ea typeface="PMingLiU" pitchFamily="18" charset="-120"/>
              </a:rPr>
              <a:t>ALMAZ2013\IPO\Roadshow\October Roadshow\Presentation\13 10 13 Roadshow Presentation RUS vF.pptx</a:t>
            </a:r>
            <a:endParaRPr kumimoji="1" lang="en-US" sz="800" dirty="0">
              <a:solidFill>
                <a:srgbClr val="002766"/>
              </a:solidFill>
              <a:ea typeface="PMingLiU" pitchFamily="18" charset="-120"/>
            </a:endParaRPr>
          </a:p>
        </p:txBody>
      </p:sp>
      <p:sp>
        <p:nvSpPr>
          <p:cNvPr id="8" name="Прямоугольник 7"/>
          <p:cNvSpPr/>
          <p:nvPr/>
        </p:nvSpPr>
        <p:spPr bwMode="auto">
          <a:xfrm>
            <a:off x="8671460" y="6516000"/>
            <a:ext cx="468000" cy="219075"/>
          </a:xfrm>
          <a:prstGeom prst="rect">
            <a:avLst/>
          </a:prstGeom>
          <a:solidFill>
            <a:srgbClr val="016EB3"/>
          </a:solidFill>
          <a:ln w="9525" cap="flat" cmpd="sng" algn="ctr">
            <a:solidFill>
              <a:srgbClr val="016EB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defTabSz="912804" fontAlgn="base">
              <a:spcBef>
                <a:spcPct val="50000"/>
              </a:spcBef>
              <a:spcAft>
                <a:spcPct val="0"/>
              </a:spcAft>
            </a:pPr>
            <a:endParaRPr kumimoji="1" lang="ru-RU" sz="1000" dirty="0" smtClean="0">
              <a:solidFill>
                <a:srgbClr val="0072B6"/>
              </a:solidFill>
              <a:latin typeface="Tahoma" pitchFamily="34" charset="0"/>
              <a:ea typeface="PMingLiU" pitchFamily="18" charset="-120"/>
            </a:endParaRPr>
          </a:p>
        </p:txBody>
      </p:sp>
      <p:sp>
        <p:nvSpPr>
          <p:cNvPr id="10" name="Slide Number Placeholder 8"/>
          <p:cNvSpPr>
            <a:spLocks noGrp="1"/>
          </p:cNvSpPr>
          <p:nvPr>
            <p:ph type="sldNum" sz="quarter" idx="4"/>
          </p:nvPr>
        </p:nvSpPr>
        <p:spPr>
          <a:xfrm>
            <a:off x="8681890" y="6521124"/>
            <a:ext cx="402094" cy="217518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chemeClr val="bg1"/>
                </a:solidFill>
                <a:latin typeface="+mj-lt"/>
              </a:defRPr>
            </a:lvl1pPr>
          </a:lstStyle>
          <a:p>
            <a:pPr defTabSz="912804" fontAlgn="base">
              <a:spcBef>
                <a:spcPct val="0"/>
              </a:spcBef>
              <a:spcAft>
                <a:spcPct val="0"/>
              </a:spcAft>
            </a:pPr>
            <a:fld id="{8E141AF1-466E-4D9F-B74C-45FFEB47CA13}" type="slidenum">
              <a:rPr kumimoji="1" lang="de-DE" smtClean="0">
                <a:solidFill>
                  <a:srgbClr val="FFFFFF"/>
                </a:solidFill>
                <a:ea typeface="PMingLiU" pitchFamily="18" charset="-120"/>
              </a:rPr>
              <a:pPr defTabSz="912804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kumimoji="1" lang="de-DE" dirty="0">
              <a:solidFill>
                <a:srgbClr val="FFFFFF"/>
              </a:solidFill>
              <a:ea typeface="PMingLiU" pitchFamily="18" charset="-120"/>
            </a:endParaRPr>
          </a:p>
        </p:txBody>
      </p:sp>
    </p:spTree>
    <p:extLst>
      <p:ext uri="{BB962C8B-B14F-4D97-AF65-F5344CB8AC3E}">
        <p14:creationId xmlns:p14="http://schemas.microsoft.com/office/powerpoint/2010/main" val="19904907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19" r:id="rId1"/>
    <p:sldLayoutId id="2147484020" r:id="rId2"/>
    <p:sldLayoutId id="2147484021" r:id="rId3"/>
    <p:sldLayoutId id="2147484022" r:id="rId4"/>
    <p:sldLayoutId id="2147484023" r:id="rId5"/>
    <p:sldLayoutId id="2147484024" r:id="rId6"/>
    <p:sldLayoutId id="2147484025" r:id="rId7"/>
    <p:sldLayoutId id="2147484026" r:id="rId8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500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>
          <a:solidFill>
            <a:schemeClr val="tx2"/>
          </a:solidFill>
          <a:latin typeface="Arial" charset="0"/>
          <a:cs typeface="Arial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>
          <a:solidFill>
            <a:schemeClr val="tx2"/>
          </a:solidFill>
          <a:latin typeface="Arial" charset="0"/>
          <a:cs typeface="Arial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>
          <a:solidFill>
            <a:schemeClr val="tx2"/>
          </a:solidFill>
          <a:latin typeface="Arial" charset="0"/>
          <a:cs typeface="Arial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>
          <a:solidFill>
            <a:schemeClr val="tx2"/>
          </a:solidFill>
          <a:latin typeface="Arial" charset="0"/>
          <a:cs typeface="Arial" charset="0"/>
        </a:defRPr>
      </a:lvl5pPr>
      <a:lvl6pPr marL="4572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>
          <a:solidFill>
            <a:schemeClr val="tx2"/>
          </a:solidFill>
          <a:latin typeface="Arial" charset="0"/>
          <a:cs typeface="Arial" charset="0"/>
        </a:defRPr>
      </a:lvl6pPr>
      <a:lvl7pPr marL="9144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>
          <a:solidFill>
            <a:schemeClr val="tx2"/>
          </a:solidFill>
          <a:latin typeface="Arial" charset="0"/>
          <a:cs typeface="Arial" charset="0"/>
        </a:defRPr>
      </a:lvl7pPr>
      <a:lvl8pPr marL="13716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>
          <a:solidFill>
            <a:schemeClr val="tx2"/>
          </a:solidFill>
          <a:latin typeface="Arial" charset="0"/>
          <a:cs typeface="Arial" charset="0"/>
        </a:defRPr>
      </a:lvl8pPr>
      <a:lvl9pPr marL="18288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marL="257175" indent="-257175" algn="l" rtl="0" eaLnBrk="1" fontAlgn="base" hangingPunct="1">
        <a:lnSpc>
          <a:spcPct val="110000"/>
        </a:lnSpc>
        <a:spcBef>
          <a:spcPct val="75000"/>
        </a:spcBef>
        <a:spcAft>
          <a:spcPct val="0"/>
        </a:spcAft>
        <a:buClr>
          <a:srgbClr val="3376D9"/>
        </a:buClr>
        <a:buSzPct val="120000"/>
        <a:buFont typeface="Wingdings" pitchFamily="2" charset="2"/>
        <a:buBlip>
          <a:blip r:embed="rId14"/>
        </a:buBlip>
        <a:defRPr sz="1200">
          <a:solidFill>
            <a:schemeClr val="tx1"/>
          </a:solidFill>
          <a:latin typeface="+mn-lt"/>
          <a:ea typeface="+mn-ea"/>
          <a:cs typeface="+mn-cs"/>
        </a:defRPr>
      </a:lvl1pPr>
      <a:lvl2pPr marL="682625" indent="-423863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tx2"/>
        </a:buClr>
        <a:buFont typeface="Arial" pitchFamily="34" charset="0"/>
        <a:buBlip>
          <a:blip r:embed="rId15"/>
        </a:buBlip>
        <a:defRPr sz="1100">
          <a:solidFill>
            <a:schemeClr val="tx1"/>
          </a:solidFill>
          <a:latin typeface="+mn-lt"/>
          <a:cs typeface="+mn-cs"/>
        </a:defRPr>
      </a:lvl2pPr>
      <a:lvl3pPr marL="977900" indent="-293688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bg2"/>
        </a:buClr>
        <a:buSzPct val="85000"/>
        <a:buFont typeface="Wingdings 3" pitchFamily="18" charset="2"/>
        <a:buChar char=""/>
        <a:defRPr sz="1100">
          <a:solidFill>
            <a:schemeClr val="tx1"/>
          </a:solidFill>
          <a:latin typeface="+mn-lt"/>
          <a:cs typeface="+mn-cs"/>
        </a:defRPr>
      </a:lvl3pPr>
      <a:lvl4pPr marL="1262063" indent="-282575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tx2"/>
        </a:buClr>
        <a:buFont typeface="Wingdings" pitchFamily="2" charset="2"/>
        <a:buChar char="w"/>
        <a:defRPr sz="1600">
          <a:solidFill>
            <a:schemeClr val="tx1"/>
          </a:solidFill>
          <a:latin typeface="+mn-lt"/>
          <a:cs typeface="+mn-cs"/>
        </a:defRPr>
      </a:lvl4pPr>
      <a:lvl5pPr marL="1506538" indent="-242888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tx2"/>
        </a:buClr>
        <a:buFont typeface="Arial" pitchFamily="34" charset="0"/>
        <a:buChar char="–"/>
        <a:defRPr sz="1600">
          <a:solidFill>
            <a:schemeClr val="tx1"/>
          </a:solidFill>
          <a:latin typeface="+mn-lt"/>
          <a:cs typeface="+mn-cs"/>
        </a:defRPr>
      </a:lvl5pPr>
      <a:lvl6pPr marL="1963738" indent="-242888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tx2"/>
        </a:buClr>
        <a:buFont typeface="Arial" charset="0"/>
        <a:buChar char="–"/>
        <a:defRPr sz="1600">
          <a:solidFill>
            <a:schemeClr val="tx1"/>
          </a:solidFill>
          <a:latin typeface="+mn-lt"/>
          <a:cs typeface="+mn-cs"/>
        </a:defRPr>
      </a:lvl6pPr>
      <a:lvl7pPr marL="2420938" indent="-242888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tx2"/>
        </a:buClr>
        <a:buFont typeface="Arial" charset="0"/>
        <a:buChar char="–"/>
        <a:defRPr sz="1600">
          <a:solidFill>
            <a:schemeClr val="tx1"/>
          </a:solidFill>
          <a:latin typeface="+mn-lt"/>
          <a:cs typeface="+mn-cs"/>
        </a:defRPr>
      </a:lvl7pPr>
      <a:lvl8pPr marL="2878138" indent="-242888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tx2"/>
        </a:buClr>
        <a:buFont typeface="Arial" charset="0"/>
        <a:buChar char="–"/>
        <a:defRPr sz="1600">
          <a:solidFill>
            <a:schemeClr val="tx1"/>
          </a:solidFill>
          <a:latin typeface="+mn-lt"/>
          <a:cs typeface="+mn-cs"/>
        </a:defRPr>
      </a:lvl8pPr>
      <a:lvl9pPr marL="3335338" indent="-242888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tx2"/>
        </a:buClr>
        <a:buFont typeface="Arial" charset="0"/>
        <a:buChar char="–"/>
        <a:defRPr sz="16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 userDrawn="1"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51650588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068" name="think-cell Slide" r:id="rId13" imgW="270" imgH="270" progId="TCLayout.ActiveDocument.1">
                  <p:embed/>
                </p:oleObj>
              </mc:Choice>
              <mc:Fallback>
                <p:oleObj name="think-cell Slide" r:id="rId1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435" name="Rectangle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386557" y="1465263"/>
            <a:ext cx="8370887" cy="434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906267" name="Line 27"/>
          <p:cNvSpPr>
            <a:spLocks noChangeShapeType="1"/>
          </p:cNvSpPr>
          <p:nvPr/>
        </p:nvSpPr>
        <p:spPr bwMode="auto">
          <a:xfrm>
            <a:off x="252000" y="903288"/>
            <a:ext cx="8640000" cy="0"/>
          </a:xfrm>
          <a:prstGeom prst="line">
            <a:avLst/>
          </a:prstGeom>
          <a:noFill/>
          <a:ln w="28575">
            <a:solidFill>
              <a:srgbClr val="016EB3"/>
            </a:solidFill>
            <a:round/>
            <a:headEnd/>
            <a:tailEnd/>
          </a:ln>
          <a:effectLst/>
        </p:spPr>
        <p:txBody>
          <a:bodyPr wrap="none"/>
          <a:lstStyle/>
          <a:p>
            <a:pPr defTabSz="912804" fontAlgn="base">
              <a:spcBef>
                <a:spcPct val="50000"/>
              </a:spcBef>
              <a:spcAft>
                <a:spcPct val="0"/>
              </a:spcAft>
              <a:defRPr/>
            </a:pPr>
            <a:endParaRPr kumimoji="1" lang="ru-RU" sz="1000" dirty="0">
              <a:solidFill>
                <a:srgbClr val="002766"/>
              </a:solidFill>
              <a:latin typeface="Tahoma" pitchFamily="34" charset="0"/>
              <a:ea typeface="PMingLiU" pitchFamily="18" charset="-120"/>
            </a:endParaRPr>
          </a:p>
        </p:txBody>
      </p:sp>
      <p:sp>
        <p:nvSpPr>
          <p:cNvPr id="9" name="GS Doctop Placeholder" hidden="1"/>
          <p:cNvSpPr txBox="1"/>
          <p:nvPr/>
        </p:nvSpPr>
        <p:spPr>
          <a:xfrm>
            <a:off x="546100" y="0"/>
            <a:ext cx="5651500" cy="215444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pPr defTabSz="912804" fontAlgn="base">
              <a:spcBef>
                <a:spcPct val="0"/>
              </a:spcBef>
              <a:spcAft>
                <a:spcPct val="0"/>
              </a:spcAft>
            </a:pPr>
            <a:r>
              <a:rPr kumimoji="1" lang="en-GB" sz="800" smtClean="0">
                <a:solidFill>
                  <a:srgbClr val="002766"/>
                </a:solidFill>
                <a:ea typeface="PMingLiU" pitchFamily="18" charset="-120"/>
              </a:rPr>
              <a:t>ALMAZ2013\IPO\Roadshow\October Roadshow\Presentation\13 10 13 Roadshow Presentation RUS vF.pptx</a:t>
            </a:r>
            <a:endParaRPr kumimoji="1" lang="en-US" sz="800" dirty="0">
              <a:solidFill>
                <a:srgbClr val="002766"/>
              </a:solidFill>
              <a:ea typeface="PMingLiU" pitchFamily="18" charset="-120"/>
            </a:endParaRPr>
          </a:p>
        </p:txBody>
      </p:sp>
      <p:sp>
        <p:nvSpPr>
          <p:cNvPr id="8" name="Прямоугольник 7"/>
          <p:cNvSpPr/>
          <p:nvPr/>
        </p:nvSpPr>
        <p:spPr bwMode="auto">
          <a:xfrm>
            <a:off x="8671460" y="6516000"/>
            <a:ext cx="468000" cy="219075"/>
          </a:xfrm>
          <a:prstGeom prst="rect">
            <a:avLst/>
          </a:prstGeom>
          <a:solidFill>
            <a:srgbClr val="016EB3"/>
          </a:solidFill>
          <a:ln w="9525" cap="flat" cmpd="sng" algn="ctr">
            <a:solidFill>
              <a:srgbClr val="016EB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defTabSz="912804" fontAlgn="base">
              <a:spcBef>
                <a:spcPct val="50000"/>
              </a:spcBef>
              <a:spcAft>
                <a:spcPct val="0"/>
              </a:spcAft>
            </a:pPr>
            <a:endParaRPr kumimoji="1" lang="ru-RU" sz="1000" smtClean="0">
              <a:solidFill>
                <a:srgbClr val="0072B6"/>
              </a:solidFill>
              <a:latin typeface="Tahoma" pitchFamily="34" charset="0"/>
              <a:ea typeface="PMingLiU" pitchFamily="18" charset="-120"/>
            </a:endParaRPr>
          </a:p>
        </p:txBody>
      </p:sp>
      <p:sp>
        <p:nvSpPr>
          <p:cNvPr id="10" name="Slide Number Placeholder 8"/>
          <p:cNvSpPr>
            <a:spLocks noGrp="1"/>
          </p:cNvSpPr>
          <p:nvPr>
            <p:ph type="sldNum" sz="quarter" idx="4"/>
          </p:nvPr>
        </p:nvSpPr>
        <p:spPr>
          <a:xfrm>
            <a:off x="8681890" y="6521124"/>
            <a:ext cx="402094" cy="217518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chemeClr val="bg1"/>
                </a:solidFill>
                <a:latin typeface="+mj-lt"/>
              </a:defRPr>
            </a:lvl1pPr>
          </a:lstStyle>
          <a:p>
            <a:pPr defTabSz="912804" fontAlgn="base">
              <a:spcBef>
                <a:spcPct val="0"/>
              </a:spcBef>
              <a:spcAft>
                <a:spcPct val="0"/>
              </a:spcAft>
            </a:pPr>
            <a:fld id="{8E141AF1-466E-4D9F-B74C-45FFEB47CA13}" type="slidenum">
              <a:rPr kumimoji="1" lang="de-DE" smtClean="0">
                <a:solidFill>
                  <a:srgbClr val="FFFFFF"/>
                </a:solidFill>
                <a:ea typeface="PMingLiU" pitchFamily="18" charset="-120"/>
              </a:rPr>
              <a:pPr defTabSz="912804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kumimoji="1" lang="de-DE" dirty="0">
              <a:solidFill>
                <a:srgbClr val="FFFFFF"/>
              </a:solidFill>
              <a:ea typeface="PMingLiU" pitchFamily="18" charset="-120"/>
            </a:endParaRPr>
          </a:p>
        </p:txBody>
      </p:sp>
    </p:spTree>
    <p:extLst>
      <p:ext uri="{BB962C8B-B14F-4D97-AF65-F5344CB8AC3E}">
        <p14:creationId xmlns:p14="http://schemas.microsoft.com/office/powerpoint/2010/main" val="38792971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28" r:id="rId1"/>
    <p:sldLayoutId id="2147484029" r:id="rId2"/>
    <p:sldLayoutId id="2147484030" r:id="rId3"/>
    <p:sldLayoutId id="2147484031" r:id="rId4"/>
    <p:sldLayoutId id="2147484032" r:id="rId5"/>
    <p:sldLayoutId id="2147484033" r:id="rId6"/>
    <p:sldLayoutId id="2147484034" r:id="rId7"/>
    <p:sldLayoutId id="2147484035" r:id="rId8"/>
    <p:sldLayoutId id="2147484036" r:id="rId9"/>
  </p:sldLayoutIdLst>
  <mc:AlternateContent xmlns:mc="http://schemas.openxmlformats.org/markup-compatibility/2006" xmlns:p14="http://schemas.microsoft.com/office/powerpoint/2010/main">
    <mc:Choice Requires="p14">
      <p:transition spd="slow" p14:dur="1600">
        <p14:gallery dir="l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  <p:hf hdr="0" ft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500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>
          <a:solidFill>
            <a:schemeClr val="tx2"/>
          </a:solidFill>
          <a:latin typeface="Arial" charset="0"/>
          <a:cs typeface="Arial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>
          <a:solidFill>
            <a:schemeClr val="tx2"/>
          </a:solidFill>
          <a:latin typeface="Arial" charset="0"/>
          <a:cs typeface="Arial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>
          <a:solidFill>
            <a:schemeClr val="tx2"/>
          </a:solidFill>
          <a:latin typeface="Arial" charset="0"/>
          <a:cs typeface="Arial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>
          <a:solidFill>
            <a:schemeClr val="tx2"/>
          </a:solidFill>
          <a:latin typeface="Arial" charset="0"/>
          <a:cs typeface="Arial" charset="0"/>
        </a:defRPr>
      </a:lvl5pPr>
      <a:lvl6pPr marL="4572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>
          <a:solidFill>
            <a:schemeClr val="tx2"/>
          </a:solidFill>
          <a:latin typeface="Arial" charset="0"/>
          <a:cs typeface="Arial" charset="0"/>
        </a:defRPr>
      </a:lvl6pPr>
      <a:lvl7pPr marL="9144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>
          <a:solidFill>
            <a:schemeClr val="tx2"/>
          </a:solidFill>
          <a:latin typeface="Arial" charset="0"/>
          <a:cs typeface="Arial" charset="0"/>
        </a:defRPr>
      </a:lvl7pPr>
      <a:lvl8pPr marL="13716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>
          <a:solidFill>
            <a:schemeClr val="tx2"/>
          </a:solidFill>
          <a:latin typeface="Arial" charset="0"/>
          <a:cs typeface="Arial" charset="0"/>
        </a:defRPr>
      </a:lvl8pPr>
      <a:lvl9pPr marL="18288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marL="257175" indent="-257175" algn="l" rtl="0" eaLnBrk="1" fontAlgn="base" hangingPunct="1">
        <a:lnSpc>
          <a:spcPct val="110000"/>
        </a:lnSpc>
        <a:spcBef>
          <a:spcPct val="75000"/>
        </a:spcBef>
        <a:spcAft>
          <a:spcPct val="0"/>
        </a:spcAft>
        <a:buClr>
          <a:srgbClr val="3376D9"/>
        </a:buClr>
        <a:buSzPct val="120000"/>
        <a:buFont typeface="Wingdings" pitchFamily="2" charset="2"/>
        <a:buBlip>
          <a:blip r:embed="rId15"/>
        </a:buBlip>
        <a:defRPr sz="1200">
          <a:solidFill>
            <a:schemeClr val="tx1"/>
          </a:solidFill>
          <a:latin typeface="+mn-lt"/>
          <a:ea typeface="+mn-ea"/>
          <a:cs typeface="+mn-cs"/>
        </a:defRPr>
      </a:lvl1pPr>
      <a:lvl2pPr marL="682625" indent="-423863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tx2"/>
        </a:buClr>
        <a:buFont typeface="Arial" pitchFamily="34" charset="0"/>
        <a:buBlip>
          <a:blip r:embed="rId16"/>
        </a:buBlip>
        <a:defRPr sz="1100">
          <a:solidFill>
            <a:schemeClr val="tx1"/>
          </a:solidFill>
          <a:latin typeface="+mn-lt"/>
          <a:cs typeface="+mn-cs"/>
        </a:defRPr>
      </a:lvl2pPr>
      <a:lvl3pPr marL="977900" indent="-293688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bg2"/>
        </a:buClr>
        <a:buSzPct val="85000"/>
        <a:buFont typeface="Wingdings 3" pitchFamily="18" charset="2"/>
        <a:buChar char=""/>
        <a:defRPr sz="1100">
          <a:solidFill>
            <a:schemeClr val="tx1"/>
          </a:solidFill>
          <a:latin typeface="+mn-lt"/>
          <a:cs typeface="+mn-cs"/>
        </a:defRPr>
      </a:lvl3pPr>
      <a:lvl4pPr marL="1262063" indent="-282575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tx2"/>
        </a:buClr>
        <a:buFont typeface="Wingdings" pitchFamily="2" charset="2"/>
        <a:buChar char="w"/>
        <a:defRPr sz="1600">
          <a:solidFill>
            <a:schemeClr val="tx1"/>
          </a:solidFill>
          <a:latin typeface="+mn-lt"/>
          <a:cs typeface="+mn-cs"/>
        </a:defRPr>
      </a:lvl4pPr>
      <a:lvl5pPr marL="1506538" indent="-242888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tx2"/>
        </a:buClr>
        <a:buFont typeface="Arial" pitchFamily="34" charset="0"/>
        <a:buChar char="–"/>
        <a:defRPr sz="1600">
          <a:solidFill>
            <a:schemeClr val="tx1"/>
          </a:solidFill>
          <a:latin typeface="+mn-lt"/>
          <a:cs typeface="+mn-cs"/>
        </a:defRPr>
      </a:lvl5pPr>
      <a:lvl6pPr marL="1963738" indent="-242888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tx2"/>
        </a:buClr>
        <a:buFont typeface="Arial" charset="0"/>
        <a:buChar char="–"/>
        <a:defRPr sz="1600">
          <a:solidFill>
            <a:schemeClr val="tx1"/>
          </a:solidFill>
          <a:latin typeface="+mn-lt"/>
          <a:cs typeface="+mn-cs"/>
        </a:defRPr>
      </a:lvl6pPr>
      <a:lvl7pPr marL="2420938" indent="-242888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tx2"/>
        </a:buClr>
        <a:buFont typeface="Arial" charset="0"/>
        <a:buChar char="–"/>
        <a:defRPr sz="1600">
          <a:solidFill>
            <a:schemeClr val="tx1"/>
          </a:solidFill>
          <a:latin typeface="+mn-lt"/>
          <a:cs typeface="+mn-cs"/>
        </a:defRPr>
      </a:lvl7pPr>
      <a:lvl8pPr marL="2878138" indent="-242888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tx2"/>
        </a:buClr>
        <a:buFont typeface="Arial" charset="0"/>
        <a:buChar char="–"/>
        <a:defRPr sz="1600">
          <a:solidFill>
            <a:schemeClr val="tx1"/>
          </a:solidFill>
          <a:latin typeface="+mn-lt"/>
          <a:cs typeface="+mn-cs"/>
        </a:defRPr>
      </a:lvl8pPr>
      <a:lvl9pPr marL="3335338" indent="-242888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tx2"/>
        </a:buClr>
        <a:buFont typeface="Arial" charset="0"/>
        <a:buChar char="–"/>
        <a:defRPr sz="16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 userDrawn="1"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3160504691"/>
              </p:ext>
            </p:extLst>
          </p:nvPr>
        </p:nvGraphicFramePr>
        <p:xfrm>
          <a:off x="1590" y="1611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412" name="think-cell Slide" r:id="rId12" imgW="270" imgH="270" progId="TCLayout.ActiveDocument.1">
                  <p:embed/>
                </p:oleObj>
              </mc:Choice>
              <mc:Fallback>
                <p:oleObj name="think-cell Slid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90" y="1611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435" name="Rectangle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386580" y="1465263"/>
            <a:ext cx="8370887" cy="434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906267" name="Line 27"/>
          <p:cNvSpPr>
            <a:spLocks noChangeShapeType="1"/>
          </p:cNvSpPr>
          <p:nvPr/>
        </p:nvSpPr>
        <p:spPr bwMode="auto">
          <a:xfrm>
            <a:off x="252000" y="903288"/>
            <a:ext cx="8640000" cy="0"/>
          </a:xfrm>
          <a:prstGeom prst="line">
            <a:avLst/>
          </a:prstGeom>
          <a:noFill/>
          <a:ln w="28575">
            <a:solidFill>
              <a:srgbClr val="016EB3"/>
            </a:solidFill>
            <a:round/>
            <a:headEnd/>
            <a:tailEnd/>
          </a:ln>
          <a:effectLst/>
        </p:spPr>
        <p:txBody>
          <a:bodyPr wrap="none" lIns="91243" tIns="45622" rIns="91243" bIns="45622"/>
          <a:lstStyle/>
          <a:p>
            <a:pPr fontAlgn="base">
              <a:spcBef>
                <a:spcPct val="50000"/>
              </a:spcBef>
              <a:spcAft>
                <a:spcPct val="0"/>
              </a:spcAft>
              <a:defRPr/>
            </a:pPr>
            <a:endParaRPr kumimoji="1" lang="ru-RU" sz="1000" dirty="0">
              <a:solidFill>
                <a:srgbClr val="002766"/>
              </a:solidFill>
              <a:latin typeface="Tahoma" pitchFamily="34" charset="0"/>
              <a:ea typeface="PMingLiU" pitchFamily="18" charset="-120"/>
            </a:endParaRPr>
          </a:p>
        </p:txBody>
      </p:sp>
      <p:sp>
        <p:nvSpPr>
          <p:cNvPr id="9" name="GS Doctop Placeholder" hidden="1"/>
          <p:cNvSpPr txBox="1"/>
          <p:nvPr/>
        </p:nvSpPr>
        <p:spPr>
          <a:xfrm>
            <a:off x="546102" y="17"/>
            <a:ext cx="5651500" cy="215246"/>
          </a:xfrm>
          <a:prstGeom prst="rect">
            <a:avLst/>
          </a:prstGeom>
          <a:noFill/>
        </p:spPr>
        <p:txBody>
          <a:bodyPr vert="horz" lIns="91243" tIns="45622" rIns="91243" bIns="45622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kumimoji="1" lang="en-GB" sz="800" smtClean="0">
                <a:solidFill>
                  <a:srgbClr val="002766"/>
                </a:solidFill>
                <a:ea typeface="PMingLiU" pitchFamily="18" charset="-120"/>
              </a:rPr>
              <a:t>ALMAZ2013\IPO\Roadshow\October Roadshow\Presentation\13 10 13 Roadshow Presentation RUS vF.pptx</a:t>
            </a:r>
            <a:endParaRPr kumimoji="1" lang="en-US" sz="800" dirty="0">
              <a:solidFill>
                <a:srgbClr val="002766"/>
              </a:solidFill>
              <a:ea typeface="PMingLiU" pitchFamily="18" charset="-120"/>
            </a:endParaRPr>
          </a:p>
        </p:txBody>
      </p:sp>
      <p:sp>
        <p:nvSpPr>
          <p:cNvPr id="8" name="Прямоугольник 7"/>
          <p:cNvSpPr/>
          <p:nvPr/>
        </p:nvSpPr>
        <p:spPr bwMode="auto">
          <a:xfrm>
            <a:off x="8671460" y="6516023"/>
            <a:ext cx="468000" cy="219075"/>
          </a:xfrm>
          <a:prstGeom prst="rect">
            <a:avLst/>
          </a:prstGeom>
          <a:solidFill>
            <a:srgbClr val="016EB3"/>
          </a:solidFill>
          <a:ln w="9525" cap="flat" cmpd="sng" algn="ctr">
            <a:solidFill>
              <a:srgbClr val="016EB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243" tIns="45622" rIns="91243" bIns="45622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</a:pPr>
            <a:endParaRPr kumimoji="1" lang="ru-RU" sz="1000" smtClean="0">
              <a:solidFill>
                <a:srgbClr val="0072B6"/>
              </a:solidFill>
              <a:latin typeface="Tahoma" pitchFamily="34" charset="0"/>
              <a:ea typeface="PMingLiU" pitchFamily="18" charset="-120"/>
            </a:endParaRPr>
          </a:p>
        </p:txBody>
      </p:sp>
      <p:sp>
        <p:nvSpPr>
          <p:cNvPr id="10" name="Slide Number Placeholder 8"/>
          <p:cNvSpPr>
            <a:spLocks noGrp="1"/>
          </p:cNvSpPr>
          <p:nvPr>
            <p:ph type="sldNum" sz="quarter" idx="4"/>
          </p:nvPr>
        </p:nvSpPr>
        <p:spPr>
          <a:xfrm>
            <a:off x="8681892" y="6521124"/>
            <a:ext cx="402094" cy="217518"/>
          </a:xfrm>
          <a:prstGeom prst="rect">
            <a:avLst/>
          </a:prstGeom>
        </p:spPr>
        <p:txBody>
          <a:bodyPr lIns="91243" tIns="45622" rIns="91243" bIns="45622"/>
          <a:lstStyle>
            <a:lvl1pPr>
              <a:defRPr sz="800">
                <a:solidFill>
                  <a:schemeClr val="bg1"/>
                </a:solidFill>
                <a:latin typeface="+mj-lt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8E141AF1-466E-4D9F-B74C-45FFEB47CA13}" type="slidenum">
              <a:rPr kumimoji="1" lang="de-DE" smtClean="0">
                <a:solidFill>
                  <a:srgbClr val="FFFFFF"/>
                </a:solidFill>
                <a:ea typeface="PMingLiU" pitchFamily="18" charset="-12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kumimoji="1" lang="de-DE" dirty="0">
              <a:solidFill>
                <a:srgbClr val="FFFFFF"/>
              </a:solidFill>
              <a:ea typeface="PMingLiU" pitchFamily="18" charset="-120"/>
            </a:endParaRPr>
          </a:p>
        </p:txBody>
      </p:sp>
    </p:spTree>
    <p:extLst>
      <p:ext uri="{BB962C8B-B14F-4D97-AF65-F5344CB8AC3E}">
        <p14:creationId xmlns:p14="http://schemas.microsoft.com/office/powerpoint/2010/main" val="25867880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2" r:id="rId1"/>
    <p:sldLayoutId id="2147483743" r:id="rId2"/>
    <p:sldLayoutId id="2147483744" r:id="rId3"/>
    <p:sldLayoutId id="2147483745" r:id="rId4"/>
    <p:sldLayoutId id="2147483746" r:id="rId5"/>
    <p:sldLayoutId id="2147483747" r:id="rId6"/>
    <p:sldLayoutId id="2147483748" r:id="rId7"/>
    <p:sldLayoutId id="2147483749" r:id="rId8"/>
  </p:sldLayoutIdLst>
  <mc:AlternateContent xmlns:mc="http://schemas.openxmlformats.org/markup-compatibility/2006" xmlns:p14="http://schemas.microsoft.com/office/powerpoint/2010/main">
    <mc:Choice Requires="p14">
      <p:transition spd="slow" p14:dur="1600">
        <p14:gallery dir="l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  <p:hf sldNum="0" hdr="0" ft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500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>
          <a:solidFill>
            <a:schemeClr val="tx2"/>
          </a:solidFill>
          <a:latin typeface="Arial" charset="0"/>
          <a:cs typeface="Arial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>
          <a:solidFill>
            <a:schemeClr val="tx2"/>
          </a:solidFill>
          <a:latin typeface="Arial" charset="0"/>
          <a:cs typeface="Arial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>
          <a:solidFill>
            <a:schemeClr val="tx2"/>
          </a:solidFill>
          <a:latin typeface="Arial" charset="0"/>
          <a:cs typeface="Arial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>
          <a:solidFill>
            <a:schemeClr val="tx2"/>
          </a:solidFill>
          <a:latin typeface="Arial" charset="0"/>
          <a:cs typeface="Arial" charset="0"/>
        </a:defRPr>
      </a:lvl5pPr>
      <a:lvl6pPr marL="456234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>
          <a:solidFill>
            <a:schemeClr val="tx2"/>
          </a:solidFill>
          <a:latin typeface="Arial" charset="0"/>
          <a:cs typeface="Arial" charset="0"/>
        </a:defRPr>
      </a:lvl6pPr>
      <a:lvl7pPr marL="912468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>
          <a:solidFill>
            <a:schemeClr val="tx2"/>
          </a:solidFill>
          <a:latin typeface="Arial" charset="0"/>
          <a:cs typeface="Arial" charset="0"/>
        </a:defRPr>
      </a:lvl7pPr>
      <a:lvl8pPr marL="13687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>
          <a:solidFill>
            <a:schemeClr val="tx2"/>
          </a:solidFill>
          <a:latin typeface="Arial" charset="0"/>
          <a:cs typeface="Arial" charset="0"/>
        </a:defRPr>
      </a:lvl8pPr>
      <a:lvl9pPr marL="1824935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marL="256630" indent="-256630" algn="l" rtl="0" eaLnBrk="1" fontAlgn="base" hangingPunct="1">
        <a:lnSpc>
          <a:spcPct val="110000"/>
        </a:lnSpc>
        <a:spcBef>
          <a:spcPct val="75000"/>
        </a:spcBef>
        <a:spcAft>
          <a:spcPct val="0"/>
        </a:spcAft>
        <a:buClr>
          <a:srgbClr val="3376D9"/>
        </a:buClr>
        <a:buSzPct val="120000"/>
        <a:buFont typeface="Wingdings" pitchFamily="2" charset="2"/>
        <a:buBlip>
          <a:blip r:embed="rId14"/>
        </a:buBlip>
        <a:defRPr sz="1200">
          <a:solidFill>
            <a:schemeClr val="tx1"/>
          </a:solidFill>
          <a:latin typeface="+mn-lt"/>
          <a:ea typeface="+mn-ea"/>
          <a:cs typeface="+mn-cs"/>
        </a:defRPr>
      </a:lvl1pPr>
      <a:lvl2pPr marL="681182" indent="-422966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tx2"/>
        </a:buClr>
        <a:buFont typeface="Arial" pitchFamily="34" charset="0"/>
        <a:buBlip>
          <a:blip r:embed="rId15"/>
        </a:buBlip>
        <a:defRPr sz="1100">
          <a:solidFill>
            <a:schemeClr val="tx1"/>
          </a:solidFill>
          <a:latin typeface="+mn-lt"/>
          <a:cs typeface="+mn-cs"/>
        </a:defRPr>
      </a:lvl2pPr>
      <a:lvl3pPr marL="975831" indent="-293067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bg2"/>
        </a:buClr>
        <a:buSzPct val="85000"/>
        <a:buFont typeface="Wingdings 3" pitchFamily="18" charset="2"/>
        <a:buChar char=""/>
        <a:defRPr sz="1100">
          <a:solidFill>
            <a:schemeClr val="tx1"/>
          </a:solidFill>
          <a:latin typeface="+mn-lt"/>
          <a:cs typeface="+mn-cs"/>
        </a:defRPr>
      </a:lvl3pPr>
      <a:lvl4pPr marL="1259396" indent="-281977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tx2"/>
        </a:buClr>
        <a:buFont typeface="Wingdings" pitchFamily="2" charset="2"/>
        <a:buChar char="w"/>
        <a:defRPr sz="1600">
          <a:solidFill>
            <a:schemeClr val="tx1"/>
          </a:solidFill>
          <a:latin typeface="+mn-lt"/>
          <a:cs typeface="+mn-cs"/>
        </a:defRPr>
      </a:lvl4pPr>
      <a:lvl5pPr marL="1503353" indent="-242377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tx2"/>
        </a:buClr>
        <a:buFont typeface="Arial" pitchFamily="34" charset="0"/>
        <a:buChar char="–"/>
        <a:defRPr sz="1600">
          <a:solidFill>
            <a:schemeClr val="tx1"/>
          </a:solidFill>
          <a:latin typeface="+mn-lt"/>
          <a:cs typeface="+mn-cs"/>
        </a:defRPr>
      </a:lvl5pPr>
      <a:lvl6pPr marL="1959585" indent="-242377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tx2"/>
        </a:buClr>
        <a:buFont typeface="Arial" charset="0"/>
        <a:buChar char="–"/>
        <a:defRPr sz="1600">
          <a:solidFill>
            <a:schemeClr val="tx1"/>
          </a:solidFill>
          <a:latin typeface="+mn-lt"/>
          <a:cs typeface="+mn-cs"/>
        </a:defRPr>
      </a:lvl6pPr>
      <a:lvl7pPr marL="2415823" indent="-242377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tx2"/>
        </a:buClr>
        <a:buFont typeface="Arial" charset="0"/>
        <a:buChar char="–"/>
        <a:defRPr sz="1600">
          <a:solidFill>
            <a:schemeClr val="tx1"/>
          </a:solidFill>
          <a:latin typeface="+mn-lt"/>
          <a:cs typeface="+mn-cs"/>
        </a:defRPr>
      </a:lvl7pPr>
      <a:lvl8pPr marL="2872056" indent="-242377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tx2"/>
        </a:buClr>
        <a:buFont typeface="Arial" charset="0"/>
        <a:buChar char="–"/>
        <a:defRPr sz="1600">
          <a:solidFill>
            <a:schemeClr val="tx1"/>
          </a:solidFill>
          <a:latin typeface="+mn-lt"/>
          <a:cs typeface="+mn-cs"/>
        </a:defRPr>
      </a:lvl8pPr>
      <a:lvl9pPr marL="3328287" indent="-242377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tx2"/>
        </a:buClr>
        <a:buFont typeface="Arial" charset="0"/>
        <a:buChar char="–"/>
        <a:defRPr sz="16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91246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234" algn="l" defTabSz="91246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2468" algn="l" defTabSz="91246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8700" algn="l" defTabSz="91246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4935" algn="l" defTabSz="91246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1167" algn="l" defTabSz="91246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37394" algn="l" defTabSz="91246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3635" algn="l" defTabSz="91246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49869" algn="l" defTabSz="91246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 userDrawn="1"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993482769"/>
              </p:ext>
            </p:extLst>
          </p:nvPr>
        </p:nvGraphicFramePr>
        <p:xfrm>
          <a:off x="1590" y="1613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384" name="think-cell Slide" r:id="rId11" imgW="270" imgH="270" progId="TCLayout.ActiveDocument.1">
                  <p:embed/>
                </p:oleObj>
              </mc:Choice>
              <mc:Fallback>
                <p:oleObj name="think-cell Slide" r:id="rId11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90" y="1613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435" name="Rectangle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386582" y="1465263"/>
            <a:ext cx="8370887" cy="434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906267" name="Line 27"/>
          <p:cNvSpPr>
            <a:spLocks noChangeShapeType="1"/>
          </p:cNvSpPr>
          <p:nvPr/>
        </p:nvSpPr>
        <p:spPr bwMode="auto">
          <a:xfrm>
            <a:off x="252000" y="903288"/>
            <a:ext cx="8640000" cy="0"/>
          </a:xfrm>
          <a:prstGeom prst="line">
            <a:avLst/>
          </a:prstGeom>
          <a:noFill/>
          <a:ln w="28575">
            <a:solidFill>
              <a:srgbClr val="016EB3"/>
            </a:solidFill>
            <a:round/>
            <a:headEnd/>
            <a:tailEnd/>
          </a:ln>
          <a:effectLst/>
        </p:spPr>
        <p:txBody>
          <a:bodyPr wrap="none" lIns="91227" tIns="45613" rIns="91227" bIns="45613"/>
          <a:lstStyle/>
          <a:p>
            <a:pPr defTabSz="910706" fontAlgn="base">
              <a:spcBef>
                <a:spcPct val="50000"/>
              </a:spcBef>
              <a:spcAft>
                <a:spcPct val="0"/>
              </a:spcAft>
              <a:defRPr/>
            </a:pPr>
            <a:endParaRPr kumimoji="1" lang="ru-RU" sz="1000" dirty="0">
              <a:solidFill>
                <a:srgbClr val="002766"/>
              </a:solidFill>
              <a:latin typeface="Tahoma" pitchFamily="34" charset="0"/>
              <a:ea typeface="PMingLiU" pitchFamily="18" charset="-120"/>
            </a:endParaRPr>
          </a:p>
        </p:txBody>
      </p:sp>
      <p:sp>
        <p:nvSpPr>
          <p:cNvPr id="9" name="GS Doctop Placeholder" hidden="1"/>
          <p:cNvSpPr txBox="1"/>
          <p:nvPr/>
        </p:nvSpPr>
        <p:spPr>
          <a:xfrm>
            <a:off x="546102" y="18"/>
            <a:ext cx="5651500" cy="215228"/>
          </a:xfrm>
          <a:prstGeom prst="rect">
            <a:avLst/>
          </a:prstGeom>
          <a:noFill/>
        </p:spPr>
        <p:txBody>
          <a:bodyPr vert="horz" lIns="91227" tIns="45613" rIns="91227" bIns="45613" rtlCol="0">
            <a:spAutoFit/>
          </a:bodyPr>
          <a:lstStyle/>
          <a:p>
            <a:pPr defTabSz="910706" fontAlgn="base">
              <a:spcBef>
                <a:spcPct val="0"/>
              </a:spcBef>
              <a:spcAft>
                <a:spcPct val="0"/>
              </a:spcAft>
            </a:pPr>
            <a:r>
              <a:rPr kumimoji="1" lang="en-GB" sz="800" smtClean="0">
                <a:solidFill>
                  <a:srgbClr val="002766"/>
                </a:solidFill>
                <a:ea typeface="PMingLiU" pitchFamily="18" charset="-120"/>
              </a:rPr>
              <a:t>ALMAZ2013\IPO\Roadshow\October Roadshow\Presentation\13 10 13 Roadshow Presentation RUS vF.pptx</a:t>
            </a:r>
            <a:endParaRPr kumimoji="1" lang="en-US" sz="800" dirty="0">
              <a:solidFill>
                <a:srgbClr val="002766"/>
              </a:solidFill>
              <a:ea typeface="PMingLiU" pitchFamily="18" charset="-120"/>
            </a:endParaRPr>
          </a:p>
        </p:txBody>
      </p:sp>
      <p:sp>
        <p:nvSpPr>
          <p:cNvPr id="8" name="Прямоугольник 7"/>
          <p:cNvSpPr/>
          <p:nvPr/>
        </p:nvSpPr>
        <p:spPr bwMode="auto">
          <a:xfrm>
            <a:off x="8671460" y="6516025"/>
            <a:ext cx="468000" cy="219075"/>
          </a:xfrm>
          <a:prstGeom prst="rect">
            <a:avLst/>
          </a:prstGeom>
          <a:solidFill>
            <a:srgbClr val="016EB3"/>
          </a:solidFill>
          <a:ln w="9525" cap="flat" cmpd="sng" algn="ctr">
            <a:solidFill>
              <a:srgbClr val="016EB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227" tIns="45613" rIns="91227" bIns="45613" numCol="1" rtlCol="0" anchor="t" anchorCtr="0" compatLnSpc="1">
            <a:prstTxWarp prst="textNoShape">
              <a:avLst/>
            </a:prstTxWarp>
          </a:bodyPr>
          <a:lstStyle/>
          <a:p>
            <a:pPr defTabSz="910706" fontAlgn="base">
              <a:spcBef>
                <a:spcPct val="50000"/>
              </a:spcBef>
              <a:spcAft>
                <a:spcPct val="0"/>
              </a:spcAft>
            </a:pPr>
            <a:endParaRPr kumimoji="1" lang="ru-RU" sz="1000" smtClean="0">
              <a:solidFill>
                <a:srgbClr val="0072B6"/>
              </a:solidFill>
              <a:latin typeface="Tahoma" pitchFamily="34" charset="0"/>
              <a:ea typeface="PMingLiU" pitchFamily="18" charset="-120"/>
            </a:endParaRPr>
          </a:p>
        </p:txBody>
      </p:sp>
      <p:sp>
        <p:nvSpPr>
          <p:cNvPr id="10" name="Slide Number Placeholder 8"/>
          <p:cNvSpPr>
            <a:spLocks noGrp="1"/>
          </p:cNvSpPr>
          <p:nvPr>
            <p:ph type="sldNum" sz="quarter" idx="4"/>
          </p:nvPr>
        </p:nvSpPr>
        <p:spPr>
          <a:xfrm>
            <a:off x="8681892" y="6521124"/>
            <a:ext cx="402094" cy="217518"/>
          </a:xfrm>
          <a:prstGeom prst="rect">
            <a:avLst/>
          </a:prstGeom>
        </p:spPr>
        <p:txBody>
          <a:bodyPr lIns="91227" tIns="45613" rIns="91227" bIns="45613"/>
          <a:lstStyle>
            <a:lvl1pPr>
              <a:defRPr sz="800">
                <a:solidFill>
                  <a:schemeClr val="bg1"/>
                </a:solidFill>
                <a:latin typeface="+mj-lt"/>
              </a:defRPr>
            </a:lvl1pPr>
          </a:lstStyle>
          <a:p>
            <a:pPr defTabSz="910706" fontAlgn="base">
              <a:spcBef>
                <a:spcPct val="0"/>
              </a:spcBef>
              <a:spcAft>
                <a:spcPct val="0"/>
              </a:spcAft>
            </a:pPr>
            <a:fld id="{8E141AF1-466E-4D9F-B74C-45FFEB47CA13}" type="slidenum">
              <a:rPr kumimoji="1" lang="de-DE" smtClean="0">
                <a:solidFill>
                  <a:srgbClr val="FFFFFF"/>
                </a:solidFill>
                <a:ea typeface="PMingLiU" pitchFamily="18" charset="-120"/>
              </a:rPr>
              <a:pPr defTabSz="910706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kumimoji="1" lang="de-DE" dirty="0">
              <a:solidFill>
                <a:srgbClr val="FFFFFF"/>
              </a:solidFill>
              <a:ea typeface="PMingLiU" pitchFamily="18" charset="-120"/>
            </a:endParaRPr>
          </a:p>
        </p:txBody>
      </p:sp>
    </p:spTree>
    <p:extLst>
      <p:ext uri="{BB962C8B-B14F-4D97-AF65-F5344CB8AC3E}">
        <p14:creationId xmlns:p14="http://schemas.microsoft.com/office/powerpoint/2010/main" val="33410028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1" r:id="rId1"/>
    <p:sldLayoutId id="2147483752" r:id="rId2"/>
    <p:sldLayoutId id="2147483753" r:id="rId3"/>
    <p:sldLayoutId id="2147483754" r:id="rId4"/>
    <p:sldLayoutId id="2147483755" r:id="rId5"/>
    <p:sldLayoutId id="2147483756" r:id="rId6"/>
    <p:sldLayoutId id="2147483757" r:id="rId7"/>
  </p:sldLayoutIdLst>
  <mc:AlternateContent xmlns:mc="http://schemas.openxmlformats.org/markup-compatibility/2006" xmlns:p14="http://schemas.microsoft.com/office/powerpoint/2010/main">
    <mc:Choice Requires="p14">
      <p:transition spd="slow" p14:dur="1600">
        <p14:gallery dir="l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  <p:hf sldNum="0" hdr="0" ft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500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>
          <a:solidFill>
            <a:schemeClr val="tx2"/>
          </a:solidFill>
          <a:latin typeface="Arial" charset="0"/>
          <a:cs typeface="Arial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>
          <a:solidFill>
            <a:schemeClr val="tx2"/>
          </a:solidFill>
          <a:latin typeface="Arial" charset="0"/>
          <a:cs typeface="Arial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>
          <a:solidFill>
            <a:schemeClr val="tx2"/>
          </a:solidFill>
          <a:latin typeface="Arial" charset="0"/>
          <a:cs typeface="Arial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>
          <a:solidFill>
            <a:schemeClr val="tx2"/>
          </a:solidFill>
          <a:latin typeface="Arial" charset="0"/>
          <a:cs typeface="Arial" charset="0"/>
        </a:defRPr>
      </a:lvl5pPr>
      <a:lvl6pPr marL="45615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>
          <a:solidFill>
            <a:schemeClr val="tx2"/>
          </a:solidFill>
          <a:latin typeface="Arial" charset="0"/>
          <a:cs typeface="Arial" charset="0"/>
        </a:defRPr>
      </a:lvl6pPr>
      <a:lvl7pPr marL="9123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>
          <a:solidFill>
            <a:schemeClr val="tx2"/>
          </a:solidFill>
          <a:latin typeface="Arial" charset="0"/>
          <a:cs typeface="Arial" charset="0"/>
        </a:defRPr>
      </a:lvl7pPr>
      <a:lvl8pPr marL="1368448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>
          <a:solidFill>
            <a:schemeClr val="tx2"/>
          </a:solidFill>
          <a:latin typeface="Arial" charset="0"/>
          <a:cs typeface="Arial" charset="0"/>
        </a:defRPr>
      </a:lvl8pPr>
      <a:lvl9pPr marL="1824599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marL="256583" indent="-256583" algn="l" rtl="0" eaLnBrk="1" fontAlgn="base" hangingPunct="1">
        <a:lnSpc>
          <a:spcPct val="110000"/>
        </a:lnSpc>
        <a:spcBef>
          <a:spcPct val="75000"/>
        </a:spcBef>
        <a:spcAft>
          <a:spcPct val="0"/>
        </a:spcAft>
        <a:buClr>
          <a:srgbClr val="3376D9"/>
        </a:buClr>
        <a:buSzPct val="120000"/>
        <a:buFont typeface="Wingdings" pitchFamily="2" charset="2"/>
        <a:buBlip>
          <a:blip r:embed="rId13"/>
        </a:buBlip>
        <a:defRPr sz="1200">
          <a:solidFill>
            <a:schemeClr val="tx1"/>
          </a:solidFill>
          <a:latin typeface="+mn-lt"/>
          <a:ea typeface="+mn-ea"/>
          <a:cs typeface="+mn-cs"/>
        </a:defRPr>
      </a:lvl1pPr>
      <a:lvl2pPr marL="681058" indent="-422888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tx2"/>
        </a:buClr>
        <a:buFont typeface="Arial" pitchFamily="34" charset="0"/>
        <a:buBlip>
          <a:blip r:embed="rId14"/>
        </a:buBlip>
        <a:defRPr sz="1100">
          <a:solidFill>
            <a:schemeClr val="tx1"/>
          </a:solidFill>
          <a:latin typeface="+mn-lt"/>
          <a:cs typeface="+mn-cs"/>
        </a:defRPr>
      </a:lvl2pPr>
      <a:lvl3pPr marL="975651" indent="-293013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bg2"/>
        </a:buClr>
        <a:buSzPct val="85000"/>
        <a:buFont typeface="Wingdings 3" pitchFamily="18" charset="2"/>
        <a:buChar char=""/>
        <a:defRPr sz="1100">
          <a:solidFill>
            <a:schemeClr val="tx1"/>
          </a:solidFill>
          <a:latin typeface="+mn-lt"/>
          <a:cs typeface="+mn-cs"/>
        </a:defRPr>
      </a:lvl3pPr>
      <a:lvl4pPr marL="1259164" indent="-281925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tx2"/>
        </a:buClr>
        <a:buFont typeface="Wingdings" pitchFamily="2" charset="2"/>
        <a:buChar char="w"/>
        <a:defRPr sz="1600">
          <a:solidFill>
            <a:schemeClr val="tx1"/>
          </a:solidFill>
          <a:latin typeface="+mn-lt"/>
          <a:cs typeface="+mn-cs"/>
        </a:defRPr>
      </a:lvl4pPr>
      <a:lvl5pPr marL="1503076" indent="-242333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tx2"/>
        </a:buClr>
        <a:buFont typeface="Arial" pitchFamily="34" charset="0"/>
        <a:buChar char="–"/>
        <a:defRPr sz="1600">
          <a:solidFill>
            <a:schemeClr val="tx1"/>
          </a:solidFill>
          <a:latin typeface="+mn-lt"/>
          <a:cs typeface="+mn-cs"/>
        </a:defRPr>
      </a:lvl5pPr>
      <a:lvl6pPr marL="1959225" indent="-242333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tx2"/>
        </a:buClr>
        <a:buFont typeface="Arial" charset="0"/>
        <a:buChar char="–"/>
        <a:defRPr sz="1600">
          <a:solidFill>
            <a:schemeClr val="tx1"/>
          </a:solidFill>
          <a:latin typeface="+mn-lt"/>
          <a:cs typeface="+mn-cs"/>
        </a:defRPr>
      </a:lvl6pPr>
      <a:lvl7pPr marL="2415378" indent="-242333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tx2"/>
        </a:buClr>
        <a:buFont typeface="Arial" charset="0"/>
        <a:buChar char="–"/>
        <a:defRPr sz="1600">
          <a:solidFill>
            <a:schemeClr val="tx1"/>
          </a:solidFill>
          <a:latin typeface="+mn-lt"/>
          <a:cs typeface="+mn-cs"/>
        </a:defRPr>
      </a:lvl7pPr>
      <a:lvl8pPr marL="2871528" indent="-242333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tx2"/>
        </a:buClr>
        <a:buFont typeface="Arial" charset="0"/>
        <a:buChar char="–"/>
        <a:defRPr sz="1600">
          <a:solidFill>
            <a:schemeClr val="tx1"/>
          </a:solidFill>
          <a:latin typeface="+mn-lt"/>
          <a:cs typeface="+mn-cs"/>
        </a:defRPr>
      </a:lvl8pPr>
      <a:lvl9pPr marL="3327675" indent="-242333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tx2"/>
        </a:buClr>
        <a:buFont typeface="Arial" charset="0"/>
        <a:buChar char="–"/>
        <a:defRPr sz="16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9123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150" algn="l" defTabSz="9123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2300" algn="l" defTabSz="9123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8448" algn="l" defTabSz="9123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4599" algn="l" defTabSz="9123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0748" algn="l" defTabSz="9123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36891" algn="l" defTabSz="9123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3047" algn="l" defTabSz="9123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49197" algn="l" defTabSz="9123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 userDrawn="1"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3856865601"/>
              </p:ext>
            </p:extLst>
          </p:nvPr>
        </p:nvGraphicFramePr>
        <p:xfrm>
          <a:off x="1590" y="1611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408" name="think-cell Slide" r:id="rId12" imgW="270" imgH="270" progId="TCLayout.ActiveDocument.1">
                  <p:embed/>
                </p:oleObj>
              </mc:Choice>
              <mc:Fallback>
                <p:oleObj name="think-cell Slid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90" y="1611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435" name="Rectangle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386580" y="1465263"/>
            <a:ext cx="8370887" cy="434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906267" name="Line 27"/>
          <p:cNvSpPr>
            <a:spLocks noChangeShapeType="1"/>
          </p:cNvSpPr>
          <p:nvPr/>
        </p:nvSpPr>
        <p:spPr bwMode="auto">
          <a:xfrm>
            <a:off x="252000" y="903288"/>
            <a:ext cx="8640000" cy="0"/>
          </a:xfrm>
          <a:prstGeom prst="line">
            <a:avLst/>
          </a:prstGeom>
          <a:noFill/>
          <a:ln w="28575">
            <a:solidFill>
              <a:srgbClr val="016EB3"/>
            </a:solidFill>
            <a:round/>
            <a:headEnd/>
            <a:tailEnd/>
          </a:ln>
          <a:effectLst/>
        </p:spPr>
        <p:txBody>
          <a:bodyPr wrap="none" lIns="91243" tIns="45622" rIns="91243" bIns="45622"/>
          <a:lstStyle/>
          <a:p>
            <a:pPr fontAlgn="base">
              <a:spcBef>
                <a:spcPct val="50000"/>
              </a:spcBef>
              <a:spcAft>
                <a:spcPct val="0"/>
              </a:spcAft>
              <a:defRPr/>
            </a:pPr>
            <a:endParaRPr kumimoji="1" lang="ru-RU" sz="1000" dirty="0">
              <a:solidFill>
                <a:srgbClr val="002766"/>
              </a:solidFill>
              <a:latin typeface="Tahoma" pitchFamily="34" charset="0"/>
              <a:ea typeface="PMingLiU" pitchFamily="18" charset="-120"/>
            </a:endParaRPr>
          </a:p>
        </p:txBody>
      </p:sp>
      <p:sp>
        <p:nvSpPr>
          <p:cNvPr id="9" name="GS Doctop Placeholder" hidden="1"/>
          <p:cNvSpPr txBox="1"/>
          <p:nvPr/>
        </p:nvSpPr>
        <p:spPr>
          <a:xfrm>
            <a:off x="546102" y="17"/>
            <a:ext cx="5651500" cy="215246"/>
          </a:xfrm>
          <a:prstGeom prst="rect">
            <a:avLst/>
          </a:prstGeom>
          <a:noFill/>
        </p:spPr>
        <p:txBody>
          <a:bodyPr vert="horz" lIns="91243" tIns="45622" rIns="91243" bIns="45622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kumimoji="1" lang="en-GB" sz="800" smtClean="0">
                <a:solidFill>
                  <a:srgbClr val="002766"/>
                </a:solidFill>
                <a:ea typeface="PMingLiU" pitchFamily="18" charset="-120"/>
              </a:rPr>
              <a:t>ALMAZ2013\IPO\Roadshow\October Roadshow\Presentation\13 10 13 Roadshow Presentation RUS vF.pptx</a:t>
            </a:r>
            <a:endParaRPr kumimoji="1" lang="en-US" sz="800" dirty="0">
              <a:solidFill>
                <a:srgbClr val="002766"/>
              </a:solidFill>
              <a:ea typeface="PMingLiU" pitchFamily="18" charset="-120"/>
            </a:endParaRPr>
          </a:p>
        </p:txBody>
      </p:sp>
      <p:sp>
        <p:nvSpPr>
          <p:cNvPr id="8" name="Прямоугольник 7"/>
          <p:cNvSpPr/>
          <p:nvPr/>
        </p:nvSpPr>
        <p:spPr bwMode="auto">
          <a:xfrm>
            <a:off x="8671460" y="6516023"/>
            <a:ext cx="468000" cy="219075"/>
          </a:xfrm>
          <a:prstGeom prst="rect">
            <a:avLst/>
          </a:prstGeom>
          <a:solidFill>
            <a:srgbClr val="016EB3"/>
          </a:solidFill>
          <a:ln w="9525" cap="flat" cmpd="sng" algn="ctr">
            <a:solidFill>
              <a:srgbClr val="016EB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243" tIns="45622" rIns="91243" bIns="45622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</a:pPr>
            <a:endParaRPr kumimoji="1" lang="ru-RU" sz="1000" smtClean="0">
              <a:solidFill>
                <a:srgbClr val="0072B6"/>
              </a:solidFill>
              <a:latin typeface="Tahoma" pitchFamily="34" charset="0"/>
              <a:ea typeface="PMingLiU" pitchFamily="18" charset="-120"/>
            </a:endParaRPr>
          </a:p>
        </p:txBody>
      </p:sp>
      <p:sp>
        <p:nvSpPr>
          <p:cNvPr id="10" name="Slide Number Placeholder 8"/>
          <p:cNvSpPr>
            <a:spLocks noGrp="1"/>
          </p:cNvSpPr>
          <p:nvPr>
            <p:ph type="sldNum" sz="quarter" idx="4"/>
          </p:nvPr>
        </p:nvSpPr>
        <p:spPr>
          <a:xfrm>
            <a:off x="8681892" y="6521124"/>
            <a:ext cx="402094" cy="217518"/>
          </a:xfrm>
          <a:prstGeom prst="rect">
            <a:avLst/>
          </a:prstGeom>
        </p:spPr>
        <p:txBody>
          <a:bodyPr lIns="91243" tIns="45622" rIns="91243" bIns="45622"/>
          <a:lstStyle>
            <a:lvl1pPr>
              <a:defRPr sz="800">
                <a:solidFill>
                  <a:schemeClr val="bg1"/>
                </a:solidFill>
                <a:latin typeface="+mj-lt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8E141AF1-466E-4D9F-B74C-45FFEB47CA13}" type="slidenum">
              <a:rPr kumimoji="1" lang="de-DE" smtClean="0">
                <a:solidFill>
                  <a:srgbClr val="FFFFFF"/>
                </a:solidFill>
                <a:ea typeface="PMingLiU" pitchFamily="18" charset="-12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kumimoji="1" lang="de-DE" dirty="0">
              <a:solidFill>
                <a:srgbClr val="FFFFFF"/>
              </a:solidFill>
              <a:ea typeface="PMingLiU" pitchFamily="18" charset="-120"/>
            </a:endParaRPr>
          </a:p>
        </p:txBody>
      </p:sp>
    </p:spTree>
    <p:extLst>
      <p:ext uri="{BB962C8B-B14F-4D97-AF65-F5344CB8AC3E}">
        <p14:creationId xmlns:p14="http://schemas.microsoft.com/office/powerpoint/2010/main" val="6621907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9" r:id="rId1"/>
    <p:sldLayoutId id="2147483760" r:id="rId2"/>
    <p:sldLayoutId id="2147483761" r:id="rId3"/>
    <p:sldLayoutId id="2147483762" r:id="rId4"/>
    <p:sldLayoutId id="2147483763" r:id="rId5"/>
    <p:sldLayoutId id="2147483764" r:id="rId6"/>
    <p:sldLayoutId id="2147483765" r:id="rId7"/>
    <p:sldLayoutId id="2147483766" r:id="rId8"/>
  </p:sldLayoutIdLst>
  <mc:AlternateContent xmlns:mc="http://schemas.openxmlformats.org/markup-compatibility/2006" xmlns:p14="http://schemas.microsoft.com/office/powerpoint/2010/main">
    <mc:Choice Requires="p14">
      <p:transition spd="slow" p14:dur="1600">
        <p14:gallery dir="l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  <p:hf sldNum="0" hdr="0" ft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500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>
          <a:solidFill>
            <a:schemeClr val="tx2"/>
          </a:solidFill>
          <a:latin typeface="Arial" charset="0"/>
          <a:cs typeface="Arial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>
          <a:solidFill>
            <a:schemeClr val="tx2"/>
          </a:solidFill>
          <a:latin typeface="Arial" charset="0"/>
          <a:cs typeface="Arial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>
          <a:solidFill>
            <a:schemeClr val="tx2"/>
          </a:solidFill>
          <a:latin typeface="Arial" charset="0"/>
          <a:cs typeface="Arial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>
          <a:solidFill>
            <a:schemeClr val="tx2"/>
          </a:solidFill>
          <a:latin typeface="Arial" charset="0"/>
          <a:cs typeface="Arial" charset="0"/>
        </a:defRPr>
      </a:lvl5pPr>
      <a:lvl6pPr marL="456234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>
          <a:solidFill>
            <a:schemeClr val="tx2"/>
          </a:solidFill>
          <a:latin typeface="Arial" charset="0"/>
          <a:cs typeface="Arial" charset="0"/>
        </a:defRPr>
      </a:lvl6pPr>
      <a:lvl7pPr marL="912468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>
          <a:solidFill>
            <a:schemeClr val="tx2"/>
          </a:solidFill>
          <a:latin typeface="Arial" charset="0"/>
          <a:cs typeface="Arial" charset="0"/>
        </a:defRPr>
      </a:lvl7pPr>
      <a:lvl8pPr marL="13687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>
          <a:solidFill>
            <a:schemeClr val="tx2"/>
          </a:solidFill>
          <a:latin typeface="Arial" charset="0"/>
          <a:cs typeface="Arial" charset="0"/>
        </a:defRPr>
      </a:lvl8pPr>
      <a:lvl9pPr marL="1824935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marL="256630" indent="-256630" algn="l" rtl="0" eaLnBrk="1" fontAlgn="base" hangingPunct="1">
        <a:lnSpc>
          <a:spcPct val="110000"/>
        </a:lnSpc>
        <a:spcBef>
          <a:spcPct val="75000"/>
        </a:spcBef>
        <a:spcAft>
          <a:spcPct val="0"/>
        </a:spcAft>
        <a:buClr>
          <a:srgbClr val="3376D9"/>
        </a:buClr>
        <a:buSzPct val="120000"/>
        <a:buFont typeface="Wingdings" pitchFamily="2" charset="2"/>
        <a:buBlip>
          <a:blip r:embed="rId14"/>
        </a:buBlip>
        <a:defRPr sz="1200">
          <a:solidFill>
            <a:schemeClr val="tx1"/>
          </a:solidFill>
          <a:latin typeface="+mn-lt"/>
          <a:ea typeface="+mn-ea"/>
          <a:cs typeface="+mn-cs"/>
        </a:defRPr>
      </a:lvl1pPr>
      <a:lvl2pPr marL="681182" indent="-422966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tx2"/>
        </a:buClr>
        <a:buFont typeface="Arial" pitchFamily="34" charset="0"/>
        <a:buBlip>
          <a:blip r:embed="rId15"/>
        </a:buBlip>
        <a:defRPr sz="1100">
          <a:solidFill>
            <a:schemeClr val="tx1"/>
          </a:solidFill>
          <a:latin typeface="+mn-lt"/>
          <a:cs typeface="+mn-cs"/>
        </a:defRPr>
      </a:lvl2pPr>
      <a:lvl3pPr marL="975831" indent="-293067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bg2"/>
        </a:buClr>
        <a:buSzPct val="85000"/>
        <a:buFont typeface="Wingdings 3" pitchFamily="18" charset="2"/>
        <a:buChar char=""/>
        <a:defRPr sz="1100">
          <a:solidFill>
            <a:schemeClr val="tx1"/>
          </a:solidFill>
          <a:latin typeface="+mn-lt"/>
          <a:cs typeface="+mn-cs"/>
        </a:defRPr>
      </a:lvl3pPr>
      <a:lvl4pPr marL="1259396" indent="-281977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tx2"/>
        </a:buClr>
        <a:buFont typeface="Wingdings" pitchFamily="2" charset="2"/>
        <a:buChar char="w"/>
        <a:defRPr sz="1600">
          <a:solidFill>
            <a:schemeClr val="tx1"/>
          </a:solidFill>
          <a:latin typeface="+mn-lt"/>
          <a:cs typeface="+mn-cs"/>
        </a:defRPr>
      </a:lvl4pPr>
      <a:lvl5pPr marL="1503353" indent="-242377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tx2"/>
        </a:buClr>
        <a:buFont typeface="Arial" pitchFamily="34" charset="0"/>
        <a:buChar char="–"/>
        <a:defRPr sz="1600">
          <a:solidFill>
            <a:schemeClr val="tx1"/>
          </a:solidFill>
          <a:latin typeface="+mn-lt"/>
          <a:cs typeface="+mn-cs"/>
        </a:defRPr>
      </a:lvl5pPr>
      <a:lvl6pPr marL="1959585" indent="-242377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tx2"/>
        </a:buClr>
        <a:buFont typeface="Arial" charset="0"/>
        <a:buChar char="–"/>
        <a:defRPr sz="1600">
          <a:solidFill>
            <a:schemeClr val="tx1"/>
          </a:solidFill>
          <a:latin typeface="+mn-lt"/>
          <a:cs typeface="+mn-cs"/>
        </a:defRPr>
      </a:lvl6pPr>
      <a:lvl7pPr marL="2415823" indent="-242377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tx2"/>
        </a:buClr>
        <a:buFont typeface="Arial" charset="0"/>
        <a:buChar char="–"/>
        <a:defRPr sz="1600">
          <a:solidFill>
            <a:schemeClr val="tx1"/>
          </a:solidFill>
          <a:latin typeface="+mn-lt"/>
          <a:cs typeface="+mn-cs"/>
        </a:defRPr>
      </a:lvl7pPr>
      <a:lvl8pPr marL="2872056" indent="-242377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tx2"/>
        </a:buClr>
        <a:buFont typeface="Arial" charset="0"/>
        <a:buChar char="–"/>
        <a:defRPr sz="1600">
          <a:solidFill>
            <a:schemeClr val="tx1"/>
          </a:solidFill>
          <a:latin typeface="+mn-lt"/>
          <a:cs typeface="+mn-cs"/>
        </a:defRPr>
      </a:lvl8pPr>
      <a:lvl9pPr marL="3328287" indent="-242377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tx2"/>
        </a:buClr>
        <a:buFont typeface="Arial" charset="0"/>
        <a:buChar char="–"/>
        <a:defRPr sz="16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91246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234" algn="l" defTabSz="91246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2468" algn="l" defTabSz="91246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8700" algn="l" defTabSz="91246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4935" algn="l" defTabSz="91246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1167" algn="l" defTabSz="91246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37394" algn="l" defTabSz="91246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3635" algn="l" defTabSz="91246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49869" algn="l" defTabSz="91246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 userDrawn="1"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248761540"/>
              </p:ext>
            </p:extLst>
          </p:nvPr>
        </p:nvGraphicFramePr>
        <p:xfrm>
          <a:off x="1590" y="1613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432" name="think-cell Slide" r:id="rId11" imgW="270" imgH="270" progId="TCLayout.ActiveDocument.1">
                  <p:embed/>
                </p:oleObj>
              </mc:Choice>
              <mc:Fallback>
                <p:oleObj name="think-cell Slide" r:id="rId11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90" y="1613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435" name="Rectangle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386582" y="1465263"/>
            <a:ext cx="8370887" cy="434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906267" name="Line 27"/>
          <p:cNvSpPr>
            <a:spLocks noChangeShapeType="1"/>
          </p:cNvSpPr>
          <p:nvPr/>
        </p:nvSpPr>
        <p:spPr bwMode="auto">
          <a:xfrm>
            <a:off x="252000" y="903288"/>
            <a:ext cx="8640000" cy="0"/>
          </a:xfrm>
          <a:prstGeom prst="line">
            <a:avLst/>
          </a:prstGeom>
          <a:noFill/>
          <a:ln w="28575">
            <a:solidFill>
              <a:srgbClr val="016EB3"/>
            </a:solidFill>
            <a:round/>
            <a:headEnd/>
            <a:tailEnd/>
          </a:ln>
          <a:effectLst/>
        </p:spPr>
        <p:txBody>
          <a:bodyPr wrap="none" lIns="91227" tIns="45613" rIns="91227" bIns="45613"/>
          <a:lstStyle/>
          <a:p>
            <a:pPr defTabSz="910706" fontAlgn="base">
              <a:spcBef>
                <a:spcPct val="50000"/>
              </a:spcBef>
              <a:spcAft>
                <a:spcPct val="0"/>
              </a:spcAft>
              <a:defRPr/>
            </a:pPr>
            <a:endParaRPr kumimoji="1" lang="ru-RU" sz="1000" dirty="0">
              <a:solidFill>
                <a:srgbClr val="002766"/>
              </a:solidFill>
              <a:latin typeface="Tahoma" pitchFamily="34" charset="0"/>
              <a:ea typeface="PMingLiU" pitchFamily="18" charset="-120"/>
            </a:endParaRPr>
          </a:p>
        </p:txBody>
      </p:sp>
      <p:sp>
        <p:nvSpPr>
          <p:cNvPr id="9" name="GS Doctop Placeholder" hidden="1"/>
          <p:cNvSpPr txBox="1"/>
          <p:nvPr/>
        </p:nvSpPr>
        <p:spPr>
          <a:xfrm>
            <a:off x="546102" y="18"/>
            <a:ext cx="5651500" cy="215228"/>
          </a:xfrm>
          <a:prstGeom prst="rect">
            <a:avLst/>
          </a:prstGeom>
          <a:noFill/>
        </p:spPr>
        <p:txBody>
          <a:bodyPr vert="horz" lIns="91227" tIns="45613" rIns="91227" bIns="45613" rtlCol="0">
            <a:spAutoFit/>
          </a:bodyPr>
          <a:lstStyle/>
          <a:p>
            <a:pPr defTabSz="910706" fontAlgn="base">
              <a:spcBef>
                <a:spcPct val="0"/>
              </a:spcBef>
              <a:spcAft>
                <a:spcPct val="0"/>
              </a:spcAft>
            </a:pPr>
            <a:r>
              <a:rPr kumimoji="1" lang="en-GB" sz="800" smtClean="0">
                <a:solidFill>
                  <a:srgbClr val="002766"/>
                </a:solidFill>
                <a:ea typeface="PMingLiU" pitchFamily="18" charset="-120"/>
              </a:rPr>
              <a:t>ALMAZ2013\IPO\Roadshow\October Roadshow\Presentation\13 10 13 Roadshow Presentation RUS vF.pptx</a:t>
            </a:r>
            <a:endParaRPr kumimoji="1" lang="en-US" sz="800" dirty="0">
              <a:solidFill>
                <a:srgbClr val="002766"/>
              </a:solidFill>
              <a:ea typeface="PMingLiU" pitchFamily="18" charset="-120"/>
            </a:endParaRPr>
          </a:p>
        </p:txBody>
      </p:sp>
      <p:sp>
        <p:nvSpPr>
          <p:cNvPr id="8" name="Прямоугольник 7"/>
          <p:cNvSpPr/>
          <p:nvPr/>
        </p:nvSpPr>
        <p:spPr bwMode="auto">
          <a:xfrm>
            <a:off x="8671460" y="6516025"/>
            <a:ext cx="468000" cy="219075"/>
          </a:xfrm>
          <a:prstGeom prst="rect">
            <a:avLst/>
          </a:prstGeom>
          <a:solidFill>
            <a:srgbClr val="016EB3"/>
          </a:solidFill>
          <a:ln w="9525" cap="flat" cmpd="sng" algn="ctr">
            <a:solidFill>
              <a:srgbClr val="016EB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227" tIns="45613" rIns="91227" bIns="45613" numCol="1" rtlCol="0" anchor="t" anchorCtr="0" compatLnSpc="1">
            <a:prstTxWarp prst="textNoShape">
              <a:avLst/>
            </a:prstTxWarp>
          </a:bodyPr>
          <a:lstStyle/>
          <a:p>
            <a:pPr defTabSz="910706" fontAlgn="base">
              <a:spcBef>
                <a:spcPct val="50000"/>
              </a:spcBef>
              <a:spcAft>
                <a:spcPct val="0"/>
              </a:spcAft>
            </a:pPr>
            <a:endParaRPr kumimoji="1" lang="ru-RU" sz="1000" smtClean="0">
              <a:solidFill>
                <a:srgbClr val="0072B6"/>
              </a:solidFill>
              <a:latin typeface="Tahoma" pitchFamily="34" charset="0"/>
              <a:ea typeface="PMingLiU" pitchFamily="18" charset="-120"/>
            </a:endParaRPr>
          </a:p>
        </p:txBody>
      </p:sp>
      <p:sp>
        <p:nvSpPr>
          <p:cNvPr id="10" name="Slide Number Placeholder 8"/>
          <p:cNvSpPr>
            <a:spLocks noGrp="1"/>
          </p:cNvSpPr>
          <p:nvPr>
            <p:ph type="sldNum" sz="quarter" idx="4"/>
          </p:nvPr>
        </p:nvSpPr>
        <p:spPr>
          <a:xfrm>
            <a:off x="8681892" y="6521124"/>
            <a:ext cx="402094" cy="217518"/>
          </a:xfrm>
          <a:prstGeom prst="rect">
            <a:avLst/>
          </a:prstGeom>
        </p:spPr>
        <p:txBody>
          <a:bodyPr lIns="91227" tIns="45613" rIns="91227" bIns="45613"/>
          <a:lstStyle>
            <a:lvl1pPr>
              <a:defRPr sz="800">
                <a:solidFill>
                  <a:schemeClr val="bg1"/>
                </a:solidFill>
                <a:latin typeface="+mj-lt"/>
              </a:defRPr>
            </a:lvl1pPr>
          </a:lstStyle>
          <a:p>
            <a:pPr defTabSz="910706" fontAlgn="base">
              <a:spcBef>
                <a:spcPct val="0"/>
              </a:spcBef>
              <a:spcAft>
                <a:spcPct val="0"/>
              </a:spcAft>
            </a:pPr>
            <a:fld id="{8E141AF1-466E-4D9F-B74C-45FFEB47CA13}" type="slidenum">
              <a:rPr kumimoji="1" lang="de-DE" smtClean="0">
                <a:solidFill>
                  <a:srgbClr val="FFFFFF"/>
                </a:solidFill>
                <a:ea typeface="PMingLiU" pitchFamily="18" charset="-120"/>
              </a:rPr>
              <a:pPr defTabSz="910706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kumimoji="1" lang="de-DE" dirty="0">
              <a:solidFill>
                <a:srgbClr val="FFFFFF"/>
              </a:solidFill>
              <a:ea typeface="PMingLiU" pitchFamily="18" charset="-120"/>
            </a:endParaRPr>
          </a:p>
        </p:txBody>
      </p:sp>
    </p:spTree>
    <p:extLst>
      <p:ext uri="{BB962C8B-B14F-4D97-AF65-F5344CB8AC3E}">
        <p14:creationId xmlns:p14="http://schemas.microsoft.com/office/powerpoint/2010/main" val="12829505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8" r:id="rId1"/>
    <p:sldLayoutId id="2147483769" r:id="rId2"/>
    <p:sldLayoutId id="2147483770" r:id="rId3"/>
    <p:sldLayoutId id="2147483771" r:id="rId4"/>
    <p:sldLayoutId id="2147483772" r:id="rId5"/>
    <p:sldLayoutId id="2147483773" r:id="rId6"/>
    <p:sldLayoutId id="2147483774" r:id="rId7"/>
  </p:sldLayoutIdLst>
  <mc:AlternateContent xmlns:mc="http://schemas.openxmlformats.org/markup-compatibility/2006" xmlns:p14="http://schemas.microsoft.com/office/powerpoint/2010/main">
    <mc:Choice Requires="p14">
      <p:transition spd="slow" p14:dur="1600">
        <p14:gallery dir="l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  <p:hf sldNum="0" hdr="0" ft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500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>
          <a:solidFill>
            <a:schemeClr val="tx2"/>
          </a:solidFill>
          <a:latin typeface="Arial" charset="0"/>
          <a:cs typeface="Arial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>
          <a:solidFill>
            <a:schemeClr val="tx2"/>
          </a:solidFill>
          <a:latin typeface="Arial" charset="0"/>
          <a:cs typeface="Arial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>
          <a:solidFill>
            <a:schemeClr val="tx2"/>
          </a:solidFill>
          <a:latin typeface="Arial" charset="0"/>
          <a:cs typeface="Arial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>
          <a:solidFill>
            <a:schemeClr val="tx2"/>
          </a:solidFill>
          <a:latin typeface="Arial" charset="0"/>
          <a:cs typeface="Arial" charset="0"/>
        </a:defRPr>
      </a:lvl5pPr>
      <a:lvl6pPr marL="45615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>
          <a:solidFill>
            <a:schemeClr val="tx2"/>
          </a:solidFill>
          <a:latin typeface="Arial" charset="0"/>
          <a:cs typeface="Arial" charset="0"/>
        </a:defRPr>
      </a:lvl6pPr>
      <a:lvl7pPr marL="9123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>
          <a:solidFill>
            <a:schemeClr val="tx2"/>
          </a:solidFill>
          <a:latin typeface="Arial" charset="0"/>
          <a:cs typeface="Arial" charset="0"/>
        </a:defRPr>
      </a:lvl7pPr>
      <a:lvl8pPr marL="1368448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>
          <a:solidFill>
            <a:schemeClr val="tx2"/>
          </a:solidFill>
          <a:latin typeface="Arial" charset="0"/>
          <a:cs typeface="Arial" charset="0"/>
        </a:defRPr>
      </a:lvl8pPr>
      <a:lvl9pPr marL="1824599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marL="256583" indent="-256583" algn="l" rtl="0" eaLnBrk="1" fontAlgn="base" hangingPunct="1">
        <a:lnSpc>
          <a:spcPct val="110000"/>
        </a:lnSpc>
        <a:spcBef>
          <a:spcPct val="75000"/>
        </a:spcBef>
        <a:spcAft>
          <a:spcPct val="0"/>
        </a:spcAft>
        <a:buClr>
          <a:srgbClr val="3376D9"/>
        </a:buClr>
        <a:buSzPct val="120000"/>
        <a:buFont typeface="Wingdings" pitchFamily="2" charset="2"/>
        <a:buBlip>
          <a:blip r:embed="rId13"/>
        </a:buBlip>
        <a:defRPr sz="1200">
          <a:solidFill>
            <a:schemeClr val="tx1"/>
          </a:solidFill>
          <a:latin typeface="+mn-lt"/>
          <a:ea typeface="+mn-ea"/>
          <a:cs typeface="+mn-cs"/>
        </a:defRPr>
      </a:lvl1pPr>
      <a:lvl2pPr marL="681058" indent="-422888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tx2"/>
        </a:buClr>
        <a:buFont typeface="Arial" pitchFamily="34" charset="0"/>
        <a:buBlip>
          <a:blip r:embed="rId14"/>
        </a:buBlip>
        <a:defRPr sz="1100">
          <a:solidFill>
            <a:schemeClr val="tx1"/>
          </a:solidFill>
          <a:latin typeface="+mn-lt"/>
          <a:cs typeface="+mn-cs"/>
        </a:defRPr>
      </a:lvl2pPr>
      <a:lvl3pPr marL="975651" indent="-293013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bg2"/>
        </a:buClr>
        <a:buSzPct val="85000"/>
        <a:buFont typeface="Wingdings 3" pitchFamily="18" charset="2"/>
        <a:buChar char=""/>
        <a:defRPr sz="1100">
          <a:solidFill>
            <a:schemeClr val="tx1"/>
          </a:solidFill>
          <a:latin typeface="+mn-lt"/>
          <a:cs typeface="+mn-cs"/>
        </a:defRPr>
      </a:lvl3pPr>
      <a:lvl4pPr marL="1259164" indent="-281925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tx2"/>
        </a:buClr>
        <a:buFont typeface="Wingdings" pitchFamily="2" charset="2"/>
        <a:buChar char="w"/>
        <a:defRPr sz="1600">
          <a:solidFill>
            <a:schemeClr val="tx1"/>
          </a:solidFill>
          <a:latin typeface="+mn-lt"/>
          <a:cs typeface="+mn-cs"/>
        </a:defRPr>
      </a:lvl4pPr>
      <a:lvl5pPr marL="1503076" indent="-242333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tx2"/>
        </a:buClr>
        <a:buFont typeface="Arial" pitchFamily="34" charset="0"/>
        <a:buChar char="–"/>
        <a:defRPr sz="1600">
          <a:solidFill>
            <a:schemeClr val="tx1"/>
          </a:solidFill>
          <a:latin typeface="+mn-lt"/>
          <a:cs typeface="+mn-cs"/>
        </a:defRPr>
      </a:lvl5pPr>
      <a:lvl6pPr marL="1959225" indent="-242333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tx2"/>
        </a:buClr>
        <a:buFont typeface="Arial" charset="0"/>
        <a:buChar char="–"/>
        <a:defRPr sz="1600">
          <a:solidFill>
            <a:schemeClr val="tx1"/>
          </a:solidFill>
          <a:latin typeface="+mn-lt"/>
          <a:cs typeface="+mn-cs"/>
        </a:defRPr>
      </a:lvl6pPr>
      <a:lvl7pPr marL="2415378" indent="-242333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tx2"/>
        </a:buClr>
        <a:buFont typeface="Arial" charset="0"/>
        <a:buChar char="–"/>
        <a:defRPr sz="1600">
          <a:solidFill>
            <a:schemeClr val="tx1"/>
          </a:solidFill>
          <a:latin typeface="+mn-lt"/>
          <a:cs typeface="+mn-cs"/>
        </a:defRPr>
      </a:lvl7pPr>
      <a:lvl8pPr marL="2871528" indent="-242333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tx2"/>
        </a:buClr>
        <a:buFont typeface="Arial" charset="0"/>
        <a:buChar char="–"/>
        <a:defRPr sz="1600">
          <a:solidFill>
            <a:schemeClr val="tx1"/>
          </a:solidFill>
          <a:latin typeface="+mn-lt"/>
          <a:cs typeface="+mn-cs"/>
        </a:defRPr>
      </a:lvl8pPr>
      <a:lvl9pPr marL="3327675" indent="-242333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tx2"/>
        </a:buClr>
        <a:buFont typeface="Arial" charset="0"/>
        <a:buChar char="–"/>
        <a:defRPr sz="16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9123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150" algn="l" defTabSz="9123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2300" algn="l" defTabSz="9123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8448" algn="l" defTabSz="9123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4599" algn="l" defTabSz="9123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0748" algn="l" defTabSz="9123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36891" algn="l" defTabSz="9123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3047" algn="l" defTabSz="9123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49197" algn="l" defTabSz="9123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 userDrawn="1"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2868620944"/>
              </p:ext>
            </p:extLst>
          </p:nvPr>
        </p:nvGraphicFramePr>
        <p:xfrm>
          <a:off x="1590" y="1613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456" name="think-cell Slide" r:id="rId11" imgW="270" imgH="270" progId="TCLayout.ActiveDocument.1">
                  <p:embed/>
                </p:oleObj>
              </mc:Choice>
              <mc:Fallback>
                <p:oleObj name="think-cell Slide" r:id="rId11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90" y="1613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435" name="Rectangle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386582" y="1465263"/>
            <a:ext cx="8370887" cy="434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906267" name="Line 27"/>
          <p:cNvSpPr>
            <a:spLocks noChangeShapeType="1"/>
          </p:cNvSpPr>
          <p:nvPr/>
        </p:nvSpPr>
        <p:spPr bwMode="auto">
          <a:xfrm>
            <a:off x="252000" y="903288"/>
            <a:ext cx="8640000" cy="0"/>
          </a:xfrm>
          <a:prstGeom prst="line">
            <a:avLst/>
          </a:prstGeom>
          <a:noFill/>
          <a:ln w="28575">
            <a:solidFill>
              <a:srgbClr val="016EB3"/>
            </a:solidFill>
            <a:round/>
            <a:headEnd/>
            <a:tailEnd/>
          </a:ln>
          <a:effectLst/>
        </p:spPr>
        <p:txBody>
          <a:bodyPr wrap="none" lIns="91227" tIns="45613" rIns="91227" bIns="45613"/>
          <a:lstStyle/>
          <a:p>
            <a:pPr defTabSz="910706" fontAlgn="base">
              <a:spcBef>
                <a:spcPct val="50000"/>
              </a:spcBef>
              <a:spcAft>
                <a:spcPct val="0"/>
              </a:spcAft>
              <a:defRPr/>
            </a:pPr>
            <a:endParaRPr kumimoji="1" lang="ru-RU" sz="1000" dirty="0">
              <a:solidFill>
                <a:srgbClr val="002766"/>
              </a:solidFill>
              <a:latin typeface="Tahoma" pitchFamily="34" charset="0"/>
              <a:ea typeface="PMingLiU" pitchFamily="18" charset="-120"/>
            </a:endParaRPr>
          </a:p>
        </p:txBody>
      </p:sp>
      <p:sp>
        <p:nvSpPr>
          <p:cNvPr id="9" name="GS Doctop Placeholder" hidden="1"/>
          <p:cNvSpPr txBox="1"/>
          <p:nvPr/>
        </p:nvSpPr>
        <p:spPr>
          <a:xfrm>
            <a:off x="546102" y="18"/>
            <a:ext cx="5651500" cy="215228"/>
          </a:xfrm>
          <a:prstGeom prst="rect">
            <a:avLst/>
          </a:prstGeom>
          <a:noFill/>
        </p:spPr>
        <p:txBody>
          <a:bodyPr vert="horz" lIns="91227" tIns="45613" rIns="91227" bIns="45613" rtlCol="0">
            <a:spAutoFit/>
          </a:bodyPr>
          <a:lstStyle/>
          <a:p>
            <a:pPr defTabSz="910706" fontAlgn="base">
              <a:spcBef>
                <a:spcPct val="0"/>
              </a:spcBef>
              <a:spcAft>
                <a:spcPct val="0"/>
              </a:spcAft>
            </a:pPr>
            <a:r>
              <a:rPr kumimoji="1" lang="en-GB" sz="800" smtClean="0">
                <a:solidFill>
                  <a:srgbClr val="002766"/>
                </a:solidFill>
                <a:ea typeface="PMingLiU" pitchFamily="18" charset="-120"/>
              </a:rPr>
              <a:t>ALMAZ2013\IPO\Roadshow\October Roadshow\Presentation\13 10 13 Roadshow Presentation RUS vF.pptx</a:t>
            </a:r>
            <a:endParaRPr kumimoji="1" lang="en-US" sz="800" dirty="0">
              <a:solidFill>
                <a:srgbClr val="002766"/>
              </a:solidFill>
              <a:ea typeface="PMingLiU" pitchFamily="18" charset="-120"/>
            </a:endParaRPr>
          </a:p>
        </p:txBody>
      </p:sp>
      <p:sp>
        <p:nvSpPr>
          <p:cNvPr id="8" name="Прямоугольник 7"/>
          <p:cNvSpPr/>
          <p:nvPr/>
        </p:nvSpPr>
        <p:spPr bwMode="auto">
          <a:xfrm>
            <a:off x="8671460" y="6516025"/>
            <a:ext cx="468000" cy="219075"/>
          </a:xfrm>
          <a:prstGeom prst="rect">
            <a:avLst/>
          </a:prstGeom>
          <a:solidFill>
            <a:srgbClr val="016EB3"/>
          </a:solidFill>
          <a:ln w="9525" cap="flat" cmpd="sng" algn="ctr">
            <a:solidFill>
              <a:srgbClr val="016EB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227" tIns="45613" rIns="91227" bIns="45613" numCol="1" rtlCol="0" anchor="t" anchorCtr="0" compatLnSpc="1">
            <a:prstTxWarp prst="textNoShape">
              <a:avLst/>
            </a:prstTxWarp>
          </a:bodyPr>
          <a:lstStyle/>
          <a:p>
            <a:pPr defTabSz="910706" fontAlgn="base">
              <a:spcBef>
                <a:spcPct val="50000"/>
              </a:spcBef>
              <a:spcAft>
                <a:spcPct val="0"/>
              </a:spcAft>
            </a:pPr>
            <a:endParaRPr kumimoji="1" lang="ru-RU" sz="1000" smtClean="0">
              <a:solidFill>
                <a:srgbClr val="0072B6"/>
              </a:solidFill>
              <a:latin typeface="Tahoma" pitchFamily="34" charset="0"/>
              <a:ea typeface="PMingLiU" pitchFamily="18" charset="-120"/>
            </a:endParaRPr>
          </a:p>
        </p:txBody>
      </p:sp>
      <p:sp>
        <p:nvSpPr>
          <p:cNvPr id="10" name="Slide Number Placeholder 8"/>
          <p:cNvSpPr>
            <a:spLocks noGrp="1"/>
          </p:cNvSpPr>
          <p:nvPr>
            <p:ph type="sldNum" sz="quarter" idx="4"/>
          </p:nvPr>
        </p:nvSpPr>
        <p:spPr>
          <a:xfrm>
            <a:off x="8681892" y="6521124"/>
            <a:ext cx="402094" cy="217518"/>
          </a:xfrm>
          <a:prstGeom prst="rect">
            <a:avLst/>
          </a:prstGeom>
        </p:spPr>
        <p:txBody>
          <a:bodyPr lIns="91227" tIns="45613" rIns="91227" bIns="45613"/>
          <a:lstStyle>
            <a:lvl1pPr>
              <a:defRPr sz="800">
                <a:solidFill>
                  <a:schemeClr val="bg1"/>
                </a:solidFill>
                <a:latin typeface="+mj-lt"/>
              </a:defRPr>
            </a:lvl1pPr>
          </a:lstStyle>
          <a:p>
            <a:pPr defTabSz="910706" fontAlgn="base">
              <a:spcBef>
                <a:spcPct val="0"/>
              </a:spcBef>
              <a:spcAft>
                <a:spcPct val="0"/>
              </a:spcAft>
            </a:pPr>
            <a:fld id="{8E141AF1-466E-4D9F-B74C-45FFEB47CA13}" type="slidenum">
              <a:rPr kumimoji="1" lang="de-DE" smtClean="0">
                <a:solidFill>
                  <a:srgbClr val="FFFFFF"/>
                </a:solidFill>
                <a:ea typeface="PMingLiU" pitchFamily="18" charset="-120"/>
              </a:rPr>
              <a:pPr defTabSz="910706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kumimoji="1" lang="de-DE" dirty="0">
              <a:solidFill>
                <a:srgbClr val="FFFFFF"/>
              </a:solidFill>
              <a:ea typeface="PMingLiU" pitchFamily="18" charset="-120"/>
            </a:endParaRPr>
          </a:p>
        </p:txBody>
      </p:sp>
    </p:spTree>
    <p:extLst>
      <p:ext uri="{BB962C8B-B14F-4D97-AF65-F5344CB8AC3E}">
        <p14:creationId xmlns:p14="http://schemas.microsoft.com/office/powerpoint/2010/main" val="9505092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6" r:id="rId1"/>
    <p:sldLayoutId id="2147483777" r:id="rId2"/>
    <p:sldLayoutId id="2147483778" r:id="rId3"/>
    <p:sldLayoutId id="2147483779" r:id="rId4"/>
    <p:sldLayoutId id="2147483780" r:id="rId5"/>
    <p:sldLayoutId id="2147483781" r:id="rId6"/>
    <p:sldLayoutId id="2147483782" r:id="rId7"/>
  </p:sldLayoutIdLst>
  <mc:AlternateContent xmlns:mc="http://schemas.openxmlformats.org/markup-compatibility/2006" xmlns:p14="http://schemas.microsoft.com/office/powerpoint/2010/main">
    <mc:Choice Requires="p14">
      <p:transition spd="slow" p14:dur="1600">
        <p14:gallery dir="l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  <p:hf sldNum="0" hdr="0" ft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500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>
          <a:solidFill>
            <a:schemeClr val="tx2"/>
          </a:solidFill>
          <a:latin typeface="Arial" charset="0"/>
          <a:cs typeface="Arial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>
          <a:solidFill>
            <a:schemeClr val="tx2"/>
          </a:solidFill>
          <a:latin typeface="Arial" charset="0"/>
          <a:cs typeface="Arial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>
          <a:solidFill>
            <a:schemeClr val="tx2"/>
          </a:solidFill>
          <a:latin typeface="Arial" charset="0"/>
          <a:cs typeface="Arial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>
          <a:solidFill>
            <a:schemeClr val="tx2"/>
          </a:solidFill>
          <a:latin typeface="Arial" charset="0"/>
          <a:cs typeface="Arial" charset="0"/>
        </a:defRPr>
      </a:lvl5pPr>
      <a:lvl6pPr marL="45615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>
          <a:solidFill>
            <a:schemeClr val="tx2"/>
          </a:solidFill>
          <a:latin typeface="Arial" charset="0"/>
          <a:cs typeface="Arial" charset="0"/>
        </a:defRPr>
      </a:lvl6pPr>
      <a:lvl7pPr marL="9123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>
          <a:solidFill>
            <a:schemeClr val="tx2"/>
          </a:solidFill>
          <a:latin typeface="Arial" charset="0"/>
          <a:cs typeface="Arial" charset="0"/>
        </a:defRPr>
      </a:lvl7pPr>
      <a:lvl8pPr marL="1368448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>
          <a:solidFill>
            <a:schemeClr val="tx2"/>
          </a:solidFill>
          <a:latin typeface="Arial" charset="0"/>
          <a:cs typeface="Arial" charset="0"/>
        </a:defRPr>
      </a:lvl8pPr>
      <a:lvl9pPr marL="1824599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marL="256583" indent="-256583" algn="l" rtl="0" eaLnBrk="1" fontAlgn="base" hangingPunct="1">
        <a:lnSpc>
          <a:spcPct val="110000"/>
        </a:lnSpc>
        <a:spcBef>
          <a:spcPct val="75000"/>
        </a:spcBef>
        <a:spcAft>
          <a:spcPct val="0"/>
        </a:spcAft>
        <a:buClr>
          <a:srgbClr val="3376D9"/>
        </a:buClr>
        <a:buSzPct val="120000"/>
        <a:buFont typeface="Wingdings" pitchFamily="2" charset="2"/>
        <a:buBlip>
          <a:blip r:embed="rId13"/>
        </a:buBlip>
        <a:defRPr sz="1200">
          <a:solidFill>
            <a:schemeClr val="tx1"/>
          </a:solidFill>
          <a:latin typeface="+mn-lt"/>
          <a:ea typeface="+mn-ea"/>
          <a:cs typeface="+mn-cs"/>
        </a:defRPr>
      </a:lvl1pPr>
      <a:lvl2pPr marL="681058" indent="-422888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tx2"/>
        </a:buClr>
        <a:buFont typeface="Arial" pitchFamily="34" charset="0"/>
        <a:buBlip>
          <a:blip r:embed="rId14"/>
        </a:buBlip>
        <a:defRPr sz="1100">
          <a:solidFill>
            <a:schemeClr val="tx1"/>
          </a:solidFill>
          <a:latin typeface="+mn-lt"/>
          <a:cs typeface="+mn-cs"/>
        </a:defRPr>
      </a:lvl2pPr>
      <a:lvl3pPr marL="975651" indent="-293013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bg2"/>
        </a:buClr>
        <a:buSzPct val="85000"/>
        <a:buFont typeface="Wingdings 3" pitchFamily="18" charset="2"/>
        <a:buChar char=""/>
        <a:defRPr sz="1100">
          <a:solidFill>
            <a:schemeClr val="tx1"/>
          </a:solidFill>
          <a:latin typeface="+mn-lt"/>
          <a:cs typeface="+mn-cs"/>
        </a:defRPr>
      </a:lvl3pPr>
      <a:lvl4pPr marL="1259164" indent="-281925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tx2"/>
        </a:buClr>
        <a:buFont typeface="Wingdings" pitchFamily="2" charset="2"/>
        <a:buChar char="w"/>
        <a:defRPr sz="1600">
          <a:solidFill>
            <a:schemeClr val="tx1"/>
          </a:solidFill>
          <a:latin typeface="+mn-lt"/>
          <a:cs typeface="+mn-cs"/>
        </a:defRPr>
      </a:lvl4pPr>
      <a:lvl5pPr marL="1503076" indent="-242333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tx2"/>
        </a:buClr>
        <a:buFont typeface="Arial" pitchFamily="34" charset="0"/>
        <a:buChar char="–"/>
        <a:defRPr sz="1600">
          <a:solidFill>
            <a:schemeClr val="tx1"/>
          </a:solidFill>
          <a:latin typeface="+mn-lt"/>
          <a:cs typeface="+mn-cs"/>
        </a:defRPr>
      </a:lvl5pPr>
      <a:lvl6pPr marL="1959225" indent="-242333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tx2"/>
        </a:buClr>
        <a:buFont typeface="Arial" charset="0"/>
        <a:buChar char="–"/>
        <a:defRPr sz="1600">
          <a:solidFill>
            <a:schemeClr val="tx1"/>
          </a:solidFill>
          <a:latin typeface="+mn-lt"/>
          <a:cs typeface="+mn-cs"/>
        </a:defRPr>
      </a:lvl6pPr>
      <a:lvl7pPr marL="2415378" indent="-242333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tx2"/>
        </a:buClr>
        <a:buFont typeface="Arial" charset="0"/>
        <a:buChar char="–"/>
        <a:defRPr sz="1600">
          <a:solidFill>
            <a:schemeClr val="tx1"/>
          </a:solidFill>
          <a:latin typeface="+mn-lt"/>
          <a:cs typeface="+mn-cs"/>
        </a:defRPr>
      </a:lvl7pPr>
      <a:lvl8pPr marL="2871528" indent="-242333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tx2"/>
        </a:buClr>
        <a:buFont typeface="Arial" charset="0"/>
        <a:buChar char="–"/>
        <a:defRPr sz="1600">
          <a:solidFill>
            <a:schemeClr val="tx1"/>
          </a:solidFill>
          <a:latin typeface="+mn-lt"/>
          <a:cs typeface="+mn-cs"/>
        </a:defRPr>
      </a:lvl8pPr>
      <a:lvl9pPr marL="3327675" indent="-242333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tx2"/>
        </a:buClr>
        <a:buFont typeface="Arial" charset="0"/>
        <a:buChar char="–"/>
        <a:defRPr sz="16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9123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150" algn="l" defTabSz="9123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2300" algn="l" defTabSz="9123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8448" algn="l" defTabSz="9123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4599" algn="l" defTabSz="9123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0748" algn="l" defTabSz="9123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36891" algn="l" defTabSz="9123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3047" algn="l" defTabSz="9123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49197" algn="l" defTabSz="9123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 userDrawn="1"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1520744464"/>
              </p:ext>
            </p:extLst>
          </p:nvPr>
        </p:nvGraphicFramePr>
        <p:xfrm>
          <a:off x="1590" y="1611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480" name="think-cell Slide" r:id="rId12" imgW="270" imgH="270" progId="TCLayout.ActiveDocument.1">
                  <p:embed/>
                </p:oleObj>
              </mc:Choice>
              <mc:Fallback>
                <p:oleObj name="think-cell Slid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90" y="1611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435" name="Rectangle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386580" y="1465263"/>
            <a:ext cx="8370887" cy="434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906267" name="Line 27"/>
          <p:cNvSpPr>
            <a:spLocks noChangeShapeType="1"/>
          </p:cNvSpPr>
          <p:nvPr/>
        </p:nvSpPr>
        <p:spPr bwMode="auto">
          <a:xfrm>
            <a:off x="252000" y="903288"/>
            <a:ext cx="8640000" cy="0"/>
          </a:xfrm>
          <a:prstGeom prst="line">
            <a:avLst/>
          </a:prstGeom>
          <a:noFill/>
          <a:ln w="28575">
            <a:solidFill>
              <a:srgbClr val="016EB3"/>
            </a:solidFill>
            <a:round/>
            <a:headEnd/>
            <a:tailEnd/>
          </a:ln>
          <a:effectLst/>
        </p:spPr>
        <p:txBody>
          <a:bodyPr wrap="none" lIns="91243" tIns="45622" rIns="91243" bIns="45622"/>
          <a:lstStyle/>
          <a:p>
            <a:pPr fontAlgn="base">
              <a:spcBef>
                <a:spcPct val="50000"/>
              </a:spcBef>
              <a:spcAft>
                <a:spcPct val="0"/>
              </a:spcAft>
              <a:defRPr/>
            </a:pPr>
            <a:endParaRPr kumimoji="1" lang="ru-RU" sz="1000" dirty="0">
              <a:solidFill>
                <a:srgbClr val="002766"/>
              </a:solidFill>
              <a:latin typeface="Tahoma" pitchFamily="34" charset="0"/>
              <a:ea typeface="PMingLiU" pitchFamily="18" charset="-120"/>
            </a:endParaRPr>
          </a:p>
        </p:txBody>
      </p:sp>
      <p:sp>
        <p:nvSpPr>
          <p:cNvPr id="9" name="GS Doctop Placeholder" hidden="1"/>
          <p:cNvSpPr txBox="1"/>
          <p:nvPr/>
        </p:nvSpPr>
        <p:spPr>
          <a:xfrm>
            <a:off x="546102" y="17"/>
            <a:ext cx="5651500" cy="215246"/>
          </a:xfrm>
          <a:prstGeom prst="rect">
            <a:avLst/>
          </a:prstGeom>
          <a:noFill/>
        </p:spPr>
        <p:txBody>
          <a:bodyPr vert="horz" lIns="91243" tIns="45622" rIns="91243" bIns="45622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kumimoji="1" lang="en-GB" sz="800" smtClean="0">
                <a:solidFill>
                  <a:srgbClr val="002766"/>
                </a:solidFill>
                <a:ea typeface="PMingLiU" pitchFamily="18" charset="-120"/>
              </a:rPr>
              <a:t>ALMAZ2013\IPO\Roadshow\October Roadshow\Presentation\13 10 13 Roadshow Presentation RUS vF.pptx</a:t>
            </a:r>
            <a:endParaRPr kumimoji="1" lang="en-US" sz="800" dirty="0">
              <a:solidFill>
                <a:srgbClr val="002766"/>
              </a:solidFill>
              <a:ea typeface="PMingLiU" pitchFamily="18" charset="-120"/>
            </a:endParaRPr>
          </a:p>
        </p:txBody>
      </p:sp>
      <p:sp>
        <p:nvSpPr>
          <p:cNvPr id="8" name="Прямоугольник 7"/>
          <p:cNvSpPr/>
          <p:nvPr/>
        </p:nvSpPr>
        <p:spPr bwMode="auto">
          <a:xfrm>
            <a:off x="8671460" y="6516023"/>
            <a:ext cx="468000" cy="219075"/>
          </a:xfrm>
          <a:prstGeom prst="rect">
            <a:avLst/>
          </a:prstGeom>
          <a:solidFill>
            <a:srgbClr val="016EB3"/>
          </a:solidFill>
          <a:ln w="9525" cap="flat" cmpd="sng" algn="ctr">
            <a:solidFill>
              <a:srgbClr val="016EB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243" tIns="45622" rIns="91243" bIns="45622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</a:pPr>
            <a:endParaRPr kumimoji="1" lang="ru-RU" sz="1000" smtClean="0">
              <a:solidFill>
                <a:srgbClr val="0072B6"/>
              </a:solidFill>
              <a:latin typeface="Tahoma" pitchFamily="34" charset="0"/>
              <a:ea typeface="PMingLiU" pitchFamily="18" charset="-120"/>
            </a:endParaRPr>
          </a:p>
        </p:txBody>
      </p:sp>
      <p:sp>
        <p:nvSpPr>
          <p:cNvPr id="10" name="Slide Number Placeholder 8"/>
          <p:cNvSpPr>
            <a:spLocks noGrp="1"/>
          </p:cNvSpPr>
          <p:nvPr>
            <p:ph type="sldNum" sz="quarter" idx="4"/>
          </p:nvPr>
        </p:nvSpPr>
        <p:spPr>
          <a:xfrm>
            <a:off x="8681892" y="6521124"/>
            <a:ext cx="402094" cy="217518"/>
          </a:xfrm>
          <a:prstGeom prst="rect">
            <a:avLst/>
          </a:prstGeom>
        </p:spPr>
        <p:txBody>
          <a:bodyPr lIns="91243" tIns="45622" rIns="91243" bIns="45622"/>
          <a:lstStyle>
            <a:lvl1pPr>
              <a:defRPr sz="800">
                <a:solidFill>
                  <a:schemeClr val="bg1"/>
                </a:solidFill>
                <a:latin typeface="+mj-lt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8E141AF1-466E-4D9F-B74C-45FFEB47CA13}" type="slidenum">
              <a:rPr kumimoji="1" lang="de-DE" smtClean="0">
                <a:solidFill>
                  <a:srgbClr val="FFFFFF"/>
                </a:solidFill>
                <a:ea typeface="PMingLiU" pitchFamily="18" charset="-12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kumimoji="1" lang="de-DE" dirty="0">
              <a:solidFill>
                <a:srgbClr val="FFFFFF"/>
              </a:solidFill>
              <a:ea typeface="PMingLiU" pitchFamily="18" charset="-120"/>
            </a:endParaRPr>
          </a:p>
        </p:txBody>
      </p:sp>
    </p:spTree>
    <p:extLst>
      <p:ext uri="{BB962C8B-B14F-4D97-AF65-F5344CB8AC3E}">
        <p14:creationId xmlns:p14="http://schemas.microsoft.com/office/powerpoint/2010/main" val="1835342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4" r:id="rId1"/>
    <p:sldLayoutId id="2147483785" r:id="rId2"/>
    <p:sldLayoutId id="2147483786" r:id="rId3"/>
    <p:sldLayoutId id="2147483787" r:id="rId4"/>
    <p:sldLayoutId id="2147483788" r:id="rId5"/>
    <p:sldLayoutId id="2147483789" r:id="rId6"/>
    <p:sldLayoutId id="2147483790" r:id="rId7"/>
    <p:sldLayoutId id="2147483791" r:id="rId8"/>
  </p:sldLayoutIdLst>
  <mc:AlternateContent xmlns:mc="http://schemas.openxmlformats.org/markup-compatibility/2006" xmlns:p14="http://schemas.microsoft.com/office/powerpoint/2010/main">
    <mc:Choice Requires="p14">
      <p:transition spd="slow" p14:dur="1600">
        <p14:gallery dir="l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  <p:hf sldNum="0" hdr="0" ft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500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>
          <a:solidFill>
            <a:schemeClr val="tx2"/>
          </a:solidFill>
          <a:latin typeface="Arial" charset="0"/>
          <a:cs typeface="Arial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>
          <a:solidFill>
            <a:schemeClr val="tx2"/>
          </a:solidFill>
          <a:latin typeface="Arial" charset="0"/>
          <a:cs typeface="Arial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>
          <a:solidFill>
            <a:schemeClr val="tx2"/>
          </a:solidFill>
          <a:latin typeface="Arial" charset="0"/>
          <a:cs typeface="Arial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>
          <a:solidFill>
            <a:schemeClr val="tx2"/>
          </a:solidFill>
          <a:latin typeface="Arial" charset="0"/>
          <a:cs typeface="Arial" charset="0"/>
        </a:defRPr>
      </a:lvl5pPr>
      <a:lvl6pPr marL="456234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>
          <a:solidFill>
            <a:schemeClr val="tx2"/>
          </a:solidFill>
          <a:latin typeface="Arial" charset="0"/>
          <a:cs typeface="Arial" charset="0"/>
        </a:defRPr>
      </a:lvl6pPr>
      <a:lvl7pPr marL="912468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>
          <a:solidFill>
            <a:schemeClr val="tx2"/>
          </a:solidFill>
          <a:latin typeface="Arial" charset="0"/>
          <a:cs typeface="Arial" charset="0"/>
        </a:defRPr>
      </a:lvl7pPr>
      <a:lvl8pPr marL="13687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>
          <a:solidFill>
            <a:schemeClr val="tx2"/>
          </a:solidFill>
          <a:latin typeface="Arial" charset="0"/>
          <a:cs typeface="Arial" charset="0"/>
        </a:defRPr>
      </a:lvl8pPr>
      <a:lvl9pPr marL="1824935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marL="256630" indent="-256630" algn="l" rtl="0" eaLnBrk="1" fontAlgn="base" hangingPunct="1">
        <a:lnSpc>
          <a:spcPct val="110000"/>
        </a:lnSpc>
        <a:spcBef>
          <a:spcPct val="75000"/>
        </a:spcBef>
        <a:spcAft>
          <a:spcPct val="0"/>
        </a:spcAft>
        <a:buClr>
          <a:srgbClr val="3376D9"/>
        </a:buClr>
        <a:buSzPct val="120000"/>
        <a:buFont typeface="Wingdings" pitchFamily="2" charset="2"/>
        <a:buBlip>
          <a:blip r:embed="rId14"/>
        </a:buBlip>
        <a:defRPr sz="1200">
          <a:solidFill>
            <a:schemeClr val="tx1"/>
          </a:solidFill>
          <a:latin typeface="+mn-lt"/>
          <a:ea typeface="+mn-ea"/>
          <a:cs typeface="+mn-cs"/>
        </a:defRPr>
      </a:lvl1pPr>
      <a:lvl2pPr marL="681182" indent="-422966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tx2"/>
        </a:buClr>
        <a:buFont typeface="Arial" pitchFamily="34" charset="0"/>
        <a:buBlip>
          <a:blip r:embed="rId15"/>
        </a:buBlip>
        <a:defRPr sz="1100">
          <a:solidFill>
            <a:schemeClr val="tx1"/>
          </a:solidFill>
          <a:latin typeface="+mn-lt"/>
          <a:cs typeface="+mn-cs"/>
        </a:defRPr>
      </a:lvl2pPr>
      <a:lvl3pPr marL="975831" indent="-293067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bg2"/>
        </a:buClr>
        <a:buSzPct val="85000"/>
        <a:buFont typeface="Wingdings 3" pitchFamily="18" charset="2"/>
        <a:buChar char=""/>
        <a:defRPr sz="1100">
          <a:solidFill>
            <a:schemeClr val="tx1"/>
          </a:solidFill>
          <a:latin typeface="+mn-lt"/>
          <a:cs typeface="+mn-cs"/>
        </a:defRPr>
      </a:lvl3pPr>
      <a:lvl4pPr marL="1259396" indent="-281977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tx2"/>
        </a:buClr>
        <a:buFont typeface="Wingdings" pitchFamily="2" charset="2"/>
        <a:buChar char="w"/>
        <a:defRPr sz="1600">
          <a:solidFill>
            <a:schemeClr val="tx1"/>
          </a:solidFill>
          <a:latin typeface="+mn-lt"/>
          <a:cs typeface="+mn-cs"/>
        </a:defRPr>
      </a:lvl4pPr>
      <a:lvl5pPr marL="1503353" indent="-242377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tx2"/>
        </a:buClr>
        <a:buFont typeface="Arial" pitchFamily="34" charset="0"/>
        <a:buChar char="–"/>
        <a:defRPr sz="1600">
          <a:solidFill>
            <a:schemeClr val="tx1"/>
          </a:solidFill>
          <a:latin typeface="+mn-lt"/>
          <a:cs typeface="+mn-cs"/>
        </a:defRPr>
      </a:lvl5pPr>
      <a:lvl6pPr marL="1959585" indent="-242377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tx2"/>
        </a:buClr>
        <a:buFont typeface="Arial" charset="0"/>
        <a:buChar char="–"/>
        <a:defRPr sz="1600">
          <a:solidFill>
            <a:schemeClr val="tx1"/>
          </a:solidFill>
          <a:latin typeface="+mn-lt"/>
          <a:cs typeface="+mn-cs"/>
        </a:defRPr>
      </a:lvl6pPr>
      <a:lvl7pPr marL="2415823" indent="-242377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tx2"/>
        </a:buClr>
        <a:buFont typeface="Arial" charset="0"/>
        <a:buChar char="–"/>
        <a:defRPr sz="1600">
          <a:solidFill>
            <a:schemeClr val="tx1"/>
          </a:solidFill>
          <a:latin typeface="+mn-lt"/>
          <a:cs typeface="+mn-cs"/>
        </a:defRPr>
      </a:lvl7pPr>
      <a:lvl8pPr marL="2872056" indent="-242377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tx2"/>
        </a:buClr>
        <a:buFont typeface="Arial" charset="0"/>
        <a:buChar char="–"/>
        <a:defRPr sz="1600">
          <a:solidFill>
            <a:schemeClr val="tx1"/>
          </a:solidFill>
          <a:latin typeface="+mn-lt"/>
          <a:cs typeface="+mn-cs"/>
        </a:defRPr>
      </a:lvl8pPr>
      <a:lvl9pPr marL="3328287" indent="-242377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tx2"/>
        </a:buClr>
        <a:buFont typeface="Arial" charset="0"/>
        <a:buChar char="–"/>
        <a:defRPr sz="16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91246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234" algn="l" defTabSz="91246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2468" algn="l" defTabSz="91246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8700" algn="l" defTabSz="91246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4935" algn="l" defTabSz="91246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1167" algn="l" defTabSz="91246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37394" algn="l" defTabSz="91246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3635" algn="l" defTabSz="91246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49869" algn="l" defTabSz="91246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9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jpe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77.xml"/><Relationship Id="rId4" Type="http://schemas.openxmlformats.org/officeDocument/2006/relationships/image" Target="../media/image28.jpe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2.png"/><Relationship Id="rId13" Type="http://schemas.openxmlformats.org/officeDocument/2006/relationships/image" Target="../media/image37.png"/><Relationship Id="rId18" Type="http://schemas.openxmlformats.org/officeDocument/2006/relationships/image" Target="../media/image42.png"/><Relationship Id="rId3" Type="http://schemas.openxmlformats.org/officeDocument/2006/relationships/image" Target="../media/image7.png"/><Relationship Id="rId7" Type="http://schemas.openxmlformats.org/officeDocument/2006/relationships/image" Target="../media/image31.png"/><Relationship Id="rId12" Type="http://schemas.openxmlformats.org/officeDocument/2006/relationships/image" Target="../media/image36.jpeg"/><Relationship Id="rId17" Type="http://schemas.openxmlformats.org/officeDocument/2006/relationships/image" Target="../media/image41.png"/><Relationship Id="rId2" Type="http://schemas.openxmlformats.org/officeDocument/2006/relationships/notesSlide" Target="../notesSlides/notesSlide11.xml"/><Relationship Id="rId16" Type="http://schemas.openxmlformats.org/officeDocument/2006/relationships/image" Target="../media/image40.png"/><Relationship Id="rId1" Type="http://schemas.openxmlformats.org/officeDocument/2006/relationships/slideLayout" Target="../slideLayouts/slideLayout202.xml"/><Relationship Id="rId6" Type="http://schemas.openxmlformats.org/officeDocument/2006/relationships/image" Target="../media/image30.png"/><Relationship Id="rId11" Type="http://schemas.openxmlformats.org/officeDocument/2006/relationships/image" Target="../media/image35.jpeg"/><Relationship Id="rId5" Type="http://schemas.openxmlformats.org/officeDocument/2006/relationships/image" Target="../media/image29.png"/><Relationship Id="rId15" Type="http://schemas.openxmlformats.org/officeDocument/2006/relationships/image" Target="../media/image39.png"/><Relationship Id="rId10" Type="http://schemas.openxmlformats.org/officeDocument/2006/relationships/image" Target="../media/image34.png"/><Relationship Id="rId4" Type="http://schemas.openxmlformats.org/officeDocument/2006/relationships/image" Target="../media/image8.png"/><Relationship Id="rId9" Type="http://schemas.openxmlformats.org/officeDocument/2006/relationships/image" Target="../media/image33.png"/><Relationship Id="rId14" Type="http://schemas.openxmlformats.org/officeDocument/2006/relationships/image" Target="../media/image38.jpe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4.png"/><Relationship Id="rId3" Type="http://schemas.openxmlformats.org/officeDocument/2006/relationships/tags" Target="../tags/tag346.xml"/><Relationship Id="rId7" Type="http://schemas.openxmlformats.org/officeDocument/2006/relationships/image" Target="../media/image43.png"/><Relationship Id="rId2" Type="http://schemas.openxmlformats.org/officeDocument/2006/relationships/tags" Target="../tags/tag345.xml"/><Relationship Id="rId1" Type="http://schemas.openxmlformats.org/officeDocument/2006/relationships/tags" Target="../tags/tag344.xml"/><Relationship Id="rId6" Type="http://schemas.openxmlformats.org/officeDocument/2006/relationships/image" Target="../media/image35.jpeg"/><Relationship Id="rId5" Type="http://schemas.openxmlformats.org/officeDocument/2006/relationships/notesSlide" Target="../notesSlides/notesSlide12.xml"/><Relationship Id="rId10" Type="http://schemas.openxmlformats.org/officeDocument/2006/relationships/image" Target="../media/image46.jpeg"/><Relationship Id="rId4" Type="http://schemas.openxmlformats.org/officeDocument/2006/relationships/slideLayout" Target="../slideLayouts/slideLayout202.xml"/><Relationship Id="rId9" Type="http://schemas.openxmlformats.org/officeDocument/2006/relationships/image" Target="../media/image45.pn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7.png"/><Relationship Id="rId3" Type="http://schemas.openxmlformats.org/officeDocument/2006/relationships/tags" Target="../tags/tag349.xml"/><Relationship Id="rId7" Type="http://schemas.openxmlformats.org/officeDocument/2006/relationships/image" Target="../media/image48.png"/><Relationship Id="rId2" Type="http://schemas.openxmlformats.org/officeDocument/2006/relationships/tags" Target="../tags/tag348.xml"/><Relationship Id="rId1" Type="http://schemas.openxmlformats.org/officeDocument/2006/relationships/tags" Target="../tags/tag347.xml"/><Relationship Id="rId6" Type="http://schemas.openxmlformats.org/officeDocument/2006/relationships/image" Target="../media/image47.png"/><Relationship Id="rId5" Type="http://schemas.openxmlformats.org/officeDocument/2006/relationships/notesSlide" Target="../notesSlides/notesSlide13.xml"/><Relationship Id="rId4" Type="http://schemas.openxmlformats.org/officeDocument/2006/relationships/slideLayout" Target="../slideLayouts/slideLayout202.xml"/><Relationship Id="rId9" Type="http://schemas.openxmlformats.org/officeDocument/2006/relationships/image" Target="../media/image49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70.xml"/><Relationship Id="rId2" Type="http://schemas.openxmlformats.org/officeDocument/2006/relationships/tags" Target="../tags/tag351.xml"/><Relationship Id="rId1" Type="http://schemas.openxmlformats.org/officeDocument/2006/relationships/tags" Target="../tags/tag350.xml"/><Relationship Id="rId5" Type="http://schemas.openxmlformats.org/officeDocument/2006/relationships/image" Target="../media/image50.png"/><Relationship Id="rId4" Type="http://schemas.openxmlformats.org/officeDocument/2006/relationships/notesSlide" Target="../notesSlides/notesSlide14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6.xml"/><Relationship Id="rId2" Type="http://schemas.openxmlformats.org/officeDocument/2006/relationships/tags" Target="../tags/tag353.xml"/><Relationship Id="rId1" Type="http://schemas.openxmlformats.org/officeDocument/2006/relationships/tags" Target="../tags/tag352.xml"/><Relationship Id="rId4" Type="http://schemas.openxmlformats.org/officeDocument/2006/relationships/notesSlide" Target="../notesSlides/notesSlide15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jpeg"/><Relationship Id="rId7" Type="http://schemas.openxmlformats.org/officeDocument/2006/relationships/image" Target="../media/image38.jpe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13.xml"/><Relationship Id="rId6" Type="http://schemas.openxmlformats.org/officeDocument/2006/relationships/image" Target="../media/image54.jpeg"/><Relationship Id="rId5" Type="http://schemas.openxmlformats.org/officeDocument/2006/relationships/image" Target="../media/image53.jpeg"/><Relationship Id="rId4" Type="http://schemas.openxmlformats.org/officeDocument/2006/relationships/image" Target="../media/image52.jpe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jpe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38.xml"/><Relationship Id="rId4" Type="http://schemas.openxmlformats.org/officeDocument/2006/relationships/image" Target="../media/image56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jpe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238.xml"/><Relationship Id="rId6" Type="http://schemas.openxmlformats.org/officeDocument/2006/relationships/image" Target="../media/image59.png"/><Relationship Id="rId5" Type="http://schemas.openxmlformats.org/officeDocument/2006/relationships/image" Target="../media/image58.png"/><Relationship Id="rId4" Type="http://schemas.openxmlformats.org/officeDocument/2006/relationships/image" Target="../media/image57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jpe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238.xml"/><Relationship Id="rId5" Type="http://schemas.openxmlformats.org/officeDocument/2006/relationships/image" Target="../media/image61.png"/><Relationship Id="rId4" Type="http://schemas.openxmlformats.org/officeDocument/2006/relationships/image" Target="../media/image60.jpe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44.xml"/><Relationship Id="rId4" Type="http://schemas.openxmlformats.org/officeDocument/2006/relationships/image" Target="../media/image8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jpe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238.xml"/><Relationship Id="rId4" Type="http://schemas.openxmlformats.org/officeDocument/2006/relationships/image" Target="../media/image62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jpe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238.xml"/><Relationship Id="rId5" Type="http://schemas.openxmlformats.org/officeDocument/2006/relationships/image" Target="../media/image64.png"/><Relationship Id="rId4" Type="http://schemas.openxmlformats.org/officeDocument/2006/relationships/image" Target="../media/image63.jpe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jpe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238.xml"/><Relationship Id="rId4" Type="http://schemas.openxmlformats.org/officeDocument/2006/relationships/image" Target="../media/image65.png"/></Relationships>
</file>

<file path=ppt/slides/_rels/slide3.xml.rels><?xml version="1.0" encoding="UTF-8" standalone="yes"?>
<Relationships xmlns="http://schemas.openxmlformats.org/package/2006/relationships"><Relationship Id="rId117" Type="http://schemas.openxmlformats.org/officeDocument/2006/relationships/tags" Target="../tags/tag158.xml"/><Relationship Id="rId299" Type="http://schemas.openxmlformats.org/officeDocument/2006/relationships/image" Target="../media/image19.png"/><Relationship Id="rId21" Type="http://schemas.openxmlformats.org/officeDocument/2006/relationships/tags" Target="../tags/tag62.xml"/><Relationship Id="rId42" Type="http://schemas.openxmlformats.org/officeDocument/2006/relationships/tags" Target="../tags/tag83.xml"/><Relationship Id="rId63" Type="http://schemas.openxmlformats.org/officeDocument/2006/relationships/tags" Target="../tags/tag104.xml"/><Relationship Id="rId84" Type="http://schemas.openxmlformats.org/officeDocument/2006/relationships/tags" Target="../tags/tag125.xml"/><Relationship Id="rId138" Type="http://schemas.openxmlformats.org/officeDocument/2006/relationships/tags" Target="../tags/tag179.xml"/><Relationship Id="rId159" Type="http://schemas.openxmlformats.org/officeDocument/2006/relationships/tags" Target="../tags/tag200.xml"/><Relationship Id="rId170" Type="http://schemas.openxmlformats.org/officeDocument/2006/relationships/tags" Target="../tags/tag211.xml"/><Relationship Id="rId191" Type="http://schemas.openxmlformats.org/officeDocument/2006/relationships/tags" Target="../tags/tag232.xml"/><Relationship Id="rId205" Type="http://schemas.openxmlformats.org/officeDocument/2006/relationships/tags" Target="../tags/tag246.xml"/><Relationship Id="rId226" Type="http://schemas.openxmlformats.org/officeDocument/2006/relationships/tags" Target="../tags/tag267.xml"/><Relationship Id="rId247" Type="http://schemas.openxmlformats.org/officeDocument/2006/relationships/tags" Target="../tags/tag288.xml"/><Relationship Id="rId107" Type="http://schemas.openxmlformats.org/officeDocument/2006/relationships/tags" Target="../tags/tag148.xml"/><Relationship Id="rId268" Type="http://schemas.openxmlformats.org/officeDocument/2006/relationships/tags" Target="../tags/tag309.xml"/><Relationship Id="rId289" Type="http://schemas.openxmlformats.org/officeDocument/2006/relationships/tags" Target="../tags/tag330.xml"/><Relationship Id="rId11" Type="http://schemas.openxmlformats.org/officeDocument/2006/relationships/tags" Target="../tags/tag52.xml"/><Relationship Id="rId32" Type="http://schemas.openxmlformats.org/officeDocument/2006/relationships/tags" Target="../tags/tag73.xml"/><Relationship Id="rId53" Type="http://schemas.openxmlformats.org/officeDocument/2006/relationships/tags" Target="../tags/tag94.xml"/><Relationship Id="rId74" Type="http://schemas.openxmlformats.org/officeDocument/2006/relationships/tags" Target="../tags/tag115.xml"/><Relationship Id="rId128" Type="http://schemas.openxmlformats.org/officeDocument/2006/relationships/tags" Target="../tags/tag169.xml"/><Relationship Id="rId149" Type="http://schemas.openxmlformats.org/officeDocument/2006/relationships/tags" Target="../tags/tag190.xml"/><Relationship Id="rId5" Type="http://schemas.openxmlformats.org/officeDocument/2006/relationships/tags" Target="../tags/tag46.xml"/><Relationship Id="rId95" Type="http://schemas.openxmlformats.org/officeDocument/2006/relationships/tags" Target="../tags/tag136.xml"/><Relationship Id="rId160" Type="http://schemas.openxmlformats.org/officeDocument/2006/relationships/tags" Target="../tags/tag201.xml"/><Relationship Id="rId181" Type="http://schemas.openxmlformats.org/officeDocument/2006/relationships/tags" Target="../tags/tag222.xml"/><Relationship Id="rId216" Type="http://schemas.openxmlformats.org/officeDocument/2006/relationships/tags" Target="../tags/tag257.xml"/><Relationship Id="rId237" Type="http://schemas.openxmlformats.org/officeDocument/2006/relationships/tags" Target="../tags/tag278.xml"/><Relationship Id="rId258" Type="http://schemas.openxmlformats.org/officeDocument/2006/relationships/tags" Target="../tags/tag299.xml"/><Relationship Id="rId279" Type="http://schemas.openxmlformats.org/officeDocument/2006/relationships/tags" Target="../tags/tag320.xml"/><Relationship Id="rId22" Type="http://schemas.openxmlformats.org/officeDocument/2006/relationships/tags" Target="../tags/tag63.xml"/><Relationship Id="rId43" Type="http://schemas.openxmlformats.org/officeDocument/2006/relationships/tags" Target="../tags/tag84.xml"/><Relationship Id="rId64" Type="http://schemas.openxmlformats.org/officeDocument/2006/relationships/tags" Target="../tags/tag105.xml"/><Relationship Id="rId118" Type="http://schemas.openxmlformats.org/officeDocument/2006/relationships/tags" Target="../tags/tag159.xml"/><Relationship Id="rId139" Type="http://schemas.openxmlformats.org/officeDocument/2006/relationships/tags" Target="../tags/tag180.xml"/><Relationship Id="rId290" Type="http://schemas.openxmlformats.org/officeDocument/2006/relationships/tags" Target="../tags/tag331.xml"/><Relationship Id="rId85" Type="http://schemas.openxmlformats.org/officeDocument/2006/relationships/tags" Target="../tags/tag126.xml"/><Relationship Id="rId150" Type="http://schemas.openxmlformats.org/officeDocument/2006/relationships/tags" Target="../tags/tag191.xml"/><Relationship Id="rId171" Type="http://schemas.openxmlformats.org/officeDocument/2006/relationships/tags" Target="../tags/tag212.xml"/><Relationship Id="rId192" Type="http://schemas.openxmlformats.org/officeDocument/2006/relationships/tags" Target="../tags/tag233.xml"/><Relationship Id="rId206" Type="http://schemas.openxmlformats.org/officeDocument/2006/relationships/tags" Target="../tags/tag247.xml"/><Relationship Id="rId227" Type="http://schemas.openxmlformats.org/officeDocument/2006/relationships/tags" Target="../tags/tag268.xml"/><Relationship Id="rId248" Type="http://schemas.openxmlformats.org/officeDocument/2006/relationships/tags" Target="../tags/tag289.xml"/><Relationship Id="rId269" Type="http://schemas.openxmlformats.org/officeDocument/2006/relationships/tags" Target="../tags/tag310.xml"/><Relationship Id="rId12" Type="http://schemas.openxmlformats.org/officeDocument/2006/relationships/tags" Target="../tags/tag53.xml"/><Relationship Id="rId33" Type="http://schemas.openxmlformats.org/officeDocument/2006/relationships/tags" Target="../tags/tag74.xml"/><Relationship Id="rId108" Type="http://schemas.openxmlformats.org/officeDocument/2006/relationships/tags" Target="../tags/tag149.xml"/><Relationship Id="rId129" Type="http://schemas.openxmlformats.org/officeDocument/2006/relationships/tags" Target="../tags/tag170.xml"/><Relationship Id="rId280" Type="http://schemas.openxmlformats.org/officeDocument/2006/relationships/tags" Target="../tags/tag321.xml"/><Relationship Id="rId54" Type="http://schemas.openxmlformats.org/officeDocument/2006/relationships/tags" Target="../tags/tag95.xml"/><Relationship Id="rId75" Type="http://schemas.openxmlformats.org/officeDocument/2006/relationships/tags" Target="../tags/tag116.xml"/><Relationship Id="rId96" Type="http://schemas.openxmlformats.org/officeDocument/2006/relationships/tags" Target="../tags/tag137.xml"/><Relationship Id="rId140" Type="http://schemas.openxmlformats.org/officeDocument/2006/relationships/tags" Target="../tags/tag181.xml"/><Relationship Id="rId161" Type="http://schemas.openxmlformats.org/officeDocument/2006/relationships/tags" Target="../tags/tag202.xml"/><Relationship Id="rId182" Type="http://schemas.openxmlformats.org/officeDocument/2006/relationships/tags" Target="../tags/tag223.xml"/><Relationship Id="rId217" Type="http://schemas.openxmlformats.org/officeDocument/2006/relationships/tags" Target="../tags/tag258.xml"/><Relationship Id="rId6" Type="http://schemas.openxmlformats.org/officeDocument/2006/relationships/tags" Target="../tags/tag47.xml"/><Relationship Id="rId238" Type="http://schemas.openxmlformats.org/officeDocument/2006/relationships/tags" Target="../tags/tag279.xml"/><Relationship Id="rId259" Type="http://schemas.openxmlformats.org/officeDocument/2006/relationships/tags" Target="../tags/tag300.xml"/><Relationship Id="rId23" Type="http://schemas.openxmlformats.org/officeDocument/2006/relationships/tags" Target="../tags/tag64.xml"/><Relationship Id="rId119" Type="http://schemas.openxmlformats.org/officeDocument/2006/relationships/tags" Target="../tags/tag160.xml"/><Relationship Id="rId270" Type="http://schemas.openxmlformats.org/officeDocument/2006/relationships/tags" Target="../tags/tag311.xml"/><Relationship Id="rId291" Type="http://schemas.openxmlformats.org/officeDocument/2006/relationships/slideLayout" Target="../slideLayouts/slideLayout144.xml"/><Relationship Id="rId44" Type="http://schemas.openxmlformats.org/officeDocument/2006/relationships/tags" Target="../tags/tag85.xml"/><Relationship Id="rId65" Type="http://schemas.openxmlformats.org/officeDocument/2006/relationships/tags" Target="../tags/tag106.xml"/><Relationship Id="rId86" Type="http://schemas.openxmlformats.org/officeDocument/2006/relationships/tags" Target="../tags/tag127.xml"/><Relationship Id="rId130" Type="http://schemas.openxmlformats.org/officeDocument/2006/relationships/tags" Target="../tags/tag171.xml"/><Relationship Id="rId151" Type="http://schemas.openxmlformats.org/officeDocument/2006/relationships/tags" Target="../tags/tag192.xml"/><Relationship Id="rId172" Type="http://schemas.openxmlformats.org/officeDocument/2006/relationships/tags" Target="../tags/tag213.xml"/><Relationship Id="rId193" Type="http://schemas.openxmlformats.org/officeDocument/2006/relationships/tags" Target="../tags/tag234.xml"/><Relationship Id="rId207" Type="http://schemas.openxmlformats.org/officeDocument/2006/relationships/tags" Target="../tags/tag248.xml"/><Relationship Id="rId228" Type="http://schemas.openxmlformats.org/officeDocument/2006/relationships/tags" Target="../tags/tag269.xml"/><Relationship Id="rId249" Type="http://schemas.openxmlformats.org/officeDocument/2006/relationships/tags" Target="../tags/tag290.xml"/><Relationship Id="rId13" Type="http://schemas.openxmlformats.org/officeDocument/2006/relationships/tags" Target="../tags/tag54.xml"/><Relationship Id="rId109" Type="http://schemas.openxmlformats.org/officeDocument/2006/relationships/tags" Target="../tags/tag150.xml"/><Relationship Id="rId260" Type="http://schemas.openxmlformats.org/officeDocument/2006/relationships/tags" Target="../tags/tag301.xml"/><Relationship Id="rId281" Type="http://schemas.openxmlformats.org/officeDocument/2006/relationships/tags" Target="../tags/tag322.xml"/><Relationship Id="rId34" Type="http://schemas.openxmlformats.org/officeDocument/2006/relationships/tags" Target="../tags/tag75.xml"/><Relationship Id="rId55" Type="http://schemas.openxmlformats.org/officeDocument/2006/relationships/tags" Target="../tags/tag96.xml"/><Relationship Id="rId76" Type="http://schemas.openxmlformats.org/officeDocument/2006/relationships/tags" Target="../tags/tag117.xml"/><Relationship Id="rId97" Type="http://schemas.openxmlformats.org/officeDocument/2006/relationships/tags" Target="../tags/tag138.xml"/><Relationship Id="rId120" Type="http://schemas.openxmlformats.org/officeDocument/2006/relationships/tags" Target="../tags/tag161.xml"/><Relationship Id="rId141" Type="http://schemas.openxmlformats.org/officeDocument/2006/relationships/tags" Target="../tags/tag182.xml"/><Relationship Id="rId7" Type="http://schemas.openxmlformats.org/officeDocument/2006/relationships/tags" Target="../tags/tag48.xml"/><Relationship Id="rId71" Type="http://schemas.openxmlformats.org/officeDocument/2006/relationships/tags" Target="../tags/tag112.xml"/><Relationship Id="rId92" Type="http://schemas.openxmlformats.org/officeDocument/2006/relationships/tags" Target="../tags/tag133.xml"/><Relationship Id="rId162" Type="http://schemas.openxmlformats.org/officeDocument/2006/relationships/tags" Target="../tags/tag203.xml"/><Relationship Id="rId183" Type="http://schemas.openxmlformats.org/officeDocument/2006/relationships/tags" Target="../tags/tag224.xml"/><Relationship Id="rId213" Type="http://schemas.openxmlformats.org/officeDocument/2006/relationships/tags" Target="../tags/tag254.xml"/><Relationship Id="rId218" Type="http://schemas.openxmlformats.org/officeDocument/2006/relationships/tags" Target="../tags/tag259.xml"/><Relationship Id="rId234" Type="http://schemas.openxmlformats.org/officeDocument/2006/relationships/tags" Target="../tags/tag275.xml"/><Relationship Id="rId239" Type="http://schemas.openxmlformats.org/officeDocument/2006/relationships/tags" Target="../tags/tag280.xml"/><Relationship Id="rId2" Type="http://schemas.openxmlformats.org/officeDocument/2006/relationships/tags" Target="../tags/tag43.xml"/><Relationship Id="rId29" Type="http://schemas.openxmlformats.org/officeDocument/2006/relationships/tags" Target="../tags/tag70.xml"/><Relationship Id="rId250" Type="http://schemas.openxmlformats.org/officeDocument/2006/relationships/tags" Target="../tags/tag291.xml"/><Relationship Id="rId255" Type="http://schemas.openxmlformats.org/officeDocument/2006/relationships/tags" Target="../tags/tag296.xml"/><Relationship Id="rId271" Type="http://schemas.openxmlformats.org/officeDocument/2006/relationships/tags" Target="../tags/tag312.xml"/><Relationship Id="rId276" Type="http://schemas.openxmlformats.org/officeDocument/2006/relationships/tags" Target="../tags/tag317.xml"/><Relationship Id="rId292" Type="http://schemas.openxmlformats.org/officeDocument/2006/relationships/notesSlide" Target="../notesSlides/notesSlide3.xml"/><Relationship Id="rId297" Type="http://schemas.openxmlformats.org/officeDocument/2006/relationships/image" Target="../media/image17.jpeg"/><Relationship Id="rId24" Type="http://schemas.openxmlformats.org/officeDocument/2006/relationships/tags" Target="../tags/tag65.xml"/><Relationship Id="rId40" Type="http://schemas.openxmlformats.org/officeDocument/2006/relationships/tags" Target="../tags/tag81.xml"/><Relationship Id="rId45" Type="http://schemas.openxmlformats.org/officeDocument/2006/relationships/tags" Target="../tags/tag86.xml"/><Relationship Id="rId66" Type="http://schemas.openxmlformats.org/officeDocument/2006/relationships/tags" Target="../tags/tag107.xml"/><Relationship Id="rId87" Type="http://schemas.openxmlformats.org/officeDocument/2006/relationships/tags" Target="../tags/tag128.xml"/><Relationship Id="rId110" Type="http://schemas.openxmlformats.org/officeDocument/2006/relationships/tags" Target="../tags/tag151.xml"/><Relationship Id="rId115" Type="http://schemas.openxmlformats.org/officeDocument/2006/relationships/tags" Target="../tags/tag156.xml"/><Relationship Id="rId131" Type="http://schemas.openxmlformats.org/officeDocument/2006/relationships/tags" Target="../tags/tag172.xml"/><Relationship Id="rId136" Type="http://schemas.openxmlformats.org/officeDocument/2006/relationships/tags" Target="../tags/tag177.xml"/><Relationship Id="rId157" Type="http://schemas.openxmlformats.org/officeDocument/2006/relationships/tags" Target="../tags/tag198.xml"/><Relationship Id="rId178" Type="http://schemas.openxmlformats.org/officeDocument/2006/relationships/tags" Target="../tags/tag219.xml"/><Relationship Id="rId61" Type="http://schemas.openxmlformats.org/officeDocument/2006/relationships/tags" Target="../tags/tag102.xml"/><Relationship Id="rId82" Type="http://schemas.openxmlformats.org/officeDocument/2006/relationships/tags" Target="../tags/tag123.xml"/><Relationship Id="rId152" Type="http://schemas.openxmlformats.org/officeDocument/2006/relationships/tags" Target="../tags/tag193.xml"/><Relationship Id="rId173" Type="http://schemas.openxmlformats.org/officeDocument/2006/relationships/tags" Target="../tags/tag214.xml"/><Relationship Id="rId194" Type="http://schemas.openxmlformats.org/officeDocument/2006/relationships/tags" Target="../tags/tag235.xml"/><Relationship Id="rId199" Type="http://schemas.openxmlformats.org/officeDocument/2006/relationships/tags" Target="../tags/tag240.xml"/><Relationship Id="rId203" Type="http://schemas.openxmlformats.org/officeDocument/2006/relationships/tags" Target="../tags/tag244.xml"/><Relationship Id="rId208" Type="http://schemas.openxmlformats.org/officeDocument/2006/relationships/tags" Target="../tags/tag249.xml"/><Relationship Id="rId229" Type="http://schemas.openxmlformats.org/officeDocument/2006/relationships/tags" Target="../tags/tag270.xml"/><Relationship Id="rId19" Type="http://schemas.openxmlformats.org/officeDocument/2006/relationships/tags" Target="../tags/tag60.xml"/><Relationship Id="rId224" Type="http://schemas.openxmlformats.org/officeDocument/2006/relationships/tags" Target="../tags/tag265.xml"/><Relationship Id="rId240" Type="http://schemas.openxmlformats.org/officeDocument/2006/relationships/tags" Target="../tags/tag281.xml"/><Relationship Id="rId245" Type="http://schemas.openxmlformats.org/officeDocument/2006/relationships/tags" Target="../tags/tag286.xml"/><Relationship Id="rId261" Type="http://schemas.openxmlformats.org/officeDocument/2006/relationships/tags" Target="../tags/tag302.xml"/><Relationship Id="rId266" Type="http://schemas.openxmlformats.org/officeDocument/2006/relationships/tags" Target="../tags/tag307.xml"/><Relationship Id="rId287" Type="http://schemas.openxmlformats.org/officeDocument/2006/relationships/tags" Target="../tags/tag328.xml"/><Relationship Id="rId14" Type="http://schemas.openxmlformats.org/officeDocument/2006/relationships/tags" Target="../tags/tag55.xml"/><Relationship Id="rId30" Type="http://schemas.openxmlformats.org/officeDocument/2006/relationships/tags" Target="../tags/tag71.xml"/><Relationship Id="rId35" Type="http://schemas.openxmlformats.org/officeDocument/2006/relationships/tags" Target="../tags/tag76.xml"/><Relationship Id="rId56" Type="http://schemas.openxmlformats.org/officeDocument/2006/relationships/tags" Target="../tags/tag97.xml"/><Relationship Id="rId77" Type="http://schemas.openxmlformats.org/officeDocument/2006/relationships/tags" Target="../tags/tag118.xml"/><Relationship Id="rId100" Type="http://schemas.openxmlformats.org/officeDocument/2006/relationships/tags" Target="../tags/tag141.xml"/><Relationship Id="rId105" Type="http://schemas.openxmlformats.org/officeDocument/2006/relationships/tags" Target="../tags/tag146.xml"/><Relationship Id="rId126" Type="http://schemas.openxmlformats.org/officeDocument/2006/relationships/tags" Target="../tags/tag167.xml"/><Relationship Id="rId147" Type="http://schemas.openxmlformats.org/officeDocument/2006/relationships/tags" Target="../tags/tag188.xml"/><Relationship Id="rId168" Type="http://schemas.openxmlformats.org/officeDocument/2006/relationships/tags" Target="../tags/tag209.xml"/><Relationship Id="rId282" Type="http://schemas.openxmlformats.org/officeDocument/2006/relationships/tags" Target="../tags/tag323.xml"/><Relationship Id="rId8" Type="http://schemas.openxmlformats.org/officeDocument/2006/relationships/tags" Target="../tags/tag49.xml"/><Relationship Id="rId51" Type="http://schemas.openxmlformats.org/officeDocument/2006/relationships/tags" Target="../tags/tag92.xml"/><Relationship Id="rId72" Type="http://schemas.openxmlformats.org/officeDocument/2006/relationships/tags" Target="../tags/tag113.xml"/><Relationship Id="rId93" Type="http://schemas.openxmlformats.org/officeDocument/2006/relationships/tags" Target="../tags/tag134.xml"/><Relationship Id="rId98" Type="http://schemas.openxmlformats.org/officeDocument/2006/relationships/tags" Target="../tags/tag139.xml"/><Relationship Id="rId121" Type="http://schemas.openxmlformats.org/officeDocument/2006/relationships/tags" Target="../tags/tag162.xml"/><Relationship Id="rId142" Type="http://schemas.openxmlformats.org/officeDocument/2006/relationships/tags" Target="../tags/tag183.xml"/><Relationship Id="rId163" Type="http://schemas.openxmlformats.org/officeDocument/2006/relationships/tags" Target="../tags/tag204.xml"/><Relationship Id="rId184" Type="http://schemas.openxmlformats.org/officeDocument/2006/relationships/tags" Target="../tags/tag225.xml"/><Relationship Id="rId189" Type="http://schemas.openxmlformats.org/officeDocument/2006/relationships/tags" Target="../tags/tag230.xml"/><Relationship Id="rId219" Type="http://schemas.openxmlformats.org/officeDocument/2006/relationships/tags" Target="../tags/tag260.xml"/><Relationship Id="rId3" Type="http://schemas.openxmlformats.org/officeDocument/2006/relationships/tags" Target="../tags/tag44.xml"/><Relationship Id="rId214" Type="http://schemas.openxmlformats.org/officeDocument/2006/relationships/tags" Target="../tags/tag255.xml"/><Relationship Id="rId230" Type="http://schemas.openxmlformats.org/officeDocument/2006/relationships/tags" Target="../tags/tag271.xml"/><Relationship Id="rId235" Type="http://schemas.openxmlformats.org/officeDocument/2006/relationships/tags" Target="../tags/tag276.xml"/><Relationship Id="rId251" Type="http://schemas.openxmlformats.org/officeDocument/2006/relationships/tags" Target="../tags/tag292.xml"/><Relationship Id="rId256" Type="http://schemas.openxmlformats.org/officeDocument/2006/relationships/tags" Target="../tags/tag297.xml"/><Relationship Id="rId277" Type="http://schemas.openxmlformats.org/officeDocument/2006/relationships/tags" Target="../tags/tag318.xml"/><Relationship Id="rId298" Type="http://schemas.openxmlformats.org/officeDocument/2006/relationships/image" Target="../media/image18.png"/><Relationship Id="rId25" Type="http://schemas.openxmlformats.org/officeDocument/2006/relationships/tags" Target="../tags/tag66.xml"/><Relationship Id="rId46" Type="http://schemas.openxmlformats.org/officeDocument/2006/relationships/tags" Target="../tags/tag87.xml"/><Relationship Id="rId67" Type="http://schemas.openxmlformats.org/officeDocument/2006/relationships/tags" Target="../tags/tag108.xml"/><Relationship Id="rId116" Type="http://schemas.openxmlformats.org/officeDocument/2006/relationships/tags" Target="../tags/tag157.xml"/><Relationship Id="rId137" Type="http://schemas.openxmlformats.org/officeDocument/2006/relationships/tags" Target="../tags/tag178.xml"/><Relationship Id="rId158" Type="http://schemas.openxmlformats.org/officeDocument/2006/relationships/tags" Target="../tags/tag199.xml"/><Relationship Id="rId272" Type="http://schemas.openxmlformats.org/officeDocument/2006/relationships/tags" Target="../tags/tag313.xml"/><Relationship Id="rId293" Type="http://schemas.openxmlformats.org/officeDocument/2006/relationships/image" Target="../media/image13.jpeg"/><Relationship Id="rId20" Type="http://schemas.openxmlformats.org/officeDocument/2006/relationships/tags" Target="../tags/tag61.xml"/><Relationship Id="rId41" Type="http://schemas.openxmlformats.org/officeDocument/2006/relationships/tags" Target="../tags/tag82.xml"/><Relationship Id="rId62" Type="http://schemas.openxmlformats.org/officeDocument/2006/relationships/tags" Target="../tags/tag103.xml"/><Relationship Id="rId83" Type="http://schemas.openxmlformats.org/officeDocument/2006/relationships/tags" Target="../tags/tag124.xml"/><Relationship Id="rId88" Type="http://schemas.openxmlformats.org/officeDocument/2006/relationships/tags" Target="../tags/tag129.xml"/><Relationship Id="rId111" Type="http://schemas.openxmlformats.org/officeDocument/2006/relationships/tags" Target="../tags/tag152.xml"/><Relationship Id="rId132" Type="http://schemas.openxmlformats.org/officeDocument/2006/relationships/tags" Target="../tags/tag173.xml"/><Relationship Id="rId153" Type="http://schemas.openxmlformats.org/officeDocument/2006/relationships/tags" Target="../tags/tag194.xml"/><Relationship Id="rId174" Type="http://schemas.openxmlformats.org/officeDocument/2006/relationships/tags" Target="../tags/tag215.xml"/><Relationship Id="rId179" Type="http://schemas.openxmlformats.org/officeDocument/2006/relationships/tags" Target="../tags/tag220.xml"/><Relationship Id="rId195" Type="http://schemas.openxmlformats.org/officeDocument/2006/relationships/tags" Target="../tags/tag236.xml"/><Relationship Id="rId209" Type="http://schemas.openxmlformats.org/officeDocument/2006/relationships/tags" Target="../tags/tag250.xml"/><Relationship Id="rId190" Type="http://schemas.openxmlformats.org/officeDocument/2006/relationships/tags" Target="../tags/tag231.xml"/><Relationship Id="rId204" Type="http://schemas.openxmlformats.org/officeDocument/2006/relationships/tags" Target="../tags/tag245.xml"/><Relationship Id="rId220" Type="http://schemas.openxmlformats.org/officeDocument/2006/relationships/tags" Target="../tags/tag261.xml"/><Relationship Id="rId225" Type="http://schemas.openxmlformats.org/officeDocument/2006/relationships/tags" Target="../tags/tag266.xml"/><Relationship Id="rId241" Type="http://schemas.openxmlformats.org/officeDocument/2006/relationships/tags" Target="../tags/tag282.xml"/><Relationship Id="rId246" Type="http://schemas.openxmlformats.org/officeDocument/2006/relationships/tags" Target="../tags/tag287.xml"/><Relationship Id="rId267" Type="http://schemas.openxmlformats.org/officeDocument/2006/relationships/tags" Target="../tags/tag308.xml"/><Relationship Id="rId288" Type="http://schemas.openxmlformats.org/officeDocument/2006/relationships/tags" Target="../tags/tag329.xml"/><Relationship Id="rId15" Type="http://schemas.openxmlformats.org/officeDocument/2006/relationships/tags" Target="../tags/tag56.xml"/><Relationship Id="rId36" Type="http://schemas.openxmlformats.org/officeDocument/2006/relationships/tags" Target="../tags/tag77.xml"/><Relationship Id="rId57" Type="http://schemas.openxmlformats.org/officeDocument/2006/relationships/tags" Target="../tags/tag98.xml"/><Relationship Id="rId106" Type="http://schemas.openxmlformats.org/officeDocument/2006/relationships/tags" Target="../tags/tag147.xml"/><Relationship Id="rId127" Type="http://schemas.openxmlformats.org/officeDocument/2006/relationships/tags" Target="../tags/tag168.xml"/><Relationship Id="rId262" Type="http://schemas.openxmlformats.org/officeDocument/2006/relationships/tags" Target="../tags/tag303.xml"/><Relationship Id="rId283" Type="http://schemas.openxmlformats.org/officeDocument/2006/relationships/tags" Target="../tags/tag324.xml"/><Relationship Id="rId10" Type="http://schemas.openxmlformats.org/officeDocument/2006/relationships/tags" Target="../tags/tag51.xml"/><Relationship Id="rId31" Type="http://schemas.openxmlformats.org/officeDocument/2006/relationships/tags" Target="../tags/tag72.xml"/><Relationship Id="rId52" Type="http://schemas.openxmlformats.org/officeDocument/2006/relationships/tags" Target="../tags/tag93.xml"/><Relationship Id="rId73" Type="http://schemas.openxmlformats.org/officeDocument/2006/relationships/tags" Target="../tags/tag114.xml"/><Relationship Id="rId78" Type="http://schemas.openxmlformats.org/officeDocument/2006/relationships/tags" Target="../tags/tag119.xml"/><Relationship Id="rId94" Type="http://schemas.openxmlformats.org/officeDocument/2006/relationships/tags" Target="../tags/tag135.xml"/><Relationship Id="rId99" Type="http://schemas.openxmlformats.org/officeDocument/2006/relationships/tags" Target="../tags/tag140.xml"/><Relationship Id="rId101" Type="http://schemas.openxmlformats.org/officeDocument/2006/relationships/tags" Target="../tags/tag142.xml"/><Relationship Id="rId122" Type="http://schemas.openxmlformats.org/officeDocument/2006/relationships/tags" Target="../tags/tag163.xml"/><Relationship Id="rId143" Type="http://schemas.openxmlformats.org/officeDocument/2006/relationships/tags" Target="../tags/tag184.xml"/><Relationship Id="rId148" Type="http://schemas.openxmlformats.org/officeDocument/2006/relationships/tags" Target="../tags/tag189.xml"/><Relationship Id="rId164" Type="http://schemas.openxmlformats.org/officeDocument/2006/relationships/tags" Target="../tags/tag205.xml"/><Relationship Id="rId169" Type="http://schemas.openxmlformats.org/officeDocument/2006/relationships/tags" Target="../tags/tag210.xml"/><Relationship Id="rId185" Type="http://schemas.openxmlformats.org/officeDocument/2006/relationships/tags" Target="../tags/tag226.xml"/><Relationship Id="rId4" Type="http://schemas.openxmlformats.org/officeDocument/2006/relationships/tags" Target="../tags/tag45.xml"/><Relationship Id="rId9" Type="http://schemas.openxmlformats.org/officeDocument/2006/relationships/tags" Target="../tags/tag50.xml"/><Relationship Id="rId180" Type="http://schemas.openxmlformats.org/officeDocument/2006/relationships/tags" Target="../tags/tag221.xml"/><Relationship Id="rId210" Type="http://schemas.openxmlformats.org/officeDocument/2006/relationships/tags" Target="../tags/tag251.xml"/><Relationship Id="rId215" Type="http://schemas.openxmlformats.org/officeDocument/2006/relationships/tags" Target="../tags/tag256.xml"/><Relationship Id="rId236" Type="http://schemas.openxmlformats.org/officeDocument/2006/relationships/tags" Target="../tags/tag277.xml"/><Relationship Id="rId257" Type="http://schemas.openxmlformats.org/officeDocument/2006/relationships/tags" Target="../tags/tag298.xml"/><Relationship Id="rId278" Type="http://schemas.openxmlformats.org/officeDocument/2006/relationships/tags" Target="../tags/tag319.xml"/><Relationship Id="rId26" Type="http://schemas.openxmlformats.org/officeDocument/2006/relationships/tags" Target="../tags/tag67.xml"/><Relationship Id="rId231" Type="http://schemas.openxmlformats.org/officeDocument/2006/relationships/tags" Target="../tags/tag272.xml"/><Relationship Id="rId252" Type="http://schemas.openxmlformats.org/officeDocument/2006/relationships/tags" Target="../tags/tag293.xml"/><Relationship Id="rId273" Type="http://schemas.openxmlformats.org/officeDocument/2006/relationships/tags" Target="../tags/tag314.xml"/><Relationship Id="rId294" Type="http://schemas.openxmlformats.org/officeDocument/2006/relationships/image" Target="../media/image14.jpeg"/><Relationship Id="rId47" Type="http://schemas.openxmlformats.org/officeDocument/2006/relationships/tags" Target="../tags/tag88.xml"/><Relationship Id="rId68" Type="http://schemas.openxmlformats.org/officeDocument/2006/relationships/tags" Target="../tags/tag109.xml"/><Relationship Id="rId89" Type="http://schemas.openxmlformats.org/officeDocument/2006/relationships/tags" Target="../tags/tag130.xml"/><Relationship Id="rId112" Type="http://schemas.openxmlformats.org/officeDocument/2006/relationships/tags" Target="../tags/tag153.xml"/><Relationship Id="rId133" Type="http://schemas.openxmlformats.org/officeDocument/2006/relationships/tags" Target="../tags/tag174.xml"/><Relationship Id="rId154" Type="http://schemas.openxmlformats.org/officeDocument/2006/relationships/tags" Target="../tags/tag195.xml"/><Relationship Id="rId175" Type="http://schemas.openxmlformats.org/officeDocument/2006/relationships/tags" Target="../tags/tag216.xml"/><Relationship Id="rId196" Type="http://schemas.openxmlformats.org/officeDocument/2006/relationships/tags" Target="../tags/tag237.xml"/><Relationship Id="rId200" Type="http://schemas.openxmlformats.org/officeDocument/2006/relationships/tags" Target="../tags/tag241.xml"/><Relationship Id="rId16" Type="http://schemas.openxmlformats.org/officeDocument/2006/relationships/tags" Target="../tags/tag57.xml"/><Relationship Id="rId221" Type="http://schemas.openxmlformats.org/officeDocument/2006/relationships/tags" Target="../tags/tag262.xml"/><Relationship Id="rId242" Type="http://schemas.openxmlformats.org/officeDocument/2006/relationships/tags" Target="../tags/tag283.xml"/><Relationship Id="rId263" Type="http://schemas.openxmlformats.org/officeDocument/2006/relationships/tags" Target="../tags/tag304.xml"/><Relationship Id="rId284" Type="http://schemas.openxmlformats.org/officeDocument/2006/relationships/tags" Target="../tags/tag325.xml"/><Relationship Id="rId37" Type="http://schemas.openxmlformats.org/officeDocument/2006/relationships/tags" Target="../tags/tag78.xml"/><Relationship Id="rId58" Type="http://schemas.openxmlformats.org/officeDocument/2006/relationships/tags" Target="../tags/tag99.xml"/><Relationship Id="rId79" Type="http://schemas.openxmlformats.org/officeDocument/2006/relationships/tags" Target="../tags/tag120.xml"/><Relationship Id="rId102" Type="http://schemas.openxmlformats.org/officeDocument/2006/relationships/tags" Target="../tags/tag143.xml"/><Relationship Id="rId123" Type="http://schemas.openxmlformats.org/officeDocument/2006/relationships/tags" Target="../tags/tag164.xml"/><Relationship Id="rId144" Type="http://schemas.openxmlformats.org/officeDocument/2006/relationships/tags" Target="../tags/tag185.xml"/><Relationship Id="rId90" Type="http://schemas.openxmlformats.org/officeDocument/2006/relationships/tags" Target="../tags/tag131.xml"/><Relationship Id="rId165" Type="http://schemas.openxmlformats.org/officeDocument/2006/relationships/tags" Target="../tags/tag206.xml"/><Relationship Id="rId186" Type="http://schemas.openxmlformats.org/officeDocument/2006/relationships/tags" Target="../tags/tag227.xml"/><Relationship Id="rId211" Type="http://schemas.openxmlformats.org/officeDocument/2006/relationships/tags" Target="../tags/tag252.xml"/><Relationship Id="rId232" Type="http://schemas.openxmlformats.org/officeDocument/2006/relationships/tags" Target="../tags/tag273.xml"/><Relationship Id="rId253" Type="http://schemas.openxmlformats.org/officeDocument/2006/relationships/tags" Target="../tags/tag294.xml"/><Relationship Id="rId274" Type="http://schemas.openxmlformats.org/officeDocument/2006/relationships/tags" Target="../tags/tag315.xml"/><Relationship Id="rId295" Type="http://schemas.openxmlformats.org/officeDocument/2006/relationships/image" Target="../media/image15.jpeg"/><Relationship Id="rId27" Type="http://schemas.openxmlformats.org/officeDocument/2006/relationships/tags" Target="../tags/tag68.xml"/><Relationship Id="rId48" Type="http://schemas.openxmlformats.org/officeDocument/2006/relationships/tags" Target="../tags/tag89.xml"/><Relationship Id="rId69" Type="http://schemas.openxmlformats.org/officeDocument/2006/relationships/tags" Target="../tags/tag110.xml"/><Relationship Id="rId113" Type="http://schemas.openxmlformats.org/officeDocument/2006/relationships/tags" Target="../tags/tag154.xml"/><Relationship Id="rId134" Type="http://schemas.openxmlformats.org/officeDocument/2006/relationships/tags" Target="../tags/tag175.xml"/><Relationship Id="rId80" Type="http://schemas.openxmlformats.org/officeDocument/2006/relationships/tags" Target="../tags/tag121.xml"/><Relationship Id="rId155" Type="http://schemas.openxmlformats.org/officeDocument/2006/relationships/tags" Target="../tags/tag196.xml"/><Relationship Id="rId176" Type="http://schemas.openxmlformats.org/officeDocument/2006/relationships/tags" Target="../tags/tag217.xml"/><Relationship Id="rId197" Type="http://schemas.openxmlformats.org/officeDocument/2006/relationships/tags" Target="../tags/tag238.xml"/><Relationship Id="rId201" Type="http://schemas.openxmlformats.org/officeDocument/2006/relationships/tags" Target="../tags/tag242.xml"/><Relationship Id="rId222" Type="http://schemas.openxmlformats.org/officeDocument/2006/relationships/tags" Target="../tags/tag263.xml"/><Relationship Id="rId243" Type="http://schemas.openxmlformats.org/officeDocument/2006/relationships/tags" Target="../tags/tag284.xml"/><Relationship Id="rId264" Type="http://schemas.openxmlformats.org/officeDocument/2006/relationships/tags" Target="../tags/tag305.xml"/><Relationship Id="rId285" Type="http://schemas.openxmlformats.org/officeDocument/2006/relationships/tags" Target="../tags/tag326.xml"/><Relationship Id="rId17" Type="http://schemas.openxmlformats.org/officeDocument/2006/relationships/tags" Target="../tags/tag58.xml"/><Relationship Id="rId38" Type="http://schemas.openxmlformats.org/officeDocument/2006/relationships/tags" Target="../tags/tag79.xml"/><Relationship Id="rId59" Type="http://schemas.openxmlformats.org/officeDocument/2006/relationships/tags" Target="../tags/tag100.xml"/><Relationship Id="rId103" Type="http://schemas.openxmlformats.org/officeDocument/2006/relationships/tags" Target="../tags/tag144.xml"/><Relationship Id="rId124" Type="http://schemas.openxmlformats.org/officeDocument/2006/relationships/tags" Target="../tags/tag165.xml"/><Relationship Id="rId70" Type="http://schemas.openxmlformats.org/officeDocument/2006/relationships/tags" Target="../tags/tag111.xml"/><Relationship Id="rId91" Type="http://schemas.openxmlformats.org/officeDocument/2006/relationships/tags" Target="../tags/tag132.xml"/><Relationship Id="rId145" Type="http://schemas.openxmlformats.org/officeDocument/2006/relationships/tags" Target="../tags/tag186.xml"/><Relationship Id="rId166" Type="http://schemas.openxmlformats.org/officeDocument/2006/relationships/tags" Target="../tags/tag207.xml"/><Relationship Id="rId187" Type="http://schemas.openxmlformats.org/officeDocument/2006/relationships/tags" Target="../tags/tag228.xml"/><Relationship Id="rId1" Type="http://schemas.openxmlformats.org/officeDocument/2006/relationships/tags" Target="../tags/tag42.xml"/><Relationship Id="rId212" Type="http://schemas.openxmlformats.org/officeDocument/2006/relationships/tags" Target="../tags/tag253.xml"/><Relationship Id="rId233" Type="http://schemas.openxmlformats.org/officeDocument/2006/relationships/tags" Target="../tags/tag274.xml"/><Relationship Id="rId254" Type="http://schemas.openxmlformats.org/officeDocument/2006/relationships/tags" Target="../tags/tag295.xml"/><Relationship Id="rId28" Type="http://schemas.openxmlformats.org/officeDocument/2006/relationships/tags" Target="../tags/tag69.xml"/><Relationship Id="rId49" Type="http://schemas.openxmlformats.org/officeDocument/2006/relationships/tags" Target="../tags/tag90.xml"/><Relationship Id="rId114" Type="http://schemas.openxmlformats.org/officeDocument/2006/relationships/tags" Target="../tags/tag155.xml"/><Relationship Id="rId275" Type="http://schemas.openxmlformats.org/officeDocument/2006/relationships/tags" Target="../tags/tag316.xml"/><Relationship Id="rId296" Type="http://schemas.openxmlformats.org/officeDocument/2006/relationships/image" Target="../media/image16.jpeg"/><Relationship Id="rId300" Type="http://schemas.openxmlformats.org/officeDocument/2006/relationships/chart" Target="../charts/chart1.xml"/><Relationship Id="rId60" Type="http://schemas.openxmlformats.org/officeDocument/2006/relationships/tags" Target="../tags/tag101.xml"/><Relationship Id="rId81" Type="http://schemas.openxmlformats.org/officeDocument/2006/relationships/tags" Target="../tags/tag122.xml"/><Relationship Id="rId135" Type="http://schemas.openxmlformats.org/officeDocument/2006/relationships/tags" Target="../tags/tag176.xml"/><Relationship Id="rId156" Type="http://schemas.openxmlformats.org/officeDocument/2006/relationships/tags" Target="../tags/tag197.xml"/><Relationship Id="rId177" Type="http://schemas.openxmlformats.org/officeDocument/2006/relationships/tags" Target="../tags/tag218.xml"/><Relationship Id="rId198" Type="http://schemas.openxmlformats.org/officeDocument/2006/relationships/tags" Target="../tags/tag239.xml"/><Relationship Id="rId202" Type="http://schemas.openxmlformats.org/officeDocument/2006/relationships/tags" Target="../tags/tag243.xml"/><Relationship Id="rId223" Type="http://schemas.openxmlformats.org/officeDocument/2006/relationships/tags" Target="../tags/tag264.xml"/><Relationship Id="rId244" Type="http://schemas.openxmlformats.org/officeDocument/2006/relationships/tags" Target="../tags/tag285.xml"/><Relationship Id="rId18" Type="http://schemas.openxmlformats.org/officeDocument/2006/relationships/tags" Target="../tags/tag59.xml"/><Relationship Id="rId39" Type="http://schemas.openxmlformats.org/officeDocument/2006/relationships/tags" Target="../tags/tag80.xml"/><Relationship Id="rId265" Type="http://schemas.openxmlformats.org/officeDocument/2006/relationships/tags" Target="../tags/tag306.xml"/><Relationship Id="rId286" Type="http://schemas.openxmlformats.org/officeDocument/2006/relationships/tags" Target="../tags/tag327.xml"/><Relationship Id="rId50" Type="http://schemas.openxmlformats.org/officeDocument/2006/relationships/tags" Target="../tags/tag91.xml"/><Relationship Id="rId104" Type="http://schemas.openxmlformats.org/officeDocument/2006/relationships/tags" Target="../tags/tag145.xml"/><Relationship Id="rId125" Type="http://schemas.openxmlformats.org/officeDocument/2006/relationships/tags" Target="../tags/tag166.xml"/><Relationship Id="rId146" Type="http://schemas.openxmlformats.org/officeDocument/2006/relationships/tags" Target="../tags/tag187.xml"/><Relationship Id="rId167" Type="http://schemas.openxmlformats.org/officeDocument/2006/relationships/tags" Target="../tags/tag208.xml"/><Relationship Id="rId188" Type="http://schemas.openxmlformats.org/officeDocument/2006/relationships/tags" Target="../tags/tag229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44.xml"/><Relationship Id="rId6" Type="http://schemas.openxmlformats.org/officeDocument/2006/relationships/image" Target="../media/image21.jpeg"/><Relationship Id="rId5" Type="http://schemas.openxmlformats.org/officeDocument/2006/relationships/image" Target="../media/image20.jpeg"/><Relationship Id="rId4" Type="http://schemas.openxmlformats.org/officeDocument/2006/relationships/image" Target="../media/image8.pn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4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44.xml"/><Relationship Id="rId4" Type="http://schemas.openxmlformats.org/officeDocument/2006/relationships/chart" Target="../charts/chart3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tags" Target="../tags/tag339.xml"/><Relationship Id="rId13" Type="http://schemas.openxmlformats.org/officeDocument/2006/relationships/slideLayout" Target="../slideLayouts/slideLayout170.xml"/><Relationship Id="rId3" Type="http://schemas.openxmlformats.org/officeDocument/2006/relationships/tags" Target="../tags/tag334.xml"/><Relationship Id="rId7" Type="http://schemas.openxmlformats.org/officeDocument/2006/relationships/tags" Target="../tags/tag338.xml"/><Relationship Id="rId12" Type="http://schemas.openxmlformats.org/officeDocument/2006/relationships/tags" Target="../tags/tag343.xml"/><Relationship Id="rId2" Type="http://schemas.openxmlformats.org/officeDocument/2006/relationships/tags" Target="../tags/tag333.xml"/><Relationship Id="rId16" Type="http://schemas.openxmlformats.org/officeDocument/2006/relationships/image" Target="../media/image22.png"/><Relationship Id="rId1" Type="http://schemas.openxmlformats.org/officeDocument/2006/relationships/tags" Target="../tags/tag332.xml"/><Relationship Id="rId6" Type="http://schemas.openxmlformats.org/officeDocument/2006/relationships/tags" Target="../tags/tag337.xml"/><Relationship Id="rId11" Type="http://schemas.openxmlformats.org/officeDocument/2006/relationships/tags" Target="../tags/tag342.xml"/><Relationship Id="rId5" Type="http://schemas.openxmlformats.org/officeDocument/2006/relationships/tags" Target="../tags/tag336.xml"/><Relationship Id="rId15" Type="http://schemas.openxmlformats.org/officeDocument/2006/relationships/chart" Target="../charts/chart4.xml"/><Relationship Id="rId10" Type="http://schemas.openxmlformats.org/officeDocument/2006/relationships/tags" Target="../tags/tag341.xml"/><Relationship Id="rId4" Type="http://schemas.openxmlformats.org/officeDocument/2006/relationships/tags" Target="../tags/tag335.xml"/><Relationship Id="rId9" Type="http://schemas.openxmlformats.org/officeDocument/2006/relationships/tags" Target="../tags/tag340.xml"/><Relationship Id="rId14" Type="http://schemas.openxmlformats.org/officeDocument/2006/relationships/notesSlide" Target="../notesSlides/notesSlide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jpe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70.xml"/><Relationship Id="rId5" Type="http://schemas.openxmlformats.org/officeDocument/2006/relationships/image" Target="../media/image25.jpeg"/><Relationship Id="rId4" Type="http://schemas.openxmlformats.org/officeDocument/2006/relationships/image" Target="../media/image24.jp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jpe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7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2"/>
          <p:cNvSpPr>
            <a:spLocks noGrp="1"/>
          </p:cNvSpPr>
          <p:nvPr>
            <p:ph type="ctrTitle" sz="quarter"/>
          </p:nvPr>
        </p:nvSpPr>
        <p:spPr>
          <a:xfrm>
            <a:off x="251520" y="5157192"/>
            <a:ext cx="8640960" cy="864096"/>
          </a:xfrm>
        </p:spPr>
        <p:txBody>
          <a:bodyPr/>
          <a:lstStyle/>
          <a:p>
            <a:pPr algn="l"/>
            <a:r>
              <a:rPr lang="ru-RU" b="1" dirty="0" smtClean="0">
                <a:solidFill>
                  <a:schemeClr val="tx1">
                    <a:lumMod val="90000"/>
                    <a:lumOff val="10000"/>
                  </a:schemeClr>
                </a:solidFill>
                <a:cs typeface="Times New Roman" panose="02020603050405020304" pitchFamily="18" charset="0"/>
              </a:rPr>
              <a:t/>
            </a:r>
            <a:br>
              <a:rPr lang="ru-RU" b="1" dirty="0" smtClean="0">
                <a:solidFill>
                  <a:schemeClr val="tx1">
                    <a:lumMod val="90000"/>
                    <a:lumOff val="10000"/>
                  </a:schemeClr>
                </a:solidFill>
                <a:cs typeface="Times New Roman" panose="02020603050405020304" pitchFamily="18" charset="0"/>
              </a:rPr>
            </a:br>
            <a:r>
              <a:rPr lang="ru-RU" b="1" dirty="0" smtClean="0">
                <a:solidFill>
                  <a:schemeClr val="tx1">
                    <a:lumMod val="90000"/>
                    <a:lumOff val="10000"/>
                  </a:schemeClr>
                </a:solidFill>
                <a:cs typeface="Times New Roman" panose="02020603050405020304" pitchFamily="18" charset="0"/>
              </a:rPr>
              <a:t>Ключевые направления развития геологоразведочных работ в АК «АЛРОСА» (ПАО)</a:t>
            </a:r>
            <a:endParaRPr lang="ru-RU" b="1" dirty="0">
              <a:solidFill>
                <a:schemeClr val="tx1">
                  <a:lumMod val="90000"/>
                  <a:lumOff val="10000"/>
                </a:schemeClr>
              </a:solidFill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375175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gallery dir="l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168404" y="53594"/>
            <a:ext cx="8869266" cy="834431"/>
          </a:xfrm>
        </p:spPr>
        <p:txBody>
          <a:bodyPr/>
          <a:lstStyle/>
          <a:p>
            <a:pPr algn="r"/>
            <a:r>
              <a:rPr lang="ru-RU" sz="2400" b="0" dirty="0"/>
              <a:t>Основные методы применяемые при производстве ГРР</a:t>
            </a:r>
          </a:p>
        </p:txBody>
      </p:sp>
      <p:sp>
        <p:nvSpPr>
          <p:cNvPr id="120" name="BainBulletsConfiguration" hidden="1"/>
          <p:cNvSpPr txBox="1"/>
          <p:nvPr/>
        </p:nvSpPr>
        <p:spPr>
          <a:xfrm>
            <a:off x="11209" y="12068"/>
            <a:ext cx="7846522" cy="83639"/>
          </a:xfrm>
          <a:prstGeom prst="rect">
            <a:avLst/>
          </a:prstGeom>
          <a:noFill/>
        </p:spPr>
        <p:txBody>
          <a:bodyPr vert="horz" wrap="square" lIns="32709" tIns="32709" rIns="32709" bIns="32709" rtlCol="0">
            <a:spAutoFit/>
          </a:bodyPr>
          <a:lstStyle/>
          <a:p>
            <a:pPr defTabSz="891619"/>
            <a:r>
              <a:rPr lang="ru-RU" sz="100" dirty="0">
                <a:solidFill>
                  <a:srgbClr val="FFFFFF"/>
                </a:solidFill>
              </a:rPr>
              <a:t>52_89 7_84 78_88 81_88 49_84</a:t>
            </a:r>
          </a:p>
        </p:txBody>
      </p:sp>
      <p:pic>
        <p:nvPicPr>
          <p:cNvPr id="14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63746" y="1960199"/>
            <a:ext cx="2255727" cy="1691796"/>
          </a:xfrm>
          <a:prstGeom prst="rect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5" name="Полилиния 14"/>
          <p:cNvSpPr/>
          <p:nvPr/>
        </p:nvSpPr>
        <p:spPr>
          <a:xfrm>
            <a:off x="2667095" y="2060849"/>
            <a:ext cx="1400850" cy="1190530"/>
          </a:xfrm>
          <a:custGeom>
            <a:avLst/>
            <a:gdLst>
              <a:gd name="connsiteX0" fmla="*/ 0 w 867206"/>
              <a:gd name="connsiteY0" fmla="*/ 55068 h 550676"/>
              <a:gd name="connsiteX1" fmla="*/ 55068 w 867206"/>
              <a:gd name="connsiteY1" fmla="*/ 0 h 550676"/>
              <a:gd name="connsiteX2" fmla="*/ 812138 w 867206"/>
              <a:gd name="connsiteY2" fmla="*/ 0 h 550676"/>
              <a:gd name="connsiteX3" fmla="*/ 867206 w 867206"/>
              <a:gd name="connsiteY3" fmla="*/ 55068 h 550676"/>
              <a:gd name="connsiteX4" fmla="*/ 867206 w 867206"/>
              <a:gd name="connsiteY4" fmla="*/ 495608 h 550676"/>
              <a:gd name="connsiteX5" fmla="*/ 812138 w 867206"/>
              <a:gd name="connsiteY5" fmla="*/ 550676 h 550676"/>
              <a:gd name="connsiteX6" fmla="*/ 55068 w 867206"/>
              <a:gd name="connsiteY6" fmla="*/ 550676 h 550676"/>
              <a:gd name="connsiteX7" fmla="*/ 0 w 867206"/>
              <a:gd name="connsiteY7" fmla="*/ 495608 h 550676"/>
              <a:gd name="connsiteX8" fmla="*/ 0 w 867206"/>
              <a:gd name="connsiteY8" fmla="*/ 55068 h 5506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867206" h="550676">
                <a:moveTo>
                  <a:pt x="0" y="55068"/>
                </a:moveTo>
                <a:cubicBezTo>
                  <a:pt x="0" y="24655"/>
                  <a:pt x="24655" y="0"/>
                  <a:pt x="55068" y="0"/>
                </a:cubicBezTo>
                <a:lnTo>
                  <a:pt x="812138" y="0"/>
                </a:lnTo>
                <a:cubicBezTo>
                  <a:pt x="842551" y="0"/>
                  <a:pt x="867206" y="24655"/>
                  <a:pt x="867206" y="55068"/>
                </a:cubicBezTo>
                <a:lnTo>
                  <a:pt x="867206" y="495608"/>
                </a:lnTo>
                <a:cubicBezTo>
                  <a:pt x="867206" y="526021"/>
                  <a:pt x="842551" y="550676"/>
                  <a:pt x="812138" y="550676"/>
                </a:cubicBezTo>
                <a:lnTo>
                  <a:pt x="55068" y="550676"/>
                </a:lnTo>
                <a:cubicBezTo>
                  <a:pt x="24655" y="550676"/>
                  <a:pt x="0" y="526021"/>
                  <a:pt x="0" y="495608"/>
                </a:cubicBezTo>
                <a:lnTo>
                  <a:pt x="0" y="55068"/>
                </a:lnTo>
                <a:close/>
              </a:path>
            </a:pathLst>
          </a:custGeom>
          <a:gradFill>
            <a:gsLst>
              <a:gs pos="0">
                <a:srgbClr val="3780B5">
                  <a:tint val="50000"/>
                  <a:satMod val="300000"/>
                </a:srgbClr>
              </a:gs>
              <a:gs pos="35000">
                <a:srgbClr val="3780B5">
                  <a:tint val="37000"/>
                  <a:satMod val="300000"/>
                </a:srgbClr>
              </a:gs>
              <a:gs pos="100000">
                <a:srgbClr val="3780B5">
                  <a:tint val="15000"/>
                  <a:satMod val="350000"/>
                </a:srgbClr>
              </a:gs>
            </a:gsLst>
            <a:lin ang="16200000" scaled="1"/>
          </a:gradFill>
          <a:ln w="9525" cap="flat" cmpd="sng" algn="ctr">
            <a:solidFill>
              <a:srgbClr val="3780B5">
                <a:shade val="95000"/>
                <a:satMod val="105000"/>
              </a:srgb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  <a:scene3d>
            <a:camera prst="orthographicFront"/>
            <a:lightRig rig="threePt" dir="t"/>
          </a:scene3d>
          <a:sp3d>
            <a:bevelT/>
          </a:sp3d>
        </p:spPr>
        <p:txBody>
          <a:bodyPr spcFirstLastPara="0" vert="horz" wrap="square" lIns="38946" tIns="38946" rIns="38946" bIns="38946" numCol="1" spcCol="1269" anchor="ctr" anchorCtr="0">
            <a:noAutofit/>
          </a:bodyPr>
          <a:lstStyle/>
          <a:p>
            <a:pPr marL="171261" indent="-171261" defTabSz="266407">
              <a:lnSpc>
                <a:spcPct val="90000"/>
              </a:lnSpc>
              <a:spcAft>
                <a:spcPct val="35000"/>
              </a:spcAft>
              <a:buFont typeface="Arial" panose="020B0604020202020204" pitchFamily="34" charset="0"/>
              <a:buChar char="•"/>
              <a:defRPr/>
            </a:pPr>
            <a:r>
              <a:rPr lang="ru-RU" sz="1100" b="1" kern="0" dirty="0">
                <a:solidFill>
                  <a:srgbClr val="4D4D4D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редне-</a:t>
            </a:r>
            <a:r>
              <a:rPr lang="ru-RU" sz="1100" b="1" kern="0" dirty="0" err="1">
                <a:solidFill>
                  <a:srgbClr val="4D4D4D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архинская</a:t>
            </a:r>
            <a:endParaRPr lang="ru-RU" sz="1100" b="1" kern="0" dirty="0">
              <a:solidFill>
                <a:srgbClr val="4D4D4D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171261" indent="-171261" defTabSz="266407">
              <a:lnSpc>
                <a:spcPct val="90000"/>
              </a:lnSpc>
              <a:spcAft>
                <a:spcPct val="35000"/>
              </a:spcAft>
              <a:buFont typeface="Arial" panose="020B0604020202020204" pitchFamily="34" charset="0"/>
              <a:buChar char="•"/>
              <a:defRPr/>
            </a:pPr>
            <a:r>
              <a:rPr lang="ru-RU" sz="1100" b="1" kern="0" dirty="0">
                <a:solidFill>
                  <a:srgbClr val="4D4D4D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ало-</a:t>
            </a:r>
            <a:r>
              <a:rPr lang="ru-RU" sz="1100" b="1" kern="0" dirty="0" err="1">
                <a:solidFill>
                  <a:srgbClr val="4D4D4D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Ботуобинская</a:t>
            </a:r>
            <a:endParaRPr lang="ru-RU" sz="1100" b="1" kern="0" dirty="0">
              <a:solidFill>
                <a:srgbClr val="4D4D4D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171261" indent="-171261" defTabSz="266407">
              <a:lnSpc>
                <a:spcPct val="90000"/>
              </a:lnSpc>
              <a:spcAft>
                <a:spcPct val="35000"/>
              </a:spcAft>
              <a:buFont typeface="Arial" panose="020B0604020202020204" pitchFamily="34" charset="0"/>
              <a:buChar char="•"/>
              <a:defRPr/>
            </a:pPr>
            <a:r>
              <a:rPr lang="ru-RU" sz="1100" b="1" kern="0" dirty="0">
                <a:solidFill>
                  <a:srgbClr val="4D4D4D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алдыно-Алакитская</a:t>
            </a:r>
          </a:p>
        </p:txBody>
      </p:sp>
      <p:sp>
        <p:nvSpPr>
          <p:cNvPr id="17" name="Полилиния 16"/>
          <p:cNvSpPr/>
          <p:nvPr/>
        </p:nvSpPr>
        <p:spPr>
          <a:xfrm>
            <a:off x="600661" y="1238734"/>
            <a:ext cx="3668100" cy="623878"/>
          </a:xfrm>
          <a:custGeom>
            <a:avLst/>
            <a:gdLst>
              <a:gd name="connsiteX0" fmla="*/ 0 w 867206"/>
              <a:gd name="connsiteY0" fmla="*/ 55068 h 550676"/>
              <a:gd name="connsiteX1" fmla="*/ 55068 w 867206"/>
              <a:gd name="connsiteY1" fmla="*/ 0 h 550676"/>
              <a:gd name="connsiteX2" fmla="*/ 812138 w 867206"/>
              <a:gd name="connsiteY2" fmla="*/ 0 h 550676"/>
              <a:gd name="connsiteX3" fmla="*/ 867206 w 867206"/>
              <a:gd name="connsiteY3" fmla="*/ 55068 h 550676"/>
              <a:gd name="connsiteX4" fmla="*/ 867206 w 867206"/>
              <a:gd name="connsiteY4" fmla="*/ 495608 h 550676"/>
              <a:gd name="connsiteX5" fmla="*/ 812138 w 867206"/>
              <a:gd name="connsiteY5" fmla="*/ 550676 h 550676"/>
              <a:gd name="connsiteX6" fmla="*/ 55068 w 867206"/>
              <a:gd name="connsiteY6" fmla="*/ 550676 h 550676"/>
              <a:gd name="connsiteX7" fmla="*/ 0 w 867206"/>
              <a:gd name="connsiteY7" fmla="*/ 495608 h 550676"/>
              <a:gd name="connsiteX8" fmla="*/ 0 w 867206"/>
              <a:gd name="connsiteY8" fmla="*/ 55068 h 5506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867206" h="550676">
                <a:moveTo>
                  <a:pt x="0" y="55068"/>
                </a:moveTo>
                <a:cubicBezTo>
                  <a:pt x="0" y="24655"/>
                  <a:pt x="24655" y="0"/>
                  <a:pt x="55068" y="0"/>
                </a:cubicBezTo>
                <a:lnTo>
                  <a:pt x="812138" y="0"/>
                </a:lnTo>
                <a:cubicBezTo>
                  <a:pt x="842551" y="0"/>
                  <a:pt x="867206" y="24655"/>
                  <a:pt x="867206" y="55068"/>
                </a:cubicBezTo>
                <a:lnTo>
                  <a:pt x="867206" y="495608"/>
                </a:lnTo>
                <a:cubicBezTo>
                  <a:pt x="867206" y="526021"/>
                  <a:pt x="842551" y="550676"/>
                  <a:pt x="812138" y="550676"/>
                </a:cubicBezTo>
                <a:lnTo>
                  <a:pt x="55068" y="550676"/>
                </a:lnTo>
                <a:cubicBezTo>
                  <a:pt x="24655" y="550676"/>
                  <a:pt x="0" y="526021"/>
                  <a:pt x="0" y="495608"/>
                </a:cubicBezTo>
                <a:lnTo>
                  <a:pt x="0" y="55068"/>
                </a:lnTo>
                <a:close/>
              </a:path>
            </a:pathLst>
          </a:custGeom>
          <a:gradFill rotWithShape="1">
            <a:gsLst>
              <a:gs pos="0">
                <a:srgbClr val="3780B5">
                  <a:tint val="50000"/>
                  <a:satMod val="300000"/>
                </a:srgbClr>
              </a:gs>
              <a:gs pos="35000">
                <a:srgbClr val="3780B5">
                  <a:tint val="37000"/>
                  <a:satMod val="300000"/>
                </a:srgbClr>
              </a:gs>
              <a:gs pos="100000">
                <a:srgbClr val="3780B5">
                  <a:tint val="15000"/>
                  <a:satMod val="350000"/>
                </a:srgbClr>
              </a:gs>
            </a:gsLst>
            <a:lin ang="16200000" scaled="1"/>
          </a:gradFill>
          <a:ln w="9525" cap="flat" cmpd="sng" algn="ctr">
            <a:solidFill>
              <a:srgbClr val="3780B5">
                <a:shade val="95000"/>
                <a:satMod val="105000"/>
              </a:srgb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  <a:scene3d>
            <a:camera prst="orthographicFront"/>
            <a:lightRig rig="threePt" dir="t"/>
          </a:scene3d>
          <a:sp3d>
            <a:bevelT/>
          </a:sp3d>
        </p:spPr>
        <p:txBody>
          <a:bodyPr spcFirstLastPara="0" vert="horz" wrap="square" lIns="38946" tIns="38946" rIns="38946" bIns="38946" numCol="1" spcCol="1269" anchor="ctr" anchorCtr="0">
            <a:noAutofit/>
          </a:bodyPr>
          <a:lstStyle/>
          <a:p>
            <a:pPr algn="ctr" defTabSz="266407">
              <a:lnSpc>
                <a:spcPct val="90000"/>
              </a:lnSpc>
              <a:spcAft>
                <a:spcPct val="35000"/>
              </a:spcAft>
              <a:defRPr/>
            </a:pPr>
            <a:r>
              <a:rPr lang="ru-RU" sz="1400" b="1" kern="0" dirty="0">
                <a:solidFill>
                  <a:srgbClr val="4D4D4D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СНОВНЫЕ ИСТОЧНИКИ ВОСПРОИЗВОДСТВА</a:t>
            </a:r>
          </a:p>
        </p:txBody>
      </p:sp>
      <p:sp>
        <p:nvSpPr>
          <p:cNvPr id="18" name="Полилиния 17"/>
          <p:cNvSpPr/>
          <p:nvPr/>
        </p:nvSpPr>
        <p:spPr>
          <a:xfrm>
            <a:off x="5300956" y="1238734"/>
            <a:ext cx="3738375" cy="623878"/>
          </a:xfrm>
          <a:custGeom>
            <a:avLst/>
            <a:gdLst>
              <a:gd name="connsiteX0" fmla="*/ 0 w 867206"/>
              <a:gd name="connsiteY0" fmla="*/ 55068 h 550676"/>
              <a:gd name="connsiteX1" fmla="*/ 55068 w 867206"/>
              <a:gd name="connsiteY1" fmla="*/ 0 h 550676"/>
              <a:gd name="connsiteX2" fmla="*/ 812138 w 867206"/>
              <a:gd name="connsiteY2" fmla="*/ 0 h 550676"/>
              <a:gd name="connsiteX3" fmla="*/ 867206 w 867206"/>
              <a:gd name="connsiteY3" fmla="*/ 55068 h 550676"/>
              <a:gd name="connsiteX4" fmla="*/ 867206 w 867206"/>
              <a:gd name="connsiteY4" fmla="*/ 495608 h 550676"/>
              <a:gd name="connsiteX5" fmla="*/ 812138 w 867206"/>
              <a:gd name="connsiteY5" fmla="*/ 550676 h 550676"/>
              <a:gd name="connsiteX6" fmla="*/ 55068 w 867206"/>
              <a:gd name="connsiteY6" fmla="*/ 550676 h 550676"/>
              <a:gd name="connsiteX7" fmla="*/ 0 w 867206"/>
              <a:gd name="connsiteY7" fmla="*/ 495608 h 550676"/>
              <a:gd name="connsiteX8" fmla="*/ 0 w 867206"/>
              <a:gd name="connsiteY8" fmla="*/ 55068 h 5506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867206" h="550676">
                <a:moveTo>
                  <a:pt x="0" y="55068"/>
                </a:moveTo>
                <a:cubicBezTo>
                  <a:pt x="0" y="24655"/>
                  <a:pt x="24655" y="0"/>
                  <a:pt x="55068" y="0"/>
                </a:cubicBezTo>
                <a:lnTo>
                  <a:pt x="812138" y="0"/>
                </a:lnTo>
                <a:cubicBezTo>
                  <a:pt x="842551" y="0"/>
                  <a:pt x="867206" y="24655"/>
                  <a:pt x="867206" y="55068"/>
                </a:cubicBezTo>
                <a:lnTo>
                  <a:pt x="867206" y="495608"/>
                </a:lnTo>
                <a:cubicBezTo>
                  <a:pt x="867206" y="526021"/>
                  <a:pt x="842551" y="550676"/>
                  <a:pt x="812138" y="550676"/>
                </a:cubicBezTo>
                <a:lnTo>
                  <a:pt x="55068" y="550676"/>
                </a:lnTo>
                <a:cubicBezTo>
                  <a:pt x="24655" y="550676"/>
                  <a:pt x="0" y="526021"/>
                  <a:pt x="0" y="495608"/>
                </a:cubicBezTo>
                <a:lnTo>
                  <a:pt x="0" y="55068"/>
                </a:lnTo>
                <a:close/>
              </a:path>
            </a:pathLst>
          </a:custGeom>
          <a:gradFill rotWithShape="1">
            <a:gsLst>
              <a:gs pos="0">
                <a:schemeClr val="accent6">
                  <a:lumMod val="20000"/>
                  <a:lumOff val="80000"/>
                </a:schemeClr>
              </a:gs>
              <a:gs pos="40000">
                <a:schemeClr val="accent6">
                  <a:lumMod val="40000"/>
                  <a:lumOff val="60000"/>
                </a:schemeClr>
              </a:gs>
              <a:gs pos="100000">
                <a:srgbClr val="3780B5">
                  <a:tint val="15000"/>
                  <a:satMod val="350000"/>
                </a:srgbClr>
              </a:gs>
            </a:gsLst>
            <a:lin ang="16200000" scaled="1"/>
          </a:gradFill>
          <a:ln w="9525" cap="flat" cmpd="sng" algn="ctr">
            <a:solidFill>
              <a:srgbClr val="3780B5">
                <a:shade val="95000"/>
                <a:satMod val="105000"/>
              </a:srgb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  <a:scene3d>
            <a:camera prst="orthographicFront"/>
            <a:lightRig rig="threePt" dir="t"/>
          </a:scene3d>
          <a:sp3d>
            <a:bevelT/>
          </a:sp3d>
        </p:spPr>
        <p:txBody>
          <a:bodyPr spcFirstLastPara="0" vert="horz" wrap="square" lIns="38946" tIns="38946" rIns="38946" bIns="38946" numCol="1" spcCol="1269" anchor="ctr" anchorCtr="0">
            <a:noAutofit/>
          </a:bodyPr>
          <a:lstStyle/>
          <a:p>
            <a:pPr algn="ctr" defTabSz="266407">
              <a:lnSpc>
                <a:spcPct val="90000"/>
              </a:lnSpc>
              <a:spcAft>
                <a:spcPct val="35000"/>
              </a:spcAft>
              <a:defRPr/>
            </a:pPr>
            <a:r>
              <a:rPr lang="ru-RU" sz="1400" b="1" kern="0" dirty="0">
                <a:solidFill>
                  <a:srgbClr val="4D4D4D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ИМЕНЯЕМЫЕ МЕТОДЫ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6888288" y="5064390"/>
            <a:ext cx="2151043" cy="1446445"/>
          </a:xfrm>
          <a:prstGeom prst="rect">
            <a:avLst/>
          </a:prstGeom>
          <a:gradFill>
            <a:gsLst>
              <a:gs pos="0">
                <a:schemeClr val="accent6">
                  <a:lumMod val="20000"/>
                  <a:lumOff val="80000"/>
                </a:schemeClr>
              </a:gs>
              <a:gs pos="40000">
                <a:schemeClr val="accent6">
                  <a:lumMod val="40000"/>
                  <a:lumOff val="60000"/>
                </a:schemeClr>
              </a:gs>
              <a:gs pos="100000">
                <a:srgbClr val="3780B5">
                  <a:tint val="15000"/>
                  <a:satMod val="350000"/>
                </a:srgbClr>
              </a:gs>
            </a:gsLst>
            <a:lin ang="16200000" scaled="1"/>
          </a:gradFill>
          <a:ln>
            <a:solidFill>
              <a:srgbClr val="3780B5">
                <a:shade val="95000"/>
                <a:satMod val="105000"/>
              </a:srgbClr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wrap="square" lIns="91338" tIns="45668" rIns="91338" bIns="45668" rtlCol="0">
            <a:spAutoFit/>
          </a:bodyPr>
          <a:lstStyle/>
          <a:p>
            <a:pPr marL="285436" indent="-285436" defTabSz="913392">
              <a:buFont typeface="Wingdings" panose="05000000000000000000" pitchFamily="2" charset="2"/>
              <a:buChar char="Ø"/>
              <a:defRPr/>
            </a:pPr>
            <a:r>
              <a:rPr lang="ru-RU" sz="1100" b="1" kern="0" dirty="0">
                <a:solidFill>
                  <a:srgbClr val="4D4D4D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Горные работы </a:t>
            </a:r>
          </a:p>
          <a:p>
            <a:pPr marL="172610" indent="-172610" defTabSz="913392">
              <a:buFont typeface="Arial" panose="020B0604020202020204" pitchFamily="34" charset="0"/>
              <a:buChar char="•"/>
              <a:defRPr/>
            </a:pPr>
            <a:r>
              <a:rPr lang="ru-RU" sz="1100" kern="0" dirty="0">
                <a:solidFill>
                  <a:srgbClr val="4D4D4D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Шурфы</a:t>
            </a:r>
          </a:p>
          <a:p>
            <a:pPr marL="172610" indent="-172610" defTabSz="913392">
              <a:buFont typeface="Arial" panose="020B0604020202020204" pitchFamily="34" charset="0"/>
              <a:buChar char="•"/>
              <a:defRPr/>
            </a:pPr>
            <a:r>
              <a:rPr lang="ru-RU" sz="1100" kern="0" dirty="0">
                <a:solidFill>
                  <a:srgbClr val="4D4D4D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анавы</a:t>
            </a:r>
          </a:p>
          <a:p>
            <a:pPr defTabSz="913392">
              <a:defRPr/>
            </a:pPr>
            <a:endParaRPr lang="ru-RU" sz="1100" kern="0" dirty="0">
              <a:solidFill>
                <a:srgbClr val="4D4D4D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85436" indent="-285436" defTabSz="913392">
              <a:buFont typeface="Wingdings" panose="05000000000000000000" pitchFamily="2" charset="2"/>
              <a:buChar char="Ø"/>
              <a:defRPr/>
            </a:pPr>
            <a:r>
              <a:rPr lang="ru-RU" sz="1100" b="1" kern="0" dirty="0">
                <a:solidFill>
                  <a:srgbClr val="4D4D4D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Бурение скважин</a:t>
            </a:r>
          </a:p>
          <a:p>
            <a:pPr marL="285436" indent="-285436" defTabSz="913392">
              <a:buFont typeface="Wingdings" panose="05000000000000000000" pitchFamily="2" charset="2"/>
              <a:buChar char="Ø"/>
              <a:defRPr/>
            </a:pPr>
            <a:r>
              <a:rPr lang="ru-RU" sz="1100" b="1" kern="0" dirty="0">
                <a:solidFill>
                  <a:srgbClr val="4D4D4D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пробовательские работы</a:t>
            </a:r>
          </a:p>
          <a:p>
            <a:pPr marL="285436" indent="-285436" defTabSz="913392">
              <a:buFont typeface="Wingdings" panose="05000000000000000000" pitchFamily="2" charset="2"/>
              <a:buChar char="Ø"/>
              <a:defRPr/>
            </a:pPr>
            <a:r>
              <a:rPr lang="ru-RU" sz="1100" b="1" kern="0" dirty="0">
                <a:solidFill>
                  <a:srgbClr val="4D4D4D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богащение</a:t>
            </a:r>
            <a:endParaRPr lang="ru-RU" sz="1100" kern="0" dirty="0">
              <a:solidFill>
                <a:srgbClr val="4D4D4D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20" name="Объект 7"/>
          <p:cNvPicPr>
            <a:picLocks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91908" y="4344365"/>
            <a:ext cx="2801234" cy="1945407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grpSp>
        <p:nvGrpSpPr>
          <p:cNvPr id="21" name="Группа 20"/>
          <p:cNvGrpSpPr/>
          <p:nvPr/>
        </p:nvGrpSpPr>
        <p:grpSpPr>
          <a:xfrm>
            <a:off x="135544" y="1966217"/>
            <a:ext cx="2311129" cy="1331038"/>
            <a:chOff x="112581" y="1544642"/>
            <a:chExt cx="2311129" cy="1331038"/>
          </a:xfrm>
        </p:grpSpPr>
        <p:sp>
          <p:nvSpPr>
            <p:cNvPr id="22" name="Куб 21"/>
            <p:cNvSpPr/>
            <p:nvPr/>
          </p:nvSpPr>
          <p:spPr bwMode="auto">
            <a:xfrm>
              <a:off x="112581" y="1544642"/>
              <a:ext cx="2311129" cy="1285162"/>
            </a:xfrm>
            <a:prstGeom prst="cube">
              <a:avLst/>
            </a:prstGeom>
            <a:solidFill>
              <a:srgbClr val="B3D3EA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scene3d>
              <a:camera prst="orthographicFront">
                <a:rot lat="0" lon="0" rev="0"/>
              </a:camera>
              <a:lightRig rig="threePt" dir="t"/>
            </a:scene3d>
            <a:sp3d/>
          </p:spPr>
          <p:txBody>
            <a:bodyPr vert="horz" wrap="non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algn="ctr" defTabSz="913392" fontAlgn="base">
                <a:spcBef>
                  <a:spcPct val="15000"/>
                </a:spcBef>
                <a:spcAft>
                  <a:spcPct val="0"/>
                </a:spcAft>
              </a:pPr>
              <a:endParaRPr lang="ru-RU" sz="1400" b="1" dirty="0">
                <a:solidFill>
                  <a:srgbClr val="FFFFFF"/>
                </a:solidFill>
                <a:latin typeface="Arial" pitchFamily="-112" charset="0"/>
              </a:endParaRPr>
            </a:p>
          </p:txBody>
        </p:sp>
        <p:sp>
          <p:nvSpPr>
            <p:cNvPr id="23" name="Полилиния 22"/>
            <p:cNvSpPr/>
            <p:nvPr/>
          </p:nvSpPr>
          <p:spPr>
            <a:xfrm>
              <a:off x="112581" y="1943467"/>
              <a:ext cx="1994965" cy="932213"/>
            </a:xfrm>
            <a:custGeom>
              <a:avLst/>
              <a:gdLst>
                <a:gd name="connsiteX0" fmla="*/ 0 w 867206"/>
                <a:gd name="connsiteY0" fmla="*/ 55068 h 550676"/>
                <a:gd name="connsiteX1" fmla="*/ 55068 w 867206"/>
                <a:gd name="connsiteY1" fmla="*/ 0 h 550676"/>
                <a:gd name="connsiteX2" fmla="*/ 812138 w 867206"/>
                <a:gd name="connsiteY2" fmla="*/ 0 h 550676"/>
                <a:gd name="connsiteX3" fmla="*/ 867206 w 867206"/>
                <a:gd name="connsiteY3" fmla="*/ 55068 h 550676"/>
                <a:gd name="connsiteX4" fmla="*/ 867206 w 867206"/>
                <a:gd name="connsiteY4" fmla="*/ 495608 h 550676"/>
                <a:gd name="connsiteX5" fmla="*/ 812138 w 867206"/>
                <a:gd name="connsiteY5" fmla="*/ 550676 h 550676"/>
                <a:gd name="connsiteX6" fmla="*/ 55068 w 867206"/>
                <a:gd name="connsiteY6" fmla="*/ 550676 h 550676"/>
                <a:gd name="connsiteX7" fmla="*/ 0 w 867206"/>
                <a:gd name="connsiteY7" fmla="*/ 495608 h 550676"/>
                <a:gd name="connsiteX8" fmla="*/ 0 w 867206"/>
                <a:gd name="connsiteY8" fmla="*/ 55068 h 5506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867206" h="550676">
                  <a:moveTo>
                    <a:pt x="0" y="55068"/>
                  </a:moveTo>
                  <a:cubicBezTo>
                    <a:pt x="0" y="24655"/>
                    <a:pt x="24655" y="0"/>
                    <a:pt x="55068" y="0"/>
                  </a:cubicBezTo>
                  <a:lnTo>
                    <a:pt x="812138" y="0"/>
                  </a:lnTo>
                  <a:cubicBezTo>
                    <a:pt x="842551" y="0"/>
                    <a:pt x="867206" y="24655"/>
                    <a:pt x="867206" y="55068"/>
                  </a:cubicBezTo>
                  <a:lnTo>
                    <a:pt x="867206" y="495608"/>
                  </a:lnTo>
                  <a:cubicBezTo>
                    <a:pt x="867206" y="526021"/>
                    <a:pt x="842551" y="550676"/>
                    <a:pt x="812138" y="550676"/>
                  </a:cubicBezTo>
                  <a:lnTo>
                    <a:pt x="55068" y="550676"/>
                  </a:lnTo>
                  <a:cubicBezTo>
                    <a:pt x="24655" y="550676"/>
                    <a:pt x="0" y="526021"/>
                    <a:pt x="0" y="495608"/>
                  </a:cubicBezTo>
                  <a:lnTo>
                    <a:pt x="0" y="55068"/>
                  </a:lnTo>
                  <a:close/>
                </a:path>
              </a:pathLst>
            </a:custGeom>
            <a:gradFill rotWithShape="1">
              <a:gsLst>
                <a:gs pos="0">
                  <a:srgbClr val="3780B5">
                    <a:tint val="50000"/>
                    <a:satMod val="300000"/>
                  </a:srgbClr>
                </a:gs>
                <a:gs pos="35000">
                  <a:srgbClr val="3780B5">
                    <a:tint val="37000"/>
                    <a:satMod val="300000"/>
                  </a:srgbClr>
                </a:gs>
                <a:gs pos="100000">
                  <a:srgbClr val="3780B5">
                    <a:tint val="15000"/>
                    <a:satMod val="350000"/>
                  </a:srgbClr>
                </a:gs>
              </a:gsLst>
              <a:lin ang="16200000" scaled="1"/>
            </a:gradFill>
            <a:ln w="9525" cap="flat" cmpd="sng" algn="ctr">
              <a:solidFill>
                <a:srgbClr val="3780B5">
                  <a:shade val="95000"/>
                  <a:satMod val="105000"/>
                </a:srgbClr>
              </a:solidFill>
              <a:prstDash val="solid"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  <a:scene3d>
              <a:camera prst="orthographicFront"/>
              <a:lightRig rig="threePt" dir="t"/>
            </a:scene3d>
            <a:sp3d>
              <a:bevelT/>
            </a:sp3d>
          </p:spPr>
          <p:txBody>
            <a:bodyPr spcFirstLastPara="0" vert="horz" wrap="square" lIns="38989" tIns="38989" rIns="38989" bIns="38989" numCol="1" spcCol="1270" anchor="ctr" anchorCtr="0">
              <a:noAutofit/>
            </a:bodyPr>
            <a:lstStyle/>
            <a:p>
              <a:pPr algn="ctr" defTabSz="266407">
                <a:lnSpc>
                  <a:spcPct val="90000"/>
                </a:lnSpc>
                <a:spcAft>
                  <a:spcPct val="35000"/>
                </a:spcAft>
                <a:defRPr/>
              </a:pPr>
              <a:r>
                <a:rPr lang="ru-RU" sz="1100" b="1" kern="0" dirty="0">
                  <a:solidFill>
                    <a:srgbClr val="4D4D4D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ОТКРЫТИЕ</a:t>
              </a:r>
              <a:r>
                <a:rPr lang="ru-RU" sz="1200" b="1" kern="0" dirty="0">
                  <a:solidFill>
                    <a:srgbClr val="4D4D4D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 НОВЫХ МЕСТОРОЖДЕНИЙ НА ПЛОЩАДЯХ ДЕЙСТВУЮЩИХ </a:t>
              </a:r>
              <a:r>
                <a:rPr lang="ru-RU" sz="1200" b="1" kern="0" dirty="0" err="1">
                  <a:solidFill>
                    <a:srgbClr val="4D4D4D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ГОКов</a:t>
              </a:r>
              <a:endParaRPr lang="ru-RU" sz="1200" b="1" kern="0" dirty="0">
                <a:solidFill>
                  <a:srgbClr val="4D4D4D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</p:grpSp>
      <p:sp>
        <p:nvSpPr>
          <p:cNvPr id="26" name="Стрелка вправо 25"/>
          <p:cNvSpPr/>
          <p:nvPr/>
        </p:nvSpPr>
        <p:spPr bwMode="auto">
          <a:xfrm>
            <a:off x="2319005" y="2460842"/>
            <a:ext cx="360039" cy="425454"/>
          </a:xfrm>
          <a:prstGeom prst="rightArrow">
            <a:avLst/>
          </a:prstGeom>
          <a:gradFill>
            <a:gsLst>
              <a:gs pos="0">
                <a:srgbClr val="3780B5">
                  <a:tint val="50000"/>
                  <a:satMod val="300000"/>
                </a:srgbClr>
              </a:gs>
              <a:gs pos="35000">
                <a:srgbClr val="3780B5">
                  <a:tint val="37000"/>
                  <a:satMod val="300000"/>
                </a:srgbClr>
              </a:gs>
              <a:gs pos="100000">
                <a:srgbClr val="3780B5">
                  <a:tint val="15000"/>
                  <a:satMod val="350000"/>
                </a:srgbClr>
              </a:gs>
            </a:gsLst>
            <a:lin ang="16200000" scaled="1"/>
          </a:gra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338" tIns="45668" rIns="91338" bIns="45668" numCol="1" rtlCol="0" anchor="t" anchorCtr="0" compatLnSpc="1">
            <a:prstTxWarp prst="textNoShape">
              <a:avLst/>
            </a:prstTxWarp>
          </a:bodyPr>
          <a:lstStyle/>
          <a:p>
            <a:pPr algn="ctr" defTabSz="913392" fontAlgn="base">
              <a:spcBef>
                <a:spcPct val="15000"/>
              </a:spcBef>
              <a:spcAft>
                <a:spcPct val="0"/>
              </a:spcAft>
            </a:pPr>
            <a:endParaRPr lang="ru-RU" sz="1400" b="1">
              <a:solidFill>
                <a:srgbClr val="FFFFFF"/>
              </a:solidFill>
              <a:latin typeface="Arial" pitchFamily="-112" charset="0"/>
            </a:endParaRPr>
          </a:p>
        </p:txBody>
      </p:sp>
      <p:sp>
        <p:nvSpPr>
          <p:cNvPr id="27" name="Полилиния 26"/>
          <p:cNvSpPr/>
          <p:nvPr/>
        </p:nvSpPr>
        <p:spPr>
          <a:xfrm>
            <a:off x="2667095" y="3881399"/>
            <a:ext cx="1267847" cy="626368"/>
          </a:xfrm>
          <a:custGeom>
            <a:avLst/>
            <a:gdLst>
              <a:gd name="connsiteX0" fmla="*/ 0 w 867206"/>
              <a:gd name="connsiteY0" fmla="*/ 55068 h 550676"/>
              <a:gd name="connsiteX1" fmla="*/ 55068 w 867206"/>
              <a:gd name="connsiteY1" fmla="*/ 0 h 550676"/>
              <a:gd name="connsiteX2" fmla="*/ 812138 w 867206"/>
              <a:gd name="connsiteY2" fmla="*/ 0 h 550676"/>
              <a:gd name="connsiteX3" fmla="*/ 867206 w 867206"/>
              <a:gd name="connsiteY3" fmla="*/ 55068 h 550676"/>
              <a:gd name="connsiteX4" fmla="*/ 867206 w 867206"/>
              <a:gd name="connsiteY4" fmla="*/ 495608 h 550676"/>
              <a:gd name="connsiteX5" fmla="*/ 812138 w 867206"/>
              <a:gd name="connsiteY5" fmla="*/ 550676 h 550676"/>
              <a:gd name="connsiteX6" fmla="*/ 55068 w 867206"/>
              <a:gd name="connsiteY6" fmla="*/ 550676 h 550676"/>
              <a:gd name="connsiteX7" fmla="*/ 0 w 867206"/>
              <a:gd name="connsiteY7" fmla="*/ 495608 h 550676"/>
              <a:gd name="connsiteX8" fmla="*/ 0 w 867206"/>
              <a:gd name="connsiteY8" fmla="*/ 55068 h 5506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867206" h="550676">
                <a:moveTo>
                  <a:pt x="0" y="55068"/>
                </a:moveTo>
                <a:cubicBezTo>
                  <a:pt x="0" y="24655"/>
                  <a:pt x="24655" y="0"/>
                  <a:pt x="55068" y="0"/>
                </a:cubicBezTo>
                <a:lnTo>
                  <a:pt x="812138" y="0"/>
                </a:lnTo>
                <a:cubicBezTo>
                  <a:pt x="842551" y="0"/>
                  <a:pt x="867206" y="24655"/>
                  <a:pt x="867206" y="55068"/>
                </a:cubicBezTo>
                <a:lnTo>
                  <a:pt x="867206" y="495608"/>
                </a:lnTo>
                <a:cubicBezTo>
                  <a:pt x="867206" y="526021"/>
                  <a:pt x="842551" y="550676"/>
                  <a:pt x="812138" y="550676"/>
                </a:cubicBezTo>
                <a:lnTo>
                  <a:pt x="55068" y="550676"/>
                </a:lnTo>
                <a:cubicBezTo>
                  <a:pt x="24655" y="550676"/>
                  <a:pt x="0" y="526021"/>
                  <a:pt x="0" y="495608"/>
                </a:cubicBezTo>
                <a:lnTo>
                  <a:pt x="0" y="55068"/>
                </a:lnTo>
                <a:close/>
              </a:path>
            </a:pathLst>
          </a:custGeom>
          <a:gradFill>
            <a:gsLst>
              <a:gs pos="0">
                <a:srgbClr val="3780B5">
                  <a:tint val="50000"/>
                  <a:satMod val="300000"/>
                </a:srgbClr>
              </a:gs>
              <a:gs pos="35000">
                <a:srgbClr val="3780B5">
                  <a:tint val="37000"/>
                  <a:satMod val="300000"/>
                </a:srgbClr>
              </a:gs>
              <a:gs pos="100000">
                <a:srgbClr val="3780B5">
                  <a:tint val="15000"/>
                  <a:satMod val="350000"/>
                </a:srgbClr>
              </a:gs>
            </a:gsLst>
            <a:lin ang="16200000" scaled="1"/>
          </a:gradFill>
          <a:ln w="9525" cap="flat" cmpd="sng" algn="ctr">
            <a:solidFill>
              <a:srgbClr val="3780B5">
                <a:shade val="95000"/>
                <a:satMod val="105000"/>
              </a:srgb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  <a:scene3d>
            <a:camera prst="orthographicFront"/>
            <a:lightRig rig="threePt" dir="t"/>
          </a:scene3d>
          <a:sp3d>
            <a:bevelT/>
          </a:sp3d>
        </p:spPr>
        <p:txBody>
          <a:bodyPr spcFirstLastPara="0" vert="horz" wrap="square" lIns="38946" tIns="38946" rIns="38946" bIns="38946" numCol="1" spcCol="1269" anchor="ctr" anchorCtr="0">
            <a:noAutofit/>
          </a:bodyPr>
          <a:lstStyle/>
          <a:p>
            <a:pPr marL="171261" indent="-171261" defTabSz="266407">
              <a:lnSpc>
                <a:spcPct val="90000"/>
              </a:lnSpc>
              <a:spcAft>
                <a:spcPct val="35000"/>
              </a:spcAft>
              <a:buFont typeface="Arial" panose="020B0604020202020204" pitchFamily="34" charset="0"/>
              <a:buChar char="•"/>
              <a:defRPr/>
            </a:pPr>
            <a:r>
              <a:rPr lang="ru-RU" sz="1100" b="1" kern="0" dirty="0">
                <a:solidFill>
                  <a:srgbClr val="4D4D4D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Ыгыаттинская</a:t>
            </a:r>
          </a:p>
          <a:p>
            <a:pPr marL="171261" indent="-171261" defTabSz="266407">
              <a:lnSpc>
                <a:spcPct val="90000"/>
              </a:lnSpc>
              <a:spcAft>
                <a:spcPct val="35000"/>
              </a:spcAft>
              <a:buFont typeface="Arial" panose="020B0604020202020204" pitchFamily="34" charset="0"/>
              <a:buChar char="•"/>
              <a:defRPr/>
            </a:pPr>
            <a:r>
              <a:rPr lang="ru-RU" sz="1100" b="1" kern="0" dirty="0" err="1" smtClean="0">
                <a:solidFill>
                  <a:srgbClr val="4D4D4D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унская</a:t>
            </a:r>
            <a:endParaRPr lang="ru-RU" sz="1100" b="1" kern="0" dirty="0">
              <a:solidFill>
                <a:srgbClr val="4D4D4D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pSp>
        <p:nvGrpSpPr>
          <p:cNvPr id="28" name="Группа 27"/>
          <p:cNvGrpSpPr/>
          <p:nvPr/>
        </p:nvGrpSpPr>
        <p:grpSpPr>
          <a:xfrm>
            <a:off x="123583" y="3514739"/>
            <a:ext cx="2311129" cy="1285162"/>
            <a:chOff x="100620" y="3093161"/>
            <a:chExt cx="2311129" cy="1285162"/>
          </a:xfrm>
        </p:grpSpPr>
        <p:sp>
          <p:nvSpPr>
            <p:cNvPr id="29" name="Куб 28"/>
            <p:cNvSpPr/>
            <p:nvPr/>
          </p:nvSpPr>
          <p:spPr bwMode="auto">
            <a:xfrm>
              <a:off x="100620" y="3093161"/>
              <a:ext cx="2311129" cy="1285162"/>
            </a:xfrm>
            <a:prstGeom prst="cube">
              <a:avLst/>
            </a:prstGeom>
            <a:solidFill>
              <a:srgbClr val="B3D3EA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scene3d>
              <a:camera prst="orthographicFront">
                <a:rot lat="0" lon="0" rev="0"/>
              </a:camera>
              <a:lightRig rig="threePt" dir="t"/>
            </a:scene3d>
          </p:spPr>
          <p:txBody>
            <a:bodyPr vert="horz" wrap="non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algn="ctr" defTabSz="913392" fontAlgn="base">
                <a:spcBef>
                  <a:spcPct val="15000"/>
                </a:spcBef>
                <a:spcAft>
                  <a:spcPct val="0"/>
                </a:spcAft>
              </a:pPr>
              <a:endParaRPr lang="ru-RU" sz="1400" b="1" dirty="0">
                <a:solidFill>
                  <a:srgbClr val="FFFFFF"/>
                </a:solidFill>
                <a:latin typeface="Arial" pitchFamily="-112" charset="0"/>
              </a:endParaRPr>
            </a:p>
          </p:txBody>
        </p:sp>
        <p:sp>
          <p:nvSpPr>
            <p:cNvPr id="30" name="Полилиния 29"/>
            <p:cNvSpPr/>
            <p:nvPr/>
          </p:nvSpPr>
          <p:spPr>
            <a:xfrm>
              <a:off x="100620" y="3446110"/>
              <a:ext cx="1994965" cy="932213"/>
            </a:xfrm>
            <a:custGeom>
              <a:avLst/>
              <a:gdLst>
                <a:gd name="connsiteX0" fmla="*/ 0 w 867206"/>
                <a:gd name="connsiteY0" fmla="*/ 55068 h 550676"/>
                <a:gd name="connsiteX1" fmla="*/ 55068 w 867206"/>
                <a:gd name="connsiteY1" fmla="*/ 0 h 550676"/>
                <a:gd name="connsiteX2" fmla="*/ 812138 w 867206"/>
                <a:gd name="connsiteY2" fmla="*/ 0 h 550676"/>
                <a:gd name="connsiteX3" fmla="*/ 867206 w 867206"/>
                <a:gd name="connsiteY3" fmla="*/ 55068 h 550676"/>
                <a:gd name="connsiteX4" fmla="*/ 867206 w 867206"/>
                <a:gd name="connsiteY4" fmla="*/ 495608 h 550676"/>
                <a:gd name="connsiteX5" fmla="*/ 812138 w 867206"/>
                <a:gd name="connsiteY5" fmla="*/ 550676 h 550676"/>
                <a:gd name="connsiteX6" fmla="*/ 55068 w 867206"/>
                <a:gd name="connsiteY6" fmla="*/ 550676 h 550676"/>
                <a:gd name="connsiteX7" fmla="*/ 0 w 867206"/>
                <a:gd name="connsiteY7" fmla="*/ 495608 h 550676"/>
                <a:gd name="connsiteX8" fmla="*/ 0 w 867206"/>
                <a:gd name="connsiteY8" fmla="*/ 55068 h 5506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867206" h="550676">
                  <a:moveTo>
                    <a:pt x="0" y="55068"/>
                  </a:moveTo>
                  <a:cubicBezTo>
                    <a:pt x="0" y="24655"/>
                    <a:pt x="24655" y="0"/>
                    <a:pt x="55068" y="0"/>
                  </a:cubicBezTo>
                  <a:lnTo>
                    <a:pt x="812138" y="0"/>
                  </a:lnTo>
                  <a:cubicBezTo>
                    <a:pt x="842551" y="0"/>
                    <a:pt x="867206" y="24655"/>
                    <a:pt x="867206" y="55068"/>
                  </a:cubicBezTo>
                  <a:lnTo>
                    <a:pt x="867206" y="495608"/>
                  </a:lnTo>
                  <a:cubicBezTo>
                    <a:pt x="867206" y="526021"/>
                    <a:pt x="842551" y="550676"/>
                    <a:pt x="812138" y="550676"/>
                  </a:cubicBezTo>
                  <a:lnTo>
                    <a:pt x="55068" y="550676"/>
                  </a:lnTo>
                  <a:cubicBezTo>
                    <a:pt x="24655" y="550676"/>
                    <a:pt x="0" y="526021"/>
                    <a:pt x="0" y="495608"/>
                  </a:cubicBezTo>
                  <a:lnTo>
                    <a:pt x="0" y="55068"/>
                  </a:lnTo>
                  <a:close/>
                </a:path>
              </a:pathLst>
            </a:custGeom>
            <a:gradFill rotWithShape="1">
              <a:gsLst>
                <a:gs pos="0">
                  <a:srgbClr val="3780B5">
                    <a:tint val="50000"/>
                    <a:satMod val="300000"/>
                  </a:srgbClr>
                </a:gs>
                <a:gs pos="35000">
                  <a:srgbClr val="3780B5">
                    <a:tint val="37000"/>
                    <a:satMod val="300000"/>
                  </a:srgbClr>
                </a:gs>
                <a:gs pos="100000">
                  <a:srgbClr val="3780B5">
                    <a:tint val="15000"/>
                    <a:satMod val="350000"/>
                  </a:srgbClr>
                </a:gs>
              </a:gsLst>
              <a:lin ang="16200000" scaled="1"/>
            </a:gradFill>
            <a:ln w="9525" cap="flat" cmpd="sng" algn="ctr">
              <a:solidFill>
                <a:srgbClr val="3780B5">
                  <a:shade val="95000"/>
                  <a:satMod val="105000"/>
                </a:srgbClr>
              </a:solidFill>
              <a:prstDash val="solid"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  <a:scene3d>
              <a:camera prst="orthographicFront"/>
              <a:lightRig rig="threePt" dir="t"/>
            </a:scene3d>
            <a:sp3d>
              <a:bevelT/>
            </a:sp3d>
          </p:spPr>
          <p:txBody>
            <a:bodyPr spcFirstLastPara="0" vert="horz" wrap="square" lIns="38989" tIns="38989" rIns="38989" bIns="38989" numCol="1" spcCol="1270" anchor="ctr" anchorCtr="0">
              <a:noAutofit/>
            </a:bodyPr>
            <a:lstStyle/>
            <a:p>
              <a:pPr algn="ctr" defTabSz="266407">
                <a:lnSpc>
                  <a:spcPct val="90000"/>
                </a:lnSpc>
                <a:spcAft>
                  <a:spcPct val="35000"/>
                </a:spcAft>
                <a:defRPr/>
              </a:pPr>
              <a:r>
                <a:rPr lang="ru-RU" sz="1100" b="1" kern="0" dirty="0">
                  <a:solidFill>
                    <a:srgbClr val="4D4D4D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ОТКРЫТИЕ НОВЫХ МЕСТОРОЖДЕНИЙ НА </a:t>
              </a:r>
              <a:r>
                <a:rPr lang="ru-RU" sz="1100" b="1" kern="0" cap="all" dirty="0">
                  <a:solidFill>
                    <a:srgbClr val="4D4D4D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новых перспективных </a:t>
              </a:r>
              <a:r>
                <a:rPr lang="ru-RU" sz="1100" b="1" kern="0" dirty="0">
                  <a:solidFill>
                    <a:srgbClr val="4D4D4D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ПЛОЩАДЯХ</a:t>
              </a:r>
            </a:p>
          </p:txBody>
        </p:sp>
      </p:grpSp>
      <p:sp>
        <p:nvSpPr>
          <p:cNvPr id="32" name="Стрелка вправо 31"/>
          <p:cNvSpPr/>
          <p:nvPr/>
        </p:nvSpPr>
        <p:spPr bwMode="auto">
          <a:xfrm>
            <a:off x="2290202" y="3933323"/>
            <a:ext cx="360039" cy="425454"/>
          </a:xfrm>
          <a:prstGeom prst="rightArrow">
            <a:avLst/>
          </a:prstGeom>
          <a:gradFill>
            <a:gsLst>
              <a:gs pos="0">
                <a:srgbClr val="3780B5">
                  <a:tint val="50000"/>
                  <a:satMod val="300000"/>
                </a:srgbClr>
              </a:gs>
              <a:gs pos="35000">
                <a:srgbClr val="3780B5">
                  <a:tint val="37000"/>
                  <a:satMod val="300000"/>
                </a:srgbClr>
              </a:gs>
              <a:gs pos="100000">
                <a:srgbClr val="3780B5">
                  <a:tint val="15000"/>
                  <a:satMod val="350000"/>
                </a:srgbClr>
              </a:gs>
            </a:gsLst>
            <a:lin ang="16200000" scaled="1"/>
          </a:gra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338" tIns="45668" rIns="91338" bIns="45668" numCol="1" rtlCol="0" anchor="t" anchorCtr="0" compatLnSpc="1">
            <a:prstTxWarp prst="textNoShape">
              <a:avLst/>
            </a:prstTxWarp>
          </a:bodyPr>
          <a:lstStyle/>
          <a:p>
            <a:pPr algn="ctr" defTabSz="913392" fontAlgn="base">
              <a:spcBef>
                <a:spcPct val="15000"/>
              </a:spcBef>
              <a:spcAft>
                <a:spcPct val="0"/>
              </a:spcAft>
            </a:pPr>
            <a:endParaRPr lang="ru-RU" sz="1400" b="1">
              <a:solidFill>
                <a:srgbClr val="FFFFFF"/>
              </a:solidFill>
              <a:latin typeface="Arial" pitchFamily="-112" charset="0"/>
            </a:endParaRPr>
          </a:p>
        </p:txBody>
      </p:sp>
      <p:sp>
        <p:nvSpPr>
          <p:cNvPr id="33" name="Полилиния 32"/>
          <p:cNvSpPr/>
          <p:nvPr/>
        </p:nvSpPr>
        <p:spPr>
          <a:xfrm>
            <a:off x="2679044" y="5393668"/>
            <a:ext cx="1295772" cy="664661"/>
          </a:xfrm>
          <a:custGeom>
            <a:avLst/>
            <a:gdLst>
              <a:gd name="connsiteX0" fmla="*/ 0 w 867206"/>
              <a:gd name="connsiteY0" fmla="*/ 55068 h 550676"/>
              <a:gd name="connsiteX1" fmla="*/ 55068 w 867206"/>
              <a:gd name="connsiteY1" fmla="*/ 0 h 550676"/>
              <a:gd name="connsiteX2" fmla="*/ 812138 w 867206"/>
              <a:gd name="connsiteY2" fmla="*/ 0 h 550676"/>
              <a:gd name="connsiteX3" fmla="*/ 867206 w 867206"/>
              <a:gd name="connsiteY3" fmla="*/ 55068 h 550676"/>
              <a:gd name="connsiteX4" fmla="*/ 867206 w 867206"/>
              <a:gd name="connsiteY4" fmla="*/ 495608 h 550676"/>
              <a:gd name="connsiteX5" fmla="*/ 812138 w 867206"/>
              <a:gd name="connsiteY5" fmla="*/ 550676 h 550676"/>
              <a:gd name="connsiteX6" fmla="*/ 55068 w 867206"/>
              <a:gd name="connsiteY6" fmla="*/ 550676 h 550676"/>
              <a:gd name="connsiteX7" fmla="*/ 0 w 867206"/>
              <a:gd name="connsiteY7" fmla="*/ 495608 h 550676"/>
              <a:gd name="connsiteX8" fmla="*/ 0 w 867206"/>
              <a:gd name="connsiteY8" fmla="*/ 55068 h 5506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867206" h="550676">
                <a:moveTo>
                  <a:pt x="0" y="55068"/>
                </a:moveTo>
                <a:cubicBezTo>
                  <a:pt x="0" y="24655"/>
                  <a:pt x="24655" y="0"/>
                  <a:pt x="55068" y="0"/>
                </a:cubicBezTo>
                <a:lnTo>
                  <a:pt x="812138" y="0"/>
                </a:lnTo>
                <a:cubicBezTo>
                  <a:pt x="842551" y="0"/>
                  <a:pt x="867206" y="24655"/>
                  <a:pt x="867206" y="55068"/>
                </a:cubicBezTo>
                <a:lnTo>
                  <a:pt x="867206" y="495608"/>
                </a:lnTo>
                <a:cubicBezTo>
                  <a:pt x="867206" y="526021"/>
                  <a:pt x="842551" y="550676"/>
                  <a:pt x="812138" y="550676"/>
                </a:cubicBezTo>
                <a:lnTo>
                  <a:pt x="55068" y="550676"/>
                </a:lnTo>
                <a:cubicBezTo>
                  <a:pt x="24655" y="550676"/>
                  <a:pt x="0" y="526021"/>
                  <a:pt x="0" y="495608"/>
                </a:cubicBezTo>
                <a:lnTo>
                  <a:pt x="0" y="55068"/>
                </a:lnTo>
                <a:close/>
              </a:path>
            </a:pathLst>
          </a:custGeom>
          <a:gradFill>
            <a:gsLst>
              <a:gs pos="0">
                <a:srgbClr val="3780B5">
                  <a:tint val="50000"/>
                  <a:satMod val="300000"/>
                </a:srgbClr>
              </a:gs>
              <a:gs pos="35000">
                <a:srgbClr val="3780B5">
                  <a:tint val="37000"/>
                  <a:satMod val="300000"/>
                </a:srgbClr>
              </a:gs>
              <a:gs pos="100000">
                <a:srgbClr val="3780B5">
                  <a:tint val="15000"/>
                  <a:satMod val="350000"/>
                </a:srgbClr>
              </a:gs>
            </a:gsLst>
            <a:lin ang="16200000" scaled="1"/>
          </a:gradFill>
          <a:ln w="9525" cap="flat" cmpd="sng" algn="ctr">
            <a:solidFill>
              <a:srgbClr val="3780B5">
                <a:shade val="95000"/>
                <a:satMod val="105000"/>
              </a:srgb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  <a:scene3d>
            <a:camera prst="orthographicFront"/>
            <a:lightRig rig="threePt" dir="t"/>
          </a:scene3d>
          <a:sp3d>
            <a:bevelT/>
          </a:sp3d>
        </p:spPr>
        <p:txBody>
          <a:bodyPr spcFirstLastPara="0" vert="horz" wrap="square" lIns="38946" tIns="38946" rIns="38946" bIns="38946" numCol="1" spcCol="1269" anchor="ctr" anchorCtr="0">
            <a:noAutofit/>
          </a:bodyPr>
          <a:lstStyle/>
          <a:p>
            <a:pPr defTabSz="266407">
              <a:lnSpc>
                <a:spcPct val="90000"/>
              </a:lnSpc>
              <a:spcAft>
                <a:spcPct val="35000"/>
              </a:spcAft>
              <a:defRPr/>
            </a:pPr>
            <a:r>
              <a:rPr lang="ru-RU" sz="1100" b="1" kern="0" dirty="0" err="1" smtClean="0">
                <a:solidFill>
                  <a:srgbClr val="4D4D4D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Тр.Зарница</a:t>
            </a:r>
            <a:endParaRPr lang="ru-RU" sz="1100" b="1" kern="0" dirty="0">
              <a:solidFill>
                <a:srgbClr val="4D4D4D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defTabSz="266407">
              <a:lnSpc>
                <a:spcPct val="90000"/>
              </a:lnSpc>
              <a:spcAft>
                <a:spcPct val="35000"/>
              </a:spcAft>
              <a:defRPr/>
            </a:pPr>
            <a:r>
              <a:rPr lang="ru-RU" sz="1100" b="1" kern="0" dirty="0" err="1" smtClean="0">
                <a:solidFill>
                  <a:srgbClr val="4D4D4D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Тр.Юбилейная</a:t>
            </a:r>
            <a:endParaRPr lang="ru-RU" sz="1100" b="1" kern="0" dirty="0">
              <a:solidFill>
                <a:srgbClr val="4D4D4D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pSp>
        <p:nvGrpSpPr>
          <p:cNvPr id="34" name="Группа 33"/>
          <p:cNvGrpSpPr/>
          <p:nvPr/>
        </p:nvGrpSpPr>
        <p:grpSpPr>
          <a:xfrm>
            <a:off x="127665" y="5027182"/>
            <a:ext cx="2247866" cy="1397634"/>
            <a:chOff x="92050" y="4956279"/>
            <a:chExt cx="2247866" cy="1397634"/>
          </a:xfrm>
        </p:grpSpPr>
        <p:sp>
          <p:nvSpPr>
            <p:cNvPr id="35" name="Куб 34"/>
            <p:cNvSpPr/>
            <p:nvPr/>
          </p:nvSpPr>
          <p:spPr bwMode="auto">
            <a:xfrm>
              <a:off x="100632" y="4956279"/>
              <a:ext cx="2239284" cy="1397634"/>
            </a:xfrm>
            <a:prstGeom prst="cube">
              <a:avLst/>
            </a:prstGeom>
            <a:solidFill>
              <a:srgbClr val="B3D3EA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scene3d>
              <a:camera prst="orthographicFront">
                <a:rot lat="0" lon="0" rev="0"/>
              </a:camera>
              <a:lightRig rig="threePt" dir="t"/>
            </a:scene3d>
          </p:spPr>
          <p:txBody>
            <a:bodyPr vert="horz" wrap="non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algn="ctr" defTabSz="913392" fontAlgn="base">
                <a:spcBef>
                  <a:spcPct val="15000"/>
                </a:spcBef>
                <a:spcAft>
                  <a:spcPct val="0"/>
                </a:spcAft>
              </a:pPr>
              <a:endParaRPr lang="ru-RU" sz="1400" b="1" dirty="0">
                <a:solidFill>
                  <a:srgbClr val="FFFFFF"/>
                </a:solidFill>
                <a:latin typeface="Arial" pitchFamily="-112" charset="0"/>
              </a:endParaRPr>
            </a:p>
          </p:txBody>
        </p:sp>
        <p:sp>
          <p:nvSpPr>
            <p:cNvPr id="36" name="Полилиния 35"/>
            <p:cNvSpPr/>
            <p:nvPr/>
          </p:nvSpPr>
          <p:spPr>
            <a:xfrm>
              <a:off x="92050" y="5292081"/>
              <a:ext cx="1894566" cy="1044684"/>
            </a:xfrm>
            <a:custGeom>
              <a:avLst/>
              <a:gdLst>
                <a:gd name="connsiteX0" fmla="*/ 0 w 867206"/>
                <a:gd name="connsiteY0" fmla="*/ 55068 h 550676"/>
                <a:gd name="connsiteX1" fmla="*/ 55068 w 867206"/>
                <a:gd name="connsiteY1" fmla="*/ 0 h 550676"/>
                <a:gd name="connsiteX2" fmla="*/ 812138 w 867206"/>
                <a:gd name="connsiteY2" fmla="*/ 0 h 550676"/>
                <a:gd name="connsiteX3" fmla="*/ 867206 w 867206"/>
                <a:gd name="connsiteY3" fmla="*/ 55068 h 550676"/>
                <a:gd name="connsiteX4" fmla="*/ 867206 w 867206"/>
                <a:gd name="connsiteY4" fmla="*/ 495608 h 550676"/>
                <a:gd name="connsiteX5" fmla="*/ 812138 w 867206"/>
                <a:gd name="connsiteY5" fmla="*/ 550676 h 550676"/>
                <a:gd name="connsiteX6" fmla="*/ 55068 w 867206"/>
                <a:gd name="connsiteY6" fmla="*/ 550676 h 550676"/>
                <a:gd name="connsiteX7" fmla="*/ 0 w 867206"/>
                <a:gd name="connsiteY7" fmla="*/ 495608 h 550676"/>
                <a:gd name="connsiteX8" fmla="*/ 0 w 867206"/>
                <a:gd name="connsiteY8" fmla="*/ 55068 h 5506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867206" h="550676">
                  <a:moveTo>
                    <a:pt x="0" y="55068"/>
                  </a:moveTo>
                  <a:cubicBezTo>
                    <a:pt x="0" y="24655"/>
                    <a:pt x="24655" y="0"/>
                    <a:pt x="55068" y="0"/>
                  </a:cubicBezTo>
                  <a:lnTo>
                    <a:pt x="812138" y="0"/>
                  </a:lnTo>
                  <a:cubicBezTo>
                    <a:pt x="842551" y="0"/>
                    <a:pt x="867206" y="24655"/>
                    <a:pt x="867206" y="55068"/>
                  </a:cubicBezTo>
                  <a:lnTo>
                    <a:pt x="867206" y="495608"/>
                  </a:lnTo>
                  <a:cubicBezTo>
                    <a:pt x="867206" y="526021"/>
                    <a:pt x="842551" y="550676"/>
                    <a:pt x="812138" y="550676"/>
                  </a:cubicBezTo>
                  <a:lnTo>
                    <a:pt x="55068" y="550676"/>
                  </a:lnTo>
                  <a:cubicBezTo>
                    <a:pt x="24655" y="550676"/>
                    <a:pt x="0" y="526021"/>
                    <a:pt x="0" y="495608"/>
                  </a:cubicBezTo>
                  <a:lnTo>
                    <a:pt x="0" y="55068"/>
                  </a:lnTo>
                  <a:close/>
                </a:path>
              </a:pathLst>
            </a:custGeom>
            <a:gradFill rotWithShape="1">
              <a:gsLst>
                <a:gs pos="0">
                  <a:srgbClr val="3780B5">
                    <a:tint val="50000"/>
                    <a:satMod val="300000"/>
                  </a:srgbClr>
                </a:gs>
                <a:gs pos="35000">
                  <a:srgbClr val="3780B5">
                    <a:tint val="37000"/>
                    <a:satMod val="300000"/>
                  </a:srgbClr>
                </a:gs>
                <a:gs pos="100000">
                  <a:srgbClr val="3780B5">
                    <a:tint val="15000"/>
                    <a:satMod val="350000"/>
                  </a:srgbClr>
                </a:gs>
              </a:gsLst>
              <a:lin ang="16200000" scaled="1"/>
            </a:gradFill>
            <a:ln w="9525" cap="flat" cmpd="sng" algn="ctr">
              <a:solidFill>
                <a:srgbClr val="3780B5">
                  <a:shade val="95000"/>
                  <a:satMod val="105000"/>
                </a:srgbClr>
              </a:solidFill>
              <a:prstDash val="solid"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  <a:scene3d>
              <a:camera prst="orthographicFront"/>
              <a:lightRig rig="threePt" dir="t"/>
            </a:scene3d>
            <a:sp3d>
              <a:bevelT/>
            </a:sp3d>
          </p:spPr>
          <p:txBody>
            <a:bodyPr spcFirstLastPara="0" vert="horz" wrap="square" lIns="38989" tIns="38989" rIns="38989" bIns="38989" numCol="1" spcCol="1270" anchor="ctr" anchorCtr="0">
              <a:noAutofit/>
            </a:bodyPr>
            <a:lstStyle/>
            <a:p>
              <a:pPr algn="ctr" defTabSz="266407">
                <a:lnSpc>
                  <a:spcPct val="90000"/>
                </a:lnSpc>
                <a:spcAft>
                  <a:spcPct val="35000"/>
                </a:spcAft>
                <a:defRPr/>
              </a:pPr>
              <a:r>
                <a:rPr lang="ru-RU" sz="1100" b="1" kern="0" dirty="0">
                  <a:solidFill>
                    <a:srgbClr val="4D4D4D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ДОРАЗВЕДКА ГЛУБОКИХ ГОРИЗОНТОВ ЭКСПЛУАТИРУЕМЫХ </a:t>
              </a:r>
              <a:r>
                <a:rPr lang="ru-RU" sz="1100" b="1" kern="0" dirty="0" smtClean="0">
                  <a:solidFill>
                    <a:srgbClr val="4D4D4D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МЕСТОРОЖДЕНИЙ</a:t>
              </a:r>
              <a:endParaRPr lang="ru-RU" sz="1100" b="1" kern="0" dirty="0">
                <a:solidFill>
                  <a:srgbClr val="4D4D4D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</p:grpSp>
      <p:sp>
        <p:nvSpPr>
          <p:cNvPr id="37" name="Стрелка вправо 36"/>
          <p:cNvSpPr/>
          <p:nvPr/>
        </p:nvSpPr>
        <p:spPr bwMode="auto">
          <a:xfrm>
            <a:off x="2319719" y="5477382"/>
            <a:ext cx="360039" cy="425454"/>
          </a:xfrm>
          <a:prstGeom prst="rightArrow">
            <a:avLst/>
          </a:prstGeom>
          <a:gradFill>
            <a:gsLst>
              <a:gs pos="0">
                <a:srgbClr val="3780B5">
                  <a:tint val="50000"/>
                  <a:satMod val="300000"/>
                </a:srgbClr>
              </a:gs>
              <a:gs pos="35000">
                <a:srgbClr val="3780B5">
                  <a:tint val="37000"/>
                  <a:satMod val="300000"/>
                </a:srgbClr>
              </a:gs>
              <a:gs pos="100000">
                <a:srgbClr val="3780B5">
                  <a:tint val="15000"/>
                  <a:satMod val="350000"/>
                </a:srgbClr>
              </a:gs>
            </a:gsLst>
            <a:lin ang="16200000" scaled="1"/>
          </a:gra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338" tIns="45668" rIns="91338" bIns="45668" numCol="1" rtlCol="0" anchor="t" anchorCtr="0" compatLnSpc="1">
            <a:prstTxWarp prst="textNoShape">
              <a:avLst/>
            </a:prstTxWarp>
          </a:bodyPr>
          <a:lstStyle/>
          <a:p>
            <a:pPr algn="ctr" defTabSz="913392" fontAlgn="base">
              <a:spcBef>
                <a:spcPct val="15000"/>
              </a:spcBef>
              <a:spcAft>
                <a:spcPct val="0"/>
              </a:spcAft>
            </a:pPr>
            <a:endParaRPr lang="ru-RU" sz="1400" b="1">
              <a:solidFill>
                <a:srgbClr val="FFFFFF"/>
              </a:solidFill>
              <a:latin typeface="Arial" pitchFamily="-112" charset="0"/>
            </a:endParaRPr>
          </a:p>
        </p:txBody>
      </p:sp>
      <p:sp>
        <p:nvSpPr>
          <p:cNvPr id="38" name="Прямоугольник 37"/>
          <p:cNvSpPr/>
          <p:nvPr/>
        </p:nvSpPr>
        <p:spPr>
          <a:xfrm>
            <a:off x="6490559" y="1966217"/>
            <a:ext cx="2646062" cy="797651"/>
          </a:xfrm>
          <a:prstGeom prst="rect">
            <a:avLst/>
          </a:prstGeom>
          <a:gradFill>
            <a:gsLst>
              <a:gs pos="0">
                <a:schemeClr val="accent6">
                  <a:lumMod val="20000"/>
                  <a:lumOff val="80000"/>
                </a:schemeClr>
              </a:gs>
              <a:gs pos="40000">
                <a:schemeClr val="accent6">
                  <a:lumMod val="40000"/>
                  <a:lumOff val="60000"/>
                </a:schemeClr>
              </a:gs>
              <a:gs pos="100000">
                <a:srgbClr val="3780B5">
                  <a:tint val="15000"/>
                  <a:satMod val="350000"/>
                </a:srgbClr>
              </a:gs>
            </a:gsLst>
            <a:lin ang="16200000" scaled="1"/>
          </a:gradFill>
          <a:ln>
            <a:solidFill>
              <a:srgbClr val="3780B5">
                <a:shade val="95000"/>
                <a:satMod val="105000"/>
              </a:srgbClr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wrap="square" lIns="91338" tIns="45668" rIns="91338" bIns="45668">
            <a:spAutoFit/>
          </a:bodyPr>
          <a:lstStyle/>
          <a:p>
            <a:pPr marL="285436" indent="-285436" algn="ctr" defTabSz="913392">
              <a:buFont typeface="Wingdings" panose="05000000000000000000" pitchFamily="2" charset="2"/>
              <a:buChar char="Ø"/>
              <a:defRPr/>
            </a:pPr>
            <a:r>
              <a:rPr lang="ru-RU" sz="1100" b="1" kern="0" dirty="0">
                <a:solidFill>
                  <a:srgbClr val="4D4D4D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аршрутные исследования</a:t>
            </a:r>
          </a:p>
          <a:p>
            <a:pPr marL="171261" indent="-171261" defTabSz="913392">
              <a:buFont typeface="Arial" panose="020B0604020202020204" pitchFamily="34" charset="0"/>
              <a:buChar char="•"/>
              <a:defRPr/>
            </a:pPr>
            <a:r>
              <a:rPr lang="ru-RU" sz="1100" kern="0" dirty="0">
                <a:solidFill>
                  <a:srgbClr val="4D4D4D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Шлиховое опробование речной сети</a:t>
            </a:r>
          </a:p>
          <a:p>
            <a:pPr marL="171261" indent="-171261" defTabSz="913392">
              <a:buFont typeface="Arial" panose="020B0604020202020204" pitchFamily="34" charset="0"/>
              <a:buChar char="•"/>
              <a:defRPr/>
            </a:pPr>
            <a:r>
              <a:rPr lang="ru-RU" sz="1100" kern="0" dirty="0" err="1">
                <a:solidFill>
                  <a:srgbClr val="4D4D4D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елкообъемное</a:t>
            </a:r>
            <a:r>
              <a:rPr lang="ru-RU" sz="1100" kern="0" dirty="0">
                <a:solidFill>
                  <a:srgbClr val="4D4D4D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опробование</a:t>
            </a:r>
          </a:p>
          <a:p>
            <a:pPr marL="171261" indent="-171261" defTabSz="913392">
              <a:buFont typeface="Arial" panose="020B0604020202020204" pitchFamily="34" charset="0"/>
              <a:buChar char="•"/>
              <a:defRPr/>
            </a:pPr>
            <a:r>
              <a:rPr lang="ru-RU" sz="1100" kern="0" dirty="0" err="1">
                <a:solidFill>
                  <a:srgbClr val="4D4D4D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рупнообъемное</a:t>
            </a:r>
            <a:r>
              <a:rPr lang="ru-RU" sz="1100" kern="0" dirty="0">
                <a:solidFill>
                  <a:srgbClr val="4D4D4D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опробование</a:t>
            </a:r>
          </a:p>
        </p:txBody>
      </p:sp>
      <p:sp>
        <p:nvSpPr>
          <p:cNvPr id="39" name="Прямоугольник 38"/>
          <p:cNvSpPr/>
          <p:nvPr/>
        </p:nvSpPr>
        <p:spPr>
          <a:xfrm>
            <a:off x="6247807" y="2870938"/>
            <a:ext cx="2887217" cy="1323645"/>
          </a:xfrm>
          <a:prstGeom prst="rect">
            <a:avLst/>
          </a:prstGeom>
          <a:gradFill>
            <a:gsLst>
              <a:gs pos="0">
                <a:schemeClr val="accent6">
                  <a:lumMod val="20000"/>
                  <a:lumOff val="80000"/>
                </a:schemeClr>
              </a:gs>
              <a:gs pos="40000">
                <a:schemeClr val="accent6">
                  <a:lumMod val="40000"/>
                  <a:lumOff val="60000"/>
                </a:schemeClr>
              </a:gs>
              <a:gs pos="100000">
                <a:srgbClr val="3780B5">
                  <a:tint val="15000"/>
                  <a:satMod val="350000"/>
                </a:srgbClr>
              </a:gs>
            </a:gsLst>
            <a:lin ang="16200000" scaled="1"/>
          </a:gradFill>
          <a:ln>
            <a:solidFill>
              <a:srgbClr val="3780B5">
                <a:shade val="95000"/>
                <a:satMod val="105000"/>
              </a:srgbClr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wrap="square" lIns="91338" tIns="45668" rIns="91338" bIns="45668">
            <a:spAutoFit/>
          </a:bodyPr>
          <a:lstStyle/>
          <a:p>
            <a:pPr marL="171261" indent="-171261" algn="ctr" defTabSz="913392">
              <a:buFont typeface="Wingdings" panose="05000000000000000000" pitchFamily="2" charset="2"/>
              <a:buChar char="Ø"/>
              <a:defRPr/>
            </a:pPr>
            <a:r>
              <a:rPr lang="ru-RU" sz="1100" b="1" kern="0" dirty="0">
                <a:solidFill>
                  <a:srgbClr val="4D4D4D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 Геофизические работы </a:t>
            </a:r>
          </a:p>
          <a:p>
            <a:pPr marL="171261" indent="-171261" defTabSz="913392">
              <a:buFont typeface="Arial" panose="020B0604020202020204" pitchFamily="34" charset="0"/>
              <a:buChar char="•"/>
              <a:defRPr/>
            </a:pPr>
            <a:r>
              <a:rPr lang="ru-RU" sz="1100" b="1" kern="0" dirty="0">
                <a:solidFill>
                  <a:srgbClr val="4D4D4D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Геофизические исследования скважин</a:t>
            </a:r>
          </a:p>
          <a:p>
            <a:pPr marL="171261" indent="-171261" defTabSz="913392">
              <a:buFont typeface="Arial" panose="020B0604020202020204" pitchFamily="34" charset="0"/>
              <a:buChar char="•"/>
              <a:defRPr/>
            </a:pPr>
            <a:r>
              <a:rPr lang="ru-RU" sz="1100" b="1" kern="0" dirty="0">
                <a:solidFill>
                  <a:srgbClr val="4D4D4D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аземные геофизические работы </a:t>
            </a:r>
          </a:p>
          <a:p>
            <a:pPr marL="171261" indent="-171261" defTabSz="913392">
              <a:buFont typeface="Arial" panose="020B0604020202020204" pitchFamily="34" charset="0"/>
              <a:buChar char="•"/>
              <a:defRPr/>
            </a:pPr>
            <a:r>
              <a:rPr lang="ru-RU" sz="1100" b="1" kern="0" dirty="0">
                <a:solidFill>
                  <a:srgbClr val="4D4D4D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агниторазведка</a:t>
            </a:r>
          </a:p>
          <a:p>
            <a:pPr marL="171261" indent="-171261" defTabSz="913392">
              <a:buFont typeface="Arial" panose="020B0604020202020204" pitchFamily="34" charset="0"/>
              <a:buChar char="•"/>
              <a:defRPr/>
            </a:pPr>
            <a:r>
              <a:rPr lang="ru-RU" sz="1100" b="1" kern="0" dirty="0">
                <a:solidFill>
                  <a:srgbClr val="4D4D4D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ейсморазведка</a:t>
            </a:r>
          </a:p>
          <a:p>
            <a:pPr marL="171261" indent="-171261" defTabSz="913392">
              <a:buFont typeface="Arial" panose="020B0604020202020204" pitchFamily="34" charset="0"/>
              <a:buChar char="•"/>
              <a:defRPr/>
            </a:pPr>
            <a:r>
              <a:rPr lang="ru-RU" sz="1100" b="1" kern="0" dirty="0" err="1">
                <a:solidFill>
                  <a:srgbClr val="4D4D4D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Гравиразведка</a:t>
            </a:r>
            <a:endParaRPr lang="ru-RU" sz="1100" b="1" kern="0" dirty="0">
              <a:solidFill>
                <a:srgbClr val="4D4D4D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171261" indent="-171261" defTabSz="913392">
              <a:buFont typeface="Arial" panose="020B0604020202020204" pitchFamily="34" charset="0"/>
              <a:buChar char="•"/>
              <a:defRPr/>
            </a:pPr>
            <a:r>
              <a:rPr lang="ru-RU" sz="1100" b="1" kern="0" dirty="0">
                <a:solidFill>
                  <a:srgbClr val="4D4D4D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Электроразведка</a:t>
            </a:r>
          </a:p>
        </p:txBody>
      </p:sp>
      <p:sp>
        <p:nvSpPr>
          <p:cNvPr id="41" name="Прямоугольник 40"/>
          <p:cNvSpPr/>
          <p:nvPr/>
        </p:nvSpPr>
        <p:spPr>
          <a:xfrm>
            <a:off x="6593142" y="4344365"/>
            <a:ext cx="2477654" cy="622320"/>
          </a:xfrm>
          <a:prstGeom prst="rect">
            <a:avLst/>
          </a:prstGeom>
          <a:gradFill>
            <a:gsLst>
              <a:gs pos="0">
                <a:schemeClr val="accent6">
                  <a:lumMod val="20000"/>
                  <a:lumOff val="80000"/>
                </a:schemeClr>
              </a:gs>
              <a:gs pos="40000">
                <a:schemeClr val="accent6">
                  <a:lumMod val="40000"/>
                  <a:lumOff val="60000"/>
                </a:schemeClr>
              </a:gs>
              <a:gs pos="100000">
                <a:srgbClr val="3780B5">
                  <a:tint val="15000"/>
                  <a:satMod val="350000"/>
                </a:srgbClr>
              </a:gs>
            </a:gsLst>
            <a:lin ang="16200000" scaled="1"/>
          </a:gradFill>
          <a:ln>
            <a:solidFill>
              <a:srgbClr val="3780B5">
                <a:shade val="95000"/>
                <a:satMod val="105000"/>
              </a:srgbClr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wrap="square" lIns="91338" tIns="45668" rIns="91338" bIns="45668">
            <a:spAutoFit/>
          </a:bodyPr>
          <a:lstStyle/>
          <a:p>
            <a:pPr marL="285436" indent="-285436" algn="ctr" defTabSz="913392">
              <a:buFont typeface="Wingdings" panose="05000000000000000000" pitchFamily="2" charset="2"/>
              <a:buChar char="Ø"/>
              <a:defRPr/>
            </a:pPr>
            <a:r>
              <a:rPr lang="ru-RU" sz="1100" b="1" kern="0" dirty="0">
                <a:solidFill>
                  <a:srgbClr val="4D4D4D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Аэрогеофизическая съемка </a:t>
            </a:r>
          </a:p>
          <a:p>
            <a:pPr marL="285436" indent="-285436" defTabSz="913392">
              <a:buFont typeface="Arial" panose="020B0604020202020204" pitchFamily="34" charset="0"/>
              <a:buChar char="•"/>
              <a:defRPr/>
            </a:pPr>
            <a:r>
              <a:rPr lang="ru-RU" sz="1100" kern="0" dirty="0">
                <a:solidFill>
                  <a:srgbClr val="4D4D4D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Аэромагнитная съемка</a:t>
            </a:r>
          </a:p>
          <a:p>
            <a:pPr marL="285436" indent="-285436" defTabSz="913392">
              <a:buFont typeface="Arial" panose="020B0604020202020204" pitchFamily="34" charset="0"/>
              <a:buChar char="•"/>
              <a:defRPr/>
            </a:pPr>
            <a:r>
              <a:rPr lang="ru-RU" sz="1100" kern="0" dirty="0">
                <a:solidFill>
                  <a:srgbClr val="4D4D4D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Аэроэлектроразведочная съемка</a:t>
            </a:r>
          </a:p>
        </p:txBody>
      </p:sp>
    </p:spTree>
    <p:extLst>
      <p:ext uri="{BB962C8B-B14F-4D97-AF65-F5344CB8AC3E}">
        <p14:creationId xmlns:p14="http://schemas.microsoft.com/office/powerpoint/2010/main" val="280690642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1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10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1000"/>
                            </p:stCondLst>
                            <p:childTnLst>
                              <p:par>
                                <p:cTn id="11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3" dur="10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2000"/>
                            </p:stCondLst>
                            <p:childTnLst>
                              <p:par>
                                <p:cTn id="1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7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2500"/>
                            </p:stCondLst>
                            <p:childTnLst>
                              <p:par>
                                <p:cTn id="1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1" dur="1600"/>
                                        <p:tgtEl>
                                          <p:spTgt spid="15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4100"/>
                            </p:stCondLst>
                            <p:childTnLst>
                              <p:par>
                                <p:cTn id="2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5" dur="1000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5100"/>
                            </p:stCondLst>
                            <p:childTnLst>
                              <p:par>
                                <p:cTn id="27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9" dur="1000"/>
                                        <p:tgtEl>
                                          <p:spTgt spid="1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0" fill="hold">
                            <p:stCondLst>
                              <p:cond delay="6100"/>
                            </p:stCondLst>
                            <p:childTnLst>
                              <p:par>
                                <p:cTn id="31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3" dur="1000"/>
                                        <p:tgtEl>
                                          <p:spTgt spid="1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4" fill="hold">
                      <p:stCondLst>
                        <p:cond delay="indefinite"/>
                      </p:stCondLst>
                      <p:childTnLst>
                        <p:par>
                          <p:cTn id="35" fill="hold">
                            <p:stCondLst>
                              <p:cond delay="0"/>
                            </p:stCondLst>
                            <p:childTnLst>
                              <p:par>
                                <p:cTn id="36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8" dur="10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9" fill="hold">
                            <p:stCondLst>
                              <p:cond delay="1000"/>
                            </p:stCondLst>
                            <p:childTnLst>
                              <p:par>
                                <p:cTn id="40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2" dur="10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3" fill="hold">
                            <p:stCondLst>
                              <p:cond delay="2000"/>
                            </p:stCondLst>
                            <p:childTnLst>
                              <p:par>
                                <p:cTn id="44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6" dur="1000"/>
                                        <p:tgtEl>
                                          <p:spTgt spid="27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7" fill="hold">
                            <p:stCondLst>
                              <p:cond delay="3000"/>
                            </p:stCondLst>
                            <p:childTnLst>
                              <p:par>
                                <p:cTn id="48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0" dur="1000"/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1" fill="hold">
                            <p:stCondLst>
                              <p:cond delay="4000"/>
                            </p:stCondLst>
                            <p:childTnLst>
                              <p:par>
                                <p:cTn id="52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4" dur="1000"/>
                                        <p:tgtEl>
                                          <p:spTgt spid="2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5" fill="hold">
                      <p:stCondLst>
                        <p:cond delay="indefinite"/>
                      </p:stCondLst>
                      <p:childTnLst>
                        <p:par>
                          <p:cTn id="56" fill="hold">
                            <p:stCondLst>
                              <p:cond delay="0"/>
                            </p:stCondLst>
                            <p:childTnLst>
                              <p:par>
                                <p:cTn id="57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9" dur="10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0" fill="hold">
                            <p:stCondLst>
                              <p:cond delay="1000"/>
                            </p:stCondLst>
                            <p:childTnLst>
                              <p:par>
                                <p:cTn id="61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63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4" fill="hold">
                            <p:stCondLst>
                              <p:cond delay="1500"/>
                            </p:stCondLst>
                            <p:childTnLst>
                              <p:par>
                                <p:cTn id="6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67" dur="1000"/>
                                        <p:tgtEl>
                                          <p:spTgt spid="33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8" fill="hold">
                            <p:stCondLst>
                              <p:cond delay="2500"/>
                            </p:stCondLst>
                            <p:childTnLst>
                              <p:par>
                                <p:cTn id="6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1" dur="1000"/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2" fill="hold">
                            <p:stCondLst>
                              <p:cond delay="3500"/>
                            </p:stCondLst>
                            <p:childTnLst>
                              <p:par>
                                <p:cTn id="7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5" dur="1000"/>
                                        <p:tgtEl>
                                          <p:spTgt spid="3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6" fill="hold">
                            <p:stCondLst>
                              <p:cond delay="4500"/>
                            </p:stCondLst>
                            <p:childTnLst>
                              <p:par>
                                <p:cTn id="77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9" dur="1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0" dur="1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81" dur="10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2" fill="hold">
                            <p:stCondLst>
                              <p:cond delay="5500"/>
                            </p:stCondLst>
                            <p:childTnLst>
                              <p:par>
                                <p:cTn id="83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5" dur="10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6" dur="1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7" dur="1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88" presetID="47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0" dur="10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91" dur="10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2" dur="10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3" fill="hold">
                      <p:stCondLst>
                        <p:cond delay="indefinite"/>
                      </p:stCondLst>
                      <p:childTnLst>
                        <p:par>
                          <p:cTn id="94" fill="hold">
                            <p:stCondLst>
                              <p:cond delay="0"/>
                            </p:stCondLst>
                            <p:childTnLst>
                              <p:par>
                                <p:cTn id="95" presetID="47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7" dur="10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98" dur="10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9" dur="10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0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2" dur="10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03" dur="10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4" dur="10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5" fill="hold">
                            <p:stCondLst>
                              <p:cond delay="1000"/>
                            </p:stCondLst>
                            <p:childTnLst>
                              <p:par>
                                <p:cTn id="106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8" dur="10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09" dur="10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0" dur="10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1" fill="hold">
                            <p:stCondLst>
                              <p:cond delay="2000"/>
                            </p:stCondLst>
                            <p:childTnLst>
                              <p:par>
                                <p:cTn id="112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4" dur="1000"/>
                                        <p:tgtEl>
                                          <p:spTgt spid="19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15" dur="1000" fill="hold"/>
                                        <p:tgtEl>
                                          <p:spTgt spid="19">
                                            <p:bg/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6" dur="1000" fill="hold"/>
                                        <p:tgtEl>
                                          <p:spTgt spid="19">
                                            <p:bg/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7" fill="hold">
                            <p:stCondLst>
                              <p:cond delay="3000"/>
                            </p:stCondLst>
                            <p:childTnLst>
                              <p:par>
                                <p:cTn id="118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0" dur="1000"/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21" dur="1000" fill="hold"/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2" dur="1000" fill="hold"/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3" fill="hold">
                            <p:stCondLst>
                              <p:cond delay="4000"/>
                            </p:stCondLst>
                            <p:childTnLst>
                              <p:par>
                                <p:cTn id="124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6" dur="1000"/>
                                        <p:tgtEl>
                                          <p:spTgt spid="1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27" dur="1000" fill="hold"/>
                                        <p:tgtEl>
                                          <p:spTgt spid="1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8" dur="1000" fill="hold"/>
                                        <p:tgtEl>
                                          <p:spTgt spid="1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9" fill="hold">
                            <p:stCondLst>
                              <p:cond delay="5000"/>
                            </p:stCondLst>
                            <p:childTnLst>
                              <p:par>
                                <p:cTn id="130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2" dur="1000"/>
                                        <p:tgtEl>
                                          <p:spTgt spid="1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3" dur="1000" fill="hold"/>
                                        <p:tgtEl>
                                          <p:spTgt spid="1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4" dur="1000" fill="hold"/>
                                        <p:tgtEl>
                                          <p:spTgt spid="1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5" fill="hold">
                            <p:stCondLst>
                              <p:cond delay="6000"/>
                            </p:stCondLst>
                            <p:childTnLst>
                              <p:par>
                                <p:cTn id="136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8" dur="1000"/>
                                        <p:tgtEl>
                                          <p:spTgt spid="19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9" dur="1000" fill="hold"/>
                                        <p:tgtEl>
                                          <p:spTgt spid="19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0" dur="1000" fill="hold"/>
                                        <p:tgtEl>
                                          <p:spTgt spid="19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1" fill="hold">
                            <p:stCondLst>
                              <p:cond delay="7000"/>
                            </p:stCondLst>
                            <p:childTnLst>
                              <p:par>
                                <p:cTn id="142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4" dur="1000"/>
                                        <p:tgtEl>
                                          <p:spTgt spid="19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45" dur="1000" fill="hold"/>
                                        <p:tgtEl>
                                          <p:spTgt spid="19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6" dur="1000" fill="hold"/>
                                        <p:tgtEl>
                                          <p:spTgt spid="19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7" fill="hold">
                            <p:stCondLst>
                              <p:cond delay="8000"/>
                            </p:stCondLst>
                            <p:childTnLst>
                              <p:par>
                                <p:cTn id="148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0" dur="1000"/>
                                        <p:tgtEl>
                                          <p:spTgt spid="19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51" dur="1000" fill="hold"/>
                                        <p:tgtEl>
                                          <p:spTgt spid="19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2" dur="1000" fill="hold"/>
                                        <p:tgtEl>
                                          <p:spTgt spid="19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 build="p" animBg="1"/>
      <p:bldP spid="17" grpId="0" animBg="1"/>
      <p:bldP spid="18" grpId="0" animBg="1"/>
      <p:bldP spid="19" grpId="0" build="p" animBg="1"/>
      <p:bldP spid="26" grpId="0" animBg="1"/>
      <p:bldP spid="27" grpId="0" build="p" animBg="1"/>
      <p:bldP spid="32" grpId="0" animBg="1"/>
      <p:bldP spid="33" grpId="0" build="p" animBg="1"/>
      <p:bldP spid="37" grpId="0" animBg="1"/>
      <p:bldP spid="38" grpId="0" animBg="1"/>
      <p:bldP spid="39" grpId="0" animBg="1"/>
      <p:bldP spid="41" grpId="0" animBg="1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325878" y="53584"/>
            <a:ext cx="8494594" cy="834431"/>
          </a:xfrm>
        </p:spPr>
        <p:txBody>
          <a:bodyPr/>
          <a:lstStyle/>
          <a:p>
            <a:pPr algn="r"/>
            <a:r>
              <a:rPr lang="ru-RU" sz="2400" b="0" dirty="0" smtClean="0"/>
              <a:t>Геолого-поисковые обстановки </a:t>
            </a:r>
            <a:endParaRPr lang="ru-RU" sz="2400" b="0" dirty="0"/>
          </a:p>
        </p:txBody>
      </p:sp>
      <p:sp>
        <p:nvSpPr>
          <p:cNvPr id="5" name="Объект 2"/>
          <p:cNvSpPr txBox="1">
            <a:spLocks/>
          </p:cNvSpPr>
          <p:nvPr/>
        </p:nvSpPr>
        <p:spPr>
          <a:xfrm>
            <a:off x="9850" y="1067558"/>
            <a:ext cx="8946675" cy="5474672"/>
          </a:xfrm>
          <a:prstGeom prst="rect">
            <a:avLst/>
          </a:prstGeom>
        </p:spPr>
        <p:txBody>
          <a:bodyPr lIns="83156" tIns="41578" rIns="83156" bIns="41578">
            <a:noAutofit/>
          </a:bodyPr>
          <a:lstStyle>
            <a:lvl1pPr marL="257175" indent="-257175" algn="l" rtl="0" eaLnBrk="1" fontAlgn="base" hangingPunct="1">
              <a:lnSpc>
                <a:spcPct val="110000"/>
              </a:lnSpc>
              <a:spcBef>
                <a:spcPct val="75000"/>
              </a:spcBef>
              <a:spcAft>
                <a:spcPct val="0"/>
              </a:spcAft>
              <a:buClr>
                <a:srgbClr val="3376D9"/>
              </a:buClr>
              <a:buSzPct val="120000"/>
              <a:buFont typeface="Wingdings" pitchFamily="2" charset="2"/>
              <a:buBlip>
                <a:blip r:embed="rId3"/>
              </a:buBlip>
              <a:defRPr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2625" indent="-423863" algn="l" rtl="0" eaLnBrk="1" fontAlgn="base" hangingPunct="1">
              <a:lnSpc>
                <a:spcPct val="110000"/>
              </a:lnSpc>
              <a:spcBef>
                <a:spcPct val="15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buBlip>
                <a:blip r:embed="rId4"/>
              </a:buBlip>
              <a:defRPr sz="1100">
                <a:solidFill>
                  <a:schemeClr val="tx1"/>
                </a:solidFill>
                <a:latin typeface="+mn-lt"/>
                <a:cs typeface="+mn-cs"/>
              </a:defRPr>
            </a:lvl2pPr>
            <a:lvl3pPr marL="977900" indent="-293688" algn="l" rtl="0" eaLnBrk="1" fontAlgn="base" hangingPunct="1">
              <a:lnSpc>
                <a:spcPct val="110000"/>
              </a:lnSpc>
              <a:spcBef>
                <a:spcPct val="15000"/>
              </a:spcBef>
              <a:spcAft>
                <a:spcPct val="0"/>
              </a:spcAft>
              <a:buClr>
                <a:schemeClr val="bg2"/>
              </a:buClr>
              <a:buSzPct val="85000"/>
              <a:buFont typeface="Wingdings 3" pitchFamily="18" charset="2"/>
              <a:buChar char=""/>
              <a:defRPr sz="1100">
                <a:solidFill>
                  <a:schemeClr val="tx1"/>
                </a:solidFill>
                <a:latin typeface="+mn-lt"/>
                <a:cs typeface="+mn-cs"/>
              </a:defRPr>
            </a:lvl3pPr>
            <a:lvl4pPr marL="1262063" indent="-282575" algn="l" rtl="0" eaLnBrk="1" fontAlgn="base" hangingPunct="1">
              <a:lnSpc>
                <a:spcPct val="110000"/>
              </a:lnSpc>
              <a:spcBef>
                <a:spcPct val="1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buChar char="w"/>
              <a:defRPr sz="1600">
                <a:solidFill>
                  <a:schemeClr val="tx1"/>
                </a:solidFill>
                <a:latin typeface="+mn-lt"/>
                <a:cs typeface="+mn-cs"/>
              </a:defRPr>
            </a:lvl4pPr>
            <a:lvl5pPr marL="1506538" indent="-242888" algn="l" rtl="0" eaLnBrk="1" fontAlgn="base" hangingPunct="1">
              <a:lnSpc>
                <a:spcPct val="110000"/>
              </a:lnSpc>
              <a:spcBef>
                <a:spcPct val="15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5pPr>
            <a:lvl6pPr marL="1963738" indent="-242888" algn="l" rtl="0" eaLnBrk="1" fontAlgn="base" hangingPunct="1">
              <a:lnSpc>
                <a:spcPct val="110000"/>
              </a:lnSpc>
              <a:spcBef>
                <a:spcPct val="15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2420938" indent="-242888" algn="l" rtl="0" eaLnBrk="1" fontAlgn="base" hangingPunct="1">
              <a:lnSpc>
                <a:spcPct val="110000"/>
              </a:lnSpc>
              <a:spcBef>
                <a:spcPct val="15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2878138" indent="-242888" algn="l" rtl="0" eaLnBrk="1" fontAlgn="base" hangingPunct="1">
              <a:lnSpc>
                <a:spcPct val="110000"/>
              </a:lnSpc>
              <a:spcBef>
                <a:spcPct val="15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3335338" indent="-242888" algn="l" rtl="0" eaLnBrk="1" fontAlgn="base" hangingPunct="1">
              <a:lnSpc>
                <a:spcPct val="110000"/>
              </a:lnSpc>
              <a:spcBef>
                <a:spcPct val="15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235323" lvl="1" indent="0" algn="just" defTabSz="892439">
              <a:buClr>
                <a:srgbClr val="000000"/>
              </a:buClr>
              <a:buNone/>
            </a:pPr>
            <a:endParaRPr lang="ru-RU" sz="1300" dirty="0">
              <a:solidFill>
                <a:srgbClr val="003149"/>
              </a:solidFill>
            </a:endParaRPr>
          </a:p>
          <a:p>
            <a:pPr lvl="1" algn="just" defTabSz="892439">
              <a:buClr>
                <a:srgbClr val="000000"/>
              </a:buClr>
            </a:pPr>
            <a:endParaRPr lang="ru-RU" sz="1300" dirty="0">
              <a:solidFill>
                <a:srgbClr val="003149"/>
              </a:solidFill>
            </a:endParaRPr>
          </a:p>
          <a:p>
            <a:pPr lvl="1" algn="just" defTabSz="892439">
              <a:buClr>
                <a:srgbClr val="000000"/>
              </a:buClr>
            </a:pPr>
            <a:endParaRPr lang="en-US" sz="1500" dirty="0">
              <a:solidFill>
                <a:srgbClr val="003149"/>
              </a:solidFill>
            </a:endParaRPr>
          </a:p>
          <a:p>
            <a:pPr lvl="1" algn="just" defTabSz="892439">
              <a:buClr>
                <a:srgbClr val="000000"/>
              </a:buClr>
            </a:pPr>
            <a:endParaRPr lang="ru-RU" sz="1500" dirty="0">
              <a:solidFill>
                <a:srgbClr val="003149"/>
              </a:solidFill>
            </a:endParaRPr>
          </a:p>
          <a:p>
            <a:pPr lvl="1" algn="just" defTabSz="892439">
              <a:buClr>
                <a:srgbClr val="000000"/>
              </a:buClr>
            </a:pPr>
            <a:endParaRPr lang="ru-RU" sz="1500" dirty="0">
              <a:solidFill>
                <a:srgbClr val="003149"/>
              </a:solidFill>
            </a:endParaRPr>
          </a:p>
        </p:txBody>
      </p:sp>
      <p:pic>
        <p:nvPicPr>
          <p:cNvPr id="6" name="Picture 4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75994" y="1248725"/>
            <a:ext cx="263684" cy="2233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7" name="Группа 6"/>
          <p:cNvGrpSpPr/>
          <p:nvPr/>
        </p:nvGrpSpPr>
        <p:grpSpPr>
          <a:xfrm>
            <a:off x="154003" y="1042630"/>
            <a:ext cx="1469463" cy="1260000"/>
            <a:chOff x="154003" y="1042630"/>
            <a:chExt cx="1469463" cy="1260000"/>
          </a:xfrm>
        </p:grpSpPr>
        <p:pic>
          <p:nvPicPr>
            <p:cNvPr id="8" name="Picture 3"/>
            <p:cNvPicPr>
              <a:picLocks noChangeAspect="1" noChangeArrowheads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54003" y="1042630"/>
              <a:ext cx="1469463" cy="1260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9" name="TextBox 8"/>
            <p:cNvSpPr txBox="1"/>
            <p:nvPr/>
          </p:nvSpPr>
          <p:spPr>
            <a:xfrm>
              <a:off x="164392" y="1056006"/>
              <a:ext cx="227948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200" b="1" dirty="0" smtClean="0">
                  <a:solidFill>
                    <a:srgbClr val="0A0A0A"/>
                  </a:solidFill>
                </a:rPr>
                <a:t>I</a:t>
              </a:r>
              <a:endParaRPr lang="ru-RU" sz="1200" b="1" dirty="0">
                <a:solidFill>
                  <a:srgbClr val="0A0A0A"/>
                </a:solidFill>
              </a:endParaRPr>
            </a:p>
          </p:txBody>
        </p:sp>
      </p:grpSp>
      <p:grpSp>
        <p:nvGrpSpPr>
          <p:cNvPr id="10" name="Группа 9"/>
          <p:cNvGrpSpPr/>
          <p:nvPr/>
        </p:nvGrpSpPr>
        <p:grpSpPr>
          <a:xfrm>
            <a:off x="1626040" y="1042630"/>
            <a:ext cx="1466768" cy="1260000"/>
            <a:chOff x="1626040" y="1042630"/>
            <a:chExt cx="1466768" cy="1260000"/>
          </a:xfrm>
        </p:grpSpPr>
        <p:pic>
          <p:nvPicPr>
            <p:cNvPr id="11" name="Picture 3"/>
            <p:cNvPicPr>
              <a:picLocks noChangeAspect="1" noChangeArrowheads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626040" y="1042630"/>
              <a:ext cx="1466768" cy="1260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2" name="TextBox 11"/>
            <p:cNvSpPr txBox="1"/>
            <p:nvPr/>
          </p:nvSpPr>
          <p:spPr>
            <a:xfrm>
              <a:off x="1626040" y="1042630"/>
              <a:ext cx="271228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200" b="1" dirty="0" smtClean="0">
                  <a:solidFill>
                    <a:srgbClr val="0A0A0A"/>
                  </a:solidFill>
                </a:rPr>
                <a:t>II</a:t>
              </a:r>
              <a:endParaRPr lang="ru-RU" sz="1200" b="1" dirty="0">
                <a:solidFill>
                  <a:srgbClr val="0A0A0A"/>
                </a:solidFill>
              </a:endParaRPr>
            </a:p>
          </p:txBody>
        </p:sp>
      </p:grpSp>
      <p:grpSp>
        <p:nvGrpSpPr>
          <p:cNvPr id="13" name="Группа 12"/>
          <p:cNvGrpSpPr/>
          <p:nvPr/>
        </p:nvGrpSpPr>
        <p:grpSpPr>
          <a:xfrm>
            <a:off x="3103553" y="1042630"/>
            <a:ext cx="1462499" cy="1260000"/>
            <a:chOff x="3113078" y="1042630"/>
            <a:chExt cx="1462499" cy="1260000"/>
          </a:xfrm>
        </p:grpSpPr>
        <p:pic>
          <p:nvPicPr>
            <p:cNvPr id="14" name="Picture 4"/>
            <p:cNvPicPr>
              <a:picLocks noChangeAspect="1" noChangeArrowheads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113078" y="1042630"/>
              <a:ext cx="1462499" cy="1260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5" name="TextBox 14"/>
            <p:cNvSpPr txBox="1"/>
            <p:nvPr/>
          </p:nvSpPr>
          <p:spPr>
            <a:xfrm>
              <a:off x="3113078" y="1042630"/>
              <a:ext cx="314510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200" b="1" dirty="0" smtClean="0">
                  <a:solidFill>
                    <a:srgbClr val="0A0A0A"/>
                  </a:solidFill>
                </a:rPr>
                <a:t>III</a:t>
              </a:r>
              <a:endParaRPr lang="ru-RU" sz="1200" b="1" dirty="0">
                <a:solidFill>
                  <a:srgbClr val="0A0A0A"/>
                </a:solidFill>
              </a:endParaRPr>
            </a:p>
          </p:txBody>
        </p:sp>
      </p:grpSp>
      <p:grpSp>
        <p:nvGrpSpPr>
          <p:cNvPr id="16" name="Группа 15"/>
          <p:cNvGrpSpPr/>
          <p:nvPr/>
        </p:nvGrpSpPr>
        <p:grpSpPr>
          <a:xfrm>
            <a:off x="4561871" y="1042630"/>
            <a:ext cx="1474111" cy="1260000"/>
            <a:chOff x="4580921" y="1042630"/>
            <a:chExt cx="1474111" cy="1260000"/>
          </a:xfrm>
        </p:grpSpPr>
        <p:pic>
          <p:nvPicPr>
            <p:cNvPr id="17" name="Picture 5"/>
            <p:cNvPicPr>
              <a:picLocks noChangeAspect="1" noChangeArrowheads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595755" y="1042630"/>
              <a:ext cx="1459277" cy="1260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8" name="TextBox 17"/>
            <p:cNvSpPr txBox="1"/>
            <p:nvPr/>
          </p:nvSpPr>
          <p:spPr>
            <a:xfrm>
              <a:off x="4580921" y="1042630"/>
              <a:ext cx="330540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200" b="1" dirty="0" smtClean="0">
                  <a:solidFill>
                    <a:srgbClr val="0A0A0A"/>
                  </a:solidFill>
                </a:rPr>
                <a:t>IV</a:t>
              </a:r>
              <a:endParaRPr lang="ru-RU" sz="1200" b="1" dirty="0">
                <a:solidFill>
                  <a:srgbClr val="0A0A0A"/>
                </a:solidFill>
              </a:endParaRPr>
            </a:p>
          </p:txBody>
        </p:sp>
      </p:grpSp>
      <p:grpSp>
        <p:nvGrpSpPr>
          <p:cNvPr id="19" name="Группа 18"/>
          <p:cNvGrpSpPr/>
          <p:nvPr/>
        </p:nvGrpSpPr>
        <p:grpSpPr>
          <a:xfrm>
            <a:off x="6047723" y="1042630"/>
            <a:ext cx="1477018" cy="1260000"/>
            <a:chOff x="6038198" y="1042630"/>
            <a:chExt cx="1477018" cy="1260000"/>
          </a:xfrm>
        </p:grpSpPr>
        <p:pic>
          <p:nvPicPr>
            <p:cNvPr id="20" name="Picture 6"/>
            <p:cNvPicPr>
              <a:picLocks noChangeAspect="1" noChangeArrowheads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038198" y="1042630"/>
              <a:ext cx="1477018" cy="1260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21" name="TextBox 20"/>
            <p:cNvSpPr txBox="1"/>
            <p:nvPr/>
          </p:nvSpPr>
          <p:spPr>
            <a:xfrm>
              <a:off x="6071810" y="1042630"/>
              <a:ext cx="287258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200" b="1" dirty="0" smtClean="0">
                  <a:solidFill>
                    <a:srgbClr val="0A0A0A"/>
                  </a:solidFill>
                </a:rPr>
                <a:t>V</a:t>
              </a:r>
              <a:endParaRPr lang="ru-RU" sz="1200" b="1" dirty="0">
                <a:solidFill>
                  <a:srgbClr val="0A0A0A"/>
                </a:solidFill>
              </a:endParaRPr>
            </a:p>
          </p:txBody>
        </p:sp>
      </p:grpSp>
      <p:sp>
        <p:nvSpPr>
          <p:cNvPr id="22" name="Прямоугольник 21"/>
          <p:cNvSpPr/>
          <p:nvPr/>
        </p:nvSpPr>
        <p:spPr>
          <a:xfrm>
            <a:off x="78668" y="2296052"/>
            <a:ext cx="1594890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700" dirty="0">
                <a:solidFill>
                  <a:srgbClr val="0A0A0A"/>
                </a:solidFill>
                <a:latin typeface="Arial (Основной текст)"/>
              </a:rPr>
              <a:t>Маломощный эллювиально-делювиальный покров до 3м</a:t>
            </a:r>
          </a:p>
        </p:txBody>
      </p:sp>
      <p:sp>
        <p:nvSpPr>
          <p:cNvPr id="23" name="Прямоугольник 22"/>
          <p:cNvSpPr/>
          <p:nvPr/>
        </p:nvSpPr>
        <p:spPr>
          <a:xfrm>
            <a:off x="1616516" y="2300984"/>
            <a:ext cx="1466767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700" dirty="0">
                <a:solidFill>
                  <a:srgbClr val="0A0A0A"/>
                </a:solidFill>
                <a:latin typeface="Arial (Основной текст)"/>
              </a:rPr>
              <a:t>Терригенные отложения до 20м</a:t>
            </a:r>
          </a:p>
        </p:txBody>
      </p:sp>
      <p:sp>
        <p:nvSpPr>
          <p:cNvPr id="24" name="Прямоугольник 23"/>
          <p:cNvSpPr/>
          <p:nvPr/>
        </p:nvSpPr>
        <p:spPr>
          <a:xfrm>
            <a:off x="3084503" y="2303904"/>
            <a:ext cx="1462499" cy="4154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444843">
              <a:defRPr/>
            </a:pPr>
            <a:r>
              <a:rPr lang="ru-RU" sz="700" dirty="0">
                <a:solidFill>
                  <a:srgbClr val="0A0A0A"/>
                </a:solidFill>
                <a:latin typeface="Arial (Основной текст)"/>
              </a:rPr>
              <a:t>Терригенные отложения и продукты кор выветривания мощностью 20-200м</a:t>
            </a:r>
          </a:p>
        </p:txBody>
      </p:sp>
      <p:sp>
        <p:nvSpPr>
          <p:cNvPr id="25" name="Прямоугольник 24"/>
          <p:cNvSpPr/>
          <p:nvPr/>
        </p:nvSpPr>
        <p:spPr>
          <a:xfrm>
            <a:off x="4548130" y="2307217"/>
            <a:ext cx="1459277" cy="4154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700" dirty="0">
                <a:solidFill>
                  <a:srgbClr val="0A0A0A"/>
                </a:solidFill>
                <a:latin typeface="Arial (Основной текст)"/>
              </a:rPr>
              <a:t>Породы трапповой формации залегающие на терригенных отложениях</a:t>
            </a:r>
          </a:p>
        </p:txBody>
      </p:sp>
      <p:sp>
        <p:nvSpPr>
          <p:cNvPr id="27" name="Прямоугольник 26"/>
          <p:cNvSpPr/>
          <p:nvPr/>
        </p:nvSpPr>
        <p:spPr>
          <a:xfrm>
            <a:off x="6033710" y="2305389"/>
            <a:ext cx="1461874" cy="4154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444843">
              <a:defRPr/>
            </a:pPr>
            <a:r>
              <a:rPr lang="ru-RU" sz="700" dirty="0">
                <a:solidFill>
                  <a:srgbClr val="0A0A0A"/>
                </a:solidFill>
                <a:latin typeface="Arial (Основной текст)"/>
              </a:rPr>
              <a:t>Породы трапповой формации на кимберлитовмещающем цоколе</a:t>
            </a:r>
          </a:p>
        </p:txBody>
      </p:sp>
      <p:sp>
        <p:nvSpPr>
          <p:cNvPr id="28" name="Прямоугольник 27"/>
          <p:cNvSpPr/>
          <p:nvPr/>
        </p:nvSpPr>
        <p:spPr>
          <a:xfrm>
            <a:off x="7527482" y="2289286"/>
            <a:ext cx="1488169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700" dirty="0">
                <a:solidFill>
                  <a:srgbClr val="0A0A0A"/>
                </a:solidFill>
                <a:latin typeface="Arial (Основной текст)"/>
              </a:rPr>
              <a:t>Терригенные отложения с преобладанием в основании прибрежно-морских и дельтовых фаций</a:t>
            </a:r>
          </a:p>
        </p:txBody>
      </p:sp>
      <p:graphicFrame>
        <p:nvGraphicFramePr>
          <p:cNvPr id="29" name="Таблица 2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94655295"/>
              </p:ext>
            </p:extLst>
          </p:nvPr>
        </p:nvGraphicFramePr>
        <p:xfrm>
          <a:off x="135819" y="2812506"/>
          <a:ext cx="8879832" cy="2348161"/>
        </p:xfrm>
        <a:graphic>
          <a:graphicData uri="http://schemas.openxmlformats.org/drawingml/2006/table">
            <a:tbl>
              <a:tblPr firstRow="1" bandRow="1">
                <a:tableStyleId>{D7AC3CCA-C797-4891-BE02-D94E43425B78}</a:tableStyleId>
              </a:tblPr>
              <a:tblGrid>
                <a:gridCol w="1189464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316831"/>
                <a:gridCol w="1082036"/>
                <a:gridCol w="361950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1123950"/>
                <a:gridCol w="352425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  <a:gridCol w="1152525"/>
                <a:gridCol w="323850">
                  <a:extLst>
                    <a:ext uri="{9D8B030D-6E8A-4147-A177-3AD203B41FA5}">
                      <a16:colId xmlns:a16="http://schemas.microsoft.com/office/drawing/2014/main" xmlns="" val="20005"/>
                    </a:ext>
                  </a:extLst>
                </a:gridCol>
                <a:gridCol w="1133475"/>
                <a:gridCol w="342900">
                  <a:extLst>
                    <a:ext uri="{9D8B030D-6E8A-4147-A177-3AD203B41FA5}">
                      <a16:colId xmlns:a16="http://schemas.microsoft.com/office/drawing/2014/main" xmlns="" val="20006"/>
                    </a:ext>
                  </a:extLst>
                </a:gridCol>
                <a:gridCol w="1152525"/>
                <a:gridCol w="347901">
                  <a:extLst>
                    <a:ext uri="{9D8B030D-6E8A-4147-A177-3AD203B41FA5}">
                      <a16:colId xmlns:a16="http://schemas.microsoft.com/office/drawing/2014/main" xmlns="" val="20008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marL="0" marR="0" indent="0" algn="l" defTabSz="44484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b="1" spc="0" dirty="0" smtClean="0">
                          <a:solidFill>
                            <a:srgbClr val="0A0A0A"/>
                          </a:solidFill>
                          <a:latin typeface="Arial (Основной текст)"/>
                        </a:rPr>
                        <a:t>Метод / Геотип</a:t>
                      </a:r>
                      <a:endParaRPr lang="ru-RU" sz="800" b="1" spc="0" dirty="0">
                        <a:solidFill>
                          <a:srgbClr val="0A0A0A"/>
                        </a:solidFill>
                        <a:latin typeface="Arial (Основной текст)"/>
                      </a:endParaRPr>
                    </a:p>
                  </a:txBody>
                  <a:tcPr marL="36000" marR="36000" marT="0" marB="0" anchor="ctr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44484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1" spc="0" dirty="0" smtClean="0">
                          <a:solidFill>
                            <a:srgbClr val="0A0A0A"/>
                          </a:solidFill>
                          <a:latin typeface="Arial (Основной текст)"/>
                        </a:rPr>
                        <a:t>I</a:t>
                      </a:r>
                      <a:endParaRPr lang="ru-RU" sz="900" b="1" spc="0" dirty="0" smtClean="0">
                        <a:solidFill>
                          <a:srgbClr val="0A0A0A"/>
                        </a:solidFill>
                        <a:latin typeface="Arial (Основной текст)"/>
                      </a:endParaRPr>
                    </a:p>
                  </a:txBody>
                  <a:tcPr marL="36000" marR="36000" marT="0" marB="0" anchor="ctr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44484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700" b="0" spc="0" dirty="0" smtClean="0">
                        <a:solidFill>
                          <a:srgbClr val="0A0A0A"/>
                        </a:solidFill>
                        <a:latin typeface="Arial (Основной текст)"/>
                      </a:endParaRPr>
                    </a:p>
                  </a:txBody>
                  <a:tcPr marL="36000" marR="36000" marT="0" marB="0" anchor="ctr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44484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spc="0" dirty="0" smtClean="0">
                          <a:solidFill>
                            <a:srgbClr val="0A0A0A"/>
                          </a:solidFill>
                          <a:latin typeface="Arial (Основной текст)"/>
                        </a:rPr>
                        <a:t>II</a:t>
                      </a:r>
                      <a:endParaRPr lang="ru-RU" sz="800" b="1" spc="0" dirty="0" smtClean="0">
                        <a:solidFill>
                          <a:srgbClr val="0A0A0A"/>
                        </a:solidFill>
                        <a:latin typeface="Arial (Основной текст)"/>
                      </a:endParaRPr>
                    </a:p>
                  </a:txBody>
                  <a:tcPr marL="36000" marR="36000" marT="0" marB="0" anchor="ctr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44484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700" b="1" spc="0" dirty="0" smtClean="0">
                        <a:solidFill>
                          <a:srgbClr val="0A0A0A"/>
                        </a:solidFill>
                        <a:latin typeface="Arial (Основной текст)"/>
                      </a:endParaRPr>
                    </a:p>
                  </a:txBody>
                  <a:tcPr marL="36000" marR="36000" marT="0" marB="0" anchor="ctr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44484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spc="0" dirty="0" smtClean="0">
                          <a:solidFill>
                            <a:srgbClr val="0A0A0A"/>
                          </a:solidFill>
                          <a:latin typeface="Arial (Основной текст)"/>
                        </a:rPr>
                        <a:t>III</a:t>
                      </a:r>
                      <a:endParaRPr lang="ru-RU" sz="800" b="1" spc="0" dirty="0" smtClean="0">
                        <a:solidFill>
                          <a:srgbClr val="0A0A0A"/>
                        </a:solidFill>
                        <a:latin typeface="Arial (Основной текст)"/>
                      </a:endParaRPr>
                    </a:p>
                  </a:txBody>
                  <a:tcPr marL="36000" marR="36000" marT="0" marB="0" anchor="ctr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700" b="1" spc="0" dirty="0">
                        <a:solidFill>
                          <a:srgbClr val="0A0A0A"/>
                        </a:solidFill>
                        <a:latin typeface="Arial (Основной текст)"/>
                      </a:endParaRPr>
                    </a:p>
                  </a:txBody>
                  <a:tcPr marL="36000" marR="36000" marT="0" marB="0" anchor="ctr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b="1" spc="0" dirty="0" smtClean="0">
                          <a:solidFill>
                            <a:srgbClr val="0A0A0A"/>
                          </a:solidFill>
                          <a:latin typeface="Arial (Основной текст)"/>
                        </a:rPr>
                        <a:t>IV</a:t>
                      </a:r>
                      <a:endParaRPr lang="ru-RU" sz="800" b="1" spc="0" dirty="0">
                        <a:solidFill>
                          <a:srgbClr val="0A0A0A"/>
                        </a:solidFill>
                        <a:latin typeface="Arial (Основной текст)"/>
                      </a:endParaRPr>
                    </a:p>
                  </a:txBody>
                  <a:tcPr marL="36000" marR="36000" marT="0" marB="0" anchor="ctr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44484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700" b="1" spc="0" dirty="0">
                        <a:solidFill>
                          <a:srgbClr val="0A0A0A"/>
                        </a:solidFill>
                        <a:latin typeface="Arial (Основной текст)"/>
                      </a:endParaRPr>
                    </a:p>
                  </a:txBody>
                  <a:tcPr marL="36000" marR="36000" marT="0" marB="0" anchor="ctr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44484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spc="0" dirty="0" smtClean="0">
                          <a:solidFill>
                            <a:srgbClr val="0A0A0A"/>
                          </a:solidFill>
                          <a:latin typeface="Arial (Основной текст)"/>
                        </a:rPr>
                        <a:t>V</a:t>
                      </a:r>
                      <a:endParaRPr lang="ru-RU" sz="800" b="1" spc="0" dirty="0">
                        <a:solidFill>
                          <a:srgbClr val="0A0A0A"/>
                        </a:solidFill>
                        <a:latin typeface="Arial (Основной текст)"/>
                      </a:endParaRPr>
                    </a:p>
                  </a:txBody>
                  <a:tcPr marL="36000" marR="36000" marT="0" marB="0" anchor="ctr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44484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700" b="1" spc="0" dirty="0">
                        <a:solidFill>
                          <a:srgbClr val="0A0A0A"/>
                        </a:solidFill>
                        <a:latin typeface="Arial (Основной текст)"/>
                      </a:endParaRPr>
                    </a:p>
                  </a:txBody>
                  <a:tcPr marL="36000" marR="36000" marT="0" marB="0" anchor="ctr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b="1" spc="0" dirty="0" smtClean="0">
                          <a:solidFill>
                            <a:srgbClr val="0A0A0A"/>
                          </a:solidFill>
                          <a:latin typeface="Arial (Основной текст)"/>
                        </a:rPr>
                        <a:t>VI</a:t>
                      </a:r>
                      <a:endParaRPr lang="ru-RU" sz="800" b="1" spc="0" dirty="0">
                        <a:solidFill>
                          <a:srgbClr val="0A0A0A"/>
                        </a:solidFill>
                        <a:latin typeface="Arial (Основной текст)"/>
                      </a:endParaRPr>
                    </a:p>
                  </a:txBody>
                  <a:tcPr marL="36000" marR="36000" marT="0" marB="0" anchor="ctr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</a:tr>
              <a:tr h="144711">
                <a:tc>
                  <a:txBody>
                    <a:bodyPr/>
                    <a:lstStyle/>
                    <a:p>
                      <a:r>
                        <a:rPr lang="ru-RU" sz="600" b="0" spc="0" dirty="0" smtClean="0">
                          <a:solidFill>
                            <a:srgbClr val="0A0A0A"/>
                          </a:solidFill>
                          <a:latin typeface="Arial (Основной текст)"/>
                        </a:rPr>
                        <a:t>Аэромагнитная съемка-10</a:t>
                      </a:r>
                      <a:endParaRPr lang="ru-RU" sz="600" b="0" spc="0" dirty="0">
                        <a:solidFill>
                          <a:srgbClr val="0A0A0A"/>
                        </a:solidFill>
                        <a:latin typeface="Arial (Основной текст)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44484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b="1" spc="0" dirty="0" smtClean="0">
                          <a:solidFill>
                            <a:srgbClr val="0A0A0A"/>
                          </a:solidFill>
                          <a:latin typeface="Arial (Основной текст)"/>
                        </a:rPr>
                        <a:t>++</a:t>
                      </a: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44484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700" b="0" spc="0" dirty="0" smtClean="0">
                        <a:solidFill>
                          <a:srgbClr val="0A0A0A"/>
                        </a:solidFill>
                        <a:latin typeface="Arial (Основной текст)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44484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b="1" spc="0" dirty="0" smtClean="0">
                          <a:solidFill>
                            <a:srgbClr val="0A0A0A"/>
                          </a:solidFill>
                          <a:latin typeface="Arial (Основной текст)"/>
                        </a:rPr>
                        <a:t>++</a:t>
                      </a: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44484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700" b="1" spc="0" dirty="0" smtClean="0">
                        <a:solidFill>
                          <a:srgbClr val="0A0A0A"/>
                        </a:solidFill>
                        <a:latin typeface="Arial (Основной текст)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44484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b="1" spc="0" dirty="0" smtClean="0">
                          <a:solidFill>
                            <a:srgbClr val="0A0A0A"/>
                          </a:solidFill>
                          <a:latin typeface="Arial (Основной текст)"/>
                        </a:rPr>
                        <a:t>++</a:t>
                      </a: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700" b="0" spc="0" dirty="0" smtClean="0">
                          <a:solidFill>
                            <a:srgbClr val="0A0A0A"/>
                          </a:solidFill>
                          <a:latin typeface="Arial (Основной текст)"/>
                        </a:rPr>
                        <a:t>Районирование</a:t>
                      </a:r>
                      <a:endParaRPr lang="ru-RU" sz="700" b="0" spc="0" dirty="0">
                        <a:solidFill>
                          <a:srgbClr val="0A0A0A"/>
                        </a:solidFill>
                        <a:latin typeface="Arial (Основной текст)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b="1" spc="0" dirty="0" smtClean="0">
                          <a:solidFill>
                            <a:srgbClr val="0A0A0A"/>
                          </a:solidFill>
                          <a:latin typeface="Arial (Основной текст)"/>
                        </a:rPr>
                        <a:t>-</a:t>
                      </a:r>
                      <a:endParaRPr lang="ru-RU" sz="800" b="1" spc="0" dirty="0">
                        <a:solidFill>
                          <a:srgbClr val="0A0A0A"/>
                        </a:solidFill>
                        <a:latin typeface="Arial (Основной текст)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44484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700" b="0" spc="0" dirty="0" smtClean="0">
                          <a:solidFill>
                            <a:srgbClr val="0A0A0A"/>
                          </a:solidFill>
                          <a:latin typeface="Arial (Основной текст)"/>
                        </a:rPr>
                        <a:t>Районирование</a:t>
                      </a: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44484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b="1" spc="0" dirty="0" smtClean="0">
                          <a:solidFill>
                            <a:srgbClr val="0A0A0A"/>
                          </a:solidFill>
                          <a:latin typeface="Arial (Основной текст)"/>
                        </a:rPr>
                        <a:t>-</a:t>
                      </a:r>
                      <a:endParaRPr lang="ru-RU" sz="800" b="1" spc="0" dirty="0">
                        <a:solidFill>
                          <a:srgbClr val="0A0A0A"/>
                        </a:solidFill>
                        <a:latin typeface="Arial (Основной текст)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44484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700" b="1" spc="0" dirty="0">
                        <a:solidFill>
                          <a:srgbClr val="0A0A0A"/>
                        </a:solidFill>
                        <a:latin typeface="Arial (Основной текст)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b="1" spc="0" dirty="0" smtClean="0">
                          <a:solidFill>
                            <a:srgbClr val="0A0A0A"/>
                          </a:solidFill>
                          <a:latin typeface="Arial (Основной текст)"/>
                        </a:rPr>
                        <a:t>+</a:t>
                      </a:r>
                      <a:endParaRPr lang="ru-RU" sz="800" b="1" spc="0" dirty="0">
                        <a:solidFill>
                          <a:srgbClr val="0A0A0A"/>
                        </a:solidFill>
                        <a:latin typeface="Arial (Основной текст)"/>
                      </a:endParaRPr>
                    </a:p>
                  </a:txBody>
                  <a:tcPr marL="36000" marR="36000" marT="0" marB="0" anchor="ctr"/>
                </a:tc>
              </a:tr>
              <a:tr h="144711">
                <a:tc>
                  <a:txBody>
                    <a:bodyPr/>
                    <a:lstStyle/>
                    <a:p>
                      <a:pPr marL="0" marR="0" indent="0" algn="l" defTabSz="44484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600" b="0" spc="0" dirty="0" smtClean="0">
                          <a:solidFill>
                            <a:srgbClr val="0A0A0A"/>
                          </a:solidFill>
                          <a:latin typeface="Arial (Основной текст)"/>
                        </a:rPr>
                        <a:t>Сейсморазведка 2</a:t>
                      </a:r>
                      <a:r>
                        <a:rPr lang="en-US" sz="600" b="0" spc="0" dirty="0" smtClean="0">
                          <a:solidFill>
                            <a:srgbClr val="0A0A0A"/>
                          </a:solidFill>
                          <a:latin typeface="Arial (Основной текст)"/>
                        </a:rPr>
                        <a:t>D</a:t>
                      </a:r>
                      <a:endParaRPr lang="ru-RU" sz="600" b="0" spc="0" dirty="0" smtClean="0">
                        <a:solidFill>
                          <a:srgbClr val="0A0A0A"/>
                        </a:solidFill>
                        <a:latin typeface="Arial (Основной текст)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44484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800" b="1" spc="0" dirty="0" smtClean="0">
                        <a:solidFill>
                          <a:srgbClr val="0A0A0A"/>
                        </a:solidFill>
                        <a:latin typeface="Arial (Основной текст)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44484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700" b="0" spc="0" dirty="0" smtClean="0">
                        <a:solidFill>
                          <a:srgbClr val="0A0A0A"/>
                        </a:solidFill>
                        <a:latin typeface="Arial (Основной текст)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44484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800" b="1" spc="0" dirty="0" smtClean="0">
                        <a:solidFill>
                          <a:srgbClr val="0A0A0A"/>
                        </a:solidFill>
                        <a:latin typeface="Arial (Основной текст)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44484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700" b="1" spc="0" dirty="0" smtClean="0">
                        <a:solidFill>
                          <a:srgbClr val="0A0A0A"/>
                        </a:solidFill>
                        <a:latin typeface="Arial (Основной текст)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44484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b="1" spc="0" dirty="0" smtClean="0">
                          <a:solidFill>
                            <a:srgbClr val="0A0A0A"/>
                          </a:solidFill>
                          <a:latin typeface="Arial (Основной текст)"/>
                        </a:rPr>
                        <a:t>++</a:t>
                      </a: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44484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700" b="1" spc="0" dirty="0" smtClean="0">
                        <a:solidFill>
                          <a:srgbClr val="0A0A0A"/>
                        </a:solidFill>
                        <a:latin typeface="Arial (Основной текст)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44484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b="1" spc="0" dirty="0" smtClean="0">
                          <a:solidFill>
                            <a:srgbClr val="0A0A0A"/>
                          </a:solidFill>
                          <a:latin typeface="Arial (Основной текст)"/>
                        </a:rPr>
                        <a:t>++</a:t>
                      </a: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44484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700" b="1" spc="0" dirty="0" smtClean="0">
                        <a:solidFill>
                          <a:srgbClr val="0A0A0A"/>
                        </a:solidFill>
                        <a:latin typeface="Arial (Основной текст)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44484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b="1" spc="0" dirty="0" smtClean="0">
                          <a:solidFill>
                            <a:srgbClr val="0A0A0A"/>
                          </a:solidFill>
                          <a:latin typeface="Arial (Основной текст)"/>
                        </a:rPr>
                        <a:t>++</a:t>
                      </a: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44484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700" b="1" spc="0" dirty="0" smtClean="0">
                        <a:solidFill>
                          <a:srgbClr val="0A0A0A"/>
                        </a:solidFill>
                        <a:latin typeface="Arial (Основной текст)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b="1" spc="0" dirty="0" smtClean="0">
                          <a:solidFill>
                            <a:srgbClr val="0A0A0A"/>
                          </a:solidFill>
                          <a:latin typeface="Arial (Основной текст)"/>
                        </a:rPr>
                        <a:t>+</a:t>
                      </a:r>
                      <a:endParaRPr lang="ru-RU" sz="800" b="1" spc="0" dirty="0">
                        <a:solidFill>
                          <a:srgbClr val="0A0A0A"/>
                        </a:solidFill>
                        <a:latin typeface="Arial (Основной текст)"/>
                      </a:endParaRPr>
                    </a:p>
                  </a:txBody>
                  <a:tcPr marL="36000" marR="36000" marT="0" marB="0" anchor="ctr"/>
                </a:tc>
              </a:tr>
              <a:tr h="144711">
                <a:tc>
                  <a:txBody>
                    <a:bodyPr/>
                    <a:lstStyle/>
                    <a:p>
                      <a:r>
                        <a:rPr lang="ru-RU" sz="600" b="0" spc="0" dirty="0" smtClean="0">
                          <a:solidFill>
                            <a:srgbClr val="0A0A0A"/>
                          </a:solidFill>
                          <a:latin typeface="Arial (Основной текст)"/>
                        </a:rPr>
                        <a:t>Магниторазведка-5</a:t>
                      </a:r>
                      <a:endParaRPr lang="ru-RU" sz="600" b="0" spc="0" dirty="0">
                        <a:solidFill>
                          <a:srgbClr val="0A0A0A"/>
                        </a:solidFill>
                        <a:latin typeface="Arial (Основной текст)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44484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b="1" spc="0" dirty="0" smtClean="0">
                          <a:solidFill>
                            <a:srgbClr val="0A0A0A"/>
                          </a:solidFill>
                          <a:latin typeface="Arial (Основной текст)"/>
                        </a:rPr>
                        <a:t>++</a:t>
                      </a: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44484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700" b="0" spc="0" dirty="0" smtClean="0">
                        <a:solidFill>
                          <a:srgbClr val="0A0A0A"/>
                        </a:solidFill>
                        <a:latin typeface="Arial (Основной текст)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44484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b="1" spc="0" dirty="0" smtClean="0">
                          <a:solidFill>
                            <a:srgbClr val="0A0A0A"/>
                          </a:solidFill>
                          <a:latin typeface="Arial (Основной текст)"/>
                        </a:rPr>
                        <a:t>++</a:t>
                      </a: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44484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700" b="1" spc="0" dirty="0" smtClean="0">
                        <a:solidFill>
                          <a:srgbClr val="0A0A0A"/>
                        </a:solidFill>
                        <a:latin typeface="Arial (Основной текст)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44484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b="1" spc="0" dirty="0" smtClean="0">
                          <a:solidFill>
                            <a:srgbClr val="0A0A0A"/>
                          </a:solidFill>
                          <a:latin typeface="Arial (Основной текст)"/>
                        </a:rPr>
                        <a:t>++</a:t>
                      </a: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44484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700" b="0" spc="0" dirty="0" smtClean="0">
                          <a:solidFill>
                            <a:srgbClr val="0A0A0A"/>
                          </a:solidFill>
                          <a:latin typeface="Arial (Основной текст)"/>
                        </a:rPr>
                        <a:t>Опытные работы</a:t>
                      </a: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b="1" spc="0" dirty="0" smtClean="0">
                          <a:solidFill>
                            <a:srgbClr val="0A0A0A"/>
                          </a:solidFill>
                          <a:latin typeface="Arial (Основной текст)"/>
                        </a:rPr>
                        <a:t>?</a:t>
                      </a:r>
                      <a:endParaRPr lang="ru-RU" sz="800" b="1" spc="0" dirty="0">
                        <a:solidFill>
                          <a:srgbClr val="0A0A0A"/>
                        </a:solidFill>
                        <a:latin typeface="Arial (Основной текст)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44484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700" b="0" spc="0" dirty="0" smtClean="0">
                          <a:solidFill>
                            <a:srgbClr val="0A0A0A"/>
                          </a:solidFill>
                          <a:latin typeface="Arial (Основной текст)"/>
                        </a:rPr>
                        <a:t>Опытные работы</a:t>
                      </a: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44484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spc="0" dirty="0" smtClean="0">
                          <a:solidFill>
                            <a:srgbClr val="0A0A0A"/>
                          </a:solidFill>
                          <a:latin typeface="Arial (Основной текст)"/>
                        </a:rPr>
                        <a:t>?</a:t>
                      </a:r>
                      <a:endParaRPr lang="ru-RU" sz="800" b="1" spc="0" dirty="0">
                        <a:solidFill>
                          <a:srgbClr val="0A0A0A"/>
                        </a:solidFill>
                        <a:latin typeface="Arial (Основной текст)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44484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700" b="1" spc="0" dirty="0">
                        <a:solidFill>
                          <a:srgbClr val="0A0A0A"/>
                        </a:solidFill>
                        <a:latin typeface="Arial (Основной текст)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b="1" spc="0" dirty="0" smtClean="0">
                          <a:solidFill>
                            <a:srgbClr val="0A0A0A"/>
                          </a:solidFill>
                          <a:latin typeface="Arial (Основной текст)"/>
                        </a:rPr>
                        <a:t>+</a:t>
                      </a:r>
                      <a:endParaRPr lang="ru-RU" sz="800" b="1" spc="0" dirty="0">
                        <a:solidFill>
                          <a:srgbClr val="0A0A0A"/>
                        </a:solidFill>
                        <a:latin typeface="Arial (Основной текст)"/>
                      </a:endParaRPr>
                    </a:p>
                  </a:txBody>
                  <a:tcPr marL="36000" marR="36000" marT="0" marB="0" anchor="ctr"/>
                </a:tc>
              </a:tr>
              <a:tr h="144711">
                <a:tc>
                  <a:txBody>
                    <a:bodyPr/>
                    <a:lstStyle/>
                    <a:p>
                      <a:r>
                        <a:rPr lang="ru-RU" sz="600" b="0" spc="0" dirty="0" err="1" smtClean="0">
                          <a:solidFill>
                            <a:srgbClr val="0A0A0A"/>
                          </a:solidFill>
                          <a:latin typeface="Arial (Основной текст)"/>
                        </a:rPr>
                        <a:t>Космофотометрия</a:t>
                      </a:r>
                      <a:endParaRPr lang="ru-RU" sz="600" b="0" spc="0" dirty="0">
                        <a:solidFill>
                          <a:srgbClr val="0A0A0A"/>
                        </a:solidFill>
                        <a:latin typeface="Arial (Основной текст)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44484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b="1" spc="0" dirty="0" smtClean="0">
                          <a:solidFill>
                            <a:srgbClr val="0A0A0A"/>
                          </a:solidFill>
                          <a:latin typeface="Arial (Основной текст)"/>
                        </a:rPr>
                        <a:t>++</a:t>
                      </a: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44484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700" b="0" spc="0" dirty="0" smtClean="0">
                        <a:solidFill>
                          <a:srgbClr val="0A0A0A"/>
                        </a:solidFill>
                        <a:latin typeface="Arial (Основной текст)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44484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b="1" spc="0" dirty="0" smtClean="0">
                          <a:solidFill>
                            <a:srgbClr val="0A0A0A"/>
                          </a:solidFill>
                          <a:latin typeface="Arial (Основной текст)"/>
                        </a:rPr>
                        <a:t>++</a:t>
                      </a: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44484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700" b="0" spc="0" dirty="0" smtClean="0">
                          <a:solidFill>
                            <a:srgbClr val="0A0A0A"/>
                          </a:solidFill>
                          <a:latin typeface="Arial (Основной текст)"/>
                        </a:rPr>
                        <a:t>до 100 м</a:t>
                      </a: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44484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b="1" spc="0" dirty="0" smtClean="0">
                          <a:solidFill>
                            <a:srgbClr val="0A0A0A"/>
                          </a:solidFill>
                          <a:latin typeface="Arial (Основной текст)"/>
                        </a:rPr>
                        <a:t>+</a:t>
                      </a: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44484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700" b="0" spc="0" dirty="0" smtClean="0">
                          <a:solidFill>
                            <a:srgbClr val="0A0A0A"/>
                          </a:solidFill>
                          <a:latin typeface="Arial (Основной текст)"/>
                        </a:rPr>
                        <a:t>Опытные работы</a:t>
                      </a: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b="1" spc="0" dirty="0" smtClean="0">
                          <a:solidFill>
                            <a:srgbClr val="0A0A0A"/>
                          </a:solidFill>
                          <a:latin typeface="Arial (Основной текст)"/>
                        </a:rPr>
                        <a:t>?</a:t>
                      </a:r>
                      <a:endParaRPr lang="ru-RU" sz="800" b="1" spc="0" dirty="0">
                        <a:solidFill>
                          <a:srgbClr val="0A0A0A"/>
                        </a:solidFill>
                        <a:latin typeface="Arial (Основной текст)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44484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700" b="0" spc="0" dirty="0" smtClean="0">
                          <a:solidFill>
                            <a:srgbClr val="0A0A0A"/>
                          </a:solidFill>
                          <a:latin typeface="Arial (Основной текст)"/>
                        </a:rPr>
                        <a:t>Неинформативен</a:t>
                      </a: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44484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spc="0" dirty="0" smtClean="0">
                          <a:solidFill>
                            <a:srgbClr val="0A0A0A"/>
                          </a:solidFill>
                          <a:latin typeface="Arial (Основной текст)"/>
                        </a:rPr>
                        <a:t>-</a:t>
                      </a:r>
                      <a:endParaRPr lang="ru-RU" sz="800" b="1" spc="0" dirty="0">
                        <a:solidFill>
                          <a:srgbClr val="0A0A0A"/>
                        </a:solidFill>
                        <a:latin typeface="Arial (Основной текст)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44484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700" b="0" spc="0" dirty="0" smtClean="0">
                          <a:solidFill>
                            <a:srgbClr val="0A0A0A"/>
                          </a:solidFill>
                          <a:latin typeface="Arial (Основной текст)"/>
                        </a:rPr>
                        <a:t>Опытные</a:t>
                      </a:r>
                      <a:r>
                        <a:rPr lang="ru-RU" sz="700" b="0" spc="0" baseline="0" dirty="0" smtClean="0">
                          <a:solidFill>
                            <a:srgbClr val="0A0A0A"/>
                          </a:solidFill>
                          <a:latin typeface="Arial (Основной текст)"/>
                        </a:rPr>
                        <a:t> работы</a:t>
                      </a:r>
                      <a:endParaRPr lang="ru-RU" sz="700" b="0" spc="0" dirty="0" smtClean="0">
                        <a:solidFill>
                          <a:srgbClr val="0A0A0A"/>
                        </a:solidFill>
                        <a:latin typeface="Arial (Основной текст)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b="1" spc="0" dirty="0" smtClean="0">
                          <a:solidFill>
                            <a:srgbClr val="0A0A0A"/>
                          </a:solidFill>
                          <a:latin typeface="Arial (Основной текст)"/>
                        </a:rPr>
                        <a:t>?</a:t>
                      </a:r>
                      <a:endParaRPr lang="ru-RU" sz="800" b="1" spc="0" dirty="0">
                        <a:solidFill>
                          <a:srgbClr val="0A0A0A"/>
                        </a:solidFill>
                        <a:latin typeface="Arial (Основной текст)"/>
                      </a:endParaRPr>
                    </a:p>
                  </a:txBody>
                  <a:tcPr marL="36000" marR="36000" marT="0" marB="0" anchor="ctr"/>
                </a:tc>
              </a:tr>
              <a:tr h="144711">
                <a:tc>
                  <a:txBody>
                    <a:bodyPr/>
                    <a:lstStyle/>
                    <a:p>
                      <a:r>
                        <a:rPr lang="ru-RU" sz="600" b="0" spc="0" dirty="0" smtClean="0">
                          <a:solidFill>
                            <a:srgbClr val="0A0A0A"/>
                          </a:solidFill>
                          <a:latin typeface="Arial (Основной текст)"/>
                        </a:rPr>
                        <a:t>Электроразведка-5</a:t>
                      </a:r>
                      <a:endParaRPr lang="ru-RU" sz="600" b="0" spc="0" dirty="0">
                        <a:solidFill>
                          <a:srgbClr val="0A0A0A"/>
                        </a:solidFill>
                        <a:latin typeface="Arial (Основной текст)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44484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b="1" spc="0" dirty="0" smtClean="0">
                          <a:solidFill>
                            <a:srgbClr val="0A0A0A"/>
                          </a:solidFill>
                          <a:latin typeface="Arial (Основной текст)"/>
                        </a:rPr>
                        <a:t>++</a:t>
                      </a: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44484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700" b="0" spc="0" dirty="0" smtClean="0">
                        <a:solidFill>
                          <a:srgbClr val="0A0A0A"/>
                        </a:solidFill>
                        <a:latin typeface="Arial (Основной текст)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44484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b="1" spc="0" dirty="0" smtClean="0">
                          <a:solidFill>
                            <a:srgbClr val="0A0A0A"/>
                          </a:solidFill>
                          <a:latin typeface="Arial (Основной текст)"/>
                        </a:rPr>
                        <a:t>++</a:t>
                      </a: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44484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700" b="1" spc="0" dirty="0" smtClean="0">
                        <a:solidFill>
                          <a:srgbClr val="0A0A0A"/>
                        </a:solidFill>
                        <a:latin typeface="Arial (Основной текст)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44484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b="1" spc="0" dirty="0" smtClean="0">
                          <a:solidFill>
                            <a:srgbClr val="0A0A0A"/>
                          </a:solidFill>
                          <a:latin typeface="Arial (Основной текст)"/>
                        </a:rPr>
                        <a:t>+</a:t>
                      </a: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44484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700" b="1" spc="0" dirty="0" smtClean="0">
                        <a:solidFill>
                          <a:srgbClr val="0A0A0A"/>
                        </a:solidFill>
                        <a:latin typeface="Arial (Основной текст)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44484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b="1" spc="0" dirty="0" smtClean="0">
                          <a:solidFill>
                            <a:srgbClr val="0A0A0A"/>
                          </a:solidFill>
                          <a:latin typeface="Arial (Основной текст)"/>
                        </a:rPr>
                        <a:t>+</a:t>
                      </a: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44484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700" b="1" spc="0" dirty="0" smtClean="0">
                        <a:solidFill>
                          <a:srgbClr val="0A0A0A"/>
                        </a:solidFill>
                        <a:latin typeface="Arial (Основной текст)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44484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b="1" spc="0" dirty="0" smtClean="0">
                          <a:solidFill>
                            <a:srgbClr val="0A0A0A"/>
                          </a:solidFill>
                          <a:latin typeface="Arial (Основной текст)"/>
                        </a:rPr>
                        <a:t>+</a:t>
                      </a: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44484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700" b="1" spc="0" dirty="0" smtClean="0">
                        <a:solidFill>
                          <a:srgbClr val="0A0A0A"/>
                        </a:solidFill>
                        <a:latin typeface="Arial (Основной текст)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b="1" spc="0" dirty="0" smtClean="0">
                          <a:solidFill>
                            <a:srgbClr val="0A0A0A"/>
                          </a:solidFill>
                          <a:latin typeface="Arial (Основной текст)"/>
                        </a:rPr>
                        <a:t>+</a:t>
                      </a:r>
                      <a:endParaRPr lang="ru-RU" sz="800" b="1" spc="0" dirty="0">
                        <a:solidFill>
                          <a:srgbClr val="0A0A0A"/>
                        </a:solidFill>
                        <a:latin typeface="Arial (Основной текст)"/>
                      </a:endParaRPr>
                    </a:p>
                  </a:txBody>
                  <a:tcPr marL="36000" marR="36000" marT="0" marB="0" anchor="ctr"/>
                </a:tc>
              </a:tr>
              <a:tr h="144711">
                <a:tc>
                  <a:txBody>
                    <a:bodyPr/>
                    <a:lstStyle/>
                    <a:p>
                      <a:r>
                        <a:rPr lang="ru-RU" sz="600" b="0" spc="0" dirty="0" smtClean="0">
                          <a:solidFill>
                            <a:srgbClr val="0A0A0A"/>
                          </a:solidFill>
                          <a:latin typeface="Arial (Основной текст)"/>
                        </a:rPr>
                        <a:t>Ревизионные маршруты</a:t>
                      </a:r>
                      <a:endParaRPr lang="ru-RU" sz="600" b="0" spc="0" dirty="0">
                        <a:solidFill>
                          <a:srgbClr val="0A0A0A"/>
                        </a:solidFill>
                        <a:latin typeface="Arial (Основной текст)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44484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b="1" spc="0" dirty="0" smtClean="0">
                          <a:solidFill>
                            <a:srgbClr val="0A0A0A"/>
                          </a:solidFill>
                          <a:latin typeface="Arial (Основной текст)"/>
                        </a:rPr>
                        <a:t>++</a:t>
                      </a: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44484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700" b="0" spc="0" dirty="0" smtClean="0">
                          <a:solidFill>
                            <a:srgbClr val="0A0A0A"/>
                          </a:solidFill>
                          <a:latin typeface="Arial (Основной текст)"/>
                        </a:rPr>
                        <a:t>Первичный поток</a:t>
                      </a: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44484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b="1" spc="0" dirty="0" smtClean="0">
                          <a:solidFill>
                            <a:srgbClr val="0A0A0A"/>
                          </a:solidFill>
                          <a:latin typeface="Arial (Основной текст)"/>
                        </a:rPr>
                        <a:t>++</a:t>
                      </a: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44484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700" b="0" spc="0" dirty="0" smtClean="0">
                          <a:solidFill>
                            <a:srgbClr val="0A0A0A"/>
                          </a:solidFill>
                          <a:latin typeface="Arial (Основной текст)"/>
                        </a:rPr>
                        <a:t>Базальный горизонт</a:t>
                      </a: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44484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b="1" spc="0" dirty="0" smtClean="0">
                          <a:solidFill>
                            <a:srgbClr val="0A0A0A"/>
                          </a:solidFill>
                          <a:latin typeface="Arial (Основной текст)"/>
                        </a:rPr>
                        <a:t>+</a:t>
                      </a: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700" b="0" spc="0" smtClean="0">
                          <a:solidFill>
                            <a:srgbClr val="0A0A0A"/>
                          </a:solidFill>
                          <a:latin typeface="Arial (Основной текст)"/>
                        </a:rPr>
                        <a:t>Базальный горизонт</a:t>
                      </a:r>
                      <a:endParaRPr lang="ru-RU" sz="700" b="0" spc="0" dirty="0">
                        <a:solidFill>
                          <a:srgbClr val="0A0A0A"/>
                        </a:solidFill>
                        <a:latin typeface="Arial (Основной текст)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b="1" spc="0" dirty="0" smtClean="0">
                          <a:solidFill>
                            <a:srgbClr val="0A0A0A"/>
                          </a:solidFill>
                          <a:latin typeface="Arial (Основной текст)"/>
                        </a:rPr>
                        <a:t>+</a:t>
                      </a:r>
                      <a:endParaRPr lang="ru-RU" sz="800" b="1" spc="0" dirty="0">
                        <a:solidFill>
                          <a:srgbClr val="0A0A0A"/>
                        </a:solidFill>
                        <a:latin typeface="Arial (Основной текст)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44484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700" b="0" spc="0" dirty="0" smtClean="0">
                          <a:solidFill>
                            <a:srgbClr val="0A0A0A"/>
                          </a:solidFill>
                          <a:latin typeface="Arial (Основной текст)"/>
                        </a:rPr>
                        <a:t>Неинформативен</a:t>
                      </a:r>
                      <a:endParaRPr lang="ru-RU" sz="700" b="0" spc="0" dirty="0">
                        <a:solidFill>
                          <a:srgbClr val="0A0A0A"/>
                        </a:solidFill>
                        <a:latin typeface="Arial (Основной текст)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44484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spc="0" dirty="0" smtClean="0">
                          <a:solidFill>
                            <a:srgbClr val="0A0A0A"/>
                          </a:solidFill>
                          <a:latin typeface="Arial (Основной текст)"/>
                        </a:rPr>
                        <a:t>-</a:t>
                      </a:r>
                      <a:endParaRPr lang="ru-RU" sz="800" b="1" spc="0" dirty="0">
                        <a:solidFill>
                          <a:srgbClr val="0A0A0A"/>
                        </a:solidFill>
                        <a:latin typeface="Arial (Основной текст)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44484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700" b="0" spc="0" dirty="0" smtClean="0">
                          <a:solidFill>
                            <a:srgbClr val="0A0A0A"/>
                          </a:solidFill>
                          <a:latin typeface="Arial (Основной текст)"/>
                        </a:rPr>
                        <a:t>Неинформативен</a:t>
                      </a:r>
                      <a:endParaRPr lang="ru-RU" sz="700" b="0" spc="0" dirty="0">
                        <a:solidFill>
                          <a:srgbClr val="0A0A0A"/>
                        </a:solidFill>
                        <a:latin typeface="Arial (Основной текст)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b="1" spc="0" dirty="0" smtClean="0">
                          <a:solidFill>
                            <a:srgbClr val="0A0A0A"/>
                          </a:solidFill>
                          <a:latin typeface="Arial (Основной текст)"/>
                        </a:rPr>
                        <a:t>-</a:t>
                      </a:r>
                      <a:endParaRPr lang="ru-RU" sz="800" b="1" spc="0" dirty="0">
                        <a:solidFill>
                          <a:srgbClr val="0A0A0A"/>
                        </a:solidFill>
                        <a:latin typeface="Arial (Основной текст)"/>
                      </a:endParaRPr>
                    </a:p>
                  </a:txBody>
                  <a:tcPr marL="36000" marR="36000" marT="0" marB="0" anchor="ctr"/>
                </a:tc>
              </a:tr>
              <a:tr h="144711">
                <a:tc>
                  <a:txBody>
                    <a:bodyPr/>
                    <a:lstStyle/>
                    <a:p>
                      <a:endParaRPr lang="ru-RU" sz="600" b="0" spc="0" dirty="0">
                        <a:solidFill>
                          <a:srgbClr val="0A0A0A"/>
                        </a:solidFill>
                        <a:latin typeface="Arial (Основной текст)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endParaRPr lang="ru-RU" sz="700" b="0" spc="0" dirty="0">
                        <a:solidFill>
                          <a:srgbClr val="0A0A0A"/>
                        </a:solidFill>
                        <a:latin typeface="Arial (Основной текст)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ru-RU" sz="700" b="0" spc="0" dirty="0" smtClean="0">
                        <a:solidFill>
                          <a:srgbClr val="0A0A0A"/>
                        </a:solidFill>
                        <a:latin typeface="Arial (Основной текст)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ru-RU" sz="600" b="0" spc="0" dirty="0" smtClean="0">
                        <a:solidFill>
                          <a:srgbClr val="0A0A0A"/>
                        </a:solidFill>
                        <a:latin typeface="Arial (Основной текст)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ru-RU" sz="700" b="0" spc="0" dirty="0" smtClean="0">
                        <a:solidFill>
                          <a:srgbClr val="0A0A0A"/>
                        </a:solidFill>
                        <a:latin typeface="Arial (Основной текст)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ru-RU" sz="600" b="0" spc="0" dirty="0" smtClean="0">
                        <a:solidFill>
                          <a:srgbClr val="0A0A0A"/>
                        </a:solidFill>
                        <a:latin typeface="Arial (Основной текст)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ru-RU" sz="700" b="0" spc="0" dirty="0">
                        <a:solidFill>
                          <a:srgbClr val="0A0A0A"/>
                        </a:solidFill>
                        <a:latin typeface="Arial (Основной текст)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ru-RU" sz="600" b="0" spc="0" dirty="0">
                        <a:solidFill>
                          <a:srgbClr val="0A0A0A"/>
                        </a:solidFill>
                        <a:latin typeface="Arial (Основной текст)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44484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700" b="0" spc="0" dirty="0">
                        <a:solidFill>
                          <a:srgbClr val="0A0A0A"/>
                        </a:solidFill>
                        <a:latin typeface="Arial (Основной текст)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44484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600" b="0" spc="0" dirty="0">
                        <a:solidFill>
                          <a:srgbClr val="0A0A0A"/>
                        </a:solidFill>
                        <a:latin typeface="Arial (Основной текст)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44484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700" b="0" spc="0" dirty="0">
                        <a:solidFill>
                          <a:srgbClr val="0A0A0A"/>
                        </a:solidFill>
                        <a:latin typeface="Arial (Основной текст)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ru-RU" sz="600" b="0" spc="0" dirty="0">
                        <a:solidFill>
                          <a:srgbClr val="0A0A0A"/>
                        </a:solidFill>
                        <a:latin typeface="Arial (Основной текст)"/>
                      </a:endParaRPr>
                    </a:p>
                  </a:txBody>
                  <a:tcPr marL="36000" marR="36000" marT="0" marB="0" anchor="ctr"/>
                </a:tc>
              </a:tr>
              <a:tr h="144711">
                <a:tc>
                  <a:txBody>
                    <a:bodyPr/>
                    <a:lstStyle/>
                    <a:p>
                      <a:endParaRPr lang="ru-RU" sz="600" b="0" spc="0" dirty="0">
                        <a:solidFill>
                          <a:srgbClr val="0A0A0A"/>
                        </a:solidFill>
                        <a:latin typeface="Arial (Основной текст)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endParaRPr lang="ru-RU" sz="700" b="0" spc="0" dirty="0">
                        <a:solidFill>
                          <a:srgbClr val="0A0A0A"/>
                        </a:solidFill>
                        <a:latin typeface="Arial (Основной текст)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ru-RU" sz="700" b="0" spc="0" dirty="0" smtClean="0">
                        <a:solidFill>
                          <a:srgbClr val="0A0A0A"/>
                        </a:solidFill>
                        <a:latin typeface="Arial (Основной текст)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ru-RU" sz="600" b="0" spc="0" dirty="0" smtClean="0">
                        <a:solidFill>
                          <a:srgbClr val="0A0A0A"/>
                        </a:solidFill>
                        <a:latin typeface="Arial (Основной текст)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ru-RU" sz="700" b="0" spc="0" dirty="0" smtClean="0">
                        <a:solidFill>
                          <a:srgbClr val="0A0A0A"/>
                        </a:solidFill>
                        <a:latin typeface="Arial (Основной текст)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ru-RU" sz="600" b="0" spc="0" dirty="0" smtClean="0">
                        <a:solidFill>
                          <a:srgbClr val="0A0A0A"/>
                        </a:solidFill>
                        <a:latin typeface="Arial (Основной текст)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ru-RU" sz="700" b="0" spc="0" dirty="0">
                        <a:solidFill>
                          <a:srgbClr val="0A0A0A"/>
                        </a:solidFill>
                        <a:latin typeface="Arial (Основной текст)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ru-RU" sz="600" b="0" spc="0" dirty="0">
                        <a:solidFill>
                          <a:srgbClr val="0A0A0A"/>
                        </a:solidFill>
                        <a:latin typeface="Arial (Основной текст)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44484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700" b="0" spc="0" dirty="0">
                        <a:solidFill>
                          <a:srgbClr val="0A0A0A"/>
                        </a:solidFill>
                        <a:latin typeface="Arial (Основной текст)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44484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600" b="0" spc="0" dirty="0">
                        <a:solidFill>
                          <a:srgbClr val="0A0A0A"/>
                        </a:solidFill>
                        <a:latin typeface="Arial (Основной текст)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44484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700" b="0" spc="0" dirty="0">
                        <a:solidFill>
                          <a:srgbClr val="0A0A0A"/>
                        </a:solidFill>
                        <a:latin typeface="Arial (Основной текст)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ru-RU" sz="600" b="0" spc="0" dirty="0">
                        <a:solidFill>
                          <a:srgbClr val="0A0A0A"/>
                        </a:solidFill>
                        <a:latin typeface="Arial (Основной текст)"/>
                      </a:endParaRPr>
                    </a:p>
                  </a:txBody>
                  <a:tcPr marL="36000" marR="36000" marT="0" marB="0" anchor="ctr"/>
                </a:tc>
              </a:tr>
              <a:tr h="144711">
                <a:tc>
                  <a:txBody>
                    <a:bodyPr/>
                    <a:lstStyle/>
                    <a:p>
                      <a:r>
                        <a:rPr lang="ru-RU" sz="600" spc="0" dirty="0" smtClean="0">
                          <a:solidFill>
                            <a:srgbClr val="0A0A0A"/>
                          </a:solidFill>
                          <a:latin typeface="Arial (Основной текст)"/>
                        </a:rPr>
                        <a:t>Радиоволновая геоинтроскопия</a:t>
                      </a:r>
                      <a:endParaRPr lang="ru-RU" sz="600" b="0" spc="0" dirty="0">
                        <a:solidFill>
                          <a:srgbClr val="0A0A0A"/>
                        </a:solidFill>
                        <a:latin typeface="Arial (Основной текст)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endParaRPr lang="ru-RU" sz="800" b="1" spc="0" dirty="0">
                        <a:solidFill>
                          <a:srgbClr val="0A0A0A"/>
                        </a:solidFill>
                        <a:latin typeface="Arial (Основной текст)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ru-RU" sz="700" b="0" spc="0" dirty="0" smtClean="0">
                        <a:solidFill>
                          <a:srgbClr val="0A0A0A"/>
                        </a:solidFill>
                        <a:latin typeface="Arial (Основной текст)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ru-RU" sz="800" b="1" spc="0" dirty="0" smtClean="0">
                        <a:solidFill>
                          <a:srgbClr val="0A0A0A"/>
                        </a:solidFill>
                        <a:latin typeface="Arial (Основной текст)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ru-RU" sz="700" b="1" spc="0" dirty="0" smtClean="0">
                        <a:solidFill>
                          <a:srgbClr val="0A0A0A"/>
                        </a:solidFill>
                        <a:latin typeface="Arial (Основной текст)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44484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b="1" spc="0" dirty="0" smtClean="0">
                          <a:solidFill>
                            <a:srgbClr val="0A0A0A"/>
                          </a:solidFill>
                          <a:latin typeface="Arial (Основной текст)"/>
                        </a:rPr>
                        <a:t>++</a:t>
                      </a: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44484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700" b="1" spc="0" dirty="0" smtClean="0">
                        <a:solidFill>
                          <a:srgbClr val="0A0A0A"/>
                        </a:solidFill>
                        <a:latin typeface="Arial (Основной текст)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44484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b="1" spc="0" dirty="0" smtClean="0">
                          <a:solidFill>
                            <a:srgbClr val="0A0A0A"/>
                          </a:solidFill>
                          <a:latin typeface="Arial (Основной текст)"/>
                        </a:rPr>
                        <a:t>++</a:t>
                      </a: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44484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700" b="1" spc="0" dirty="0" smtClean="0">
                        <a:solidFill>
                          <a:srgbClr val="0A0A0A"/>
                        </a:solidFill>
                        <a:latin typeface="Arial (Основной текст)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44484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b="1" spc="0" dirty="0" smtClean="0">
                          <a:solidFill>
                            <a:srgbClr val="0A0A0A"/>
                          </a:solidFill>
                          <a:latin typeface="Arial (Основной текст)"/>
                        </a:rPr>
                        <a:t>++</a:t>
                      </a: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44484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700" b="1" spc="0" dirty="0" smtClean="0">
                        <a:solidFill>
                          <a:srgbClr val="0A0A0A"/>
                        </a:solidFill>
                        <a:latin typeface="Arial (Основной текст)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b="1" spc="0" dirty="0" smtClean="0">
                          <a:solidFill>
                            <a:srgbClr val="0A0A0A"/>
                          </a:solidFill>
                          <a:latin typeface="Arial (Основной текст)"/>
                        </a:rPr>
                        <a:t>++</a:t>
                      </a:r>
                      <a:endParaRPr lang="ru-RU" sz="800" b="1" spc="0" dirty="0">
                        <a:solidFill>
                          <a:srgbClr val="0A0A0A"/>
                        </a:solidFill>
                        <a:latin typeface="Arial (Основной текст)"/>
                      </a:endParaRPr>
                    </a:p>
                  </a:txBody>
                  <a:tcPr marL="36000" marR="36000" marT="0" marB="0" anchor="ctr"/>
                </a:tc>
              </a:tr>
              <a:tr h="146878">
                <a:tc>
                  <a:txBody>
                    <a:bodyPr/>
                    <a:lstStyle/>
                    <a:p>
                      <a:r>
                        <a:rPr lang="ru-RU" sz="600" b="0" spc="0" dirty="0" smtClean="0">
                          <a:solidFill>
                            <a:srgbClr val="0A0A0A"/>
                          </a:solidFill>
                          <a:latin typeface="Arial (Основной текст)"/>
                        </a:rPr>
                        <a:t>Георадарная съемка</a:t>
                      </a:r>
                      <a:endParaRPr lang="ru-RU" sz="600" b="0" spc="0" dirty="0">
                        <a:solidFill>
                          <a:srgbClr val="0A0A0A"/>
                        </a:solidFill>
                        <a:latin typeface="Arial (Основной текст)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44484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b="1" spc="0" dirty="0" smtClean="0">
                          <a:solidFill>
                            <a:srgbClr val="0A0A0A"/>
                          </a:solidFill>
                          <a:latin typeface="Arial (Основной текст)"/>
                        </a:rPr>
                        <a:t>++</a:t>
                      </a: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44484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700" b="0" spc="0" dirty="0" smtClean="0">
                        <a:solidFill>
                          <a:srgbClr val="0A0A0A"/>
                        </a:solidFill>
                        <a:latin typeface="Arial (Основной текст)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44484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b="1" spc="0" dirty="0" smtClean="0">
                          <a:solidFill>
                            <a:srgbClr val="0A0A0A"/>
                          </a:solidFill>
                          <a:latin typeface="Arial (Основной текст)"/>
                        </a:rPr>
                        <a:t>++</a:t>
                      </a: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44484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700" b="0" spc="0" dirty="0" smtClean="0">
                          <a:solidFill>
                            <a:srgbClr val="0A0A0A"/>
                          </a:solidFill>
                          <a:latin typeface="Arial (Основной текст)"/>
                        </a:rPr>
                        <a:t>Предел возможности</a:t>
                      </a: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b="1" spc="0" dirty="0" smtClean="0">
                          <a:solidFill>
                            <a:srgbClr val="0A0A0A"/>
                          </a:solidFill>
                          <a:latin typeface="Arial (Основной текст)"/>
                        </a:rPr>
                        <a:t>-</a:t>
                      </a:r>
                      <a:endParaRPr lang="ru-RU" sz="800" b="1" spc="0" dirty="0" smtClean="0">
                        <a:solidFill>
                          <a:srgbClr val="0A0A0A"/>
                        </a:solidFill>
                        <a:latin typeface="Arial (Основной текст)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44484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700" b="0" spc="0" dirty="0" smtClean="0">
                          <a:solidFill>
                            <a:srgbClr val="0A0A0A"/>
                          </a:solidFill>
                          <a:latin typeface="Arial (Основной текст)"/>
                        </a:rPr>
                        <a:t>Предел возможности</a:t>
                      </a: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b="1" spc="0" dirty="0" smtClean="0">
                          <a:solidFill>
                            <a:srgbClr val="0A0A0A"/>
                          </a:solidFill>
                          <a:latin typeface="Arial (Основной текст)"/>
                        </a:rPr>
                        <a:t>-</a:t>
                      </a:r>
                      <a:endParaRPr lang="ru-RU" sz="800" b="1" spc="0" dirty="0">
                        <a:solidFill>
                          <a:srgbClr val="0A0A0A"/>
                        </a:solidFill>
                        <a:latin typeface="Arial (Основной текст)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44484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700" b="0" spc="0" dirty="0" smtClean="0">
                          <a:solidFill>
                            <a:srgbClr val="0A0A0A"/>
                          </a:solidFill>
                          <a:latin typeface="Arial (Основной текст)"/>
                        </a:rPr>
                        <a:t>Предел возможности</a:t>
                      </a: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44484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spc="0" dirty="0" smtClean="0">
                          <a:solidFill>
                            <a:srgbClr val="0A0A0A"/>
                          </a:solidFill>
                          <a:latin typeface="Arial (Основной текст)"/>
                        </a:rPr>
                        <a:t>-</a:t>
                      </a:r>
                      <a:endParaRPr lang="ru-RU" sz="800" b="1" spc="0" dirty="0">
                        <a:solidFill>
                          <a:srgbClr val="0A0A0A"/>
                        </a:solidFill>
                        <a:latin typeface="Arial (Основной текст)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44484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700" b="0" spc="0" dirty="0" smtClean="0">
                          <a:solidFill>
                            <a:srgbClr val="0A0A0A"/>
                          </a:solidFill>
                          <a:latin typeface="Arial (Основной текст)"/>
                        </a:rPr>
                        <a:t>Предел возможности</a:t>
                      </a: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b="1" spc="0" dirty="0" smtClean="0">
                          <a:solidFill>
                            <a:srgbClr val="0A0A0A"/>
                          </a:solidFill>
                          <a:latin typeface="Arial (Основной текст)"/>
                        </a:rPr>
                        <a:t>-</a:t>
                      </a:r>
                      <a:endParaRPr lang="ru-RU" sz="800" b="1" spc="0" dirty="0">
                        <a:solidFill>
                          <a:srgbClr val="0A0A0A"/>
                        </a:solidFill>
                        <a:latin typeface="Arial (Основной текст)"/>
                      </a:endParaRPr>
                    </a:p>
                  </a:txBody>
                  <a:tcPr marL="36000" marR="36000" marT="0" marB="0" anchor="ctr"/>
                </a:tc>
              </a:tr>
              <a:tr h="144711">
                <a:tc>
                  <a:txBody>
                    <a:bodyPr/>
                    <a:lstStyle/>
                    <a:p>
                      <a:r>
                        <a:rPr lang="ru-RU" sz="600" b="0" spc="0" dirty="0" smtClean="0">
                          <a:solidFill>
                            <a:srgbClr val="0A0A0A"/>
                          </a:solidFill>
                          <a:latin typeface="Arial (Основной текст)"/>
                        </a:rPr>
                        <a:t>Сейсморазведка 3</a:t>
                      </a:r>
                      <a:r>
                        <a:rPr lang="en-US" sz="600" b="0" spc="0" dirty="0" smtClean="0">
                          <a:solidFill>
                            <a:srgbClr val="0A0A0A"/>
                          </a:solidFill>
                          <a:latin typeface="Arial (Основной текст)"/>
                        </a:rPr>
                        <a:t>D</a:t>
                      </a:r>
                      <a:endParaRPr lang="ru-RU" sz="600" b="0" spc="0" dirty="0">
                        <a:solidFill>
                          <a:srgbClr val="0A0A0A"/>
                        </a:solidFill>
                        <a:latin typeface="Arial (Основной текст)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endParaRPr lang="ru-RU" sz="800" b="1" spc="0" dirty="0">
                        <a:solidFill>
                          <a:srgbClr val="0A0A0A"/>
                        </a:solidFill>
                        <a:latin typeface="Arial (Основной текст)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ru-RU" sz="700" b="0" spc="0" dirty="0" smtClean="0">
                        <a:solidFill>
                          <a:srgbClr val="0A0A0A"/>
                        </a:solidFill>
                        <a:latin typeface="Arial (Основной текст)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ru-RU" sz="800" b="1" spc="0" dirty="0" smtClean="0">
                        <a:solidFill>
                          <a:srgbClr val="0A0A0A"/>
                        </a:solidFill>
                        <a:latin typeface="Arial (Основной текст)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ru-RU" sz="700" b="1" spc="0" dirty="0" smtClean="0">
                        <a:solidFill>
                          <a:srgbClr val="0A0A0A"/>
                        </a:solidFill>
                        <a:latin typeface="Arial (Основной текст)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b="1" spc="0" dirty="0" smtClean="0">
                          <a:solidFill>
                            <a:srgbClr val="0A0A0A"/>
                          </a:solidFill>
                          <a:latin typeface="Arial (Основной текст)"/>
                        </a:rPr>
                        <a:t>++</a:t>
                      </a: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ru-RU" sz="700" b="1" spc="0" dirty="0">
                        <a:solidFill>
                          <a:srgbClr val="0A0A0A"/>
                        </a:solidFill>
                        <a:latin typeface="Arial (Основной текст)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b="1" spc="0" dirty="0" smtClean="0">
                          <a:solidFill>
                            <a:srgbClr val="0A0A0A"/>
                          </a:solidFill>
                          <a:latin typeface="Arial (Основной текст)"/>
                        </a:rPr>
                        <a:t>++</a:t>
                      </a:r>
                      <a:endParaRPr lang="ru-RU" sz="800" b="1" spc="0" dirty="0">
                        <a:solidFill>
                          <a:srgbClr val="0A0A0A"/>
                        </a:solidFill>
                        <a:latin typeface="Arial (Основной текст)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44484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700" b="1" spc="0" dirty="0">
                        <a:solidFill>
                          <a:srgbClr val="0A0A0A"/>
                        </a:solidFill>
                        <a:latin typeface="Arial (Основной текст)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44484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b="1" spc="0" dirty="0" smtClean="0">
                          <a:solidFill>
                            <a:srgbClr val="0A0A0A"/>
                          </a:solidFill>
                          <a:latin typeface="Arial (Основной текст)"/>
                        </a:rPr>
                        <a:t>++</a:t>
                      </a:r>
                      <a:endParaRPr lang="ru-RU" sz="800" b="1" spc="0" dirty="0">
                        <a:solidFill>
                          <a:srgbClr val="0A0A0A"/>
                        </a:solidFill>
                        <a:latin typeface="Arial (Основной текст)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44484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700" b="1" spc="0" dirty="0">
                        <a:solidFill>
                          <a:srgbClr val="0A0A0A"/>
                        </a:solidFill>
                        <a:latin typeface="Arial (Основной текст)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b="1" spc="0" dirty="0" smtClean="0">
                          <a:solidFill>
                            <a:srgbClr val="0A0A0A"/>
                          </a:solidFill>
                          <a:latin typeface="Arial (Основной текст)"/>
                        </a:rPr>
                        <a:t>+</a:t>
                      </a:r>
                      <a:endParaRPr lang="ru-RU" sz="800" b="1" spc="0" dirty="0">
                        <a:solidFill>
                          <a:srgbClr val="0A0A0A"/>
                        </a:solidFill>
                        <a:latin typeface="Arial (Основной текст)"/>
                      </a:endParaRPr>
                    </a:p>
                  </a:txBody>
                  <a:tcPr marL="36000" marR="36000" marT="0" marB="0" anchor="ctr"/>
                </a:tc>
              </a:tr>
              <a:tr h="144711">
                <a:tc>
                  <a:txBody>
                    <a:bodyPr/>
                    <a:lstStyle/>
                    <a:p>
                      <a:r>
                        <a:rPr lang="ru-RU" sz="600" b="0" spc="0" dirty="0" smtClean="0">
                          <a:solidFill>
                            <a:srgbClr val="0A0A0A"/>
                          </a:solidFill>
                          <a:latin typeface="Arial (Основной текст)"/>
                        </a:rPr>
                        <a:t>Тектонофизика</a:t>
                      </a:r>
                      <a:endParaRPr lang="ru-RU" sz="600" b="0" spc="0" dirty="0">
                        <a:solidFill>
                          <a:srgbClr val="0A0A0A"/>
                        </a:solidFill>
                        <a:latin typeface="Arial (Основной текст)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44484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b="1" spc="0" dirty="0" smtClean="0">
                          <a:solidFill>
                            <a:srgbClr val="0A0A0A"/>
                          </a:solidFill>
                          <a:latin typeface="Arial (Основной текст)"/>
                        </a:rPr>
                        <a:t>+</a:t>
                      </a: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44484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700" b="0" spc="0" dirty="0" smtClean="0">
                        <a:solidFill>
                          <a:srgbClr val="0A0A0A"/>
                        </a:solidFill>
                        <a:latin typeface="Arial (Основной текст)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44484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b="1" spc="0" dirty="0" smtClean="0">
                          <a:solidFill>
                            <a:srgbClr val="0A0A0A"/>
                          </a:solidFill>
                          <a:latin typeface="Arial (Основной текст)"/>
                        </a:rPr>
                        <a:t>+</a:t>
                      </a: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ru-RU" sz="700" b="1" spc="0" dirty="0" smtClean="0">
                        <a:solidFill>
                          <a:srgbClr val="0A0A0A"/>
                        </a:solidFill>
                        <a:latin typeface="Arial (Основной текст)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b="1" spc="0" dirty="0" smtClean="0">
                          <a:solidFill>
                            <a:srgbClr val="0A0A0A"/>
                          </a:solidFill>
                          <a:latin typeface="Arial (Основной текст)"/>
                        </a:rPr>
                        <a:t>++</a:t>
                      </a: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ru-RU" sz="700" b="1" spc="0" dirty="0">
                        <a:solidFill>
                          <a:srgbClr val="0A0A0A"/>
                        </a:solidFill>
                        <a:latin typeface="Arial (Основной текст)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b="1" spc="0" dirty="0" smtClean="0">
                          <a:solidFill>
                            <a:srgbClr val="0A0A0A"/>
                          </a:solidFill>
                          <a:latin typeface="Arial (Основной текст)"/>
                        </a:rPr>
                        <a:t>++</a:t>
                      </a:r>
                      <a:endParaRPr lang="ru-RU" sz="800" b="1" spc="0" dirty="0">
                        <a:solidFill>
                          <a:srgbClr val="0A0A0A"/>
                        </a:solidFill>
                        <a:latin typeface="Arial (Основной текст)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44484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700" b="1" spc="0" dirty="0">
                        <a:solidFill>
                          <a:srgbClr val="0A0A0A"/>
                        </a:solidFill>
                        <a:latin typeface="Arial (Основной текст)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44484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b="1" spc="0" dirty="0" smtClean="0">
                          <a:solidFill>
                            <a:srgbClr val="0A0A0A"/>
                          </a:solidFill>
                          <a:latin typeface="Arial (Основной текст)"/>
                        </a:rPr>
                        <a:t>++</a:t>
                      </a:r>
                      <a:endParaRPr lang="ru-RU" sz="800" b="1" spc="0" dirty="0">
                        <a:solidFill>
                          <a:srgbClr val="0A0A0A"/>
                        </a:solidFill>
                        <a:latin typeface="Arial (Основной текст)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44484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700" b="1" spc="0" dirty="0">
                        <a:solidFill>
                          <a:srgbClr val="0A0A0A"/>
                        </a:solidFill>
                        <a:latin typeface="Arial (Основной текст)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b="1" spc="0" dirty="0" smtClean="0">
                          <a:solidFill>
                            <a:srgbClr val="0A0A0A"/>
                          </a:solidFill>
                          <a:latin typeface="Arial (Основной текст)"/>
                        </a:rPr>
                        <a:t>+</a:t>
                      </a:r>
                      <a:endParaRPr lang="ru-RU" sz="800" b="1" spc="0" dirty="0">
                        <a:solidFill>
                          <a:srgbClr val="0A0A0A"/>
                        </a:solidFill>
                        <a:latin typeface="Arial (Основной текст)"/>
                      </a:endParaRPr>
                    </a:p>
                  </a:txBody>
                  <a:tcPr marL="36000" marR="36000" marT="0" marB="0" anchor="ctr"/>
                </a:tc>
              </a:tr>
              <a:tr h="144711">
                <a:tc>
                  <a:txBody>
                    <a:bodyPr/>
                    <a:lstStyle/>
                    <a:p>
                      <a:r>
                        <a:rPr lang="ru-RU" sz="600" b="0" spc="0" dirty="0" smtClean="0">
                          <a:solidFill>
                            <a:srgbClr val="0A0A0A"/>
                          </a:solidFill>
                          <a:latin typeface="Arial (Основной текст)"/>
                        </a:rPr>
                        <a:t>Поисковая минералогия</a:t>
                      </a:r>
                      <a:endParaRPr lang="ru-RU" sz="600" b="0" spc="0" dirty="0">
                        <a:solidFill>
                          <a:srgbClr val="0A0A0A"/>
                        </a:solidFill>
                        <a:latin typeface="Arial (Основной текст)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44484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b="1" spc="0" dirty="0" smtClean="0">
                          <a:solidFill>
                            <a:srgbClr val="0A0A0A"/>
                          </a:solidFill>
                          <a:latin typeface="Arial (Основной текст)"/>
                        </a:rPr>
                        <a:t>++</a:t>
                      </a: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44484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700" b="0" spc="0" dirty="0" smtClean="0">
                        <a:solidFill>
                          <a:srgbClr val="0A0A0A"/>
                        </a:solidFill>
                        <a:latin typeface="Arial (Основной текст)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44484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b="1" spc="0" dirty="0" smtClean="0">
                          <a:solidFill>
                            <a:srgbClr val="0A0A0A"/>
                          </a:solidFill>
                          <a:latin typeface="Arial (Основной текст)"/>
                        </a:rPr>
                        <a:t>++</a:t>
                      </a: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ru-RU" sz="700" b="1" spc="0" dirty="0" smtClean="0">
                        <a:solidFill>
                          <a:srgbClr val="0A0A0A"/>
                        </a:solidFill>
                        <a:latin typeface="Arial (Основной текст)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44484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b="1" spc="0" dirty="0" smtClean="0">
                          <a:solidFill>
                            <a:srgbClr val="0A0A0A"/>
                          </a:solidFill>
                          <a:latin typeface="Arial (Основной текст)"/>
                        </a:rPr>
                        <a:t>+</a:t>
                      </a: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44484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700" b="1" spc="0" dirty="0" smtClean="0">
                        <a:solidFill>
                          <a:srgbClr val="0A0A0A"/>
                        </a:solidFill>
                        <a:latin typeface="Arial (Основной текст)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44484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b="1" spc="0" dirty="0" smtClean="0">
                          <a:solidFill>
                            <a:srgbClr val="0A0A0A"/>
                          </a:solidFill>
                          <a:latin typeface="Arial (Основной текст)"/>
                        </a:rPr>
                        <a:t>+</a:t>
                      </a: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44484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700" b="1" spc="0" dirty="0">
                        <a:solidFill>
                          <a:srgbClr val="0A0A0A"/>
                        </a:solidFill>
                        <a:latin typeface="Arial (Основной текст)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44484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b="1" spc="0" dirty="0" smtClean="0">
                          <a:solidFill>
                            <a:srgbClr val="0A0A0A"/>
                          </a:solidFill>
                          <a:latin typeface="Arial (Основной текст)"/>
                        </a:rPr>
                        <a:t>+</a:t>
                      </a: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44484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700" b="1" spc="0" dirty="0" smtClean="0">
                        <a:solidFill>
                          <a:srgbClr val="0A0A0A"/>
                        </a:solidFill>
                        <a:latin typeface="Arial (Основной текст)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44484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b="1" spc="0" dirty="0" smtClean="0">
                          <a:solidFill>
                            <a:srgbClr val="0A0A0A"/>
                          </a:solidFill>
                          <a:latin typeface="Arial (Основной текст)"/>
                        </a:rPr>
                        <a:t>+</a:t>
                      </a:r>
                    </a:p>
                  </a:txBody>
                  <a:tcPr marL="36000" marR="36000" marT="0" marB="0" anchor="ctr"/>
                </a:tc>
              </a:tr>
              <a:tr h="144711">
                <a:tc>
                  <a:txBody>
                    <a:bodyPr/>
                    <a:lstStyle/>
                    <a:p>
                      <a:pPr marL="0" marR="0" indent="0" algn="l" defTabSz="44484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600" dirty="0" smtClean="0">
                          <a:solidFill>
                            <a:srgbClr val="0A0A0A"/>
                          </a:solidFill>
                        </a:rPr>
                        <a:t>КАГС </a:t>
                      </a:r>
                      <a:r>
                        <a:rPr lang="en-US" sz="600" dirty="0" smtClean="0">
                          <a:solidFill>
                            <a:srgbClr val="0A0A0A"/>
                          </a:solidFill>
                        </a:rPr>
                        <a:t>VTEM</a:t>
                      </a:r>
                      <a:r>
                        <a:rPr lang="ru-RU" sz="600" dirty="0" smtClean="0">
                          <a:solidFill>
                            <a:srgbClr val="0A0A0A"/>
                          </a:solidFill>
                        </a:rPr>
                        <a:t>-5</a:t>
                      </a: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44484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b="1" spc="0" dirty="0" smtClean="0">
                          <a:solidFill>
                            <a:srgbClr val="0A0A0A"/>
                          </a:solidFill>
                          <a:latin typeface="Arial (Основной текст)"/>
                        </a:rPr>
                        <a:t>++</a:t>
                      </a: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44484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700" b="0" spc="0" dirty="0" smtClean="0">
                        <a:solidFill>
                          <a:srgbClr val="0A0A0A"/>
                        </a:solidFill>
                        <a:latin typeface="Arial (Основной текст)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44484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b="1" spc="0" dirty="0" smtClean="0">
                          <a:solidFill>
                            <a:srgbClr val="0A0A0A"/>
                          </a:solidFill>
                          <a:latin typeface="Arial (Основной текст)"/>
                        </a:rPr>
                        <a:t>++</a:t>
                      </a: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44484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700" b="1" spc="0" dirty="0" smtClean="0">
                        <a:solidFill>
                          <a:srgbClr val="0A0A0A"/>
                        </a:solidFill>
                        <a:latin typeface="Arial (Основной текст)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44484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b="1" spc="0" dirty="0" smtClean="0">
                          <a:solidFill>
                            <a:srgbClr val="0A0A0A"/>
                          </a:solidFill>
                          <a:latin typeface="Arial (Основной текст)"/>
                        </a:rPr>
                        <a:t>++</a:t>
                      </a: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700" b="0" spc="0" dirty="0" smtClean="0">
                          <a:solidFill>
                            <a:srgbClr val="0A0A0A"/>
                          </a:solidFill>
                          <a:latin typeface="Arial (Основной текст)"/>
                        </a:rPr>
                        <a:t>Опытные работы</a:t>
                      </a:r>
                      <a:endParaRPr lang="ru-RU" sz="700" b="0" spc="0" dirty="0">
                        <a:solidFill>
                          <a:srgbClr val="0A0A0A"/>
                        </a:solidFill>
                        <a:latin typeface="Arial (Основной текст)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b="1" spc="0" dirty="0" smtClean="0">
                          <a:solidFill>
                            <a:srgbClr val="0A0A0A"/>
                          </a:solidFill>
                          <a:latin typeface="Arial (Основной текст)"/>
                        </a:rPr>
                        <a:t>?</a:t>
                      </a:r>
                      <a:endParaRPr lang="ru-RU" sz="800" b="1" spc="0" dirty="0">
                        <a:solidFill>
                          <a:srgbClr val="0A0A0A"/>
                        </a:solidFill>
                        <a:latin typeface="Arial (Основной текст)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700" b="0" spc="0" dirty="0" smtClean="0">
                          <a:solidFill>
                            <a:srgbClr val="0A0A0A"/>
                          </a:solidFill>
                          <a:latin typeface="Arial (Основной текст)"/>
                        </a:rPr>
                        <a:t>Опытные работы</a:t>
                      </a:r>
                      <a:endParaRPr lang="ru-RU" sz="700" b="0" spc="0" dirty="0">
                        <a:solidFill>
                          <a:srgbClr val="0A0A0A"/>
                        </a:solidFill>
                        <a:latin typeface="Arial (Основной текст)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44484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spc="0" dirty="0" smtClean="0">
                          <a:solidFill>
                            <a:srgbClr val="0A0A0A"/>
                          </a:solidFill>
                          <a:latin typeface="Arial (Основной текст)"/>
                        </a:rPr>
                        <a:t>?</a:t>
                      </a:r>
                      <a:endParaRPr lang="ru-RU" sz="800" b="1" spc="0" dirty="0">
                        <a:solidFill>
                          <a:srgbClr val="0A0A0A"/>
                        </a:solidFill>
                        <a:latin typeface="Arial (Основной текст)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44484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700" b="1" spc="0" dirty="0">
                        <a:solidFill>
                          <a:srgbClr val="0A0A0A"/>
                        </a:solidFill>
                        <a:latin typeface="Arial (Основной текст)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b="1" spc="0" dirty="0" smtClean="0">
                          <a:solidFill>
                            <a:srgbClr val="0A0A0A"/>
                          </a:solidFill>
                          <a:latin typeface="Arial (Основной текст)"/>
                        </a:rPr>
                        <a:t>+</a:t>
                      </a:r>
                      <a:endParaRPr lang="ru-RU" sz="800" b="1" spc="0" dirty="0">
                        <a:solidFill>
                          <a:srgbClr val="0A0A0A"/>
                        </a:solidFill>
                        <a:latin typeface="Arial (Основной текст)"/>
                      </a:endParaRPr>
                    </a:p>
                  </a:txBody>
                  <a:tcPr marL="36000" marR="36000" marT="0" marB="0" anchor="ctr"/>
                </a:tc>
              </a:tr>
              <a:tr h="144711">
                <a:tc>
                  <a:txBody>
                    <a:bodyPr/>
                    <a:lstStyle/>
                    <a:p>
                      <a:r>
                        <a:rPr lang="ru-RU" sz="600" b="0" spc="0" dirty="0" smtClean="0">
                          <a:solidFill>
                            <a:srgbClr val="0A0A0A"/>
                          </a:solidFill>
                          <a:latin typeface="Arial (Основной текст)"/>
                        </a:rPr>
                        <a:t>Аэроградиентометрия-5</a:t>
                      </a:r>
                      <a:endParaRPr lang="ru-RU" sz="600" b="0" spc="0" dirty="0">
                        <a:solidFill>
                          <a:srgbClr val="0A0A0A"/>
                        </a:solidFill>
                        <a:latin typeface="Arial (Основной текст)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44484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b="1" spc="0" dirty="0" smtClean="0">
                          <a:solidFill>
                            <a:srgbClr val="0A0A0A"/>
                          </a:solidFill>
                          <a:latin typeface="Arial (Основной текст)"/>
                        </a:rPr>
                        <a:t>+</a:t>
                      </a: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44484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700" b="0" spc="0" dirty="0" smtClean="0">
                        <a:solidFill>
                          <a:srgbClr val="0A0A0A"/>
                        </a:solidFill>
                        <a:latin typeface="Arial (Основной текст)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44484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b="1" spc="0" dirty="0" smtClean="0">
                          <a:solidFill>
                            <a:srgbClr val="0A0A0A"/>
                          </a:solidFill>
                          <a:latin typeface="Arial (Основной текст)"/>
                        </a:rPr>
                        <a:t>+</a:t>
                      </a: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44484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700" b="1" spc="0" dirty="0" smtClean="0">
                        <a:solidFill>
                          <a:srgbClr val="0A0A0A"/>
                        </a:solidFill>
                        <a:latin typeface="Arial (Основной текст)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44484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b="1" spc="0" dirty="0" smtClean="0">
                          <a:solidFill>
                            <a:srgbClr val="0A0A0A"/>
                          </a:solidFill>
                          <a:latin typeface="Arial (Основной текст)"/>
                        </a:rPr>
                        <a:t>+</a:t>
                      </a: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700" b="0" spc="0" dirty="0" smtClean="0">
                          <a:solidFill>
                            <a:srgbClr val="0A0A0A"/>
                          </a:solidFill>
                          <a:latin typeface="Arial (Основной текст)"/>
                        </a:rPr>
                        <a:t>Опытные работы</a:t>
                      </a:r>
                      <a:endParaRPr lang="ru-RU" sz="700" b="0" spc="0" dirty="0">
                        <a:solidFill>
                          <a:srgbClr val="0A0A0A"/>
                        </a:solidFill>
                        <a:latin typeface="Arial (Основной текст)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b="1" spc="0" dirty="0" smtClean="0">
                          <a:solidFill>
                            <a:srgbClr val="0A0A0A"/>
                          </a:solidFill>
                          <a:latin typeface="Arial (Основной текст)"/>
                        </a:rPr>
                        <a:t>?</a:t>
                      </a:r>
                      <a:endParaRPr lang="ru-RU" sz="800" b="1" spc="0" dirty="0">
                        <a:solidFill>
                          <a:srgbClr val="0A0A0A"/>
                        </a:solidFill>
                        <a:latin typeface="Arial (Основной текст)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700" b="0" spc="0" dirty="0" smtClean="0">
                          <a:solidFill>
                            <a:srgbClr val="0A0A0A"/>
                          </a:solidFill>
                          <a:latin typeface="Arial (Основной текст)"/>
                        </a:rPr>
                        <a:t>Опытные работы</a:t>
                      </a:r>
                      <a:endParaRPr lang="ru-RU" sz="700" b="0" spc="0" dirty="0">
                        <a:solidFill>
                          <a:srgbClr val="0A0A0A"/>
                        </a:solidFill>
                        <a:latin typeface="Arial (Основной текст)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44484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spc="0" dirty="0" smtClean="0">
                          <a:solidFill>
                            <a:srgbClr val="0A0A0A"/>
                          </a:solidFill>
                          <a:latin typeface="Arial (Основной текст)"/>
                        </a:rPr>
                        <a:t>?</a:t>
                      </a:r>
                      <a:endParaRPr lang="ru-RU" sz="800" b="1" spc="0" dirty="0">
                        <a:solidFill>
                          <a:srgbClr val="0A0A0A"/>
                        </a:solidFill>
                        <a:latin typeface="Arial (Основной текст)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44484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700" b="1" spc="0" dirty="0">
                        <a:solidFill>
                          <a:srgbClr val="0A0A0A"/>
                        </a:solidFill>
                        <a:latin typeface="Arial (Основной текст)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b="1" spc="0" dirty="0" smtClean="0">
                          <a:solidFill>
                            <a:srgbClr val="0A0A0A"/>
                          </a:solidFill>
                          <a:latin typeface="Arial (Основной текст)"/>
                        </a:rPr>
                        <a:t>+</a:t>
                      </a:r>
                      <a:endParaRPr lang="ru-RU" sz="800" b="1" spc="0" dirty="0">
                        <a:solidFill>
                          <a:srgbClr val="0A0A0A"/>
                        </a:solidFill>
                        <a:latin typeface="Arial (Основной текст)"/>
                      </a:endParaRPr>
                    </a:p>
                  </a:txBody>
                  <a:tcPr marL="36000" marR="36000" marT="0" marB="0" anchor="ctr"/>
                </a:tc>
              </a:tr>
            </a:tbl>
          </a:graphicData>
        </a:graphic>
      </p:graphicFrame>
      <p:sp>
        <p:nvSpPr>
          <p:cNvPr id="30" name="TextBox 29"/>
          <p:cNvSpPr txBox="1"/>
          <p:nvPr/>
        </p:nvSpPr>
        <p:spPr>
          <a:xfrm>
            <a:off x="-2275" y="3850199"/>
            <a:ext cx="9144000" cy="215444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ru-RU" sz="800" b="1" dirty="0" smtClean="0">
                <a:solidFill>
                  <a:srgbClr val="0A0A0A"/>
                </a:solidFill>
                <a:latin typeface="Arial (Основной текст)"/>
              </a:rPr>
              <a:t>Фокус на развитии поисковых технологий позволяющих локализовать объект при ведении ГРР в сложных геологических условиях</a:t>
            </a:r>
            <a:endParaRPr lang="ru-RU" sz="800" b="1" dirty="0">
              <a:solidFill>
                <a:srgbClr val="0A0A0A"/>
              </a:solidFill>
              <a:latin typeface="Arial (Основной текст)"/>
            </a:endParaRPr>
          </a:p>
        </p:txBody>
      </p:sp>
      <p:pic>
        <p:nvPicPr>
          <p:cNvPr id="31" name="Объект 7"/>
          <p:cNvPicPr>
            <a:picLocks noChangeAspect="1"/>
          </p:cNvPicPr>
          <p:nvPr/>
        </p:nvPicPr>
        <p:blipFill rotWithShape="1"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540" r="17830"/>
          <a:stretch/>
        </p:blipFill>
        <p:spPr>
          <a:xfrm>
            <a:off x="103866" y="5375488"/>
            <a:ext cx="1338150" cy="1080000"/>
          </a:xfrm>
          <a:prstGeom prst="rect">
            <a:avLst/>
          </a:prstGeom>
          <a:ln>
            <a:noFill/>
          </a:ln>
          <a:effectLst>
            <a:softEdge rad="88900"/>
          </a:effectLst>
        </p:spPr>
      </p:pic>
      <p:pic>
        <p:nvPicPr>
          <p:cNvPr id="32" name="Рисунок 31"/>
          <p:cNvPicPr>
            <a:picLocks noChangeAspect="1"/>
          </p:cNvPicPr>
          <p:nvPr/>
        </p:nvPicPr>
        <p:blipFill rotWithShape="1"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243" r="2151" b="14827"/>
          <a:stretch/>
        </p:blipFill>
        <p:spPr>
          <a:xfrm>
            <a:off x="1387728" y="5396428"/>
            <a:ext cx="1405725" cy="1080000"/>
          </a:xfrm>
          <a:prstGeom prst="rect">
            <a:avLst/>
          </a:prstGeom>
          <a:effectLst>
            <a:softEdge rad="88900"/>
          </a:effectLst>
        </p:spPr>
      </p:pic>
      <p:pic>
        <p:nvPicPr>
          <p:cNvPr id="33" name="Рисунок 32"/>
          <p:cNvPicPr>
            <a:picLocks noChangeAspect="1"/>
          </p:cNvPicPr>
          <p:nvPr/>
        </p:nvPicPr>
        <p:blipFill rotWithShape="1">
          <a:blip r:embed="rId13"/>
          <a:srcRect l="21209" t="7731" r="14815" b="7768"/>
          <a:stretch/>
        </p:blipFill>
        <p:spPr>
          <a:xfrm>
            <a:off x="2722263" y="5396428"/>
            <a:ext cx="1347169" cy="1080000"/>
          </a:xfrm>
          <a:prstGeom prst="rect">
            <a:avLst/>
          </a:prstGeom>
          <a:ln>
            <a:noFill/>
          </a:ln>
          <a:effectLst>
            <a:softEdge rad="88900"/>
          </a:effectLst>
        </p:spPr>
      </p:pic>
      <p:pic>
        <p:nvPicPr>
          <p:cNvPr id="34" name="Рисунок 33"/>
          <p:cNvPicPr>
            <a:picLocks noChangeAspect="1"/>
          </p:cNvPicPr>
          <p:nvPr/>
        </p:nvPicPr>
        <p:blipFill rotWithShape="1"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375" r="14593"/>
          <a:stretch/>
        </p:blipFill>
        <p:spPr>
          <a:xfrm>
            <a:off x="4020571" y="5375488"/>
            <a:ext cx="1172665" cy="1080000"/>
          </a:xfrm>
          <a:prstGeom prst="rect">
            <a:avLst/>
          </a:prstGeom>
          <a:ln>
            <a:noFill/>
          </a:ln>
          <a:effectLst>
            <a:softEdge rad="88900"/>
          </a:effectLst>
        </p:spPr>
      </p:pic>
      <p:pic>
        <p:nvPicPr>
          <p:cNvPr id="35" name="Picture 4"/>
          <p:cNvPicPr>
            <a:picLocks noChangeAspect="1" noChangeArrowheads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34515" y="5382468"/>
            <a:ext cx="1153220" cy="1080000"/>
          </a:xfrm>
          <a:prstGeom prst="rect">
            <a:avLst/>
          </a:prstGeom>
          <a:noFill/>
          <a:ln>
            <a:noFill/>
          </a:ln>
          <a:effectLst>
            <a:softEdge rad="88900"/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6" name="Picture 5"/>
          <p:cNvPicPr>
            <a:picLocks noChangeAspect="1" noChangeArrowheads="1"/>
          </p:cNvPicPr>
          <p:nvPr/>
        </p:nvPicPr>
        <p:blipFill rotWithShape="1"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422" r="296" b="6356"/>
          <a:stretch/>
        </p:blipFill>
        <p:spPr bwMode="auto">
          <a:xfrm>
            <a:off x="6228426" y="5396428"/>
            <a:ext cx="1587696" cy="1080000"/>
          </a:xfrm>
          <a:prstGeom prst="rect">
            <a:avLst/>
          </a:prstGeom>
          <a:noFill/>
          <a:ln>
            <a:noFill/>
          </a:ln>
          <a:effectLst>
            <a:softEdge rad="88900"/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37" name="Группа 36"/>
          <p:cNvGrpSpPr/>
          <p:nvPr/>
        </p:nvGrpSpPr>
        <p:grpSpPr>
          <a:xfrm>
            <a:off x="7543209" y="1040024"/>
            <a:ext cx="1481967" cy="1260000"/>
            <a:chOff x="7543209" y="1040024"/>
            <a:chExt cx="1481967" cy="1260000"/>
          </a:xfrm>
        </p:grpSpPr>
        <p:grpSp>
          <p:nvGrpSpPr>
            <p:cNvPr id="38" name="Группа 37"/>
            <p:cNvGrpSpPr/>
            <p:nvPr/>
          </p:nvGrpSpPr>
          <p:grpSpPr>
            <a:xfrm>
              <a:off x="7543209" y="1040024"/>
              <a:ext cx="1481967" cy="1260000"/>
              <a:chOff x="7533684" y="1030499"/>
              <a:chExt cx="1481967" cy="1260000"/>
            </a:xfrm>
          </p:grpSpPr>
          <p:pic>
            <p:nvPicPr>
              <p:cNvPr id="40" name="Picture 2"/>
              <p:cNvPicPr>
                <a:picLocks noChangeAspect="1" noChangeArrowheads="1"/>
              </p:cNvPicPr>
              <p:nvPr/>
            </p:nvPicPr>
            <p:blipFill>
              <a:blip r:embed="rId17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7533684" y="1030499"/>
                <a:ext cx="1481967" cy="126000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41" name="TextBox 40"/>
              <p:cNvSpPr txBox="1"/>
              <p:nvPr/>
            </p:nvSpPr>
            <p:spPr>
              <a:xfrm>
                <a:off x="7536627" y="1040479"/>
                <a:ext cx="330540" cy="27699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sz="1200" b="1" dirty="0" smtClean="0">
                    <a:solidFill>
                      <a:srgbClr val="0A0A0A"/>
                    </a:solidFill>
                  </a:rPr>
                  <a:t>VI</a:t>
                </a:r>
                <a:endParaRPr lang="ru-RU" sz="1200" b="1" dirty="0">
                  <a:solidFill>
                    <a:srgbClr val="0A0A0A"/>
                  </a:solidFill>
                </a:endParaRPr>
              </a:p>
            </p:txBody>
          </p:sp>
        </p:grpSp>
        <p:pic>
          <p:nvPicPr>
            <p:cNvPr id="39" name="Picture 4"/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449380" y="1096273"/>
              <a:ext cx="263684" cy="22335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pic>
        <p:nvPicPr>
          <p:cNvPr id="42" name="Picture 6"/>
          <p:cNvPicPr>
            <a:picLocks noChangeAspect="1" noChangeArrowheads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54908" y="5396428"/>
            <a:ext cx="1212128" cy="1080000"/>
          </a:xfrm>
          <a:prstGeom prst="rect">
            <a:avLst/>
          </a:prstGeom>
          <a:noFill/>
          <a:ln>
            <a:noFill/>
          </a:ln>
          <a:effectLst>
            <a:softEdge rad="88900"/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8315443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325878" y="53584"/>
            <a:ext cx="8494594" cy="834431"/>
          </a:xfrm>
        </p:spPr>
        <p:txBody>
          <a:bodyPr/>
          <a:lstStyle/>
          <a:p>
            <a:pPr algn="r"/>
            <a:r>
              <a:rPr lang="ru-RU" sz="2400" b="0" dirty="0"/>
              <a:t>Инновации </a:t>
            </a:r>
            <a:r>
              <a:rPr lang="ru-RU" sz="2400" b="0" dirty="0" smtClean="0"/>
              <a:t>в </a:t>
            </a:r>
            <a:r>
              <a:rPr lang="ru-RU" sz="2400" b="0" dirty="0"/>
              <a:t>производстве ГРР </a:t>
            </a:r>
            <a:endParaRPr lang="ru-RU" sz="2400" b="0" dirty="0"/>
          </a:p>
        </p:txBody>
      </p:sp>
      <p:sp>
        <p:nvSpPr>
          <p:cNvPr id="44" name="Rectangle 29"/>
          <p:cNvSpPr/>
          <p:nvPr/>
        </p:nvSpPr>
        <p:spPr>
          <a:xfrm>
            <a:off x="3994951" y="2779979"/>
            <a:ext cx="5048025" cy="1088147"/>
          </a:xfrm>
          <a:prstGeom prst="rect">
            <a:avLst/>
          </a:prstGeom>
          <a:solidFill>
            <a:schemeClr val="bg1"/>
          </a:solidFill>
          <a:ln w="1905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32760" bIns="36000" rtlCol="0" anchor="ctr"/>
          <a:lstStyle/>
          <a:p>
            <a:pPr defTabSz="981334">
              <a:spcBef>
                <a:spcPts val="600"/>
              </a:spcBef>
              <a:buSzPct val="100000"/>
            </a:pPr>
            <a:r>
              <a:rPr lang="ru-RU" sz="1100" dirty="0" smtClean="0">
                <a:solidFill>
                  <a:srgbClr val="0A0A0A"/>
                </a:solidFill>
                <a:latin typeface="Arial"/>
                <a:cs typeface="Times New Roman" panose="02020603050405020304" pitchFamily="18" charset="0"/>
              </a:rPr>
              <a:t>Изучение границ </a:t>
            </a:r>
            <a:r>
              <a:rPr lang="ru-RU" sz="1100" dirty="0">
                <a:solidFill>
                  <a:srgbClr val="0A0A0A"/>
                </a:solidFill>
                <a:latin typeface="Arial"/>
                <a:cs typeface="Times New Roman" panose="02020603050405020304" pitchFamily="18" charset="0"/>
              </a:rPr>
              <a:t>раздела слоев геологической среды, имеющих различные электрофизические </a:t>
            </a:r>
            <a:r>
              <a:rPr lang="ru-RU" sz="1100" dirty="0" smtClean="0">
                <a:solidFill>
                  <a:srgbClr val="0A0A0A"/>
                </a:solidFill>
                <a:latin typeface="Arial"/>
                <a:cs typeface="Times New Roman" panose="02020603050405020304" pitchFamily="18" charset="0"/>
              </a:rPr>
              <a:t>свойства. На поисках </a:t>
            </a:r>
            <a:r>
              <a:rPr lang="ru-RU" sz="1100" dirty="0">
                <a:solidFill>
                  <a:srgbClr val="0A0A0A"/>
                </a:solidFill>
                <a:latin typeface="Arial"/>
                <a:cs typeface="Times New Roman" panose="02020603050405020304" pitchFamily="18" charset="0"/>
              </a:rPr>
              <a:t>эффективно </a:t>
            </a:r>
            <a:r>
              <a:rPr lang="ru-RU" sz="1100" dirty="0" smtClean="0">
                <a:solidFill>
                  <a:srgbClr val="0A0A0A"/>
                </a:solidFill>
                <a:latin typeface="Arial"/>
                <a:cs typeface="Times New Roman" panose="02020603050405020304" pitchFamily="18" charset="0"/>
              </a:rPr>
              <a:t>работает </a:t>
            </a:r>
            <a:r>
              <a:rPr lang="ru-RU" sz="1100" dirty="0">
                <a:solidFill>
                  <a:srgbClr val="0A0A0A"/>
                </a:solidFill>
                <a:latin typeface="Arial"/>
                <a:cs typeface="Times New Roman" panose="02020603050405020304" pitchFamily="18" charset="0"/>
              </a:rPr>
              <a:t>до 20 </a:t>
            </a:r>
            <a:r>
              <a:rPr lang="ru-RU" sz="1100" dirty="0" smtClean="0">
                <a:solidFill>
                  <a:srgbClr val="0A0A0A"/>
                </a:solidFill>
                <a:latin typeface="Arial"/>
                <a:cs typeface="Times New Roman" panose="02020603050405020304" pitchFamily="18" charset="0"/>
              </a:rPr>
              <a:t>метров перекрывающих толщ</a:t>
            </a:r>
          </a:p>
          <a:p>
            <a:pPr marL="182563" indent="-182563" defTabSz="981334">
              <a:buSzPct val="100000"/>
              <a:buFont typeface="Verdana" panose="020B0604030504040204" pitchFamily="34" charset="0"/>
              <a:buChar char="•"/>
            </a:pPr>
            <a:r>
              <a:rPr lang="ru-RU" sz="1100" dirty="0" smtClean="0">
                <a:solidFill>
                  <a:srgbClr val="0A0A0A"/>
                </a:solidFill>
                <a:latin typeface="Arial"/>
                <a:cs typeface="Times New Roman" panose="02020603050405020304" pitchFamily="18" charset="0"/>
              </a:rPr>
              <a:t>применение возможно </a:t>
            </a:r>
            <a:r>
              <a:rPr lang="ru-RU" sz="1100" dirty="0">
                <a:solidFill>
                  <a:srgbClr val="0A0A0A"/>
                </a:solidFill>
                <a:latin typeface="Arial"/>
                <a:cs typeface="Times New Roman" panose="02020603050405020304" pitchFamily="18" charset="0"/>
              </a:rPr>
              <a:t>на ограниченных </a:t>
            </a:r>
            <a:r>
              <a:rPr lang="ru-RU" sz="1100" dirty="0" smtClean="0">
                <a:solidFill>
                  <a:srgbClr val="0A0A0A"/>
                </a:solidFill>
                <a:latin typeface="Arial"/>
                <a:cs typeface="Times New Roman" panose="02020603050405020304" pitchFamily="18" charset="0"/>
              </a:rPr>
              <a:t>участках</a:t>
            </a:r>
          </a:p>
          <a:p>
            <a:pPr marL="182563" indent="-182563" defTabSz="981334">
              <a:buSzPct val="100000"/>
              <a:buFont typeface="Verdana" panose="020B0604030504040204" pitchFamily="34" charset="0"/>
              <a:buChar char="•"/>
            </a:pPr>
            <a:r>
              <a:rPr lang="ru-RU" sz="1100" dirty="0" smtClean="0">
                <a:solidFill>
                  <a:srgbClr val="0A0A0A"/>
                </a:solidFill>
                <a:latin typeface="Arial"/>
                <a:cs typeface="Times New Roman" panose="02020603050405020304" pitchFamily="18" charset="0"/>
              </a:rPr>
              <a:t>оперативное решение поисковых задач в условиях простого разреза</a:t>
            </a:r>
            <a:endParaRPr lang="ru-RU" sz="1100" b="1" dirty="0">
              <a:solidFill>
                <a:srgbClr val="0A0A0A"/>
              </a:solidFill>
              <a:latin typeface="Arial"/>
              <a:cs typeface="Times New Roman" panose="02020603050405020304" pitchFamily="18" charset="0"/>
            </a:endParaRPr>
          </a:p>
        </p:txBody>
      </p:sp>
      <p:sp>
        <p:nvSpPr>
          <p:cNvPr id="45" name="Rectangle 29"/>
          <p:cNvSpPr/>
          <p:nvPr/>
        </p:nvSpPr>
        <p:spPr>
          <a:xfrm>
            <a:off x="207820" y="2784217"/>
            <a:ext cx="3503046" cy="1099508"/>
          </a:xfrm>
          <a:prstGeom prst="rect">
            <a:avLst/>
          </a:prstGeom>
          <a:solidFill>
            <a:schemeClr val="bg1"/>
          </a:solidFill>
          <a:ln w="1905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2760" tIns="108000" rIns="32760" bIns="32760" rtlCol="0" anchor="t"/>
          <a:lstStyle/>
          <a:p>
            <a:pPr marL="360000" defTabSz="457156"/>
            <a:endParaRPr lang="ru-RU" sz="1000" dirty="0">
              <a:solidFill>
                <a:srgbClr val="0A0A0A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6" name="Rectangle 2"/>
          <p:cNvSpPr/>
          <p:nvPr/>
        </p:nvSpPr>
        <p:spPr>
          <a:xfrm>
            <a:off x="207820" y="1121054"/>
            <a:ext cx="3503046" cy="306288"/>
          </a:xfrm>
          <a:prstGeom prst="rect">
            <a:avLst/>
          </a:prstGeom>
          <a:solidFill>
            <a:srgbClr val="002766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2760" tIns="32760" rIns="32760" bIns="32760" rtlCol="0" anchor="ctr"/>
          <a:lstStyle/>
          <a:p>
            <a:pPr algn="ctr" defTabSz="457156"/>
            <a:r>
              <a:rPr lang="ru-RU" sz="1500" b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лючевые инициативы</a:t>
            </a:r>
            <a:endParaRPr lang="en-US" sz="1500" b="1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7" name="Rectangle 2"/>
          <p:cNvSpPr/>
          <p:nvPr/>
        </p:nvSpPr>
        <p:spPr>
          <a:xfrm>
            <a:off x="3994951" y="1121054"/>
            <a:ext cx="5052272" cy="306288"/>
          </a:xfrm>
          <a:prstGeom prst="rect">
            <a:avLst/>
          </a:prstGeom>
          <a:solidFill>
            <a:srgbClr val="002766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2760" tIns="32760" rIns="32760" bIns="32760" rtlCol="0" anchor="ctr"/>
          <a:lstStyle/>
          <a:p>
            <a:pPr algn="ctr" defTabSz="457156"/>
            <a:r>
              <a:rPr lang="ru-RU" sz="1500" b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жидаемые эффекты</a:t>
            </a:r>
            <a:endParaRPr lang="en-US" sz="1500" b="1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8" name="Rectangle 29"/>
          <p:cNvSpPr/>
          <p:nvPr/>
        </p:nvSpPr>
        <p:spPr>
          <a:xfrm>
            <a:off x="230589" y="1609460"/>
            <a:ext cx="3503046" cy="1067829"/>
          </a:xfrm>
          <a:prstGeom prst="rect">
            <a:avLst/>
          </a:prstGeom>
          <a:solidFill>
            <a:schemeClr val="bg1"/>
          </a:solidFill>
          <a:ln w="1905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2760" tIns="108000" rIns="32760" bIns="32760" rtlCol="0" anchor="t"/>
          <a:lstStyle/>
          <a:p>
            <a:pPr defTabSz="457156"/>
            <a:endParaRPr lang="ru-RU" sz="1000" b="1" dirty="0">
              <a:solidFill>
                <a:srgbClr val="0A0A0A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9" name="Rectangle 22"/>
          <p:cNvSpPr/>
          <p:nvPr/>
        </p:nvSpPr>
        <p:spPr>
          <a:xfrm>
            <a:off x="3994951" y="1606586"/>
            <a:ext cx="5048025" cy="1062753"/>
          </a:xfrm>
          <a:prstGeom prst="rect">
            <a:avLst/>
          </a:prstGeom>
          <a:solidFill>
            <a:schemeClr val="bg1"/>
          </a:solidFill>
          <a:ln w="1905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32760" bIns="36000" rtlCol="0" anchor="ctr"/>
          <a:lstStyle/>
          <a:p>
            <a:pPr defTabSz="981334">
              <a:spcBef>
                <a:spcPts val="600"/>
              </a:spcBef>
              <a:buSzPct val="100000"/>
            </a:pPr>
            <a:r>
              <a:rPr lang="ru-RU" sz="1100" dirty="0" smtClean="0">
                <a:solidFill>
                  <a:srgbClr val="0A0A0A"/>
                </a:solidFill>
                <a:latin typeface="Arial"/>
                <a:cs typeface="Times New Roman" panose="02020603050405020304" pitchFamily="18" charset="0"/>
              </a:rPr>
              <a:t>Изучение магнитных и электрических свойств пород больших площадей </a:t>
            </a:r>
            <a:r>
              <a:rPr lang="ru-RU" sz="1100" dirty="0">
                <a:solidFill>
                  <a:srgbClr val="0A0A0A"/>
                </a:solidFill>
                <a:latin typeface="Arial"/>
                <a:cs typeface="Times New Roman" panose="02020603050405020304" pitchFamily="18" charset="0"/>
              </a:rPr>
              <a:t>за короткое </a:t>
            </a:r>
            <a:r>
              <a:rPr lang="ru-RU" sz="1100" dirty="0" smtClean="0">
                <a:solidFill>
                  <a:srgbClr val="0A0A0A"/>
                </a:solidFill>
                <a:latin typeface="Arial"/>
                <a:cs typeface="Times New Roman" panose="02020603050405020304" pitchFamily="18" charset="0"/>
              </a:rPr>
              <a:t>время</a:t>
            </a:r>
            <a:endParaRPr lang="ru-RU" sz="1100" dirty="0">
              <a:solidFill>
                <a:srgbClr val="0A0A0A"/>
              </a:solidFill>
              <a:latin typeface="Arial"/>
              <a:cs typeface="Times New Roman" panose="02020603050405020304" pitchFamily="18" charset="0"/>
            </a:endParaRPr>
          </a:p>
          <a:p>
            <a:pPr marL="182563" indent="-182563" defTabSz="981334">
              <a:buSzPct val="100000"/>
              <a:buFont typeface="Verdana" panose="020B0604030504040204" pitchFamily="34" charset="0"/>
              <a:buChar char="•"/>
            </a:pPr>
            <a:r>
              <a:rPr lang="ru-RU" sz="1100" dirty="0" smtClean="0">
                <a:solidFill>
                  <a:srgbClr val="0A0A0A"/>
                </a:solidFill>
                <a:latin typeface="Arial"/>
                <a:cs typeface="Times New Roman" panose="02020603050405020304" pitchFamily="18" charset="0"/>
              </a:rPr>
              <a:t>на </a:t>
            </a:r>
            <a:r>
              <a:rPr lang="ru-RU" sz="1100" dirty="0">
                <a:solidFill>
                  <a:srgbClr val="0A0A0A"/>
                </a:solidFill>
                <a:latin typeface="Arial"/>
                <a:cs typeface="Times New Roman" panose="02020603050405020304" pitchFamily="18" charset="0"/>
              </a:rPr>
              <a:t>выделенных перспективных участках </a:t>
            </a:r>
            <a:r>
              <a:rPr lang="ru-RU" sz="1100" dirty="0" smtClean="0">
                <a:solidFill>
                  <a:srgbClr val="0A0A0A"/>
                </a:solidFill>
                <a:latin typeface="Arial"/>
                <a:cs typeface="Times New Roman" panose="02020603050405020304" pitchFamily="18" charset="0"/>
              </a:rPr>
              <a:t>не исключает </a:t>
            </a:r>
            <a:r>
              <a:rPr lang="ru-RU" sz="1100" dirty="0">
                <a:solidFill>
                  <a:srgbClr val="0A0A0A"/>
                </a:solidFill>
                <a:latin typeface="Arial"/>
                <a:cs typeface="Times New Roman" panose="02020603050405020304" pitchFamily="18" charset="0"/>
              </a:rPr>
              <a:t>проведение наземных геофизических </a:t>
            </a:r>
            <a:r>
              <a:rPr lang="ru-RU" sz="1100" dirty="0" smtClean="0">
                <a:solidFill>
                  <a:srgbClr val="0A0A0A"/>
                </a:solidFill>
                <a:latin typeface="Arial"/>
                <a:cs typeface="Times New Roman" panose="02020603050405020304" pitchFamily="18" charset="0"/>
              </a:rPr>
              <a:t>работ</a:t>
            </a:r>
          </a:p>
          <a:p>
            <a:pPr marL="182563" indent="-182563" defTabSz="981334">
              <a:buSzPct val="100000"/>
              <a:buFont typeface="Verdana" panose="020B0604030504040204" pitchFamily="34" charset="0"/>
              <a:buChar char="•"/>
            </a:pPr>
            <a:r>
              <a:rPr lang="ru-RU" sz="1100" dirty="0" smtClean="0">
                <a:solidFill>
                  <a:srgbClr val="0A0A0A"/>
                </a:solidFill>
                <a:latin typeface="Arial"/>
                <a:cs typeface="Times New Roman" panose="02020603050405020304" pitchFamily="18" charset="0"/>
              </a:rPr>
              <a:t>позволяет локализовать объем наземных работ</a:t>
            </a:r>
            <a:endParaRPr lang="ru-RU" sz="1100" dirty="0">
              <a:solidFill>
                <a:srgbClr val="0A0A0A"/>
              </a:solidFill>
              <a:latin typeface="Arial"/>
              <a:cs typeface="Times New Roman" panose="02020603050405020304" pitchFamily="18" charset="0"/>
            </a:endParaRPr>
          </a:p>
        </p:txBody>
      </p:sp>
      <p:sp>
        <p:nvSpPr>
          <p:cNvPr id="50" name="Равнобедренный треугольник 49"/>
          <p:cNvSpPr/>
          <p:nvPr/>
        </p:nvSpPr>
        <p:spPr>
          <a:xfrm rot="5400000">
            <a:off x="3326432" y="2065263"/>
            <a:ext cx="1072643" cy="135508"/>
          </a:xfrm>
          <a:prstGeom prst="triangle">
            <a:avLst/>
          </a:prstGeom>
          <a:solidFill>
            <a:srgbClr val="E0E0E0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156"/>
            <a:endParaRPr lang="ru-RU" sz="1834" dirty="0">
              <a:solidFill>
                <a:srgbClr val="FFFFFF"/>
              </a:solidFill>
            </a:endParaRPr>
          </a:p>
        </p:txBody>
      </p:sp>
      <p:sp>
        <p:nvSpPr>
          <p:cNvPr id="51" name="Равнобедренный треугольник 50"/>
          <p:cNvSpPr/>
          <p:nvPr/>
        </p:nvSpPr>
        <p:spPr>
          <a:xfrm rot="5400000">
            <a:off x="3312999" y="3266217"/>
            <a:ext cx="1099508" cy="135508"/>
          </a:xfrm>
          <a:prstGeom prst="triangle">
            <a:avLst/>
          </a:prstGeom>
          <a:solidFill>
            <a:srgbClr val="E0E0E0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156"/>
            <a:endParaRPr lang="ru-RU" sz="1834" dirty="0">
              <a:solidFill>
                <a:srgbClr val="FFFFFF"/>
              </a:solidFill>
            </a:endParaRPr>
          </a:p>
        </p:txBody>
      </p:sp>
      <p:sp>
        <p:nvSpPr>
          <p:cNvPr id="52" name="Rectangle 29"/>
          <p:cNvSpPr/>
          <p:nvPr/>
        </p:nvSpPr>
        <p:spPr>
          <a:xfrm>
            <a:off x="3994951" y="3990651"/>
            <a:ext cx="5048025" cy="1099508"/>
          </a:xfrm>
          <a:prstGeom prst="rect">
            <a:avLst/>
          </a:prstGeom>
          <a:solidFill>
            <a:schemeClr val="bg1"/>
          </a:solidFill>
          <a:ln w="1905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2760" tIns="36000" rIns="32760" bIns="36000" rtlCol="0" anchor="ctr"/>
          <a:lstStyle/>
          <a:p>
            <a:pPr defTabSz="981334">
              <a:spcBef>
                <a:spcPts val="600"/>
              </a:spcBef>
              <a:buSzPct val="100000"/>
            </a:pPr>
            <a:r>
              <a:rPr lang="ru-RU" sz="1100" dirty="0">
                <a:solidFill>
                  <a:srgbClr val="0A0A0A"/>
                </a:solidFill>
                <a:latin typeface="Arial"/>
                <a:cs typeface="Times New Roman" panose="02020603050405020304" pitchFamily="18" charset="0"/>
              </a:rPr>
              <a:t>Изучение </a:t>
            </a:r>
            <a:r>
              <a:rPr lang="ru-RU" sz="1100" dirty="0" smtClean="0">
                <a:solidFill>
                  <a:srgbClr val="0A0A0A"/>
                </a:solidFill>
                <a:latin typeface="Arial"/>
                <a:cs typeface="Times New Roman" panose="02020603050405020304" pitchFamily="18" charset="0"/>
              </a:rPr>
              <a:t>зависимости </a:t>
            </a:r>
            <a:r>
              <a:rPr lang="ru-RU" sz="1100" dirty="0">
                <a:solidFill>
                  <a:srgbClr val="0A0A0A"/>
                </a:solidFill>
                <a:latin typeface="Arial"/>
                <a:cs typeface="Times New Roman" panose="02020603050405020304" pitchFamily="18" charset="0"/>
              </a:rPr>
              <a:t>гармонического сигнала от электрического сопротивления </a:t>
            </a:r>
            <a:r>
              <a:rPr lang="ru-RU" sz="1100" dirty="0" smtClean="0">
                <a:solidFill>
                  <a:srgbClr val="0A0A0A"/>
                </a:solidFill>
                <a:latin typeface="Arial"/>
                <a:cs typeface="Times New Roman" panose="02020603050405020304" pitchFamily="18" charset="0"/>
              </a:rPr>
              <a:t>пород межскважинного пространства, </a:t>
            </a:r>
            <a:r>
              <a:rPr lang="ru-RU" sz="1100" dirty="0">
                <a:solidFill>
                  <a:srgbClr val="0A0A0A"/>
                </a:solidFill>
                <a:latin typeface="Arial"/>
                <a:cs typeface="Times New Roman" panose="02020603050405020304" pitchFamily="18" charset="0"/>
              </a:rPr>
              <a:t>выделение вертикальных неоднородностей, связанных </a:t>
            </a:r>
            <a:r>
              <a:rPr lang="ru-RU" sz="1100" dirty="0" smtClean="0">
                <a:solidFill>
                  <a:srgbClr val="0A0A0A"/>
                </a:solidFill>
                <a:latin typeface="Arial"/>
                <a:cs typeface="Times New Roman" panose="02020603050405020304" pitchFamily="18" charset="0"/>
              </a:rPr>
              <a:t>с телами кимберлитов.  </a:t>
            </a:r>
            <a:endParaRPr lang="ru-RU" sz="1100" dirty="0">
              <a:solidFill>
                <a:srgbClr val="0A0A0A"/>
              </a:solidFill>
              <a:latin typeface="Arial"/>
              <a:cs typeface="Times New Roman" panose="02020603050405020304" pitchFamily="18" charset="0"/>
            </a:endParaRPr>
          </a:p>
          <a:p>
            <a:pPr marL="182563" indent="-182563" defTabSz="981334">
              <a:buSzPct val="100000"/>
              <a:buFont typeface="Verdana" panose="020B0604030504040204" pitchFamily="34" charset="0"/>
              <a:buChar char="•"/>
            </a:pPr>
            <a:r>
              <a:rPr lang="ru-RU" sz="1100" dirty="0" smtClean="0">
                <a:solidFill>
                  <a:srgbClr val="0A0A0A"/>
                </a:solidFill>
                <a:latin typeface="Arial"/>
                <a:cs typeface="Times New Roman" panose="02020603050405020304" pitchFamily="18" charset="0"/>
              </a:rPr>
              <a:t>приобретение комплекта аппаратуры в 2019 году</a:t>
            </a:r>
            <a:endParaRPr lang="ru-RU" sz="1100" dirty="0">
              <a:solidFill>
                <a:srgbClr val="0A0A0A"/>
              </a:solidFill>
              <a:latin typeface="Arial"/>
              <a:cs typeface="Times New Roman" panose="02020603050405020304" pitchFamily="18" charset="0"/>
            </a:endParaRPr>
          </a:p>
          <a:p>
            <a:pPr marL="182563" indent="-182563" defTabSz="981334">
              <a:buSzPct val="100000"/>
              <a:buFont typeface="Verdana" panose="020B0604030504040204" pitchFamily="34" charset="0"/>
              <a:buChar char="•"/>
            </a:pPr>
            <a:r>
              <a:rPr lang="ru-RU" sz="1100" dirty="0" smtClean="0">
                <a:solidFill>
                  <a:srgbClr val="0A0A0A"/>
                </a:solidFill>
                <a:latin typeface="Arial"/>
                <a:cs typeface="Times New Roman" panose="02020603050405020304" pitchFamily="18" charset="0"/>
              </a:rPr>
              <a:t>адаптация к </a:t>
            </a:r>
            <a:r>
              <a:rPr lang="ru-RU" sz="1100" dirty="0">
                <a:solidFill>
                  <a:srgbClr val="0A0A0A"/>
                </a:solidFill>
                <a:latin typeface="Arial"/>
                <a:cs typeface="Times New Roman" panose="02020603050405020304" pitchFamily="18" charset="0"/>
              </a:rPr>
              <a:t>различным геоэлектрическим и технологическим условиям</a:t>
            </a:r>
            <a:endParaRPr lang="ru-RU" sz="1100" b="1" dirty="0">
              <a:solidFill>
                <a:srgbClr val="0A0A0A"/>
              </a:solidFill>
              <a:latin typeface="Arial"/>
              <a:cs typeface="Times New Roman" panose="02020603050405020304" pitchFamily="18" charset="0"/>
            </a:endParaRPr>
          </a:p>
        </p:txBody>
      </p:sp>
      <p:sp>
        <p:nvSpPr>
          <p:cNvPr id="53" name="Rectangle 29"/>
          <p:cNvSpPr/>
          <p:nvPr/>
        </p:nvSpPr>
        <p:spPr>
          <a:xfrm>
            <a:off x="207820" y="3990651"/>
            <a:ext cx="3503046" cy="1099508"/>
          </a:xfrm>
          <a:prstGeom prst="rect">
            <a:avLst/>
          </a:prstGeom>
          <a:solidFill>
            <a:schemeClr val="bg1"/>
          </a:solidFill>
          <a:ln w="1905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2760" tIns="108000" rIns="32760" bIns="32760" rtlCol="0" anchor="t"/>
          <a:lstStyle/>
          <a:p>
            <a:pPr marL="360000" defTabSz="457156"/>
            <a:endParaRPr lang="ru-RU" sz="10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4" name="Равнобедренный треугольник 53"/>
          <p:cNvSpPr/>
          <p:nvPr/>
        </p:nvSpPr>
        <p:spPr>
          <a:xfrm rot="5400000">
            <a:off x="3312999" y="4472651"/>
            <a:ext cx="1099508" cy="135508"/>
          </a:xfrm>
          <a:prstGeom prst="triangle">
            <a:avLst/>
          </a:prstGeom>
          <a:solidFill>
            <a:srgbClr val="E0E0E0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156"/>
            <a:endParaRPr lang="ru-RU" sz="1834" dirty="0">
              <a:solidFill>
                <a:srgbClr val="FFFFFF"/>
              </a:solidFill>
            </a:endParaRPr>
          </a:p>
        </p:txBody>
      </p:sp>
      <p:sp>
        <p:nvSpPr>
          <p:cNvPr id="55" name="Rectangle 28"/>
          <p:cNvSpPr/>
          <p:nvPr>
            <p:custDataLst>
              <p:tags r:id="rId1"/>
            </p:custDataLst>
          </p:nvPr>
        </p:nvSpPr>
        <p:spPr>
          <a:xfrm>
            <a:off x="1662243" y="1607707"/>
            <a:ext cx="2048624" cy="1069582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5520" tIns="32760" rIns="65520" bIns="32760" rtlCol="0" anchor="ctr" anchorCtr="0">
            <a:noAutofit/>
          </a:bodyPr>
          <a:lstStyle/>
          <a:p>
            <a:pPr defTabSz="457156">
              <a:spcBef>
                <a:spcPts val="546"/>
              </a:spcBef>
              <a:buClr>
                <a:srgbClr val="163A6E"/>
              </a:buClr>
              <a:buSzPct val="100000"/>
            </a:pPr>
            <a:r>
              <a:rPr lang="ru-RU" sz="1100" dirty="0" smtClean="0">
                <a:solidFill>
                  <a:srgbClr val="00314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омплексная аэрогеофизическая съемка</a:t>
            </a:r>
            <a:r>
              <a:rPr lang="en-US" sz="1100" dirty="0" smtClean="0">
                <a:solidFill>
                  <a:srgbClr val="00314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5</a:t>
            </a:r>
            <a:endParaRPr lang="ru-RU" sz="1100" dirty="0">
              <a:solidFill>
                <a:srgbClr val="003149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6" name="Rectangle 28"/>
          <p:cNvSpPr/>
          <p:nvPr>
            <p:custDataLst>
              <p:tags r:id="rId2"/>
            </p:custDataLst>
          </p:nvPr>
        </p:nvSpPr>
        <p:spPr>
          <a:xfrm>
            <a:off x="1662243" y="2825682"/>
            <a:ext cx="2048623" cy="1069582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5520" tIns="32760" rIns="65520" bIns="32760" rtlCol="0" anchor="ctr" anchorCtr="0">
            <a:noAutofit/>
          </a:bodyPr>
          <a:lstStyle/>
          <a:p>
            <a:pPr defTabSz="457156">
              <a:spcBef>
                <a:spcPts val="546"/>
              </a:spcBef>
              <a:buClr>
                <a:srgbClr val="163A6E"/>
              </a:buClr>
              <a:buSzPct val="100000"/>
            </a:pPr>
            <a:r>
              <a:rPr lang="ru-RU" sz="1100" dirty="0" smtClean="0">
                <a:solidFill>
                  <a:srgbClr val="00314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еорадарная съемка</a:t>
            </a:r>
            <a:endParaRPr lang="ru-RU" sz="1100" dirty="0">
              <a:solidFill>
                <a:srgbClr val="003149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7" name="Rectangle 28"/>
          <p:cNvSpPr/>
          <p:nvPr>
            <p:custDataLst>
              <p:tags r:id="rId3"/>
            </p:custDataLst>
          </p:nvPr>
        </p:nvSpPr>
        <p:spPr>
          <a:xfrm>
            <a:off x="1662243" y="4002604"/>
            <a:ext cx="2048623" cy="1069582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5520" tIns="32760" rIns="65520" bIns="32760" rtlCol="0" anchor="ctr" anchorCtr="0">
            <a:noAutofit/>
          </a:bodyPr>
          <a:lstStyle/>
          <a:p>
            <a:pPr defTabSz="457156">
              <a:spcBef>
                <a:spcPts val="546"/>
              </a:spcBef>
              <a:buClr>
                <a:srgbClr val="163A6E"/>
              </a:buClr>
              <a:buSzPct val="100000"/>
            </a:pPr>
            <a:r>
              <a:rPr lang="ru-RU" sz="1100" dirty="0" smtClean="0">
                <a:solidFill>
                  <a:srgbClr val="0A0A0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адиоволновая геоинтроскопия</a:t>
            </a:r>
            <a:endParaRPr lang="ru-RU" sz="1100" dirty="0">
              <a:solidFill>
                <a:srgbClr val="0A0A0A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8" name="Rectangle 29"/>
          <p:cNvSpPr/>
          <p:nvPr/>
        </p:nvSpPr>
        <p:spPr>
          <a:xfrm>
            <a:off x="3994951" y="5173045"/>
            <a:ext cx="5048025" cy="1099508"/>
          </a:xfrm>
          <a:prstGeom prst="rect">
            <a:avLst/>
          </a:prstGeom>
          <a:solidFill>
            <a:schemeClr val="bg1"/>
          </a:solidFill>
          <a:ln w="1905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2760" tIns="36000" rIns="32760" bIns="36000" rtlCol="0" anchor="ctr"/>
          <a:lstStyle/>
          <a:p>
            <a:pPr defTabSz="981334">
              <a:spcBef>
                <a:spcPts val="600"/>
              </a:spcBef>
              <a:buSzPct val="100000"/>
            </a:pPr>
            <a:r>
              <a:rPr lang="ru-RU" sz="1100" dirty="0" smtClean="0">
                <a:solidFill>
                  <a:srgbClr val="0A0A0A"/>
                </a:solidFill>
                <a:latin typeface="Arial"/>
                <a:cs typeface="Times New Roman" panose="02020603050405020304" pitchFamily="18" charset="0"/>
              </a:rPr>
              <a:t>Концентрация </a:t>
            </a:r>
            <a:r>
              <a:rPr lang="ru-RU" sz="1100" dirty="0">
                <a:solidFill>
                  <a:srgbClr val="0A0A0A"/>
                </a:solidFill>
                <a:latin typeface="Arial"/>
                <a:cs typeface="Times New Roman" panose="02020603050405020304" pitchFamily="18" charset="0"/>
              </a:rPr>
              <a:t>объемов </a:t>
            </a:r>
            <a:r>
              <a:rPr lang="ru-RU" sz="1100" dirty="0" smtClean="0">
                <a:solidFill>
                  <a:srgbClr val="0A0A0A"/>
                </a:solidFill>
                <a:latin typeface="Arial"/>
                <a:cs typeface="Times New Roman" panose="02020603050405020304" pitchFamily="18" charset="0"/>
              </a:rPr>
              <a:t>буровых работ в пределах перспективных тектонических зон, которые могут вмещать кимберлиты</a:t>
            </a:r>
          </a:p>
          <a:p>
            <a:pPr marL="182563" indent="-182563" defTabSz="981334">
              <a:buSzPct val="100000"/>
              <a:buFont typeface="Verdana" panose="020B0604030504040204" pitchFamily="34" charset="0"/>
              <a:buChar char="•"/>
            </a:pPr>
            <a:r>
              <a:rPr lang="ru-RU" sz="1100" dirty="0">
                <a:solidFill>
                  <a:srgbClr val="0A0A0A"/>
                </a:solidFill>
                <a:latin typeface="Arial"/>
                <a:cs typeface="Times New Roman" panose="02020603050405020304" pitchFamily="18" charset="0"/>
              </a:rPr>
              <a:t>невозможно проводить </a:t>
            </a:r>
            <a:r>
              <a:rPr lang="ru-RU" sz="1100" dirty="0" smtClean="0">
                <a:solidFill>
                  <a:srgbClr val="0A0A0A"/>
                </a:solidFill>
                <a:latin typeface="Arial"/>
                <a:cs typeface="Times New Roman" panose="02020603050405020304" pitchFamily="18" charset="0"/>
              </a:rPr>
              <a:t>массовые трехмерные съемки - локализация</a:t>
            </a:r>
          </a:p>
          <a:p>
            <a:pPr marL="182563" indent="-182563" defTabSz="981334">
              <a:buSzPct val="100000"/>
              <a:buFont typeface="Verdana" panose="020B0604030504040204" pitchFamily="34" charset="0"/>
              <a:buChar char="•"/>
            </a:pPr>
            <a:r>
              <a:rPr lang="ru-RU" sz="1100" dirty="0">
                <a:solidFill>
                  <a:srgbClr val="0A0A0A"/>
                </a:solidFill>
                <a:latin typeface="Arial"/>
                <a:cs typeface="Times New Roman" panose="02020603050405020304" pitchFamily="18" charset="0"/>
              </a:rPr>
              <a:t>п</a:t>
            </a:r>
            <a:r>
              <a:rPr lang="ru-RU" sz="1100" dirty="0" smtClean="0">
                <a:solidFill>
                  <a:srgbClr val="0A0A0A"/>
                </a:solidFill>
                <a:latin typeface="Arial"/>
                <a:cs typeface="Times New Roman" panose="02020603050405020304" pitchFamily="18" charset="0"/>
              </a:rPr>
              <a:t>риобретение мобильной сейсмостанции</a:t>
            </a:r>
            <a:endParaRPr lang="ru-RU" sz="1100" b="1" dirty="0">
              <a:solidFill>
                <a:srgbClr val="0A0A0A"/>
              </a:solidFill>
              <a:latin typeface="Arial"/>
              <a:cs typeface="Times New Roman" panose="02020603050405020304" pitchFamily="18" charset="0"/>
            </a:endParaRPr>
          </a:p>
        </p:txBody>
      </p:sp>
      <p:sp>
        <p:nvSpPr>
          <p:cNvPr id="59" name="Rectangle 29"/>
          <p:cNvSpPr/>
          <p:nvPr/>
        </p:nvSpPr>
        <p:spPr>
          <a:xfrm>
            <a:off x="207820" y="5200799"/>
            <a:ext cx="3503046" cy="1099508"/>
          </a:xfrm>
          <a:prstGeom prst="rect">
            <a:avLst/>
          </a:prstGeom>
          <a:solidFill>
            <a:schemeClr val="bg1"/>
          </a:solidFill>
          <a:ln w="1905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2760" tIns="108000" rIns="32760" bIns="32760" rtlCol="0" anchor="t"/>
          <a:lstStyle/>
          <a:p>
            <a:pPr marL="360000" defTabSz="457156"/>
            <a:endParaRPr lang="ru-RU" sz="10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0" name="Равнобедренный треугольник 59"/>
          <p:cNvSpPr/>
          <p:nvPr/>
        </p:nvSpPr>
        <p:spPr>
          <a:xfrm rot="5400000">
            <a:off x="3312999" y="5682799"/>
            <a:ext cx="1099508" cy="135508"/>
          </a:xfrm>
          <a:prstGeom prst="triangle">
            <a:avLst/>
          </a:prstGeom>
          <a:solidFill>
            <a:srgbClr val="E0E0E0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156"/>
            <a:endParaRPr lang="ru-RU" sz="1834" dirty="0">
              <a:solidFill>
                <a:srgbClr val="FFFFFF"/>
              </a:solidFill>
            </a:endParaRPr>
          </a:p>
        </p:txBody>
      </p:sp>
      <p:sp>
        <p:nvSpPr>
          <p:cNvPr id="61" name="Прямоугольник 60"/>
          <p:cNvSpPr/>
          <p:nvPr/>
        </p:nvSpPr>
        <p:spPr>
          <a:xfrm>
            <a:off x="1662243" y="5219556"/>
            <a:ext cx="2086640" cy="1080752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5520" tIns="32760" rIns="65520" bIns="32760" rtlCol="0" anchor="ctr" anchorCtr="0">
            <a:noAutofit/>
          </a:bodyPr>
          <a:lstStyle/>
          <a:p>
            <a:pPr defTabSz="457156">
              <a:spcBef>
                <a:spcPts val="546"/>
              </a:spcBef>
              <a:buClr>
                <a:srgbClr val="163A6E"/>
              </a:buClr>
              <a:buSzPct val="100000"/>
            </a:pPr>
            <a:r>
              <a:rPr lang="ru-RU" sz="1100" dirty="0" smtClean="0">
                <a:solidFill>
                  <a:srgbClr val="0A0A0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ысокоразрешающая сейсморазведка 3</a:t>
            </a:r>
            <a:r>
              <a:rPr lang="en-US" sz="1100" dirty="0" smtClean="0">
                <a:solidFill>
                  <a:srgbClr val="0A0A0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</a:t>
            </a:r>
            <a:r>
              <a:rPr lang="ru-RU" sz="1100" dirty="0" smtClean="0">
                <a:solidFill>
                  <a:srgbClr val="0A0A0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/2</a:t>
            </a:r>
            <a:r>
              <a:rPr lang="en-US" sz="1100" dirty="0" smtClean="0">
                <a:solidFill>
                  <a:srgbClr val="0A0A0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</a:t>
            </a:r>
            <a:endParaRPr lang="ru-RU" sz="1100" dirty="0">
              <a:solidFill>
                <a:srgbClr val="0A0A0A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62" name="Объект 7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540" r="17830"/>
          <a:stretch/>
        </p:blipFill>
        <p:spPr>
          <a:xfrm>
            <a:off x="250067" y="1641045"/>
            <a:ext cx="1388322" cy="995070"/>
          </a:xfrm>
          <a:prstGeom prst="rect">
            <a:avLst/>
          </a:prstGeom>
          <a:ln>
            <a:noFill/>
          </a:ln>
          <a:effectLst>
            <a:softEdge rad="0"/>
          </a:effectLst>
        </p:spPr>
      </p:pic>
      <p:pic>
        <p:nvPicPr>
          <p:cNvPr id="63" name="Рисунок 6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053" t="19753" r="31225" b="7475"/>
          <a:stretch/>
        </p:blipFill>
        <p:spPr bwMode="auto">
          <a:xfrm>
            <a:off x="207817" y="2805899"/>
            <a:ext cx="1430571" cy="1081679"/>
          </a:xfrm>
          <a:prstGeom prst="rect">
            <a:avLst/>
          </a:prstGeom>
          <a:noFill/>
          <a:ln>
            <a:noFill/>
          </a:ln>
          <a:effectLst>
            <a:softEdge rad="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4" name="Picture 5"/>
          <p:cNvPicPr>
            <a:picLocks noChangeAspect="1" noChangeArrowheads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422" r="296" b="6356"/>
          <a:stretch/>
        </p:blipFill>
        <p:spPr bwMode="auto">
          <a:xfrm>
            <a:off x="236232" y="4014672"/>
            <a:ext cx="1402155" cy="1044000"/>
          </a:xfrm>
          <a:prstGeom prst="rect">
            <a:avLst/>
          </a:prstGeom>
          <a:noFill/>
          <a:ln>
            <a:noFill/>
          </a:ln>
          <a:effectLst>
            <a:softEdge rad="0"/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5" name="Picture 6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5869" y="5228553"/>
            <a:ext cx="1402518" cy="1044000"/>
          </a:xfrm>
          <a:prstGeom prst="rect">
            <a:avLst/>
          </a:prstGeom>
          <a:noFill/>
          <a:ln>
            <a:noFill/>
          </a:ln>
          <a:effectLst>
            <a:softEdge rad="0"/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6" name="Рисунок 65" descr="D:\Фото\Geotech\VTEM\08_August_Front.JPG"/>
          <p:cNvPicPr/>
          <p:nvPr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304" t="6053" r="14847" b="16871"/>
          <a:stretch/>
        </p:blipFill>
        <p:spPr bwMode="auto">
          <a:xfrm>
            <a:off x="236233" y="1606586"/>
            <a:ext cx="1392050" cy="1070702"/>
          </a:xfrm>
          <a:prstGeom prst="rect">
            <a:avLst/>
          </a:prstGeom>
          <a:noFill/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</p:spTree>
    <p:extLst>
      <p:ext uri="{BB962C8B-B14F-4D97-AF65-F5344CB8AC3E}">
        <p14:creationId xmlns:p14="http://schemas.microsoft.com/office/powerpoint/2010/main" val="349884256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1000" fill="hold"/>
                                        <p:tgtEl>
                                          <p:spTgt spid="6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6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1000"/>
                                        <p:tgtEl>
                                          <p:spTgt spid="6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325878" y="53584"/>
            <a:ext cx="8494594" cy="834431"/>
          </a:xfrm>
        </p:spPr>
        <p:txBody>
          <a:bodyPr/>
          <a:lstStyle/>
          <a:p>
            <a:pPr algn="r"/>
            <a:r>
              <a:rPr lang="ru-RU" sz="2400" b="0" dirty="0"/>
              <a:t>Инновации в производстве ГРР </a:t>
            </a:r>
            <a:endParaRPr lang="ru-RU" sz="2400" b="0" dirty="0"/>
          </a:p>
        </p:txBody>
      </p:sp>
      <p:sp>
        <p:nvSpPr>
          <p:cNvPr id="43" name="Номер слайда 1"/>
          <p:cNvSpPr txBox="1">
            <a:spLocks/>
          </p:cNvSpPr>
          <p:nvPr/>
        </p:nvSpPr>
        <p:spPr>
          <a:xfrm>
            <a:off x="8431615" y="6505904"/>
            <a:ext cx="616688" cy="352096"/>
          </a:xfrm>
          <a:prstGeom prst="rect">
            <a:avLst/>
          </a:prstGeom>
        </p:spPr>
        <p:txBody>
          <a:bodyPr/>
          <a:lstStyle>
            <a:defPPr>
              <a:defRPr lang="ru-RU"/>
            </a:defPPr>
            <a:lvl1pPr marL="0" algn="l" defTabSz="910874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5437" algn="l" defTabSz="910874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0874" algn="l" defTabSz="910874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66308" algn="l" defTabSz="910874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1747" algn="l" defTabSz="910874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77182" algn="l" defTabSz="910874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32611" algn="l" defTabSz="910874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88059" algn="l" defTabSz="910874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43497" algn="l" defTabSz="910874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A96DCB7-DBA0-48BF-ACBB-2DE7F3E0B701}" type="slidenum">
              <a:rPr lang="ru-RU" smtClean="0"/>
              <a:pPr/>
              <a:t>13</a:t>
            </a:fld>
            <a:endParaRPr lang="ru-RU" dirty="0"/>
          </a:p>
        </p:txBody>
      </p:sp>
      <p:sp>
        <p:nvSpPr>
          <p:cNvPr id="44" name="Rectangle 29"/>
          <p:cNvSpPr/>
          <p:nvPr/>
        </p:nvSpPr>
        <p:spPr>
          <a:xfrm>
            <a:off x="3994951" y="2779979"/>
            <a:ext cx="5048025" cy="1088147"/>
          </a:xfrm>
          <a:prstGeom prst="rect">
            <a:avLst/>
          </a:prstGeom>
          <a:solidFill>
            <a:schemeClr val="bg1"/>
          </a:solidFill>
          <a:ln w="1905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32760" bIns="36000" rtlCol="0" anchor="ctr"/>
          <a:lstStyle/>
          <a:p>
            <a:pPr defTabSz="457156"/>
            <a:r>
              <a:rPr lang="ru-RU" sz="1100" dirty="0" smtClean="0">
                <a:solidFill>
                  <a:srgbClr val="0A0A0A"/>
                </a:solidFill>
              </a:rPr>
              <a:t>Изучение </a:t>
            </a:r>
            <a:r>
              <a:rPr lang="ru-RU" sz="1100" dirty="0">
                <a:solidFill>
                  <a:srgbClr val="0A0A0A"/>
                </a:solidFill>
              </a:rPr>
              <a:t>геологических объектов путем исследования особенностей прохождения через них сейсмических волн при различном взаимном расположении приемников и источников </a:t>
            </a:r>
            <a:r>
              <a:rPr lang="ru-RU" sz="1100" dirty="0" smtClean="0">
                <a:solidFill>
                  <a:srgbClr val="0A0A0A"/>
                </a:solidFill>
              </a:rPr>
              <a:t>колебаний</a:t>
            </a:r>
          </a:p>
          <a:p>
            <a:pPr marL="182563" indent="-182563" defTabSz="981334">
              <a:buSzPct val="100000"/>
              <a:buFont typeface="Verdana" panose="020B0604030504040204" pitchFamily="34" charset="0"/>
              <a:buChar char="•"/>
            </a:pPr>
            <a:r>
              <a:rPr lang="ru-RU" sz="1100" dirty="0" smtClean="0">
                <a:solidFill>
                  <a:srgbClr val="0A0A0A"/>
                </a:solidFill>
              </a:rPr>
              <a:t>детальное </a:t>
            </a:r>
            <a:r>
              <a:rPr lang="ru-RU" sz="1100" dirty="0">
                <a:solidFill>
                  <a:srgbClr val="0A0A0A"/>
                </a:solidFill>
              </a:rPr>
              <a:t>изучение структуры массива горных пород  в межскважинном </a:t>
            </a:r>
            <a:r>
              <a:rPr lang="ru-RU" sz="1100" dirty="0" smtClean="0">
                <a:solidFill>
                  <a:srgbClr val="0A0A0A"/>
                </a:solidFill>
              </a:rPr>
              <a:t>пространст</a:t>
            </a:r>
            <a:r>
              <a:rPr lang="ru-RU" sz="1100" dirty="0" smtClean="0">
                <a:solidFill>
                  <a:srgbClr val="0A0A0A"/>
                </a:solidFill>
                <a:latin typeface="Arial"/>
                <a:cs typeface="Times New Roman" panose="02020603050405020304" pitchFamily="18" charset="0"/>
              </a:rPr>
              <a:t>ве</a:t>
            </a:r>
            <a:endParaRPr lang="ru-RU" sz="1100" dirty="0">
              <a:solidFill>
                <a:srgbClr val="0A0A0A"/>
              </a:solidFill>
              <a:latin typeface="Arial"/>
              <a:cs typeface="Times New Roman" panose="02020603050405020304" pitchFamily="18" charset="0"/>
            </a:endParaRPr>
          </a:p>
        </p:txBody>
      </p:sp>
      <p:sp>
        <p:nvSpPr>
          <p:cNvPr id="45" name="Rectangle 29"/>
          <p:cNvSpPr/>
          <p:nvPr/>
        </p:nvSpPr>
        <p:spPr>
          <a:xfrm>
            <a:off x="207820" y="2784217"/>
            <a:ext cx="3503046" cy="1099508"/>
          </a:xfrm>
          <a:prstGeom prst="rect">
            <a:avLst/>
          </a:prstGeom>
          <a:solidFill>
            <a:schemeClr val="bg1"/>
          </a:solidFill>
          <a:ln w="1905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2760" tIns="108000" rIns="32760" bIns="32760" rtlCol="0" anchor="t"/>
          <a:lstStyle/>
          <a:p>
            <a:pPr marL="360000" defTabSz="457156"/>
            <a:endParaRPr lang="ru-RU" sz="10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6" name="Rectangle 2"/>
          <p:cNvSpPr/>
          <p:nvPr/>
        </p:nvSpPr>
        <p:spPr>
          <a:xfrm>
            <a:off x="207820" y="1121054"/>
            <a:ext cx="3503046" cy="306288"/>
          </a:xfrm>
          <a:prstGeom prst="rect">
            <a:avLst/>
          </a:prstGeom>
          <a:solidFill>
            <a:srgbClr val="002766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2760" tIns="32760" rIns="32760" bIns="32760" rtlCol="0" anchor="ctr"/>
          <a:lstStyle/>
          <a:p>
            <a:pPr algn="ctr" defTabSz="457156"/>
            <a:r>
              <a:rPr lang="ru-RU" sz="1500" b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лючевые инициативы</a:t>
            </a:r>
            <a:endParaRPr lang="en-US" sz="1500" b="1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7" name="Rectangle 2"/>
          <p:cNvSpPr/>
          <p:nvPr/>
        </p:nvSpPr>
        <p:spPr>
          <a:xfrm>
            <a:off x="3994951" y="1121054"/>
            <a:ext cx="5052272" cy="306288"/>
          </a:xfrm>
          <a:prstGeom prst="rect">
            <a:avLst/>
          </a:prstGeom>
          <a:solidFill>
            <a:srgbClr val="002766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2760" tIns="32760" rIns="32760" bIns="32760" rtlCol="0" anchor="ctr"/>
          <a:lstStyle/>
          <a:p>
            <a:pPr algn="ctr" defTabSz="457156"/>
            <a:r>
              <a:rPr lang="ru-RU" sz="1500" b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жидаемые эффекты</a:t>
            </a:r>
            <a:endParaRPr lang="en-US" sz="1500" b="1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8" name="Rectangle 29"/>
          <p:cNvSpPr/>
          <p:nvPr/>
        </p:nvSpPr>
        <p:spPr>
          <a:xfrm>
            <a:off x="192336" y="1548896"/>
            <a:ext cx="3503046" cy="1067829"/>
          </a:xfrm>
          <a:prstGeom prst="rect">
            <a:avLst/>
          </a:prstGeom>
          <a:solidFill>
            <a:schemeClr val="bg1"/>
          </a:solidFill>
          <a:ln w="1905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2760" tIns="108000" rIns="32760" bIns="32760" rtlCol="0" anchor="t"/>
          <a:lstStyle/>
          <a:p>
            <a:pPr defTabSz="457156"/>
            <a:endParaRPr lang="ru-RU" sz="1000" dirty="0">
              <a:solidFill>
                <a:srgbClr val="0A0A0A"/>
              </a:solidFill>
              <a:latin typeface="Arial (Основной текст)"/>
            </a:endParaRPr>
          </a:p>
        </p:txBody>
      </p:sp>
      <p:sp>
        <p:nvSpPr>
          <p:cNvPr id="49" name="Rectangle 22"/>
          <p:cNvSpPr/>
          <p:nvPr/>
        </p:nvSpPr>
        <p:spPr>
          <a:xfrm>
            <a:off x="3994951" y="1606586"/>
            <a:ext cx="5048025" cy="1062753"/>
          </a:xfrm>
          <a:prstGeom prst="rect">
            <a:avLst/>
          </a:prstGeom>
          <a:solidFill>
            <a:schemeClr val="bg1"/>
          </a:solidFill>
          <a:ln w="1905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32760" bIns="36000" rtlCol="0" anchor="ctr"/>
          <a:lstStyle/>
          <a:p>
            <a:pPr defTabSz="457156"/>
            <a:r>
              <a:rPr lang="ru-RU" sz="1100" dirty="0" smtClean="0">
                <a:solidFill>
                  <a:srgbClr val="0A0A0A"/>
                </a:solidFill>
              </a:rPr>
              <a:t>Основан </a:t>
            </a:r>
            <a:r>
              <a:rPr lang="ru-RU" sz="1100" dirty="0">
                <a:solidFill>
                  <a:srgbClr val="0A0A0A"/>
                </a:solidFill>
              </a:rPr>
              <a:t>на синхронной регистрации в полевых и базисных пунктах вариаций горизонтальных составляющих теллурического </a:t>
            </a:r>
            <a:r>
              <a:rPr lang="ru-RU" sz="1100" dirty="0" smtClean="0">
                <a:solidFill>
                  <a:srgbClr val="0A0A0A"/>
                </a:solidFill>
              </a:rPr>
              <a:t>поля. </a:t>
            </a:r>
            <a:endParaRPr lang="ru-RU" sz="1100" dirty="0">
              <a:solidFill>
                <a:srgbClr val="0A0A0A"/>
              </a:solidFill>
            </a:endParaRPr>
          </a:p>
          <a:p>
            <a:pPr marL="182563" indent="-182563" defTabSz="981334">
              <a:buSzPct val="100000"/>
              <a:buFont typeface="Verdana" panose="020B0604030504040204" pitchFamily="34" charset="0"/>
              <a:buChar char="•"/>
            </a:pPr>
            <a:r>
              <a:rPr lang="ru-RU" sz="1100" dirty="0" smtClean="0">
                <a:solidFill>
                  <a:srgbClr val="0A0A0A"/>
                </a:solidFill>
              </a:rPr>
              <a:t>структурный </a:t>
            </a:r>
            <a:r>
              <a:rPr lang="ru-RU" sz="1100" dirty="0">
                <a:solidFill>
                  <a:srgbClr val="0A0A0A"/>
                </a:solidFill>
              </a:rPr>
              <a:t>контроль кимберлитовых полей и отдельных </a:t>
            </a:r>
            <a:r>
              <a:rPr lang="ru-RU" sz="1100" dirty="0" smtClean="0">
                <a:solidFill>
                  <a:srgbClr val="0A0A0A"/>
                </a:solidFill>
              </a:rPr>
              <a:t>трубок</a:t>
            </a:r>
            <a:endParaRPr lang="ru-RU" sz="1100" dirty="0" smtClean="0">
              <a:solidFill>
                <a:srgbClr val="0A0A0A"/>
              </a:solidFill>
              <a:latin typeface="Arial"/>
              <a:cs typeface="Times New Roman" panose="02020603050405020304" pitchFamily="18" charset="0"/>
            </a:endParaRPr>
          </a:p>
          <a:p>
            <a:pPr marL="182563" indent="-182563" defTabSz="981334">
              <a:buSzPct val="100000"/>
              <a:buFont typeface="Verdana" panose="020B0604030504040204" pitchFamily="34" charset="0"/>
              <a:buChar char="•"/>
            </a:pPr>
            <a:r>
              <a:rPr lang="ru-RU" sz="1100" dirty="0">
                <a:solidFill>
                  <a:srgbClr val="0A0A0A"/>
                </a:solidFill>
                <a:latin typeface="Arial"/>
                <a:cs typeface="Times New Roman" panose="02020603050405020304" pitchFamily="18" charset="0"/>
              </a:rPr>
              <a:t>стадия опытно методических работ, возможности метода до конца не ясны</a:t>
            </a:r>
          </a:p>
          <a:p>
            <a:pPr marL="182563" indent="-182563" defTabSz="981334">
              <a:buSzPct val="100000"/>
              <a:buFont typeface="Verdana" panose="020B0604030504040204" pitchFamily="34" charset="0"/>
              <a:buChar char="•"/>
            </a:pPr>
            <a:endParaRPr lang="ru-RU" sz="1100" dirty="0">
              <a:solidFill>
                <a:srgbClr val="0A0A0A"/>
              </a:solidFill>
              <a:latin typeface="Arial"/>
              <a:cs typeface="Times New Roman" panose="02020603050405020304" pitchFamily="18" charset="0"/>
            </a:endParaRPr>
          </a:p>
        </p:txBody>
      </p:sp>
      <p:sp>
        <p:nvSpPr>
          <p:cNvPr id="50" name="Равнобедренный треугольник 49"/>
          <p:cNvSpPr/>
          <p:nvPr/>
        </p:nvSpPr>
        <p:spPr>
          <a:xfrm rot="5400000">
            <a:off x="3326432" y="2065263"/>
            <a:ext cx="1072643" cy="135508"/>
          </a:xfrm>
          <a:prstGeom prst="triangle">
            <a:avLst/>
          </a:prstGeom>
          <a:solidFill>
            <a:srgbClr val="E0E0E0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156"/>
            <a:endParaRPr lang="ru-RU" sz="1834" dirty="0">
              <a:solidFill>
                <a:srgbClr val="FFFFFF"/>
              </a:solidFill>
            </a:endParaRPr>
          </a:p>
        </p:txBody>
      </p:sp>
      <p:sp>
        <p:nvSpPr>
          <p:cNvPr id="51" name="Равнобедренный треугольник 50"/>
          <p:cNvSpPr/>
          <p:nvPr/>
        </p:nvSpPr>
        <p:spPr>
          <a:xfrm rot="5400000">
            <a:off x="3312999" y="3266217"/>
            <a:ext cx="1099508" cy="135508"/>
          </a:xfrm>
          <a:prstGeom prst="triangle">
            <a:avLst/>
          </a:prstGeom>
          <a:solidFill>
            <a:srgbClr val="E0E0E0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156"/>
            <a:endParaRPr lang="ru-RU" sz="1834" dirty="0">
              <a:solidFill>
                <a:srgbClr val="FFFFFF"/>
              </a:solidFill>
            </a:endParaRPr>
          </a:p>
        </p:txBody>
      </p:sp>
      <p:sp>
        <p:nvSpPr>
          <p:cNvPr id="52" name="Rectangle 29"/>
          <p:cNvSpPr/>
          <p:nvPr/>
        </p:nvSpPr>
        <p:spPr>
          <a:xfrm>
            <a:off x="3994951" y="3990651"/>
            <a:ext cx="5048025" cy="1099508"/>
          </a:xfrm>
          <a:prstGeom prst="rect">
            <a:avLst/>
          </a:prstGeom>
          <a:solidFill>
            <a:schemeClr val="bg1"/>
          </a:solidFill>
          <a:ln w="1905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2760" tIns="36000" rIns="32760" bIns="36000" rtlCol="0" anchor="ctr"/>
          <a:lstStyle/>
          <a:p>
            <a:pPr defTabSz="981334">
              <a:spcBef>
                <a:spcPts val="600"/>
              </a:spcBef>
              <a:buSzPct val="100000"/>
            </a:pPr>
            <a:r>
              <a:rPr lang="ru-RU" sz="1100" dirty="0" smtClean="0">
                <a:solidFill>
                  <a:srgbClr val="0A0A0A"/>
                </a:solidFill>
                <a:latin typeface="Arial"/>
                <a:cs typeface="Times New Roman" panose="02020603050405020304" pitchFamily="18" charset="0"/>
              </a:rPr>
              <a:t>Разбраковка аномалий</a:t>
            </a:r>
          </a:p>
          <a:p>
            <a:pPr marL="182563" indent="-182563" defTabSz="981334">
              <a:buSzPct val="100000"/>
              <a:buFont typeface="Verdana" panose="020B0604030504040204" pitchFamily="34" charset="0"/>
              <a:buChar char="•"/>
            </a:pPr>
            <a:r>
              <a:rPr lang="ru-RU" sz="1100" dirty="0" smtClean="0">
                <a:solidFill>
                  <a:srgbClr val="0A0A0A"/>
                </a:solidFill>
                <a:latin typeface="Arial"/>
                <a:cs typeface="Times New Roman" panose="02020603050405020304" pitchFamily="18" charset="0"/>
              </a:rPr>
              <a:t>теоретическая возможность </a:t>
            </a:r>
            <a:r>
              <a:rPr lang="ru-RU" sz="1100" dirty="0">
                <a:solidFill>
                  <a:srgbClr val="0A0A0A"/>
                </a:solidFill>
                <a:latin typeface="Arial"/>
                <a:cs typeface="Times New Roman" panose="02020603050405020304" pitchFamily="18" charset="0"/>
              </a:rPr>
              <a:t>определять </a:t>
            </a:r>
            <a:r>
              <a:rPr lang="ru-RU" sz="1100" dirty="0" smtClean="0">
                <a:solidFill>
                  <a:srgbClr val="0A0A0A"/>
                </a:solidFill>
                <a:latin typeface="Arial"/>
                <a:cs typeface="Times New Roman" panose="02020603050405020304" pitchFamily="18" charset="0"/>
              </a:rPr>
              <a:t>возраст и природу </a:t>
            </a:r>
            <a:r>
              <a:rPr lang="ru-RU" sz="1100" dirty="0">
                <a:solidFill>
                  <a:srgbClr val="0A0A0A"/>
                </a:solidFill>
                <a:latin typeface="Arial"/>
                <a:cs typeface="Times New Roman" panose="02020603050405020304" pitchFamily="18" charset="0"/>
              </a:rPr>
              <a:t>аномальных </a:t>
            </a:r>
            <a:r>
              <a:rPr lang="ru-RU" sz="1100" dirty="0" smtClean="0">
                <a:solidFill>
                  <a:srgbClr val="0A0A0A"/>
                </a:solidFill>
                <a:latin typeface="Arial"/>
                <a:cs typeface="Times New Roman" panose="02020603050405020304" pitchFamily="18" charset="0"/>
              </a:rPr>
              <a:t>объектов</a:t>
            </a:r>
          </a:p>
          <a:p>
            <a:pPr marL="182563" indent="-182563" defTabSz="981334">
              <a:buSzPct val="100000"/>
              <a:buFont typeface="Verdana" panose="020B0604030504040204" pitchFamily="34" charset="0"/>
              <a:buChar char="•"/>
            </a:pPr>
            <a:r>
              <a:rPr lang="ru-RU" sz="1100" dirty="0" smtClean="0">
                <a:solidFill>
                  <a:srgbClr val="0A0A0A"/>
                </a:solidFill>
                <a:latin typeface="Arial"/>
                <a:cs typeface="Times New Roman" panose="02020603050405020304" pitchFamily="18" charset="0"/>
              </a:rPr>
              <a:t>Не в полной мере разработан математический аппарат обработки данных съемки</a:t>
            </a:r>
            <a:endParaRPr lang="ru-RU" sz="1100" dirty="0">
              <a:solidFill>
                <a:srgbClr val="0A0A0A"/>
              </a:solidFill>
              <a:latin typeface="Arial"/>
              <a:cs typeface="Times New Roman" panose="02020603050405020304" pitchFamily="18" charset="0"/>
            </a:endParaRPr>
          </a:p>
        </p:txBody>
      </p:sp>
      <p:sp>
        <p:nvSpPr>
          <p:cNvPr id="53" name="Rectangle 29"/>
          <p:cNvSpPr/>
          <p:nvPr/>
        </p:nvSpPr>
        <p:spPr>
          <a:xfrm>
            <a:off x="207820" y="3990651"/>
            <a:ext cx="3503046" cy="1099508"/>
          </a:xfrm>
          <a:prstGeom prst="rect">
            <a:avLst/>
          </a:prstGeom>
          <a:solidFill>
            <a:schemeClr val="bg1"/>
          </a:solidFill>
          <a:ln w="1905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2760" tIns="108000" rIns="32760" bIns="32760" rtlCol="0" anchor="t"/>
          <a:lstStyle/>
          <a:p>
            <a:pPr marL="360000" defTabSz="457156"/>
            <a:endParaRPr lang="ru-RU" sz="10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4" name="Равнобедренный треугольник 53"/>
          <p:cNvSpPr/>
          <p:nvPr/>
        </p:nvSpPr>
        <p:spPr>
          <a:xfrm rot="5400000">
            <a:off x="3312999" y="4472651"/>
            <a:ext cx="1099508" cy="135508"/>
          </a:xfrm>
          <a:prstGeom prst="triangle">
            <a:avLst/>
          </a:prstGeom>
          <a:solidFill>
            <a:srgbClr val="E0E0E0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156"/>
            <a:endParaRPr lang="ru-RU" sz="1834" dirty="0">
              <a:solidFill>
                <a:srgbClr val="FFFFFF"/>
              </a:solidFill>
            </a:endParaRPr>
          </a:p>
        </p:txBody>
      </p:sp>
      <p:sp>
        <p:nvSpPr>
          <p:cNvPr id="55" name="Rectangle 28"/>
          <p:cNvSpPr/>
          <p:nvPr>
            <p:custDataLst>
              <p:tags r:id="rId1"/>
            </p:custDataLst>
          </p:nvPr>
        </p:nvSpPr>
        <p:spPr>
          <a:xfrm>
            <a:off x="1662243" y="1607707"/>
            <a:ext cx="2048624" cy="1069582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5520" tIns="32760" rIns="65520" bIns="32760" rtlCol="0" anchor="ctr" anchorCtr="0">
            <a:noAutofit/>
          </a:bodyPr>
          <a:lstStyle/>
          <a:p>
            <a:pPr defTabSz="457156">
              <a:spcBef>
                <a:spcPts val="546"/>
              </a:spcBef>
              <a:buClr>
                <a:srgbClr val="163A6E"/>
              </a:buClr>
              <a:buSzPct val="100000"/>
            </a:pPr>
            <a:endParaRPr lang="ru-RU" sz="1100" dirty="0">
              <a:solidFill>
                <a:srgbClr val="003149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6" name="Rectangle 28"/>
          <p:cNvSpPr/>
          <p:nvPr>
            <p:custDataLst>
              <p:tags r:id="rId2"/>
            </p:custDataLst>
          </p:nvPr>
        </p:nvSpPr>
        <p:spPr>
          <a:xfrm>
            <a:off x="1662243" y="2825682"/>
            <a:ext cx="2048623" cy="1069582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5520" tIns="32760" rIns="65520" bIns="32760" rtlCol="0" anchor="ctr" anchorCtr="0">
            <a:noAutofit/>
          </a:bodyPr>
          <a:lstStyle/>
          <a:p>
            <a:pPr defTabSz="457156"/>
            <a:endParaRPr lang="ru-RU" sz="800" dirty="0">
              <a:solidFill>
                <a:srgbClr val="0A0A0A"/>
              </a:solidFill>
              <a:latin typeface="Arial (Основной текст)"/>
            </a:endParaRPr>
          </a:p>
        </p:txBody>
      </p:sp>
      <p:sp>
        <p:nvSpPr>
          <p:cNvPr id="57" name="Rectangle 28"/>
          <p:cNvSpPr/>
          <p:nvPr>
            <p:custDataLst>
              <p:tags r:id="rId3"/>
            </p:custDataLst>
          </p:nvPr>
        </p:nvSpPr>
        <p:spPr>
          <a:xfrm>
            <a:off x="1662243" y="4002604"/>
            <a:ext cx="2048623" cy="1069582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5520" tIns="32760" rIns="65520" bIns="32760" rtlCol="0" anchor="ctr" anchorCtr="0">
            <a:noAutofit/>
          </a:bodyPr>
          <a:lstStyle/>
          <a:p>
            <a:pPr defTabSz="457156">
              <a:spcBef>
                <a:spcPts val="546"/>
              </a:spcBef>
              <a:buClr>
                <a:srgbClr val="163A6E"/>
              </a:buClr>
              <a:buSzPct val="100000"/>
            </a:pPr>
            <a:endParaRPr lang="ru-RU" sz="1100" dirty="0">
              <a:solidFill>
                <a:srgbClr val="003149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8" name="Rectangle 29"/>
          <p:cNvSpPr/>
          <p:nvPr/>
        </p:nvSpPr>
        <p:spPr>
          <a:xfrm>
            <a:off x="3994951" y="5200799"/>
            <a:ext cx="5048025" cy="1099508"/>
          </a:xfrm>
          <a:prstGeom prst="rect">
            <a:avLst/>
          </a:prstGeom>
          <a:solidFill>
            <a:schemeClr val="bg1"/>
          </a:solidFill>
          <a:ln w="1905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2760" tIns="36000" rIns="32760" bIns="36000" rtlCol="0" anchor="ctr"/>
          <a:lstStyle/>
          <a:p>
            <a:pPr defTabSz="981334">
              <a:spcBef>
                <a:spcPts val="600"/>
              </a:spcBef>
              <a:buSzPct val="100000"/>
            </a:pPr>
            <a:r>
              <a:rPr lang="ru-RU" sz="1100" dirty="0" smtClean="0">
                <a:solidFill>
                  <a:srgbClr val="0A0A0A"/>
                </a:solidFill>
                <a:latin typeface="Arial"/>
                <a:cs typeface="Times New Roman" panose="02020603050405020304" pitchFamily="18" charset="0"/>
              </a:rPr>
              <a:t>Современное направление, </a:t>
            </a:r>
            <a:r>
              <a:rPr lang="ru-RU" sz="1100" dirty="0">
                <a:solidFill>
                  <a:srgbClr val="0A0A0A"/>
                </a:solidFill>
                <a:latin typeface="Arial"/>
                <a:cs typeface="Times New Roman" panose="02020603050405020304" pitchFamily="18" charset="0"/>
              </a:rPr>
              <a:t>предназначенное для получения двумерных и трехмерных геоэлектрических разрезов из измерений полученных на поверхности земли или в </a:t>
            </a:r>
            <a:r>
              <a:rPr lang="ru-RU" sz="1100" dirty="0" smtClean="0">
                <a:solidFill>
                  <a:srgbClr val="0A0A0A"/>
                </a:solidFill>
                <a:latin typeface="Arial"/>
                <a:cs typeface="Times New Roman" panose="02020603050405020304" pitchFamily="18" charset="0"/>
              </a:rPr>
              <a:t>скважинах</a:t>
            </a:r>
          </a:p>
          <a:p>
            <a:pPr marL="171450" indent="-171450" defTabSz="981334">
              <a:spcBef>
                <a:spcPts val="600"/>
              </a:spcBef>
              <a:buSzPct val="100000"/>
              <a:buFont typeface="Arial" panose="020B0604020202020204" pitchFamily="34" charset="0"/>
              <a:buChar char="•"/>
            </a:pPr>
            <a:r>
              <a:rPr lang="ru-RU" sz="1100" dirty="0" smtClean="0">
                <a:solidFill>
                  <a:srgbClr val="0A0A0A"/>
                </a:solidFill>
                <a:latin typeface="Arial"/>
                <a:cs typeface="Times New Roman" panose="02020603050405020304" pitchFamily="18" charset="0"/>
              </a:rPr>
              <a:t>приобретение </a:t>
            </a:r>
            <a:r>
              <a:rPr lang="ru-RU" sz="1100" dirty="0">
                <a:solidFill>
                  <a:srgbClr val="0A0A0A"/>
                </a:solidFill>
                <a:latin typeface="Arial"/>
                <a:cs typeface="Times New Roman" panose="02020603050405020304" pitchFamily="18" charset="0"/>
              </a:rPr>
              <a:t>аппаратурного комплекса СКАЛА64</a:t>
            </a:r>
          </a:p>
          <a:p>
            <a:pPr marL="182563" indent="-182563" defTabSz="981334">
              <a:buSzPct val="100000"/>
              <a:buFont typeface="Arial" panose="020B0604020202020204" pitchFamily="34" charset="0"/>
              <a:buChar char="•"/>
            </a:pPr>
            <a:r>
              <a:rPr lang="ru-RU" sz="1100" dirty="0" smtClean="0">
                <a:solidFill>
                  <a:srgbClr val="0A0A0A"/>
                </a:solidFill>
                <a:latin typeface="Arial"/>
                <a:cs typeface="Times New Roman" panose="02020603050405020304" pitchFamily="18" charset="0"/>
              </a:rPr>
              <a:t>решение </a:t>
            </a:r>
            <a:r>
              <a:rPr lang="ru-RU" sz="1100" dirty="0">
                <a:solidFill>
                  <a:srgbClr val="0A0A0A"/>
                </a:solidFill>
                <a:latin typeface="Arial"/>
                <a:cs typeface="Times New Roman" panose="02020603050405020304" pitchFamily="18" charset="0"/>
              </a:rPr>
              <a:t>гидрогеологических и инженерных </a:t>
            </a:r>
            <a:r>
              <a:rPr lang="ru-RU" sz="1100" dirty="0" smtClean="0">
                <a:solidFill>
                  <a:srgbClr val="0A0A0A"/>
                </a:solidFill>
                <a:latin typeface="Arial"/>
                <a:cs typeface="Times New Roman" panose="02020603050405020304" pitchFamily="18" charset="0"/>
              </a:rPr>
              <a:t>задач</a:t>
            </a:r>
            <a:endParaRPr lang="ru-RU" sz="1100" b="1" dirty="0">
              <a:solidFill>
                <a:srgbClr val="0A0A0A"/>
              </a:solidFill>
              <a:latin typeface="Arial"/>
              <a:cs typeface="Times New Roman" panose="02020603050405020304" pitchFamily="18" charset="0"/>
            </a:endParaRPr>
          </a:p>
        </p:txBody>
      </p:sp>
      <p:sp>
        <p:nvSpPr>
          <p:cNvPr id="59" name="Rectangle 29"/>
          <p:cNvSpPr/>
          <p:nvPr/>
        </p:nvSpPr>
        <p:spPr>
          <a:xfrm>
            <a:off x="192336" y="5200799"/>
            <a:ext cx="3503046" cy="1099508"/>
          </a:xfrm>
          <a:prstGeom prst="rect">
            <a:avLst/>
          </a:prstGeom>
          <a:solidFill>
            <a:schemeClr val="bg1"/>
          </a:solidFill>
          <a:ln w="1905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2760" tIns="108000" rIns="32760" bIns="32760" rtlCol="0" anchor="t"/>
          <a:lstStyle/>
          <a:p>
            <a:pPr marL="360000" defTabSz="457156"/>
            <a:endParaRPr lang="ru-RU" sz="10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0" name="Равнобедренный треугольник 59"/>
          <p:cNvSpPr/>
          <p:nvPr/>
        </p:nvSpPr>
        <p:spPr>
          <a:xfrm rot="5400000">
            <a:off x="3312999" y="5682799"/>
            <a:ext cx="1099508" cy="135508"/>
          </a:xfrm>
          <a:prstGeom prst="triangle">
            <a:avLst/>
          </a:prstGeom>
          <a:solidFill>
            <a:srgbClr val="E0E0E0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156"/>
            <a:endParaRPr lang="ru-RU" sz="1834" dirty="0">
              <a:solidFill>
                <a:srgbClr val="FFFFFF"/>
              </a:solidFill>
            </a:endParaRPr>
          </a:p>
        </p:txBody>
      </p:sp>
      <p:sp>
        <p:nvSpPr>
          <p:cNvPr id="61" name="Прямоугольник 60"/>
          <p:cNvSpPr/>
          <p:nvPr/>
        </p:nvSpPr>
        <p:spPr>
          <a:xfrm>
            <a:off x="1662243" y="5219556"/>
            <a:ext cx="2086640" cy="1080752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5520" tIns="32760" rIns="65520" bIns="32760" rtlCol="0" anchor="ctr" anchorCtr="0">
            <a:noAutofit/>
          </a:bodyPr>
          <a:lstStyle/>
          <a:p>
            <a:pPr defTabSz="457156">
              <a:spcBef>
                <a:spcPts val="546"/>
              </a:spcBef>
              <a:buClr>
                <a:srgbClr val="163A6E"/>
              </a:buClr>
              <a:buSzPct val="100000"/>
            </a:pPr>
            <a:endParaRPr lang="ru-RU" sz="1100" dirty="0">
              <a:solidFill>
                <a:srgbClr val="003149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62" name="Picture 3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3072" y="1574974"/>
            <a:ext cx="1440000" cy="1019675"/>
          </a:xfrm>
          <a:prstGeom prst="rect">
            <a:avLst/>
          </a:prstGeom>
          <a:noFill/>
          <a:ln>
            <a:noFill/>
          </a:ln>
          <a:effectLst>
            <a:softEdge rad="63500"/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3" name="TextBox 62"/>
          <p:cNvSpPr txBox="1"/>
          <p:nvPr/>
        </p:nvSpPr>
        <p:spPr>
          <a:xfrm>
            <a:off x="1725302" y="1793549"/>
            <a:ext cx="189387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57156"/>
            <a:r>
              <a:rPr lang="ru-RU" sz="1000" dirty="0" smtClean="0">
                <a:solidFill>
                  <a:srgbClr val="0A0A0A"/>
                </a:solidFill>
                <a:latin typeface="Futura New Medium"/>
              </a:rPr>
              <a:t>Метод теллурических токов</a:t>
            </a:r>
            <a:endParaRPr lang="ru-RU" sz="1000" dirty="0">
              <a:solidFill>
                <a:srgbClr val="0A0A0A"/>
              </a:solidFill>
              <a:latin typeface="Futura New Medium"/>
            </a:endParaRPr>
          </a:p>
        </p:txBody>
      </p:sp>
      <p:pic>
        <p:nvPicPr>
          <p:cNvPr id="64" name="Picture 4"/>
          <p:cNvPicPr preferRelativeResize="0">
            <a:picLocks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1581" y="2809393"/>
            <a:ext cx="1440000" cy="1022400"/>
          </a:xfrm>
          <a:prstGeom prst="rect">
            <a:avLst/>
          </a:prstGeom>
          <a:noFill/>
          <a:ln>
            <a:noFill/>
          </a:ln>
          <a:effectLst>
            <a:softEdge rad="63500"/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5" name="TextBox 64"/>
          <p:cNvSpPr txBox="1"/>
          <p:nvPr/>
        </p:nvSpPr>
        <p:spPr>
          <a:xfrm>
            <a:off x="1687543" y="3027544"/>
            <a:ext cx="203604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57156"/>
            <a:r>
              <a:rPr lang="ru-RU" sz="1000" dirty="0" smtClean="0">
                <a:solidFill>
                  <a:srgbClr val="0A0A0A"/>
                </a:solidFill>
              </a:rPr>
              <a:t>Межскважинное сейсмическое просвечивание</a:t>
            </a:r>
            <a:endParaRPr lang="ru-RU" sz="1000" dirty="0">
              <a:solidFill>
                <a:srgbClr val="0A0A0A"/>
              </a:solidFill>
            </a:endParaRPr>
          </a:p>
        </p:txBody>
      </p:sp>
      <p:sp>
        <p:nvSpPr>
          <p:cNvPr id="66" name="TextBox 65"/>
          <p:cNvSpPr txBox="1"/>
          <p:nvPr/>
        </p:nvSpPr>
        <p:spPr>
          <a:xfrm>
            <a:off x="1654221" y="4179511"/>
            <a:ext cx="2036040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57156"/>
            <a:r>
              <a:rPr lang="ru-RU" sz="1000" dirty="0" err="1" smtClean="0">
                <a:solidFill>
                  <a:srgbClr val="0A0A0A"/>
                </a:solidFill>
              </a:rPr>
              <a:t>Полнотензорная</a:t>
            </a:r>
            <a:r>
              <a:rPr lang="ru-RU" sz="1000" dirty="0" smtClean="0">
                <a:solidFill>
                  <a:srgbClr val="0A0A0A"/>
                </a:solidFill>
              </a:rPr>
              <a:t> </a:t>
            </a:r>
            <a:r>
              <a:rPr lang="ru-RU" sz="1000" dirty="0" err="1" smtClean="0">
                <a:solidFill>
                  <a:srgbClr val="0A0A0A"/>
                </a:solidFill>
              </a:rPr>
              <a:t>градиентометрия</a:t>
            </a:r>
            <a:r>
              <a:rPr lang="ru-RU" sz="1000" dirty="0" smtClean="0">
                <a:solidFill>
                  <a:srgbClr val="0A0A0A"/>
                </a:solidFill>
              </a:rPr>
              <a:t> системой </a:t>
            </a:r>
            <a:r>
              <a:rPr lang="en-US" sz="1000" dirty="0">
                <a:solidFill>
                  <a:srgbClr val="000000"/>
                </a:solidFill>
              </a:rPr>
              <a:t>Jessy </a:t>
            </a:r>
            <a:r>
              <a:rPr lang="en-US" sz="1000" dirty="0" smtClean="0">
                <a:solidFill>
                  <a:srgbClr val="000000"/>
                </a:solidFill>
              </a:rPr>
              <a:t>Star</a:t>
            </a:r>
            <a:endParaRPr lang="ru-RU" sz="1000" dirty="0">
              <a:solidFill>
                <a:srgbClr val="000000"/>
              </a:solidFill>
            </a:endParaRPr>
          </a:p>
        </p:txBody>
      </p:sp>
      <p:pic>
        <p:nvPicPr>
          <p:cNvPr id="67" name="Рисунок 66"/>
          <p:cNvPicPr>
            <a:picLocks noChangeAspect="1"/>
          </p:cNvPicPr>
          <p:nvPr/>
        </p:nvPicPr>
        <p:blipFill rotWithShape="1">
          <a:blip r:embed="rId8"/>
          <a:srcRect l="21209" t="7731" r="14815" b="7768"/>
          <a:stretch/>
        </p:blipFill>
        <p:spPr>
          <a:xfrm>
            <a:off x="230941" y="4051217"/>
            <a:ext cx="1347169" cy="1080000"/>
          </a:xfrm>
          <a:prstGeom prst="rect">
            <a:avLst/>
          </a:prstGeom>
          <a:ln>
            <a:noFill/>
          </a:ln>
          <a:effectLst>
            <a:softEdge rad="88900"/>
          </a:effectLst>
        </p:spPr>
      </p:pic>
      <p:sp>
        <p:nvSpPr>
          <p:cNvPr id="68" name="TextBox 67"/>
          <p:cNvSpPr txBox="1"/>
          <p:nvPr/>
        </p:nvSpPr>
        <p:spPr>
          <a:xfrm>
            <a:off x="1674826" y="5564055"/>
            <a:ext cx="203604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57156"/>
            <a:r>
              <a:rPr lang="ru-RU" sz="1000" dirty="0" smtClean="0">
                <a:solidFill>
                  <a:srgbClr val="0A0A0A"/>
                </a:solidFill>
              </a:rPr>
              <a:t>Электротомография</a:t>
            </a:r>
            <a:endParaRPr lang="ru-RU" sz="1000" dirty="0">
              <a:solidFill>
                <a:srgbClr val="000000"/>
              </a:solidFill>
            </a:endParaRPr>
          </a:p>
        </p:txBody>
      </p:sp>
      <p:pic>
        <p:nvPicPr>
          <p:cNvPr id="69" name="Рисунок 68"/>
          <p:cNvPicPr>
            <a:picLocks noChangeAspect="1"/>
          </p:cNvPicPr>
          <p:nvPr/>
        </p:nvPicPr>
        <p:blipFill rotWithShape="1">
          <a:blip r:embed="rId9"/>
          <a:srcRect l="2080" r="1" b="5877"/>
          <a:stretch/>
        </p:blipFill>
        <p:spPr>
          <a:xfrm rot="5400000">
            <a:off x="530615" y="4955793"/>
            <a:ext cx="871892" cy="1517482"/>
          </a:xfrm>
          <a:prstGeom prst="rect">
            <a:avLst/>
          </a:prstGeom>
          <a:effectLst>
            <a:softEdge rad="63500"/>
          </a:effectLst>
        </p:spPr>
      </p:pic>
    </p:spTree>
    <p:extLst>
      <p:ext uri="{BB962C8B-B14F-4D97-AF65-F5344CB8AC3E}">
        <p14:creationId xmlns:p14="http://schemas.microsoft.com/office/powerpoint/2010/main" val="9095909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168404" y="53600"/>
            <a:ext cx="8869266" cy="834431"/>
          </a:xfrm>
        </p:spPr>
        <p:txBody>
          <a:bodyPr/>
          <a:lstStyle/>
          <a:p>
            <a:pPr algn="r"/>
            <a:r>
              <a:rPr lang="ru-RU" sz="2400" b="0" dirty="0"/>
              <a:t>Р</a:t>
            </a:r>
            <a:r>
              <a:rPr lang="ru-RU" sz="2400" b="0" dirty="0" smtClean="0"/>
              <a:t>еструктуризация геологоразведочного комплекса</a:t>
            </a:r>
            <a:endParaRPr lang="ru-RU" sz="2400" b="0" dirty="0"/>
          </a:p>
        </p:txBody>
      </p:sp>
      <p:sp>
        <p:nvSpPr>
          <p:cNvPr id="120" name="BainBulletsConfiguration" hidden="1"/>
          <p:cNvSpPr txBox="1"/>
          <p:nvPr/>
        </p:nvSpPr>
        <p:spPr>
          <a:xfrm>
            <a:off x="11209" y="12068"/>
            <a:ext cx="7846522" cy="83639"/>
          </a:xfrm>
          <a:prstGeom prst="rect">
            <a:avLst/>
          </a:prstGeom>
          <a:noFill/>
        </p:spPr>
        <p:txBody>
          <a:bodyPr vert="horz" wrap="square" lIns="32691" tIns="32691" rIns="32691" bIns="32691" rtlCol="0">
            <a:spAutoFit/>
          </a:bodyPr>
          <a:lstStyle/>
          <a:p>
            <a:pPr defTabSz="891127"/>
            <a:r>
              <a:rPr lang="ru-RU" sz="100" dirty="0">
                <a:solidFill>
                  <a:srgbClr val="FFFFFF"/>
                </a:solidFill>
              </a:rPr>
              <a:t>52_89 7_84 78_88 81_88 49_84</a:t>
            </a:r>
          </a:p>
        </p:txBody>
      </p:sp>
      <p:sp>
        <p:nvSpPr>
          <p:cNvPr id="69" name="TextBox 1"/>
          <p:cNvSpPr txBox="1"/>
          <p:nvPr>
            <p:custDataLst>
              <p:tags r:id="rId1"/>
            </p:custDataLst>
          </p:nvPr>
        </p:nvSpPr>
        <p:spPr>
          <a:xfrm>
            <a:off x="231095" y="1383569"/>
            <a:ext cx="3971805" cy="494336"/>
          </a:xfrm>
          <a:prstGeom prst="rect">
            <a:avLst/>
          </a:prstGeom>
          <a:blipFill dpi="0" rotWithShape="1">
            <a:blip r:embed="rId5"/>
            <a:srcRect/>
            <a:tile tx="0" ty="0" sx="100000" sy="100000" flip="xy" algn="b"/>
          </a:blipFill>
        </p:spPr>
        <p:txBody>
          <a:bodyPr vert="horz" wrap="square" lIns="0" tIns="0" rIns="0" bIns="80899" rtlCol="0" anchor="b">
            <a:spAutoFit/>
          </a:bodyPr>
          <a:lstStyle/>
          <a:p>
            <a:pPr algn="ctr" defTabSz="912804"/>
            <a:r>
              <a:rPr lang="ru-RU" sz="1500" cap="all" dirty="0">
                <a:solidFill>
                  <a:srgbClr val="00294F"/>
                </a:solidFill>
              </a:rPr>
              <a:t>Структура ГРК на </a:t>
            </a:r>
            <a:r>
              <a:rPr lang="ru-RU" sz="1500" cap="all" dirty="0" smtClean="0">
                <a:solidFill>
                  <a:srgbClr val="00294F"/>
                </a:solidFill>
              </a:rPr>
              <a:t>01.01.2017</a:t>
            </a:r>
            <a:endParaRPr lang="ru-RU" sz="1500" cap="all" dirty="0">
              <a:solidFill>
                <a:srgbClr val="00294F"/>
              </a:solidFill>
            </a:endParaRPr>
          </a:p>
          <a:p>
            <a:pPr algn="ctr" defTabSz="912804"/>
            <a:r>
              <a:rPr lang="ru-RU" sz="1100" cap="all" dirty="0">
                <a:solidFill>
                  <a:srgbClr val="00294F"/>
                </a:solidFill>
              </a:rPr>
              <a:t>(без учета </a:t>
            </a:r>
            <a:r>
              <a:rPr lang="ru-RU" sz="1100" cap="all" dirty="0" err="1">
                <a:solidFill>
                  <a:srgbClr val="00294F"/>
                </a:solidFill>
              </a:rPr>
              <a:t>дзо</a:t>
            </a:r>
            <a:r>
              <a:rPr lang="ru-RU" sz="1100" cap="all" dirty="0">
                <a:solidFill>
                  <a:srgbClr val="00294F"/>
                </a:solidFill>
              </a:rPr>
              <a:t>)</a:t>
            </a:r>
          </a:p>
        </p:txBody>
      </p:sp>
      <p:sp>
        <p:nvSpPr>
          <p:cNvPr id="70" name="TextBox 1"/>
          <p:cNvSpPr txBox="1"/>
          <p:nvPr>
            <p:custDataLst>
              <p:tags r:id="rId2"/>
            </p:custDataLst>
          </p:nvPr>
        </p:nvSpPr>
        <p:spPr>
          <a:xfrm>
            <a:off x="4848667" y="1383569"/>
            <a:ext cx="3971805" cy="494336"/>
          </a:xfrm>
          <a:prstGeom prst="rect">
            <a:avLst/>
          </a:prstGeom>
          <a:blipFill dpi="0" rotWithShape="1">
            <a:blip r:embed="rId5"/>
            <a:srcRect/>
            <a:tile tx="0" ty="0" sx="100000" sy="100000" flip="xy" algn="b"/>
          </a:blipFill>
        </p:spPr>
        <p:txBody>
          <a:bodyPr vert="horz" wrap="square" lIns="0" tIns="0" rIns="0" bIns="80899" rtlCol="0" anchor="b">
            <a:spAutoFit/>
          </a:bodyPr>
          <a:lstStyle/>
          <a:p>
            <a:pPr algn="ctr" defTabSz="912804"/>
            <a:r>
              <a:rPr lang="ru-RU" sz="1500" cap="all" dirty="0">
                <a:solidFill>
                  <a:srgbClr val="00294F"/>
                </a:solidFill>
              </a:rPr>
              <a:t>Структура ГРК на 01.10.2017</a:t>
            </a:r>
          </a:p>
          <a:p>
            <a:pPr algn="ctr" defTabSz="912804"/>
            <a:r>
              <a:rPr lang="ru-RU" sz="1100" cap="all" dirty="0">
                <a:solidFill>
                  <a:srgbClr val="00294F"/>
                </a:solidFill>
              </a:rPr>
              <a:t>(без учета </a:t>
            </a:r>
            <a:r>
              <a:rPr lang="ru-RU" sz="1100" cap="all" dirty="0" err="1">
                <a:solidFill>
                  <a:srgbClr val="00294F"/>
                </a:solidFill>
              </a:rPr>
              <a:t>дзо</a:t>
            </a:r>
            <a:r>
              <a:rPr lang="ru-RU" sz="1100" cap="all" dirty="0">
                <a:solidFill>
                  <a:srgbClr val="00294F"/>
                </a:solidFill>
              </a:rPr>
              <a:t>)</a:t>
            </a:r>
          </a:p>
        </p:txBody>
      </p:sp>
      <p:sp>
        <p:nvSpPr>
          <p:cNvPr id="71" name="Rectangle 159"/>
          <p:cNvSpPr/>
          <p:nvPr/>
        </p:nvSpPr>
        <p:spPr>
          <a:xfrm>
            <a:off x="1622042" y="1943083"/>
            <a:ext cx="1270978" cy="438214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2760" tIns="0" rIns="32760" bIns="32760" rtlCol="0" anchor="ctr"/>
          <a:lstStyle/>
          <a:p>
            <a:pPr algn="ctr" defTabSz="912804"/>
            <a:r>
              <a:rPr lang="ru-RU" sz="900" dirty="0">
                <a:solidFill>
                  <a:srgbClr val="00294F"/>
                </a:solidFill>
              </a:rPr>
              <a:t>Служба Главного Геолога</a:t>
            </a:r>
            <a:endParaRPr lang="en-US" sz="900" dirty="0">
              <a:solidFill>
                <a:srgbClr val="00294F"/>
              </a:solidFill>
            </a:endParaRPr>
          </a:p>
        </p:txBody>
      </p:sp>
      <p:sp>
        <p:nvSpPr>
          <p:cNvPr id="72" name="Rectangle 159"/>
          <p:cNvSpPr/>
          <p:nvPr/>
        </p:nvSpPr>
        <p:spPr>
          <a:xfrm>
            <a:off x="1274002" y="2663834"/>
            <a:ext cx="924152" cy="438214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2760" tIns="0" rIns="32760" bIns="32760" rtlCol="0" anchor="ctr"/>
          <a:lstStyle/>
          <a:p>
            <a:pPr algn="ctr" defTabSz="912804"/>
            <a:r>
              <a:rPr lang="ru-RU" sz="900" dirty="0" err="1">
                <a:solidFill>
                  <a:srgbClr val="00294F"/>
                </a:solidFill>
              </a:rPr>
              <a:t>Ботуобинская</a:t>
            </a:r>
            <a:endParaRPr lang="ru-RU" sz="900" dirty="0">
              <a:solidFill>
                <a:srgbClr val="00294F"/>
              </a:solidFill>
            </a:endParaRPr>
          </a:p>
          <a:p>
            <a:pPr algn="ctr" defTabSz="912804"/>
            <a:r>
              <a:rPr lang="ru-RU" sz="900" dirty="0">
                <a:solidFill>
                  <a:srgbClr val="00294F"/>
                </a:solidFill>
              </a:rPr>
              <a:t>ГРЭ</a:t>
            </a:r>
            <a:endParaRPr lang="en-US" sz="900" dirty="0">
              <a:solidFill>
                <a:srgbClr val="00294F"/>
              </a:solidFill>
            </a:endParaRPr>
          </a:p>
        </p:txBody>
      </p:sp>
      <p:sp>
        <p:nvSpPr>
          <p:cNvPr id="73" name="Rectangle 159"/>
          <p:cNvSpPr/>
          <p:nvPr/>
        </p:nvSpPr>
        <p:spPr>
          <a:xfrm>
            <a:off x="231095" y="2663834"/>
            <a:ext cx="924152" cy="438214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2760" tIns="0" rIns="32760" bIns="32760" rtlCol="0" anchor="ctr"/>
          <a:lstStyle/>
          <a:p>
            <a:pPr algn="ctr" defTabSz="912804"/>
            <a:r>
              <a:rPr lang="ru-RU" sz="900" dirty="0" err="1">
                <a:solidFill>
                  <a:srgbClr val="00294F"/>
                </a:solidFill>
              </a:rPr>
              <a:t>Амакинская</a:t>
            </a:r>
            <a:endParaRPr lang="ru-RU" sz="900" dirty="0">
              <a:solidFill>
                <a:srgbClr val="00294F"/>
              </a:solidFill>
            </a:endParaRPr>
          </a:p>
          <a:p>
            <a:pPr algn="ctr" defTabSz="912804"/>
            <a:r>
              <a:rPr lang="ru-RU" sz="900" dirty="0">
                <a:solidFill>
                  <a:srgbClr val="00294F"/>
                </a:solidFill>
              </a:rPr>
              <a:t>ГРЭ</a:t>
            </a:r>
            <a:endParaRPr lang="en-US" sz="900" dirty="0">
              <a:solidFill>
                <a:srgbClr val="00294F"/>
              </a:solidFill>
            </a:endParaRPr>
          </a:p>
        </p:txBody>
      </p:sp>
      <p:sp>
        <p:nvSpPr>
          <p:cNvPr id="74" name="Rectangle 159"/>
          <p:cNvSpPr/>
          <p:nvPr/>
        </p:nvSpPr>
        <p:spPr>
          <a:xfrm>
            <a:off x="3359816" y="2663834"/>
            <a:ext cx="924152" cy="438214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2760" tIns="0" rIns="32760" bIns="32760" rtlCol="0" anchor="ctr"/>
          <a:lstStyle/>
          <a:p>
            <a:pPr algn="ctr" defTabSz="912804"/>
            <a:r>
              <a:rPr lang="ru-RU" sz="900" dirty="0">
                <a:solidFill>
                  <a:srgbClr val="00294F"/>
                </a:solidFill>
              </a:rPr>
              <a:t>НИГП</a:t>
            </a:r>
            <a:endParaRPr lang="en-US" sz="900" dirty="0">
              <a:solidFill>
                <a:srgbClr val="00294F"/>
              </a:solidFill>
            </a:endParaRPr>
          </a:p>
        </p:txBody>
      </p:sp>
      <p:sp>
        <p:nvSpPr>
          <p:cNvPr id="75" name="Rectangle 159"/>
          <p:cNvSpPr/>
          <p:nvPr/>
        </p:nvSpPr>
        <p:spPr>
          <a:xfrm>
            <a:off x="2316909" y="2663834"/>
            <a:ext cx="924152" cy="438214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2760" tIns="0" rIns="32760" bIns="32760" rtlCol="0" anchor="ctr"/>
          <a:lstStyle/>
          <a:p>
            <a:pPr algn="ctr" defTabSz="912804"/>
            <a:r>
              <a:rPr lang="ru-RU" sz="900" dirty="0" err="1">
                <a:solidFill>
                  <a:srgbClr val="00294F"/>
                </a:solidFill>
              </a:rPr>
              <a:t>Мирнинская</a:t>
            </a:r>
            <a:endParaRPr lang="ru-RU" sz="900" dirty="0">
              <a:solidFill>
                <a:srgbClr val="00294F"/>
              </a:solidFill>
            </a:endParaRPr>
          </a:p>
          <a:p>
            <a:pPr algn="ctr" defTabSz="912804"/>
            <a:r>
              <a:rPr lang="ru-RU" sz="900" dirty="0">
                <a:solidFill>
                  <a:srgbClr val="00294F"/>
                </a:solidFill>
              </a:rPr>
              <a:t>ГРЭ</a:t>
            </a:r>
            <a:endParaRPr lang="en-US" sz="900" dirty="0">
              <a:solidFill>
                <a:srgbClr val="00294F"/>
              </a:solidFill>
            </a:endParaRPr>
          </a:p>
        </p:txBody>
      </p:sp>
      <p:sp>
        <p:nvSpPr>
          <p:cNvPr id="76" name="Rectangle 159"/>
          <p:cNvSpPr/>
          <p:nvPr/>
        </p:nvSpPr>
        <p:spPr>
          <a:xfrm>
            <a:off x="231095" y="3237157"/>
            <a:ext cx="270083" cy="1127947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lIns="0" tIns="32760" rIns="0" bIns="0" rtlCol="0" anchor="ctr"/>
          <a:lstStyle/>
          <a:p>
            <a:pPr algn="ctr" defTabSz="912804"/>
            <a:r>
              <a:rPr lang="ru-RU" sz="700" dirty="0">
                <a:solidFill>
                  <a:srgbClr val="00294F"/>
                </a:solidFill>
              </a:rPr>
              <a:t>Горно-буровые работы</a:t>
            </a:r>
            <a:endParaRPr lang="en-US" sz="700" dirty="0">
              <a:solidFill>
                <a:srgbClr val="00294F"/>
              </a:solidFill>
            </a:endParaRPr>
          </a:p>
        </p:txBody>
      </p:sp>
      <p:sp>
        <p:nvSpPr>
          <p:cNvPr id="77" name="Rectangle 159"/>
          <p:cNvSpPr/>
          <p:nvPr/>
        </p:nvSpPr>
        <p:spPr>
          <a:xfrm>
            <a:off x="872306" y="3237157"/>
            <a:ext cx="270083" cy="1127947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lIns="0" tIns="32760" rIns="0" bIns="0" rtlCol="0" anchor="ctr"/>
          <a:lstStyle/>
          <a:p>
            <a:pPr algn="ctr" defTabSz="912804"/>
            <a:r>
              <a:rPr lang="ru-RU" sz="700" dirty="0">
                <a:solidFill>
                  <a:srgbClr val="00294F"/>
                </a:solidFill>
              </a:rPr>
              <a:t>Научное-аналитическое сопровождение</a:t>
            </a:r>
            <a:endParaRPr lang="en-US" sz="700" dirty="0">
              <a:solidFill>
                <a:srgbClr val="00294F"/>
              </a:solidFill>
            </a:endParaRPr>
          </a:p>
        </p:txBody>
      </p:sp>
      <p:sp>
        <p:nvSpPr>
          <p:cNvPr id="78" name="Rectangle 159"/>
          <p:cNvSpPr/>
          <p:nvPr/>
        </p:nvSpPr>
        <p:spPr>
          <a:xfrm>
            <a:off x="551700" y="3237157"/>
            <a:ext cx="270083" cy="1127947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lIns="0" tIns="32760" rIns="0" bIns="0" rtlCol="0" anchor="ctr"/>
          <a:lstStyle/>
          <a:p>
            <a:pPr algn="ctr" defTabSz="912804"/>
            <a:r>
              <a:rPr lang="ru-RU" sz="700" dirty="0">
                <a:solidFill>
                  <a:srgbClr val="00294F"/>
                </a:solidFill>
              </a:rPr>
              <a:t>Реализация ГРР</a:t>
            </a:r>
            <a:endParaRPr lang="en-US" sz="700" dirty="0">
              <a:solidFill>
                <a:srgbClr val="00294F"/>
              </a:solidFill>
            </a:endParaRPr>
          </a:p>
        </p:txBody>
      </p:sp>
      <p:sp>
        <p:nvSpPr>
          <p:cNvPr id="79" name="Rectangle 159"/>
          <p:cNvSpPr/>
          <p:nvPr/>
        </p:nvSpPr>
        <p:spPr>
          <a:xfrm>
            <a:off x="1286860" y="3237157"/>
            <a:ext cx="270083" cy="1127947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lIns="0" tIns="32760" rIns="0" bIns="0" rtlCol="0" anchor="ctr"/>
          <a:lstStyle/>
          <a:p>
            <a:pPr algn="ctr" defTabSz="912804"/>
            <a:r>
              <a:rPr lang="ru-RU" sz="700" dirty="0">
                <a:solidFill>
                  <a:srgbClr val="00294F"/>
                </a:solidFill>
              </a:rPr>
              <a:t>Горно-буровые работы</a:t>
            </a:r>
            <a:endParaRPr lang="en-US" sz="700" dirty="0">
              <a:solidFill>
                <a:srgbClr val="00294F"/>
              </a:solidFill>
            </a:endParaRPr>
          </a:p>
        </p:txBody>
      </p:sp>
      <p:sp>
        <p:nvSpPr>
          <p:cNvPr id="80" name="Rectangle 159"/>
          <p:cNvSpPr/>
          <p:nvPr/>
        </p:nvSpPr>
        <p:spPr>
          <a:xfrm>
            <a:off x="1928070" y="3237157"/>
            <a:ext cx="270083" cy="1127947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lIns="0" tIns="32760" rIns="0" bIns="0" rtlCol="0" anchor="ctr"/>
          <a:lstStyle/>
          <a:p>
            <a:pPr algn="ctr" defTabSz="912804"/>
            <a:r>
              <a:rPr lang="ru-RU" sz="700">
                <a:solidFill>
                  <a:srgbClr val="00294F"/>
                </a:solidFill>
              </a:rPr>
              <a:t>Научное-аналитическое сопровождение</a:t>
            </a:r>
            <a:endParaRPr lang="en-US" sz="700" dirty="0">
              <a:solidFill>
                <a:srgbClr val="00294F"/>
              </a:solidFill>
            </a:endParaRPr>
          </a:p>
        </p:txBody>
      </p:sp>
      <p:sp>
        <p:nvSpPr>
          <p:cNvPr id="81" name="Rectangle 159"/>
          <p:cNvSpPr/>
          <p:nvPr/>
        </p:nvSpPr>
        <p:spPr>
          <a:xfrm>
            <a:off x="1607465" y="3237157"/>
            <a:ext cx="270083" cy="1127947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lIns="0" tIns="32760" rIns="0" bIns="0" rtlCol="0" anchor="ctr"/>
          <a:lstStyle/>
          <a:p>
            <a:pPr algn="ctr" defTabSz="912804"/>
            <a:r>
              <a:rPr lang="ru-RU" sz="700" dirty="0">
                <a:solidFill>
                  <a:srgbClr val="00294F"/>
                </a:solidFill>
              </a:rPr>
              <a:t>Реализация ГРР</a:t>
            </a:r>
            <a:endParaRPr lang="en-US" sz="700" dirty="0">
              <a:solidFill>
                <a:srgbClr val="00294F"/>
              </a:solidFill>
            </a:endParaRPr>
          </a:p>
        </p:txBody>
      </p:sp>
      <p:sp>
        <p:nvSpPr>
          <p:cNvPr id="82" name="Rectangle 159"/>
          <p:cNvSpPr/>
          <p:nvPr/>
        </p:nvSpPr>
        <p:spPr>
          <a:xfrm>
            <a:off x="6158547" y="1943083"/>
            <a:ext cx="1270978" cy="438214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2760" tIns="0" rIns="32760" bIns="32760" rtlCol="0" anchor="ctr"/>
          <a:lstStyle/>
          <a:p>
            <a:pPr algn="ctr" defTabSz="912804"/>
            <a:r>
              <a:rPr lang="ru-RU" sz="900" dirty="0">
                <a:solidFill>
                  <a:srgbClr val="00294F"/>
                </a:solidFill>
              </a:rPr>
              <a:t>Служба Главного Геолога</a:t>
            </a:r>
            <a:endParaRPr lang="en-US" sz="900" dirty="0">
              <a:solidFill>
                <a:srgbClr val="00294F"/>
              </a:solidFill>
            </a:endParaRPr>
          </a:p>
        </p:txBody>
      </p:sp>
      <p:sp>
        <p:nvSpPr>
          <p:cNvPr id="83" name="Rectangle 159"/>
          <p:cNvSpPr/>
          <p:nvPr/>
        </p:nvSpPr>
        <p:spPr>
          <a:xfrm>
            <a:off x="4767599" y="2663833"/>
            <a:ext cx="1270978" cy="807428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2760" tIns="0" rIns="32760" bIns="32760" rtlCol="0" anchor="t"/>
          <a:lstStyle/>
          <a:p>
            <a:pPr algn="ctr" defTabSz="912804"/>
            <a:r>
              <a:rPr lang="ru-RU" sz="700" b="1" dirty="0">
                <a:solidFill>
                  <a:srgbClr val="00294F"/>
                </a:solidFill>
              </a:rPr>
              <a:t>Вилюйская </a:t>
            </a:r>
            <a:r>
              <a:rPr lang="ru-RU" sz="700" b="1" dirty="0" smtClean="0">
                <a:solidFill>
                  <a:srgbClr val="00294F"/>
                </a:solidFill>
              </a:rPr>
              <a:t>ГРЭ </a:t>
            </a:r>
            <a:r>
              <a:rPr lang="ru-RU" sz="700" dirty="0" smtClean="0">
                <a:solidFill>
                  <a:srgbClr val="00294F"/>
                </a:solidFill>
              </a:rPr>
              <a:t>Геологоразведочный </a:t>
            </a:r>
            <a:r>
              <a:rPr lang="ru-RU" sz="700" dirty="0">
                <a:solidFill>
                  <a:srgbClr val="00294F"/>
                </a:solidFill>
              </a:rPr>
              <a:t>центр</a:t>
            </a:r>
          </a:p>
          <a:p>
            <a:pPr algn="ctr" defTabSz="912804">
              <a:spcBef>
                <a:spcPts val="182"/>
              </a:spcBef>
            </a:pPr>
            <a:r>
              <a:rPr lang="ru-RU" sz="700" b="1" dirty="0" smtClean="0">
                <a:solidFill>
                  <a:srgbClr val="00294F"/>
                </a:solidFill>
              </a:rPr>
              <a:t>Реализация </a:t>
            </a:r>
            <a:r>
              <a:rPr lang="ru-RU" sz="700" b="1" dirty="0">
                <a:solidFill>
                  <a:srgbClr val="00294F"/>
                </a:solidFill>
              </a:rPr>
              <a:t>ГРР</a:t>
            </a:r>
            <a:endParaRPr lang="en-US" sz="700" b="1" dirty="0">
              <a:solidFill>
                <a:srgbClr val="00294F"/>
              </a:solidFill>
            </a:endParaRPr>
          </a:p>
        </p:txBody>
      </p:sp>
      <p:sp>
        <p:nvSpPr>
          <p:cNvPr id="84" name="Rectangle 159"/>
          <p:cNvSpPr/>
          <p:nvPr/>
        </p:nvSpPr>
        <p:spPr>
          <a:xfrm>
            <a:off x="7549494" y="2663832"/>
            <a:ext cx="1270978" cy="807429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2760" tIns="0" rIns="32760" bIns="32760" rtlCol="0" anchor="t"/>
          <a:lstStyle/>
          <a:p>
            <a:pPr algn="ctr" defTabSz="912804"/>
            <a:r>
              <a:rPr lang="ru-RU" sz="700" b="1" dirty="0" smtClean="0">
                <a:solidFill>
                  <a:srgbClr val="00294F"/>
                </a:solidFill>
              </a:rPr>
              <a:t>НИГП</a:t>
            </a:r>
          </a:p>
          <a:p>
            <a:pPr algn="ctr" defTabSz="912804"/>
            <a:r>
              <a:rPr lang="ru-RU" sz="700" dirty="0">
                <a:solidFill>
                  <a:srgbClr val="00294F"/>
                </a:solidFill>
              </a:rPr>
              <a:t>Научно-аналитический центр</a:t>
            </a:r>
          </a:p>
          <a:p>
            <a:pPr algn="ctr" defTabSz="912804">
              <a:spcBef>
                <a:spcPts val="182"/>
              </a:spcBef>
            </a:pPr>
            <a:r>
              <a:rPr lang="ru-RU" sz="700" b="1" dirty="0" smtClean="0">
                <a:solidFill>
                  <a:srgbClr val="00294F"/>
                </a:solidFill>
              </a:rPr>
              <a:t>Прогноз, экспертно-методологическое и научно-аналитическое сопровождение ГРР</a:t>
            </a:r>
            <a:endParaRPr lang="en-US" sz="700" b="1" dirty="0">
              <a:solidFill>
                <a:srgbClr val="00294F"/>
              </a:solidFill>
            </a:endParaRPr>
          </a:p>
        </p:txBody>
      </p:sp>
      <p:sp>
        <p:nvSpPr>
          <p:cNvPr id="85" name="Rectangle 159"/>
          <p:cNvSpPr/>
          <p:nvPr/>
        </p:nvSpPr>
        <p:spPr>
          <a:xfrm>
            <a:off x="6158547" y="2663833"/>
            <a:ext cx="1270978" cy="807428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2760" tIns="0" rIns="32760" bIns="32760" rtlCol="0" anchor="t"/>
          <a:lstStyle/>
          <a:p>
            <a:pPr algn="ctr" defTabSz="912804"/>
            <a:r>
              <a:rPr lang="ru-RU" sz="700" b="1" dirty="0" smtClean="0">
                <a:solidFill>
                  <a:srgbClr val="00294F"/>
                </a:solidFill>
              </a:rPr>
              <a:t>Мирнинская ГБЭ</a:t>
            </a:r>
          </a:p>
          <a:p>
            <a:pPr algn="ctr" defTabSz="912804"/>
            <a:r>
              <a:rPr lang="ru-RU" sz="700" dirty="0">
                <a:solidFill>
                  <a:srgbClr val="00294F"/>
                </a:solidFill>
              </a:rPr>
              <a:t>Технологический</a:t>
            </a:r>
          </a:p>
          <a:p>
            <a:pPr algn="ctr" defTabSz="912804"/>
            <a:r>
              <a:rPr lang="ru-RU" sz="700" dirty="0" smtClean="0">
                <a:solidFill>
                  <a:srgbClr val="00294F"/>
                </a:solidFill>
              </a:rPr>
              <a:t>центр</a:t>
            </a:r>
          </a:p>
          <a:p>
            <a:pPr algn="ctr" defTabSz="912804">
              <a:spcBef>
                <a:spcPts val="182"/>
              </a:spcBef>
            </a:pPr>
            <a:r>
              <a:rPr lang="ru-RU" sz="700" b="1" dirty="0" smtClean="0">
                <a:solidFill>
                  <a:srgbClr val="00294F"/>
                </a:solidFill>
              </a:rPr>
              <a:t>Горно-буровые </a:t>
            </a:r>
            <a:r>
              <a:rPr lang="ru-RU" sz="700" b="1" dirty="0">
                <a:solidFill>
                  <a:srgbClr val="00294F"/>
                </a:solidFill>
              </a:rPr>
              <a:t>работы</a:t>
            </a:r>
            <a:endParaRPr lang="en-US" sz="700" b="1" dirty="0">
              <a:solidFill>
                <a:srgbClr val="00294F"/>
              </a:solidFill>
            </a:endParaRPr>
          </a:p>
        </p:txBody>
      </p:sp>
      <p:sp>
        <p:nvSpPr>
          <p:cNvPr id="86" name="Rectangle 159"/>
          <p:cNvSpPr/>
          <p:nvPr/>
        </p:nvSpPr>
        <p:spPr>
          <a:xfrm>
            <a:off x="2315994" y="3237157"/>
            <a:ext cx="270083" cy="1127947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lIns="0" tIns="32760" rIns="0" bIns="0" rtlCol="0" anchor="ctr"/>
          <a:lstStyle/>
          <a:p>
            <a:pPr algn="ctr" defTabSz="912804"/>
            <a:r>
              <a:rPr lang="ru-RU" sz="700" dirty="0">
                <a:solidFill>
                  <a:srgbClr val="00294F"/>
                </a:solidFill>
              </a:rPr>
              <a:t>Горно-буровые работы</a:t>
            </a:r>
            <a:endParaRPr lang="en-US" sz="700" dirty="0">
              <a:solidFill>
                <a:srgbClr val="00294F"/>
              </a:solidFill>
            </a:endParaRPr>
          </a:p>
        </p:txBody>
      </p:sp>
      <p:sp>
        <p:nvSpPr>
          <p:cNvPr id="87" name="Rectangle 159"/>
          <p:cNvSpPr/>
          <p:nvPr/>
        </p:nvSpPr>
        <p:spPr>
          <a:xfrm>
            <a:off x="2957205" y="3237157"/>
            <a:ext cx="270083" cy="1127947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lIns="0" tIns="32760" rIns="0" bIns="0" rtlCol="0" anchor="ctr"/>
          <a:lstStyle/>
          <a:p>
            <a:pPr algn="ctr" defTabSz="912804"/>
            <a:r>
              <a:rPr lang="ru-RU" sz="700">
                <a:solidFill>
                  <a:srgbClr val="00294F"/>
                </a:solidFill>
              </a:rPr>
              <a:t>Научное-аналитическое сопровождение</a:t>
            </a:r>
            <a:endParaRPr lang="en-US" sz="700" dirty="0">
              <a:solidFill>
                <a:srgbClr val="00294F"/>
              </a:solidFill>
            </a:endParaRPr>
          </a:p>
        </p:txBody>
      </p:sp>
      <p:sp>
        <p:nvSpPr>
          <p:cNvPr id="88" name="Rectangle 159"/>
          <p:cNvSpPr/>
          <p:nvPr/>
        </p:nvSpPr>
        <p:spPr>
          <a:xfrm>
            <a:off x="2636599" y="3237157"/>
            <a:ext cx="270083" cy="1127947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lIns="0" tIns="32760" rIns="0" bIns="0" rtlCol="0" anchor="ctr"/>
          <a:lstStyle/>
          <a:p>
            <a:pPr algn="ctr" defTabSz="912804"/>
            <a:r>
              <a:rPr lang="ru-RU" sz="700" dirty="0">
                <a:solidFill>
                  <a:srgbClr val="00294F"/>
                </a:solidFill>
              </a:rPr>
              <a:t>Реализация ГРР</a:t>
            </a:r>
            <a:endParaRPr lang="en-US" sz="700" dirty="0">
              <a:solidFill>
                <a:srgbClr val="00294F"/>
              </a:solidFill>
            </a:endParaRPr>
          </a:p>
        </p:txBody>
      </p:sp>
      <p:sp>
        <p:nvSpPr>
          <p:cNvPr id="89" name="Rectangle 159"/>
          <p:cNvSpPr/>
          <p:nvPr/>
        </p:nvSpPr>
        <p:spPr>
          <a:xfrm>
            <a:off x="3361077" y="3237157"/>
            <a:ext cx="270083" cy="1127947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lIns="0" tIns="32760" rIns="0" bIns="0" rtlCol="0" anchor="ctr"/>
          <a:lstStyle/>
          <a:p>
            <a:pPr algn="ctr" defTabSz="912804"/>
            <a:r>
              <a:rPr lang="ru-RU" sz="700" dirty="0">
                <a:solidFill>
                  <a:srgbClr val="00294F"/>
                </a:solidFill>
              </a:rPr>
              <a:t>Реализация ГРР</a:t>
            </a:r>
            <a:endParaRPr lang="en-US" sz="700" dirty="0">
              <a:solidFill>
                <a:srgbClr val="00294F"/>
              </a:solidFill>
            </a:endParaRPr>
          </a:p>
        </p:txBody>
      </p:sp>
      <p:sp>
        <p:nvSpPr>
          <p:cNvPr id="90" name="Rectangle 159"/>
          <p:cNvSpPr/>
          <p:nvPr/>
        </p:nvSpPr>
        <p:spPr>
          <a:xfrm>
            <a:off x="4002287" y="3237157"/>
            <a:ext cx="270083" cy="1127947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lIns="0" tIns="32760" rIns="0" bIns="0" rtlCol="0" anchor="ctr"/>
          <a:lstStyle/>
          <a:p>
            <a:pPr algn="ctr" defTabSz="912804"/>
            <a:r>
              <a:rPr lang="ru-RU" sz="700">
                <a:solidFill>
                  <a:srgbClr val="00294F"/>
                </a:solidFill>
              </a:rPr>
              <a:t>Научное-аналитическое сопровождение</a:t>
            </a:r>
            <a:endParaRPr lang="en-US" sz="700" dirty="0">
              <a:solidFill>
                <a:srgbClr val="00294F"/>
              </a:solidFill>
            </a:endParaRPr>
          </a:p>
        </p:txBody>
      </p:sp>
      <p:cxnSp>
        <p:nvCxnSpPr>
          <p:cNvPr id="91" name="Соединительная линия уступом 90"/>
          <p:cNvCxnSpPr>
            <a:stCxn id="73" idx="2"/>
            <a:endCxn id="78" idx="0"/>
          </p:cNvCxnSpPr>
          <p:nvPr/>
        </p:nvCxnSpPr>
        <p:spPr>
          <a:xfrm rot="5400000">
            <a:off x="622402" y="3166388"/>
            <a:ext cx="135110" cy="6430"/>
          </a:xfrm>
          <a:prstGeom prst="bentConnector3">
            <a:avLst/>
          </a:prstGeom>
          <a:ln w="1270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2" name="Соединительная линия уступом 91"/>
          <p:cNvCxnSpPr>
            <a:stCxn id="73" idx="2"/>
            <a:endCxn id="77" idx="0"/>
          </p:cNvCxnSpPr>
          <p:nvPr/>
        </p:nvCxnSpPr>
        <p:spPr>
          <a:xfrm rot="16200000" flipH="1">
            <a:off x="782705" y="3012514"/>
            <a:ext cx="135110" cy="314176"/>
          </a:xfrm>
          <a:prstGeom prst="bentConnector3">
            <a:avLst/>
          </a:prstGeom>
          <a:ln w="1270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3" name="Соединительная линия уступом 92"/>
          <p:cNvCxnSpPr>
            <a:stCxn id="73" idx="2"/>
            <a:endCxn id="76" idx="0"/>
          </p:cNvCxnSpPr>
          <p:nvPr/>
        </p:nvCxnSpPr>
        <p:spPr>
          <a:xfrm rot="5400000">
            <a:off x="462100" y="3006084"/>
            <a:ext cx="135110" cy="327035"/>
          </a:xfrm>
          <a:prstGeom prst="bentConnector3">
            <a:avLst>
              <a:gd name="adj1" fmla="val 50000"/>
            </a:avLst>
          </a:prstGeom>
          <a:ln w="1270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Соединительная линия уступом 93"/>
          <p:cNvCxnSpPr>
            <a:stCxn id="72" idx="2"/>
            <a:endCxn id="81" idx="0"/>
          </p:cNvCxnSpPr>
          <p:nvPr/>
        </p:nvCxnSpPr>
        <p:spPr>
          <a:xfrm rot="16200000" flipH="1">
            <a:off x="1671737" y="3166388"/>
            <a:ext cx="135110" cy="6428"/>
          </a:xfrm>
          <a:prstGeom prst="bentConnector3">
            <a:avLst/>
          </a:prstGeom>
          <a:ln w="1270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5" name="Соединительная линия уступом 94"/>
          <p:cNvCxnSpPr>
            <a:stCxn id="72" idx="2"/>
            <a:endCxn id="80" idx="0"/>
          </p:cNvCxnSpPr>
          <p:nvPr/>
        </p:nvCxnSpPr>
        <p:spPr>
          <a:xfrm rot="16200000" flipH="1">
            <a:off x="1832040" y="3006085"/>
            <a:ext cx="135110" cy="327034"/>
          </a:xfrm>
          <a:prstGeom prst="bentConnector3">
            <a:avLst/>
          </a:prstGeom>
          <a:ln w="1270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6" name="Соединительная линия уступом 95"/>
          <p:cNvCxnSpPr>
            <a:stCxn id="72" idx="2"/>
            <a:endCxn id="79" idx="0"/>
          </p:cNvCxnSpPr>
          <p:nvPr/>
        </p:nvCxnSpPr>
        <p:spPr>
          <a:xfrm rot="5400000">
            <a:off x="1511435" y="3012513"/>
            <a:ext cx="135110" cy="314177"/>
          </a:xfrm>
          <a:prstGeom prst="bentConnector3">
            <a:avLst>
              <a:gd name="adj1" fmla="val 50000"/>
            </a:avLst>
          </a:prstGeom>
          <a:ln w="1270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Соединительная линия уступом 96"/>
          <p:cNvCxnSpPr>
            <a:stCxn id="75" idx="2"/>
            <a:endCxn id="88" idx="0"/>
          </p:cNvCxnSpPr>
          <p:nvPr/>
        </p:nvCxnSpPr>
        <p:spPr>
          <a:xfrm rot="5400000">
            <a:off x="2707759" y="3165931"/>
            <a:ext cx="135110" cy="7344"/>
          </a:xfrm>
          <a:prstGeom prst="bentConnector3">
            <a:avLst/>
          </a:prstGeom>
          <a:ln w="1270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8" name="Соединительная линия уступом 97"/>
          <p:cNvCxnSpPr>
            <a:stCxn id="75" idx="2"/>
            <a:endCxn id="87" idx="0"/>
          </p:cNvCxnSpPr>
          <p:nvPr/>
        </p:nvCxnSpPr>
        <p:spPr>
          <a:xfrm rot="16200000" flipH="1">
            <a:off x="2868061" y="3012971"/>
            <a:ext cx="135110" cy="313262"/>
          </a:xfrm>
          <a:prstGeom prst="bentConnector3">
            <a:avLst/>
          </a:prstGeom>
          <a:ln w="1270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" name="Соединительная линия уступом 98"/>
          <p:cNvCxnSpPr>
            <a:stCxn id="75" idx="2"/>
            <a:endCxn id="86" idx="0"/>
          </p:cNvCxnSpPr>
          <p:nvPr/>
        </p:nvCxnSpPr>
        <p:spPr>
          <a:xfrm rot="5400000">
            <a:off x="2547456" y="3005627"/>
            <a:ext cx="135110" cy="327949"/>
          </a:xfrm>
          <a:prstGeom prst="bentConnector3">
            <a:avLst>
              <a:gd name="adj1" fmla="val 50000"/>
            </a:avLst>
          </a:prstGeom>
          <a:ln w="1270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0" name="Соединительная линия уступом 99"/>
          <p:cNvCxnSpPr>
            <a:stCxn id="74" idx="2"/>
            <a:endCxn id="90" idx="0"/>
          </p:cNvCxnSpPr>
          <p:nvPr/>
        </p:nvCxnSpPr>
        <p:spPr>
          <a:xfrm rot="16200000" flipH="1">
            <a:off x="3912056" y="3011883"/>
            <a:ext cx="135110" cy="315437"/>
          </a:xfrm>
          <a:prstGeom prst="bentConnector3">
            <a:avLst>
              <a:gd name="adj1" fmla="val 50000"/>
            </a:avLst>
          </a:prstGeom>
          <a:ln w="1270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1" name="Соединительная линия уступом 100"/>
          <p:cNvCxnSpPr>
            <a:stCxn id="74" idx="2"/>
            <a:endCxn id="89" idx="0"/>
          </p:cNvCxnSpPr>
          <p:nvPr/>
        </p:nvCxnSpPr>
        <p:spPr>
          <a:xfrm rot="5400000">
            <a:off x="3591451" y="3006716"/>
            <a:ext cx="135110" cy="325774"/>
          </a:xfrm>
          <a:prstGeom prst="bentConnector3">
            <a:avLst>
              <a:gd name="adj1" fmla="val 50000"/>
            </a:avLst>
          </a:prstGeom>
          <a:ln w="1270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2" name="Соединительная линия уступом 101"/>
          <p:cNvCxnSpPr>
            <a:stCxn id="82" idx="2"/>
            <a:endCxn id="84" idx="0"/>
          </p:cNvCxnSpPr>
          <p:nvPr/>
        </p:nvCxnSpPr>
        <p:spPr>
          <a:xfrm rot="16200000" flipH="1">
            <a:off x="7348242" y="1827090"/>
            <a:ext cx="282535" cy="1390947"/>
          </a:xfrm>
          <a:prstGeom prst="bentConnector3">
            <a:avLst>
              <a:gd name="adj1" fmla="val 50000"/>
            </a:avLst>
          </a:prstGeom>
          <a:ln w="12700"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Соединительная линия уступом 102"/>
          <p:cNvCxnSpPr>
            <a:stCxn id="82" idx="2"/>
            <a:endCxn id="83" idx="0"/>
          </p:cNvCxnSpPr>
          <p:nvPr/>
        </p:nvCxnSpPr>
        <p:spPr>
          <a:xfrm rot="5400000">
            <a:off x="5957294" y="1827091"/>
            <a:ext cx="282536" cy="1390948"/>
          </a:xfrm>
          <a:prstGeom prst="bentConnector3">
            <a:avLst>
              <a:gd name="adj1" fmla="val 50000"/>
            </a:avLst>
          </a:prstGeom>
          <a:ln w="12700"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" name="Соединительная линия уступом 89"/>
          <p:cNvCxnSpPr>
            <a:stCxn id="82" idx="2"/>
            <a:endCxn id="85" idx="0"/>
          </p:cNvCxnSpPr>
          <p:nvPr/>
        </p:nvCxnSpPr>
        <p:spPr>
          <a:xfrm>
            <a:off x="6794036" y="2381297"/>
            <a:ext cx="0" cy="282536"/>
          </a:xfrm>
          <a:prstGeom prst="straightConnector1">
            <a:avLst/>
          </a:prstGeom>
          <a:ln w="12700"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5" name="Isosceles Triangle 124"/>
          <p:cNvSpPr/>
          <p:nvPr/>
        </p:nvSpPr>
        <p:spPr>
          <a:xfrm rot="5400000">
            <a:off x="3813493" y="2873693"/>
            <a:ext cx="1524576" cy="136453"/>
          </a:xfrm>
          <a:prstGeom prst="triangle">
            <a:avLst/>
          </a:prstGeom>
          <a:solidFill>
            <a:srgbClr val="006393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2760" tIns="32760" rIns="32760" bIns="32760" rtlCol="0" anchor="ctr"/>
          <a:lstStyle/>
          <a:p>
            <a:pPr algn="ctr" defTabSz="912804"/>
            <a:endParaRPr lang="en-US" sz="1500" dirty="0">
              <a:solidFill>
                <a:srgbClr val="FFFFFF"/>
              </a:solidFill>
            </a:endParaRPr>
          </a:p>
        </p:txBody>
      </p:sp>
      <p:sp>
        <p:nvSpPr>
          <p:cNvPr id="106" name="Rectangle 15"/>
          <p:cNvSpPr/>
          <p:nvPr/>
        </p:nvSpPr>
        <p:spPr>
          <a:xfrm>
            <a:off x="96040" y="4820422"/>
            <a:ext cx="8846913" cy="329529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2760" tIns="32760" rIns="32760" bIns="32760" rtlCol="0" anchor="ctr"/>
          <a:lstStyle/>
          <a:p>
            <a:pPr marL="98280" algn="ctr" defTabSz="912804">
              <a:lnSpc>
                <a:spcPct val="150000"/>
              </a:lnSpc>
            </a:pPr>
            <a:r>
              <a:rPr lang="ru-RU" sz="1400" b="1" dirty="0">
                <a:solidFill>
                  <a:srgbClr val="016EB3">
                    <a:lumMod val="75000"/>
                  </a:srgbClr>
                </a:solidFill>
              </a:rPr>
              <a:t>КЛЮЧЕВЫЕ РЕЗУЛЬТАТЫ РЕФОРМЫ ГРК ПО СОСТОЯНИЮ НА </a:t>
            </a:r>
            <a:r>
              <a:rPr lang="ru-RU" sz="1400" b="1" dirty="0" smtClean="0">
                <a:solidFill>
                  <a:srgbClr val="016EB3">
                    <a:lumMod val="75000"/>
                  </a:srgbClr>
                </a:solidFill>
              </a:rPr>
              <a:t>01.10.2017</a:t>
            </a:r>
            <a:endParaRPr lang="ru-RU" sz="1400" b="1" dirty="0">
              <a:solidFill>
                <a:srgbClr val="016EB3">
                  <a:lumMod val="75000"/>
                </a:srgbClr>
              </a:solidFill>
            </a:endParaRPr>
          </a:p>
        </p:txBody>
      </p:sp>
      <p:sp>
        <p:nvSpPr>
          <p:cNvPr id="107" name="Rectangle 159"/>
          <p:cNvSpPr/>
          <p:nvPr/>
        </p:nvSpPr>
        <p:spPr>
          <a:xfrm>
            <a:off x="6158547" y="3478208"/>
            <a:ext cx="1270978" cy="438214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2760" tIns="0" rIns="32760" bIns="32760" rtlCol="0" anchor="t"/>
          <a:lstStyle/>
          <a:p>
            <a:pPr algn="ctr" defTabSz="912804"/>
            <a:r>
              <a:rPr lang="ru-RU" sz="800" b="1" dirty="0">
                <a:solidFill>
                  <a:srgbClr val="00294F"/>
                </a:solidFill>
              </a:rPr>
              <a:t>Направления:</a:t>
            </a:r>
          </a:p>
          <a:p>
            <a:pPr algn="ctr" defTabSz="912804"/>
            <a:r>
              <a:rPr lang="ru-RU" sz="800" dirty="0">
                <a:solidFill>
                  <a:srgbClr val="00294F"/>
                </a:solidFill>
              </a:rPr>
              <a:t>Поисковое,</a:t>
            </a:r>
          </a:p>
          <a:p>
            <a:pPr algn="ctr" defTabSz="912804"/>
            <a:r>
              <a:rPr lang="ru-RU" sz="800" dirty="0" smtClean="0">
                <a:solidFill>
                  <a:srgbClr val="00294F"/>
                </a:solidFill>
              </a:rPr>
              <a:t>разведочное, инженерно-техническое бурение и </a:t>
            </a:r>
            <a:r>
              <a:rPr lang="ru-RU" sz="800" dirty="0">
                <a:solidFill>
                  <a:srgbClr val="00294F"/>
                </a:solidFill>
              </a:rPr>
              <a:t>горные работы</a:t>
            </a:r>
          </a:p>
          <a:p>
            <a:pPr algn="ctr" defTabSz="912804"/>
            <a:endParaRPr lang="ru-RU" sz="800" dirty="0">
              <a:solidFill>
                <a:srgbClr val="00294F"/>
              </a:solidFill>
            </a:endParaRPr>
          </a:p>
        </p:txBody>
      </p:sp>
      <p:sp>
        <p:nvSpPr>
          <p:cNvPr id="108" name="Rectangle 159"/>
          <p:cNvSpPr/>
          <p:nvPr/>
        </p:nvSpPr>
        <p:spPr>
          <a:xfrm>
            <a:off x="4767599" y="3471261"/>
            <a:ext cx="1270978" cy="438214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2760" tIns="0" rIns="32760" bIns="32760" rtlCol="0" anchor="t"/>
          <a:lstStyle/>
          <a:p>
            <a:pPr algn="ctr" defTabSz="912804"/>
            <a:r>
              <a:rPr lang="ru-RU" sz="800" b="1" dirty="0">
                <a:solidFill>
                  <a:srgbClr val="00294F"/>
                </a:solidFill>
              </a:rPr>
              <a:t>Направления:</a:t>
            </a:r>
          </a:p>
          <a:p>
            <a:pPr algn="ctr" defTabSz="912804"/>
            <a:r>
              <a:rPr lang="ru-RU" sz="800" dirty="0">
                <a:solidFill>
                  <a:srgbClr val="00294F"/>
                </a:solidFill>
              </a:rPr>
              <a:t>Полевая геология, </a:t>
            </a:r>
          </a:p>
          <a:p>
            <a:pPr algn="ctr" defTabSz="912804"/>
            <a:r>
              <a:rPr lang="ru-RU" sz="800" dirty="0" smtClean="0">
                <a:solidFill>
                  <a:srgbClr val="00294F"/>
                </a:solidFill>
              </a:rPr>
              <a:t>геофизика</a:t>
            </a:r>
            <a:r>
              <a:rPr lang="ru-RU" sz="800" dirty="0">
                <a:solidFill>
                  <a:srgbClr val="00294F"/>
                </a:solidFill>
              </a:rPr>
              <a:t>,</a:t>
            </a:r>
          </a:p>
          <a:p>
            <a:pPr algn="ctr" defTabSz="912804"/>
            <a:r>
              <a:rPr lang="ru-RU" sz="800" dirty="0" err="1" smtClean="0">
                <a:solidFill>
                  <a:srgbClr val="00294F"/>
                </a:solidFill>
              </a:rPr>
              <a:t>топогеодезия</a:t>
            </a:r>
            <a:r>
              <a:rPr lang="ru-RU" sz="800" dirty="0">
                <a:solidFill>
                  <a:srgbClr val="00294F"/>
                </a:solidFill>
              </a:rPr>
              <a:t>,</a:t>
            </a:r>
          </a:p>
          <a:p>
            <a:pPr algn="ctr" defTabSz="912804"/>
            <a:r>
              <a:rPr lang="ru-RU" sz="800" dirty="0" smtClean="0">
                <a:solidFill>
                  <a:srgbClr val="00294F"/>
                </a:solidFill>
              </a:rPr>
              <a:t>обогащение </a:t>
            </a:r>
            <a:r>
              <a:rPr lang="ru-RU" sz="800" dirty="0">
                <a:solidFill>
                  <a:srgbClr val="00294F"/>
                </a:solidFill>
              </a:rPr>
              <a:t>и т.д.</a:t>
            </a:r>
          </a:p>
          <a:p>
            <a:pPr algn="ctr" defTabSz="912804"/>
            <a:endParaRPr lang="ru-RU" sz="800" dirty="0">
              <a:solidFill>
                <a:srgbClr val="00294F"/>
              </a:solidFill>
            </a:endParaRPr>
          </a:p>
        </p:txBody>
      </p:sp>
      <p:sp>
        <p:nvSpPr>
          <p:cNvPr id="109" name="Rectangle 159"/>
          <p:cNvSpPr/>
          <p:nvPr/>
        </p:nvSpPr>
        <p:spPr>
          <a:xfrm>
            <a:off x="7474121" y="3477771"/>
            <a:ext cx="1270978" cy="438214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2760" tIns="0" rIns="32760" bIns="32760" rtlCol="0" anchor="t"/>
          <a:lstStyle/>
          <a:p>
            <a:pPr algn="ctr" defTabSz="912804"/>
            <a:r>
              <a:rPr lang="ru-RU" sz="800" b="1" dirty="0">
                <a:solidFill>
                  <a:srgbClr val="00294F"/>
                </a:solidFill>
              </a:rPr>
              <a:t>Направления:</a:t>
            </a:r>
          </a:p>
          <a:p>
            <a:pPr algn="ctr" defTabSz="912804"/>
            <a:r>
              <a:rPr lang="ru-RU" sz="800" dirty="0">
                <a:solidFill>
                  <a:srgbClr val="00294F"/>
                </a:solidFill>
              </a:rPr>
              <a:t>Геологический прогноз,</a:t>
            </a:r>
          </a:p>
          <a:p>
            <a:pPr algn="ctr" defTabSz="912804"/>
            <a:r>
              <a:rPr lang="ru-RU" sz="800" dirty="0" smtClean="0">
                <a:solidFill>
                  <a:srgbClr val="00294F"/>
                </a:solidFill>
              </a:rPr>
              <a:t>методика ГРР, экспертиза и оперативное сопровождение проектов,  лабораторный анализ для ГРК Группы АЛРОСА</a:t>
            </a:r>
            <a:endParaRPr lang="ru-RU" sz="800" dirty="0">
              <a:solidFill>
                <a:srgbClr val="00294F"/>
              </a:solidFill>
            </a:endParaRPr>
          </a:p>
          <a:p>
            <a:pPr algn="ctr" defTabSz="912804"/>
            <a:endParaRPr lang="ru-RU" sz="800" dirty="0">
              <a:solidFill>
                <a:srgbClr val="00294F"/>
              </a:solidFill>
            </a:endParaRPr>
          </a:p>
          <a:p>
            <a:pPr algn="ctr" defTabSz="912804"/>
            <a:endParaRPr lang="ru-RU" sz="800" dirty="0">
              <a:solidFill>
                <a:srgbClr val="00294F"/>
              </a:solidFill>
            </a:endParaRPr>
          </a:p>
        </p:txBody>
      </p:sp>
      <p:sp>
        <p:nvSpPr>
          <p:cNvPr id="110" name="Прямоугольник 109"/>
          <p:cNvSpPr/>
          <p:nvPr/>
        </p:nvSpPr>
        <p:spPr>
          <a:xfrm>
            <a:off x="276666" y="5149951"/>
            <a:ext cx="8327781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98280" algn="just" defTabSz="912804">
              <a:spcBef>
                <a:spcPts val="546"/>
              </a:spcBef>
            </a:pPr>
            <a:r>
              <a:rPr lang="ru-RU" sz="1200" dirty="0">
                <a:solidFill>
                  <a:srgbClr val="00294F">
                    <a:lumMod val="90000"/>
                    <a:lumOff val="10000"/>
                  </a:srgbClr>
                </a:solidFill>
              </a:rPr>
              <a:t>Решением </a:t>
            </a:r>
            <a:r>
              <a:rPr lang="ru-RU" sz="1200" dirty="0" smtClean="0">
                <a:solidFill>
                  <a:srgbClr val="00294F">
                    <a:lumMod val="90000"/>
                    <a:lumOff val="10000"/>
                  </a:srgbClr>
                </a:solidFill>
              </a:rPr>
              <a:t>Наблюдательного совета </a:t>
            </a:r>
            <a:r>
              <a:rPr lang="ru-RU" sz="1200" b="1" dirty="0" smtClean="0">
                <a:solidFill>
                  <a:srgbClr val="00294F">
                    <a:lumMod val="90000"/>
                    <a:lumOff val="10000"/>
                  </a:srgbClr>
                </a:solidFill>
              </a:rPr>
              <a:t>согласован </a:t>
            </a:r>
            <a:r>
              <a:rPr lang="ru-RU" sz="1200" b="1" dirty="0">
                <a:solidFill>
                  <a:srgbClr val="00294F">
                    <a:lumMod val="90000"/>
                    <a:lumOff val="10000"/>
                  </a:srgbClr>
                </a:solidFill>
              </a:rPr>
              <a:t>переход </a:t>
            </a:r>
            <a:r>
              <a:rPr lang="ru-RU" sz="1200" dirty="0">
                <a:solidFill>
                  <a:srgbClr val="00294F">
                    <a:lumMod val="90000"/>
                    <a:lumOff val="10000"/>
                  </a:srgbClr>
                </a:solidFill>
              </a:rPr>
              <a:t>с 01.10.2017 </a:t>
            </a:r>
            <a:r>
              <a:rPr lang="ru-RU" sz="1200" b="1" dirty="0">
                <a:solidFill>
                  <a:srgbClr val="00294F">
                    <a:lumMod val="90000"/>
                    <a:lumOff val="10000"/>
                  </a:srgbClr>
                </a:solidFill>
              </a:rPr>
              <a:t>на новую организационную структуру </a:t>
            </a:r>
            <a:r>
              <a:rPr lang="ru-RU" sz="1200" dirty="0">
                <a:solidFill>
                  <a:srgbClr val="00294F">
                    <a:lumMod val="90000"/>
                    <a:lumOff val="10000"/>
                  </a:srgbClr>
                </a:solidFill>
              </a:rPr>
              <a:t>с формированием 3-х центров компетенций: геологоразведочного, технологического и научно-аналитического. </a:t>
            </a:r>
            <a:r>
              <a:rPr lang="ru-RU" sz="1200" b="1" dirty="0">
                <a:solidFill>
                  <a:srgbClr val="00294F">
                    <a:lumMod val="90000"/>
                    <a:lumOff val="10000"/>
                  </a:srgbClr>
                </a:solidFill>
              </a:rPr>
              <a:t>Определены функции подразделений, разработаны положения </a:t>
            </a:r>
            <a:r>
              <a:rPr lang="ru-RU" sz="1200" dirty="0">
                <a:solidFill>
                  <a:srgbClr val="00294F">
                    <a:lumMod val="90000"/>
                    <a:lumOff val="10000"/>
                  </a:srgbClr>
                </a:solidFill>
              </a:rPr>
              <a:t>о новых подразделениях и </a:t>
            </a:r>
            <a:r>
              <a:rPr lang="ru-RU" sz="1200" b="1" dirty="0">
                <a:solidFill>
                  <a:srgbClr val="00294F">
                    <a:lumMod val="90000"/>
                    <a:lumOff val="10000"/>
                  </a:srgbClr>
                </a:solidFill>
              </a:rPr>
              <a:t>регламенты </a:t>
            </a:r>
            <a:r>
              <a:rPr lang="ru-RU" sz="1200" dirty="0">
                <a:solidFill>
                  <a:srgbClr val="00294F">
                    <a:lumMod val="90000"/>
                    <a:lumOff val="10000"/>
                  </a:srgbClr>
                </a:solidFill>
              </a:rPr>
              <a:t>их деятельности</a:t>
            </a:r>
          </a:p>
        </p:txBody>
      </p:sp>
    </p:spTree>
    <p:extLst>
      <p:ext uri="{BB962C8B-B14F-4D97-AF65-F5344CB8AC3E}">
        <p14:creationId xmlns:p14="http://schemas.microsoft.com/office/powerpoint/2010/main" val="35479593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168404" y="332656"/>
            <a:ext cx="8869266" cy="555352"/>
          </a:xfrm>
        </p:spPr>
        <p:txBody>
          <a:bodyPr/>
          <a:lstStyle/>
          <a:p>
            <a:pPr algn="r"/>
            <a:r>
              <a:rPr lang="ru-RU" sz="2400" dirty="0"/>
              <a:t>Н</a:t>
            </a:r>
            <a:r>
              <a:rPr lang="ru-RU" sz="2400" dirty="0" smtClean="0"/>
              <a:t>аучно-методическое и аналитическое сопровождение ГРР</a:t>
            </a:r>
            <a:endParaRPr lang="ru-RU" sz="2400" dirty="0"/>
          </a:p>
        </p:txBody>
      </p:sp>
      <p:sp>
        <p:nvSpPr>
          <p:cNvPr id="120" name="BainBulletsConfiguration" hidden="1"/>
          <p:cNvSpPr txBox="1"/>
          <p:nvPr/>
        </p:nvSpPr>
        <p:spPr>
          <a:xfrm>
            <a:off x="11209" y="12058"/>
            <a:ext cx="7846522" cy="83639"/>
          </a:xfrm>
          <a:prstGeom prst="rect">
            <a:avLst/>
          </a:prstGeom>
          <a:noFill/>
        </p:spPr>
        <p:txBody>
          <a:bodyPr vert="horz" wrap="square" lIns="32760" tIns="32760" rIns="32760" bIns="32760" rtlCol="0">
            <a:spAutoFit/>
          </a:bodyPr>
          <a:lstStyle/>
          <a:p>
            <a:r>
              <a:rPr lang="ru-RU" sz="100" dirty="0">
                <a:solidFill>
                  <a:srgbClr val="FFFFFF"/>
                </a:solidFill>
              </a:rPr>
              <a:t>52_89 7_84 78_88 81_88 49_84</a:t>
            </a:r>
          </a:p>
        </p:txBody>
      </p:sp>
      <p:sp>
        <p:nvSpPr>
          <p:cNvPr id="9" name="TextBox 8"/>
          <p:cNvSpPr txBox="1"/>
          <p:nvPr>
            <p:custDataLst>
              <p:tags r:id="rId1"/>
            </p:custDataLst>
          </p:nvPr>
        </p:nvSpPr>
        <p:spPr>
          <a:xfrm>
            <a:off x="88580" y="994576"/>
            <a:ext cx="3995985" cy="5569693"/>
          </a:xfrm>
          <a:prstGeom prst="rect">
            <a:avLst/>
          </a:prstGeom>
          <a:noFill/>
        </p:spPr>
        <p:txBody>
          <a:bodyPr vert="horz" wrap="square" lIns="32760" tIns="32760" rIns="32760" bIns="32760" rtlCol="0" anchor="t">
            <a:noAutofit/>
          </a:bodyPr>
          <a:lstStyle/>
          <a:p>
            <a:pPr marL="156020" indent="-156020" algn="just">
              <a:spcBef>
                <a:spcPts val="546"/>
              </a:spcBef>
              <a:buSzPct val="100000"/>
              <a:buFont typeface="Arial" panose="020B0604020202020204" pitchFamily="34" charset="0"/>
              <a:buChar char="•"/>
            </a:pPr>
            <a:r>
              <a:rPr lang="ru-RU" sz="1300" dirty="0"/>
              <a:t>Совершенствование методик прогноза  поисков коренных месторождений алмазов на Сибирской </a:t>
            </a:r>
            <a:r>
              <a:rPr lang="ru-RU" sz="1300" dirty="0" smtClean="0"/>
              <a:t>платформе</a:t>
            </a:r>
          </a:p>
          <a:p>
            <a:pPr marL="156020" indent="-156020" algn="just">
              <a:spcBef>
                <a:spcPts val="546"/>
              </a:spcBef>
              <a:buSzPct val="100000"/>
              <a:buFont typeface="Arial" panose="020B0604020202020204" pitchFamily="34" charset="0"/>
              <a:buChar char="•"/>
            </a:pPr>
            <a:endParaRPr lang="ru-RU" sz="1300" dirty="0"/>
          </a:p>
          <a:p>
            <a:pPr marL="156020" indent="-156020" algn="just">
              <a:spcBef>
                <a:spcPts val="546"/>
              </a:spcBef>
              <a:buSzPct val="100000"/>
              <a:buFont typeface="Arial" panose="020B0604020202020204" pitchFamily="34" charset="0"/>
              <a:buChar char="•"/>
            </a:pPr>
            <a:r>
              <a:rPr lang="ru-RU" sz="1300" dirty="0" smtClean="0"/>
              <a:t>Разработка </a:t>
            </a:r>
            <a:r>
              <a:rPr lang="ru-RU" sz="1300" dirty="0"/>
              <a:t>методического пособия по анализу типоморфных особенностей кристаллов алмаза на основе специализированно </a:t>
            </a:r>
            <a:r>
              <a:rPr lang="ru-RU" sz="1300" dirty="0" smtClean="0"/>
              <a:t>ПО</a:t>
            </a:r>
            <a:endParaRPr lang="ru-RU" sz="1300" dirty="0"/>
          </a:p>
          <a:p>
            <a:pPr marL="156020" indent="-156020" algn="just">
              <a:spcBef>
                <a:spcPts val="546"/>
              </a:spcBef>
              <a:buSzPct val="100000"/>
              <a:buFont typeface="Arial" panose="020B0604020202020204" pitchFamily="34" charset="0"/>
              <a:buChar char="•"/>
            </a:pPr>
            <a:endParaRPr lang="ru-RU" sz="1300" dirty="0" smtClean="0"/>
          </a:p>
          <a:p>
            <a:pPr marL="156020" indent="-156020" algn="just">
              <a:spcBef>
                <a:spcPts val="546"/>
              </a:spcBef>
              <a:buSzPct val="100000"/>
              <a:buFont typeface="Arial" panose="020B0604020202020204" pitchFamily="34" charset="0"/>
              <a:buChar char="•"/>
            </a:pPr>
            <a:r>
              <a:rPr lang="ru-RU" sz="1300" dirty="0" smtClean="0"/>
              <a:t>Мониторинг  </a:t>
            </a:r>
            <a:r>
              <a:rPr lang="ru-RU" sz="1300" dirty="0"/>
              <a:t>деятельности алмазодобывающих компаний </a:t>
            </a:r>
            <a:r>
              <a:rPr lang="ru-RU" sz="1300" dirty="0" smtClean="0"/>
              <a:t> Мира</a:t>
            </a:r>
          </a:p>
          <a:p>
            <a:pPr marL="156020" indent="-156020" algn="just">
              <a:spcBef>
                <a:spcPts val="546"/>
              </a:spcBef>
              <a:buSzPct val="100000"/>
              <a:buFont typeface="Arial" panose="020B0604020202020204" pitchFamily="34" charset="0"/>
              <a:buChar char="•"/>
            </a:pPr>
            <a:endParaRPr lang="ru-RU" sz="1300" dirty="0"/>
          </a:p>
          <a:p>
            <a:pPr marL="156020" indent="-156020" algn="just">
              <a:spcBef>
                <a:spcPts val="546"/>
              </a:spcBef>
              <a:buSzPct val="100000"/>
              <a:buFont typeface="Arial" panose="020B0604020202020204" pitchFamily="34" charset="0"/>
              <a:buChar char="•"/>
            </a:pPr>
            <a:r>
              <a:rPr lang="ru-RU" sz="1300" dirty="0"/>
              <a:t>Апробация прогнозных </a:t>
            </a:r>
            <a:r>
              <a:rPr lang="ru-RU" sz="1300" dirty="0" smtClean="0"/>
              <a:t>ресурсов</a:t>
            </a:r>
          </a:p>
          <a:p>
            <a:pPr marL="156020" indent="-156020" algn="just">
              <a:spcBef>
                <a:spcPts val="546"/>
              </a:spcBef>
              <a:buSzPct val="100000"/>
              <a:buFont typeface="Arial" panose="020B0604020202020204" pitchFamily="34" charset="0"/>
              <a:buChar char="•"/>
            </a:pPr>
            <a:endParaRPr lang="ru-RU" sz="1300" dirty="0"/>
          </a:p>
          <a:p>
            <a:pPr marL="156020" indent="-156020" algn="just">
              <a:spcBef>
                <a:spcPts val="546"/>
              </a:spcBef>
              <a:buSzPct val="100000"/>
              <a:buFont typeface="Arial" panose="020B0604020202020204" pitchFamily="34" charset="0"/>
              <a:buChar char="•"/>
            </a:pPr>
            <a:r>
              <a:rPr lang="ru-RU" sz="1300" dirty="0"/>
              <a:t>Защита результатов интеллектуальной </a:t>
            </a:r>
            <a:r>
              <a:rPr lang="ru-RU" sz="1300" dirty="0" smtClean="0"/>
              <a:t>деятельности</a:t>
            </a:r>
          </a:p>
          <a:p>
            <a:pPr marL="156020" indent="-156020" algn="just">
              <a:spcBef>
                <a:spcPts val="546"/>
              </a:spcBef>
              <a:buSzPct val="100000"/>
              <a:buFont typeface="Arial" panose="020B0604020202020204" pitchFamily="34" charset="0"/>
              <a:buChar char="•"/>
            </a:pPr>
            <a:endParaRPr lang="ru-RU" sz="1300" dirty="0"/>
          </a:p>
          <a:p>
            <a:pPr marL="156020" indent="-156020" algn="just">
              <a:spcBef>
                <a:spcPts val="546"/>
              </a:spcBef>
              <a:buSzPct val="100000"/>
              <a:buFont typeface="Arial" panose="020B0604020202020204" pitchFamily="34" charset="0"/>
              <a:buChar char="•"/>
            </a:pPr>
            <a:r>
              <a:rPr lang="ru-RU" sz="1300" dirty="0"/>
              <a:t>Лабораторно-аналитическое обеспечение ГРР. Комплексное исследование горных пород и </a:t>
            </a:r>
            <a:r>
              <a:rPr lang="ru-RU" sz="1300" dirty="0" smtClean="0"/>
              <a:t>минералов</a:t>
            </a:r>
            <a:endParaRPr lang="ru-RU" sz="1300" dirty="0"/>
          </a:p>
        </p:txBody>
      </p:sp>
      <p:sp>
        <p:nvSpPr>
          <p:cNvPr id="10" name="Isosceles Triangle 124"/>
          <p:cNvSpPr/>
          <p:nvPr/>
        </p:nvSpPr>
        <p:spPr>
          <a:xfrm rot="5400000">
            <a:off x="1690503" y="3518980"/>
            <a:ext cx="5127033" cy="136453"/>
          </a:xfrm>
          <a:prstGeom prst="triangle">
            <a:avLst/>
          </a:prstGeom>
          <a:solidFill>
            <a:srgbClr val="006393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2760" tIns="32760" rIns="32760" bIns="32760" rtlCol="0" anchor="ctr"/>
          <a:lstStyle/>
          <a:p>
            <a:pPr algn="ctr"/>
            <a:endParaRPr lang="en-US" sz="1500" dirty="0">
              <a:solidFill>
                <a:srgbClr val="FFFFFF"/>
              </a:solidFill>
            </a:endParaRPr>
          </a:p>
        </p:txBody>
      </p:sp>
      <p:sp>
        <p:nvSpPr>
          <p:cNvPr id="11" name="TextBox 10"/>
          <p:cNvSpPr txBox="1"/>
          <p:nvPr>
            <p:custDataLst>
              <p:tags r:id="rId2"/>
            </p:custDataLst>
          </p:nvPr>
        </p:nvSpPr>
        <p:spPr>
          <a:xfrm>
            <a:off x="4458400" y="737826"/>
            <a:ext cx="4557171" cy="5805269"/>
          </a:xfrm>
          <a:prstGeom prst="rect">
            <a:avLst/>
          </a:prstGeom>
          <a:noFill/>
        </p:spPr>
        <p:txBody>
          <a:bodyPr vert="horz" wrap="square" lIns="32760" tIns="32760" rIns="32760" bIns="32760" rtlCol="0" anchor="t">
            <a:noAutofit/>
          </a:bodyPr>
          <a:lstStyle/>
          <a:p>
            <a:pPr marL="156020" indent="-156020" algn="just">
              <a:spcBef>
                <a:spcPts val="546"/>
              </a:spcBef>
              <a:buSzPct val="100000"/>
              <a:buFont typeface="Arial" panose="020B0604020202020204" pitchFamily="34" charset="0"/>
              <a:buChar char="•"/>
            </a:pPr>
            <a:endParaRPr lang="ru-RU" sz="1300" dirty="0">
              <a:solidFill>
                <a:srgbClr val="000000"/>
              </a:solidFill>
            </a:endParaRPr>
          </a:p>
          <a:p>
            <a:pPr marL="156020" indent="-156020" algn="just">
              <a:spcBef>
                <a:spcPts val="546"/>
              </a:spcBef>
              <a:buSzPct val="100000"/>
              <a:buFont typeface="Arial" panose="020B0604020202020204" pitchFamily="34" charset="0"/>
              <a:buChar char="•"/>
            </a:pPr>
            <a:r>
              <a:rPr lang="ru-RU" sz="1300" dirty="0"/>
              <a:t>Апробация  методики оценки потенциальной алмазоносности кимберлитов по комплексу элементов в низкохромистых пиропах</a:t>
            </a:r>
          </a:p>
          <a:p>
            <a:pPr marL="156020" indent="-156020" algn="just">
              <a:spcBef>
                <a:spcPts val="546"/>
              </a:spcBef>
              <a:buSzPct val="100000"/>
              <a:buFont typeface="Arial" panose="020B0604020202020204" pitchFamily="34" charset="0"/>
              <a:buChar char="•"/>
            </a:pPr>
            <a:r>
              <a:rPr lang="ru-RU" sz="1300" dirty="0"/>
              <a:t>Внедрение методики локализации и идентификации шлиховых ореолов на основе коэффициента соответствия (КС) в трехмерной среде  на базе ПО </a:t>
            </a:r>
            <a:r>
              <a:rPr lang="ru-RU" sz="1300" dirty="0" err="1"/>
              <a:t>Микромайн</a:t>
            </a:r>
            <a:endParaRPr lang="ru-RU" sz="1300" dirty="0"/>
          </a:p>
          <a:p>
            <a:pPr marL="156020" indent="-156020" algn="just">
              <a:spcBef>
                <a:spcPts val="546"/>
              </a:spcBef>
              <a:buSzPct val="100000"/>
              <a:buFont typeface="Arial" panose="020B0604020202020204" pitchFamily="34" charset="0"/>
              <a:buChar char="•"/>
            </a:pPr>
            <a:r>
              <a:rPr lang="ru-RU" sz="1300" dirty="0"/>
              <a:t>Издание Методических рекомендаций по прогнозированию и поискам коренных месторождений алмазов на Сибирской платформе</a:t>
            </a:r>
          </a:p>
          <a:p>
            <a:pPr marL="156020" indent="-156020" algn="just">
              <a:spcBef>
                <a:spcPts val="546"/>
              </a:spcBef>
              <a:buSzPct val="100000"/>
              <a:buFont typeface="Arial" panose="020B0604020202020204" pitchFamily="34" charset="0"/>
              <a:buChar char="•"/>
            </a:pPr>
            <a:r>
              <a:rPr lang="ru-RU" sz="1300" dirty="0"/>
              <a:t>Внедрено ПО минералогического описания кристаллографических параметров реальных многогранников алмазов. Разработана методика.</a:t>
            </a:r>
          </a:p>
          <a:p>
            <a:pPr marL="156020" indent="-156020">
              <a:spcBef>
                <a:spcPts val="546"/>
              </a:spcBef>
              <a:buSzPct val="100000"/>
              <a:buFont typeface="Arial" panose="020B0604020202020204" pitchFamily="34" charset="0"/>
              <a:buChar char="•"/>
            </a:pPr>
            <a:r>
              <a:rPr lang="ru-RU" sz="1300" dirty="0"/>
              <a:t>Выбор новых перспективных площадей для дальнейшего лицензирования</a:t>
            </a:r>
          </a:p>
          <a:p>
            <a:pPr marL="156020" indent="-156020">
              <a:spcBef>
                <a:spcPts val="546"/>
              </a:spcBef>
              <a:buSzPct val="100000"/>
              <a:buFont typeface="Arial" panose="020B0604020202020204" pitchFamily="34" charset="0"/>
              <a:buChar char="•"/>
            </a:pPr>
            <a:r>
              <a:rPr lang="ru-RU" sz="1300" dirty="0" smtClean="0"/>
              <a:t>Апробация </a:t>
            </a:r>
            <a:r>
              <a:rPr lang="ru-RU" sz="1300" dirty="0"/>
              <a:t>ресурсов </a:t>
            </a:r>
            <a:r>
              <a:rPr lang="ru-RU" sz="1300" dirty="0" smtClean="0"/>
              <a:t>кимберлитовых полей ЯАП</a:t>
            </a:r>
          </a:p>
          <a:p>
            <a:pPr marL="156020" indent="-156020">
              <a:spcBef>
                <a:spcPts val="546"/>
              </a:spcBef>
              <a:buSzPct val="100000"/>
              <a:buFont typeface="Arial" panose="020B0604020202020204" pitchFamily="34" charset="0"/>
              <a:buChar char="•"/>
            </a:pPr>
            <a:r>
              <a:rPr lang="ru-RU" sz="1300" dirty="0" smtClean="0"/>
              <a:t>Внедрение 11 РИД</a:t>
            </a:r>
          </a:p>
          <a:p>
            <a:pPr marL="156020" indent="-156020">
              <a:spcBef>
                <a:spcPts val="546"/>
              </a:spcBef>
              <a:buSzPct val="100000"/>
              <a:buFont typeface="Arial" panose="020B0604020202020204" pitchFamily="34" charset="0"/>
              <a:buChar char="•"/>
            </a:pPr>
            <a:r>
              <a:rPr lang="ru-RU" sz="1300" dirty="0" smtClean="0"/>
              <a:t>Адаптация </a:t>
            </a:r>
            <a:r>
              <a:rPr lang="ru-RU" sz="1300" dirty="0"/>
              <a:t>международной классификации кимберлитов на основе опыта отечественных петрологов</a:t>
            </a:r>
          </a:p>
          <a:p>
            <a:pPr>
              <a:spcBef>
                <a:spcPts val="546"/>
              </a:spcBef>
              <a:buSzPct val="100000"/>
            </a:pPr>
            <a:endParaRPr lang="ru-RU" sz="1300" dirty="0">
              <a:solidFill>
                <a:srgbClr val="000000"/>
              </a:solidFill>
            </a:endParaRPr>
          </a:p>
          <a:p>
            <a:pPr marL="156020" indent="-156020">
              <a:spcBef>
                <a:spcPts val="546"/>
              </a:spcBef>
              <a:buSzPct val="100000"/>
              <a:buFont typeface="Arial" panose="020B0604020202020204" pitchFamily="34" charset="0"/>
              <a:buChar char="•"/>
            </a:pPr>
            <a:endParaRPr lang="ru-RU" sz="13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5048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ctrTitle"/>
          </p:nvPr>
        </p:nvSpPr>
        <p:spPr>
          <a:xfrm>
            <a:off x="313753" y="3148467"/>
            <a:ext cx="8395031" cy="589709"/>
          </a:xfrm>
        </p:spPr>
        <p:txBody>
          <a:bodyPr anchor="t">
            <a:normAutofit/>
          </a:bodyPr>
          <a:lstStyle/>
          <a:p>
            <a:pPr algn="ctr"/>
            <a:r>
              <a:rPr lang="ru-RU" dirty="0" smtClean="0"/>
              <a:t>Спасибо за внимание!</a:t>
            </a:r>
            <a:endParaRPr lang="ru-RU" sz="2000" b="0" i="1" dirty="0"/>
          </a:p>
        </p:txBody>
      </p:sp>
      <p:sp>
        <p:nvSpPr>
          <p:cNvPr id="2" name="BainBulletsConfiguration" hidden="1"/>
          <p:cNvSpPr txBox="1"/>
          <p:nvPr/>
        </p:nvSpPr>
        <p:spPr>
          <a:xfrm>
            <a:off x="11209" y="12059"/>
            <a:ext cx="7846522" cy="83639"/>
          </a:xfrm>
          <a:prstGeom prst="rect">
            <a:avLst/>
          </a:prstGeom>
          <a:noFill/>
        </p:spPr>
        <p:txBody>
          <a:bodyPr vert="horz" wrap="square" lIns="32757" tIns="32757" rIns="32757" bIns="32757" rtlCol="0">
            <a:spAutoFit/>
          </a:bodyPr>
          <a:lstStyle/>
          <a:p>
            <a:pPr defTabSz="892932"/>
            <a:endParaRPr lang="ru-RU" sz="100" dirty="0">
              <a:solidFill>
                <a:srgbClr val="FFFFFF"/>
              </a:solidFill>
            </a:endParaRPr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10417" y="3921208"/>
            <a:ext cx="1689507" cy="1367209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6" name="Рисунок 5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30051" y="3948915"/>
            <a:ext cx="1694637" cy="1367209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7" name="Рисунок 6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12962" y="3958153"/>
            <a:ext cx="1694636" cy="1367209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8" name="Рисунок 7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616" y="3976624"/>
            <a:ext cx="1694637" cy="1367209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9" name="Рисунок 8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75572" y="3902734"/>
            <a:ext cx="1864101" cy="1367209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</p:spTree>
    <p:extLst>
      <p:ext uri="{BB962C8B-B14F-4D97-AF65-F5344CB8AC3E}">
        <p14:creationId xmlns:p14="http://schemas.microsoft.com/office/powerpoint/2010/main" val="42366765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261257" y="1"/>
            <a:ext cx="8703231" cy="897162"/>
          </a:xfrm>
        </p:spPr>
        <p:txBody>
          <a:bodyPr/>
          <a:lstStyle/>
          <a:p>
            <a:pPr algn="r"/>
            <a:r>
              <a:rPr lang="ru-RU" sz="2400" dirty="0">
                <a:solidFill>
                  <a:srgbClr val="017ECB"/>
                </a:solidFill>
                <a:latin typeface="Arial" panose="020B0604020202020204" pitchFamily="34" charset="0"/>
                <a:ea typeface="Arial Unicode MS" pitchFamily="34" charset="-128"/>
                <a:cs typeface="Arial" panose="020B0604020202020204" pitchFamily="34" charset="0"/>
              </a:rPr>
              <a:t>В</a:t>
            </a:r>
            <a:r>
              <a:rPr lang="ru-RU" sz="2400" dirty="0" smtClean="0">
                <a:solidFill>
                  <a:srgbClr val="017ECB"/>
                </a:solidFill>
                <a:latin typeface="Arial" panose="020B0604020202020204" pitchFamily="34" charset="0"/>
                <a:ea typeface="Arial Unicode MS" pitchFamily="34" charset="-128"/>
                <a:cs typeface="Arial" panose="020B0604020202020204" pitchFamily="34" charset="0"/>
              </a:rPr>
              <a:t>недрение технологии трехмерной высокоразрешающей сейсморазведки при поисках месторождений алмазов</a:t>
            </a:r>
            <a:endParaRPr lang="ru-RU" sz="2400" dirty="0">
              <a:solidFill>
                <a:srgbClr val="017ECB"/>
              </a:solidFill>
              <a:latin typeface="Arial" panose="020B0604020202020204" pitchFamily="34" charset="0"/>
              <a:ea typeface="Arial Unicode MS" pitchFamily="34" charset="-128"/>
              <a:cs typeface="Arial" panose="020B0604020202020204" pitchFamily="34" charset="0"/>
            </a:endParaRPr>
          </a:p>
        </p:txBody>
      </p:sp>
      <p:pic>
        <p:nvPicPr>
          <p:cNvPr id="19" name="Рисунок 18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624" t="9363" r="-2606" b="31305"/>
          <a:stretch/>
        </p:blipFill>
        <p:spPr>
          <a:xfrm>
            <a:off x="-15302" y="6349026"/>
            <a:ext cx="1058910" cy="508974"/>
          </a:xfrm>
          <a:prstGeom prst="ellipse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4" name="Прямоугольник 3"/>
          <p:cNvSpPr/>
          <p:nvPr/>
        </p:nvSpPr>
        <p:spPr>
          <a:xfrm>
            <a:off x="514152" y="1052736"/>
            <a:ext cx="8162303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2804"/>
            <a:r>
              <a:rPr lang="ru-RU" dirty="0">
                <a:solidFill>
                  <a:srgbClr val="00294F"/>
                </a:solidFill>
              </a:rPr>
              <a:t>Проведение производственных трехмерных сейсморазведочных работ 3D на перспективном участке </a:t>
            </a:r>
            <a:r>
              <a:rPr lang="ru-RU" dirty="0" smtClean="0">
                <a:solidFill>
                  <a:srgbClr val="00294F"/>
                </a:solidFill>
              </a:rPr>
              <a:t>Озерный</a:t>
            </a:r>
            <a:endParaRPr lang="ru-RU" dirty="0">
              <a:solidFill>
                <a:srgbClr val="00294F"/>
              </a:solidFill>
            </a:endParaRPr>
          </a:p>
        </p:txBody>
      </p:sp>
      <p:grpSp>
        <p:nvGrpSpPr>
          <p:cNvPr id="23" name="Группа 2"/>
          <p:cNvGrpSpPr>
            <a:grpSpLocks/>
          </p:cNvGrpSpPr>
          <p:nvPr/>
        </p:nvGrpSpPr>
        <p:grpSpPr bwMode="auto">
          <a:xfrm>
            <a:off x="674492" y="1767898"/>
            <a:ext cx="3888430" cy="4581128"/>
            <a:chOff x="971550" y="1125538"/>
            <a:chExt cx="4105274" cy="4535487"/>
          </a:xfrm>
          <a:effectLst/>
        </p:grpSpPr>
        <p:grpSp>
          <p:nvGrpSpPr>
            <p:cNvPr id="24" name="Группа 21"/>
            <p:cNvGrpSpPr>
              <a:grpSpLocks/>
            </p:cNvGrpSpPr>
            <p:nvPr/>
          </p:nvGrpSpPr>
          <p:grpSpPr bwMode="auto">
            <a:xfrm>
              <a:off x="971550" y="1125538"/>
              <a:ext cx="4105274" cy="4535487"/>
              <a:chOff x="971600" y="1124744"/>
              <a:chExt cx="4104456" cy="4536504"/>
            </a:xfrm>
          </p:grpSpPr>
          <p:pic>
            <p:nvPicPr>
              <p:cNvPr id="26" name="Рисунок 3"/>
              <p:cNvPicPr>
                <a:picLocks noChangeAspect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14720" t="15001" r="46851" b="9399"/>
              <a:stretch>
                <a:fillRect/>
              </a:stretch>
            </p:blipFill>
            <p:spPr bwMode="auto">
              <a:xfrm>
                <a:off x="971600" y="1124744"/>
                <a:ext cx="4104456" cy="4536504"/>
              </a:xfrm>
              <a:prstGeom prst="rect">
                <a:avLst/>
              </a:prstGeom>
              <a:noFill/>
              <a:ln>
                <a:noFill/>
              </a:ln>
              <a:scene3d>
                <a:camera prst="orthographicFront"/>
                <a:lightRig rig="threePt" dir="t"/>
              </a:scene3d>
              <a:sp3d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27" name="TextBox 5"/>
              <p:cNvSpPr txBox="1">
                <a:spLocks noChangeArrowheads="1"/>
              </p:cNvSpPr>
              <p:nvPr/>
            </p:nvSpPr>
            <p:spPr bwMode="auto">
              <a:xfrm rot="5400000">
                <a:off x="3026202" y="3663532"/>
                <a:ext cx="875195" cy="207450"/>
              </a:xfrm>
              <a:prstGeom prst="rect">
                <a:avLst/>
              </a:prstGeom>
              <a:noFill/>
              <a:ln>
                <a:noFill/>
              </a:ln>
              <a:scene3d>
                <a:camera prst="orthographicFront"/>
                <a:lightRig rig="threePt" dir="t"/>
              </a:scene3d>
              <a:sp3d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>
                <a:spAutoFit/>
              </a:bodyPr>
              <a:lstStyle>
                <a:lvl1pPr>
                  <a:spcBef>
                    <a:spcPct val="20000"/>
                  </a:spcBef>
                  <a:buClr>
                    <a:schemeClr val="accent1"/>
                  </a:buClr>
                  <a:buFont typeface="Arial" panose="020B0604020202020204" pitchFamily="34" charset="0"/>
                  <a:buChar char="•"/>
                  <a:defRPr sz="32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1pPr>
                <a:lvl2pPr marL="742950" indent="-285750">
                  <a:spcBef>
                    <a:spcPct val="20000"/>
                  </a:spcBef>
                  <a:buClr>
                    <a:schemeClr val="accent1"/>
                  </a:buClr>
                  <a:buFont typeface="Arial" panose="020B0604020202020204" pitchFamily="34" charset="0"/>
                  <a:buChar char="–"/>
                  <a:defRPr sz="28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2pPr>
                <a:lvl3pPr marL="1143000" indent="-228600">
                  <a:spcBef>
                    <a:spcPct val="20000"/>
                  </a:spcBef>
                  <a:buClr>
                    <a:schemeClr val="accent1"/>
                  </a:buClr>
                  <a:buFont typeface="Arial" panose="020B0604020202020204" pitchFamily="34" charset="0"/>
                  <a:buChar char="•"/>
                  <a:defRPr sz="24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3pPr>
                <a:lvl4pPr marL="1600200" indent="-228600">
                  <a:spcBef>
                    <a:spcPct val="20000"/>
                  </a:spcBef>
                  <a:buClr>
                    <a:schemeClr val="accent1"/>
                  </a:buClr>
                  <a:buFont typeface="Arial" panose="020B0604020202020204" pitchFamily="34" charset="0"/>
                  <a:buChar char="–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4pPr>
                <a:lvl5pPr marL="2057400" indent="-228600">
                  <a:spcBef>
                    <a:spcPct val="20000"/>
                  </a:spcBef>
                  <a:buClr>
                    <a:schemeClr val="accent1"/>
                  </a:buClr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chemeClr val="accent1"/>
                  </a:buClr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chemeClr val="accent1"/>
                  </a:buClr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chemeClr val="accent1"/>
                  </a:buClr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chemeClr val="accent1"/>
                  </a:buClr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9pPr>
              </a:lstStyle>
              <a:p>
                <a:pPr defTabSz="912804">
                  <a:spcBef>
                    <a:spcPct val="0"/>
                  </a:spcBef>
                  <a:buClrTx/>
                  <a:buFontTx/>
                  <a:buNone/>
                </a:pPr>
                <a:r>
                  <a:rPr lang="ru-RU" altLang="ru-RU" sz="900" dirty="0">
                    <a:solidFill>
                      <a:srgbClr val="FF0000"/>
                    </a:solidFill>
                    <a:latin typeface="Constantia" panose="02030602050306030303" pitchFamily="18" charset="0"/>
                    <a:cs typeface="Arial" panose="020B0604020202020204" pitchFamily="34" charset="0"/>
                  </a:rPr>
                  <a:t>Южный</a:t>
                </a:r>
                <a:r>
                  <a:rPr lang="ru-RU" altLang="ru-RU" sz="900" dirty="0">
                    <a:solidFill>
                      <a:srgbClr val="00294F"/>
                    </a:solidFill>
                    <a:latin typeface="Constantia" panose="02030602050306030303" pitchFamily="18" charset="0"/>
                    <a:cs typeface="Arial" panose="020B0604020202020204" pitchFamily="34" charset="0"/>
                  </a:rPr>
                  <a:t> </a:t>
                </a:r>
                <a:r>
                  <a:rPr lang="ru-RU" altLang="ru-RU" sz="900" dirty="0">
                    <a:solidFill>
                      <a:srgbClr val="FF0000"/>
                    </a:solidFill>
                    <a:latin typeface="Constantia" panose="02030602050306030303" pitchFamily="18" charset="0"/>
                    <a:cs typeface="Arial" panose="020B0604020202020204" pitchFamily="34" charset="0"/>
                  </a:rPr>
                  <a:t>разлом</a:t>
                </a:r>
              </a:p>
            </p:txBody>
          </p:sp>
        </p:grpSp>
        <p:sp>
          <p:nvSpPr>
            <p:cNvPr id="25" name="Полилиния 24"/>
            <p:cNvSpPr/>
            <p:nvPr/>
          </p:nvSpPr>
          <p:spPr>
            <a:xfrm>
              <a:off x="2662839" y="3199859"/>
              <a:ext cx="22226" cy="68611"/>
            </a:xfrm>
            <a:custGeom>
              <a:avLst/>
              <a:gdLst>
                <a:gd name="connsiteX0" fmla="*/ 0 w 20968"/>
                <a:gd name="connsiteY0" fmla="*/ 64788 h 64788"/>
                <a:gd name="connsiteX1" fmla="*/ 20955 w 20968"/>
                <a:gd name="connsiteY1" fmla="*/ 18 h 64788"/>
                <a:gd name="connsiteX2" fmla="*/ 0 w 20968"/>
                <a:gd name="connsiteY2" fmla="*/ 64788 h 647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0968" h="64788">
                  <a:moveTo>
                    <a:pt x="0" y="64788"/>
                  </a:moveTo>
                  <a:cubicBezTo>
                    <a:pt x="0" y="64788"/>
                    <a:pt x="20320" y="1288"/>
                    <a:pt x="20955" y="18"/>
                  </a:cubicBezTo>
                  <a:cubicBezTo>
                    <a:pt x="21590" y="-1252"/>
                    <a:pt x="0" y="64788"/>
                    <a:pt x="0" y="64788"/>
                  </a:cubicBezTo>
                  <a:close/>
                </a:path>
              </a:pathLst>
            </a:custGeom>
            <a:solidFill>
              <a:srgbClr val="00B050"/>
            </a:solidFill>
            <a:ln w="28575">
              <a:solidFill>
                <a:srgbClr val="00B050"/>
              </a:solidFill>
            </a:ln>
            <a:scene3d>
              <a:camera prst="orthographicFront"/>
              <a:lightRig rig="threePt" dir="t"/>
            </a:scene3d>
            <a:sp3d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912804">
                <a:defRPr/>
              </a:pPr>
              <a:endParaRPr lang="ru-RU">
                <a:solidFill>
                  <a:srgbClr val="FFFFFF"/>
                </a:solidFill>
              </a:endParaRPr>
            </a:p>
          </p:txBody>
        </p:sp>
      </p:grpSp>
      <p:sp>
        <p:nvSpPr>
          <p:cNvPr id="14" name="Прямоугольник 13"/>
          <p:cNvSpPr/>
          <p:nvPr/>
        </p:nvSpPr>
        <p:spPr>
          <a:xfrm>
            <a:off x="4788024" y="1801330"/>
            <a:ext cx="4047256" cy="14773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2804"/>
            <a:r>
              <a:rPr lang="ru-RU" dirty="0">
                <a:solidFill>
                  <a:srgbClr val="00294F"/>
                </a:solidFill>
              </a:rPr>
              <a:t>На аномалии СР - 46 </a:t>
            </a:r>
          </a:p>
          <a:p>
            <a:pPr defTabSz="912804"/>
            <a:r>
              <a:rPr lang="ru-RU" dirty="0">
                <a:solidFill>
                  <a:srgbClr val="00294F"/>
                </a:solidFill>
              </a:rPr>
              <a:t>в интервале 314,7 – 315,6 м вскрыта жила </a:t>
            </a:r>
            <a:r>
              <a:rPr lang="ru-RU" dirty="0" smtClean="0">
                <a:solidFill>
                  <a:srgbClr val="00294F"/>
                </a:solidFill>
              </a:rPr>
              <a:t>кимберлитовой </a:t>
            </a:r>
            <a:r>
              <a:rPr lang="ru-RU" dirty="0">
                <a:solidFill>
                  <a:srgbClr val="00294F"/>
                </a:solidFill>
              </a:rPr>
              <a:t>брекчии, с высокой степенью </a:t>
            </a:r>
            <a:r>
              <a:rPr lang="ru-RU" dirty="0" err="1">
                <a:solidFill>
                  <a:srgbClr val="00294F"/>
                </a:solidFill>
              </a:rPr>
              <a:t>алмазоносности</a:t>
            </a:r>
            <a:endParaRPr lang="ru-RU" dirty="0">
              <a:solidFill>
                <a:srgbClr val="00294F"/>
              </a:solidFill>
            </a:endParaRPr>
          </a:p>
        </p:txBody>
      </p:sp>
      <p:cxnSp>
        <p:nvCxnSpPr>
          <p:cNvPr id="28" name="Прямая со стрелкой 27"/>
          <p:cNvCxnSpPr/>
          <p:nvPr/>
        </p:nvCxnSpPr>
        <p:spPr bwMode="auto">
          <a:xfrm flipH="1">
            <a:off x="2297498" y="3932394"/>
            <a:ext cx="2706550" cy="0"/>
          </a:xfrm>
          <a:prstGeom prst="straightConnector1">
            <a:avLst/>
          </a:prstGeom>
          <a:ln w="38100">
            <a:solidFill>
              <a:srgbClr val="FF0000"/>
            </a:solidFill>
            <a:miter lim="800000"/>
            <a:headEnd type="none"/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Прямоугольник 30"/>
          <p:cNvSpPr/>
          <p:nvPr/>
        </p:nvSpPr>
        <p:spPr>
          <a:xfrm>
            <a:off x="4815056" y="4658958"/>
            <a:ext cx="3501360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2804"/>
            <a:r>
              <a:rPr lang="ru-RU" dirty="0">
                <a:solidFill>
                  <a:srgbClr val="00294F"/>
                </a:solidFill>
              </a:rPr>
              <a:t>Фрагмент временного куба с </a:t>
            </a:r>
            <a:r>
              <a:rPr lang="ru-RU" dirty="0" err="1">
                <a:solidFill>
                  <a:srgbClr val="00294F"/>
                </a:solidFill>
              </a:rPr>
              <a:t>инклинометрией</a:t>
            </a:r>
            <a:r>
              <a:rPr lang="ru-RU" dirty="0">
                <a:solidFill>
                  <a:srgbClr val="00294F"/>
                </a:solidFill>
              </a:rPr>
              <a:t> наклонных скважин и результатами заверки</a:t>
            </a:r>
          </a:p>
        </p:txBody>
      </p:sp>
      <p:sp>
        <p:nvSpPr>
          <p:cNvPr id="15" name="Прямоугольник 6"/>
          <p:cNvSpPr>
            <a:spLocks noChangeArrowheads="1"/>
          </p:cNvSpPr>
          <p:nvPr/>
        </p:nvSpPr>
        <p:spPr bwMode="auto">
          <a:xfrm>
            <a:off x="5061011" y="3701561"/>
            <a:ext cx="3009449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Constantia" panose="02030602050306030303" pitchFamily="18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onstantia" panose="02030602050306030303" pitchFamily="18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onstantia" panose="02030602050306030303" pitchFamily="18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onstantia" panose="02030602050306030303" pitchFamily="18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onstantia" panose="02030602050306030303" pitchFamily="18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nstantia" panose="02030602050306030303" pitchFamily="18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nstantia" panose="02030602050306030303" pitchFamily="18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nstantia" panose="02030602050306030303" pitchFamily="18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nstantia" panose="02030602050306030303" pitchFamily="18" charset="0"/>
                <a:cs typeface="Arial" panose="020B0604020202020204" pitchFamily="34" charset="0"/>
              </a:defRPr>
            </a:lvl9pPr>
          </a:lstStyle>
          <a:p>
            <a:pPr algn="just">
              <a:defRPr/>
            </a:pPr>
            <a:r>
              <a:rPr lang="ru-RU" altLang="ru-RU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имберлитовая жила</a:t>
            </a:r>
          </a:p>
        </p:txBody>
      </p:sp>
    </p:spTree>
    <p:extLst>
      <p:ext uri="{BB962C8B-B14F-4D97-AF65-F5344CB8AC3E}">
        <p14:creationId xmlns:p14="http://schemas.microsoft.com/office/powerpoint/2010/main" val="241752372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1000"/>
                            </p:stCondLst>
                            <p:childTnLst>
                              <p:par>
                                <p:cTn id="11" presetID="2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3" dur="10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2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6" dur="10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261257" y="1"/>
            <a:ext cx="8703231" cy="897162"/>
          </a:xfrm>
        </p:spPr>
        <p:txBody>
          <a:bodyPr/>
          <a:lstStyle/>
          <a:p>
            <a:pPr algn="r"/>
            <a:r>
              <a:rPr lang="ru-RU" sz="2400" dirty="0">
                <a:solidFill>
                  <a:srgbClr val="017ECB"/>
                </a:solidFill>
                <a:latin typeface="Arial" panose="020B0604020202020204" pitchFamily="34" charset="0"/>
                <a:ea typeface="Arial Unicode MS" pitchFamily="34" charset="-128"/>
                <a:cs typeface="Arial" panose="020B0604020202020204" pitchFamily="34" charset="0"/>
              </a:rPr>
              <a:t>Комплексная  аэрогеофизическая   съемка  </a:t>
            </a:r>
            <a:r>
              <a:rPr lang="ru-RU" sz="2400" dirty="0" smtClean="0">
                <a:solidFill>
                  <a:srgbClr val="017ECB"/>
                </a:solidFill>
                <a:latin typeface="Arial" panose="020B0604020202020204" pitchFamily="34" charset="0"/>
                <a:ea typeface="Arial Unicode MS" pitchFamily="34" charset="-128"/>
                <a:cs typeface="Arial" panose="020B0604020202020204" pitchFamily="34" charset="0"/>
              </a:rPr>
              <a:t>с использованием  </a:t>
            </a:r>
            <a:r>
              <a:rPr lang="ru-RU" sz="2400" dirty="0">
                <a:solidFill>
                  <a:srgbClr val="017ECB"/>
                </a:solidFill>
                <a:latin typeface="Arial" panose="020B0604020202020204" pitchFamily="34" charset="0"/>
                <a:ea typeface="Arial Unicode MS" pitchFamily="34" charset="-128"/>
                <a:cs typeface="Arial" panose="020B0604020202020204" pitchFamily="34" charset="0"/>
              </a:rPr>
              <a:t>системы  VTEM </a:t>
            </a:r>
          </a:p>
        </p:txBody>
      </p:sp>
      <p:pic>
        <p:nvPicPr>
          <p:cNvPr id="19" name="Рисунок 18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624" t="9363" r="-2606" b="31305"/>
          <a:stretch/>
        </p:blipFill>
        <p:spPr>
          <a:xfrm>
            <a:off x="31311" y="5834802"/>
            <a:ext cx="1058910" cy="508974"/>
          </a:xfrm>
          <a:prstGeom prst="ellipse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6" name="Прямоугольник 5"/>
          <p:cNvSpPr/>
          <p:nvPr/>
        </p:nvSpPr>
        <p:spPr>
          <a:xfrm>
            <a:off x="328629" y="5160926"/>
            <a:ext cx="8280920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2804"/>
            <a:r>
              <a:rPr lang="ru-RU" dirty="0">
                <a:solidFill>
                  <a:srgbClr val="00294F"/>
                </a:solidFill>
              </a:rPr>
              <a:t>Пример Выявления аномалии пониженных сопротивлений, перспективной на обнаружение нового кимберлитового тела</a:t>
            </a:r>
          </a:p>
        </p:txBody>
      </p:sp>
      <p:pic>
        <p:nvPicPr>
          <p:cNvPr id="10" name="Рисунок 3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4693" y="1600587"/>
            <a:ext cx="4722032" cy="34034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Овал 10"/>
          <p:cNvSpPr/>
          <p:nvPr/>
        </p:nvSpPr>
        <p:spPr>
          <a:xfrm>
            <a:off x="3574677" y="2914776"/>
            <a:ext cx="1080120" cy="864047"/>
          </a:xfrm>
          <a:prstGeom prst="ellipse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2804">
              <a:defRPr/>
            </a:pPr>
            <a:endParaRPr lang="ru-RU">
              <a:solidFill>
                <a:srgbClr val="FFFFFF"/>
              </a:solidFill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5933013" y="1169700"/>
            <a:ext cx="2574032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912804"/>
            <a:r>
              <a:rPr lang="ru-RU" sz="1100" dirty="0">
                <a:solidFill>
                  <a:srgbClr val="00294F"/>
                </a:solidFill>
              </a:rPr>
              <a:t>Расчет эффективных</a:t>
            </a:r>
          </a:p>
          <a:p>
            <a:pPr algn="ctr" defTabSz="912804"/>
            <a:r>
              <a:rPr lang="ru-RU" sz="1100" dirty="0">
                <a:solidFill>
                  <a:srgbClr val="00294F"/>
                </a:solidFill>
              </a:rPr>
              <a:t> сопротивлений</a:t>
            </a:r>
          </a:p>
        </p:txBody>
      </p:sp>
      <p:pic>
        <p:nvPicPr>
          <p:cNvPr id="13" name="Рисунок 4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37086" y="1600587"/>
            <a:ext cx="1825376" cy="16893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" name="Рисунок 5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176" t="38214" r="20924" b="34286"/>
          <a:stretch>
            <a:fillRect/>
          </a:stretch>
        </p:blipFill>
        <p:spPr bwMode="auto">
          <a:xfrm>
            <a:off x="6307341" y="3582998"/>
            <a:ext cx="1825376" cy="14210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" name="Прямоугольник 16"/>
          <p:cNvSpPr/>
          <p:nvPr/>
        </p:nvSpPr>
        <p:spPr>
          <a:xfrm>
            <a:off x="5933013" y="3302302"/>
            <a:ext cx="2574032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912804"/>
            <a:r>
              <a:rPr lang="ru-RU" sz="1100" dirty="0" smtClean="0">
                <a:solidFill>
                  <a:srgbClr val="00294F"/>
                </a:solidFill>
              </a:rPr>
              <a:t>3</a:t>
            </a:r>
            <a:r>
              <a:rPr lang="en-US" sz="1100" dirty="0" smtClean="0">
                <a:solidFill>
                  <a:srgbClr val="00294F"/>
                </a:solidFill>
              </a:rPr>
              <a:t>D</a:t>
            </a:r>
            <a:r>
              <a:rPr lang="ru-RU" sz="1100" dirty="0" smtClean="0">
                <a:solidFill>
                  <a:srgbClr val="00294F"/>
                </a:solidFill>
              </a:rPr>
              <a:t> модель</a:t>
            </a:r>
            <a:endParaRPr lang="ru-RU" sz="1100" dirty="0">
              <a:solidFill>
                <a:srgbClr val="00294F"/>
              </a:solidFill>
            </a:endParaRPr>
          </a:p>
        </p:txBody>
      </p:sp>
      <p:sp>
        <p:nvSpPr>
          <p:cNvPr id="18" name="Прямоугольник 17"/>
          <p:cNvSpPr/>
          <p:nvPr/>
        </p:nvSpPr>
        <p:spPr>
          <a:xfrm>
            <a:off x="2080765" y="1165032"/>
            <a:ext cx="2574032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912804"/>
            <a:r>
              <a:rPr lang="ru-RU" sz="1100" dirty="0" smtClean="0">
                <a:solidFill>
                  <a:srgbClr val="00294F"/>
                </a:solidFill>
              </a:rPr>
              <a:t>Исходное наблюденное поле</a:t>
            </a:r>
            <a:endParaRPr lang="ru-RU" sz="1100" dirty="0">
              <a:solidFill>
                <a:srgbClr val="00294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353717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1000"/>
                            </p:stCondLst>
                            <p:childTnLst>
                              <p:par>
                                <p:cTn id="11" presetID="21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13" dur="2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3000"/>
                            </p:stCondLst>
                            <p:childTnLst>
                              <p:par>
                                <p:cTn id="1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7" dur="10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0" dur="10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animBg="1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261257" y="1"/>
            <a:ext cx="8703231" cy="897162"/>
          </a:xfrm>
        </p:spPr>
        <p:txBody>
          <a:bodyPr/>
          <a:lstStyle/>
          <a:p>
            <a:pPr algn="r"/>
            <a:r>
              <a:rPr lang="ru-RU" sz="2400" dirty="0">
                <a:solidFill>
                  <a:srgbClr val="017ECB"/>
                </a:solidFill>
                <a:latin typeface="Arial" panose="020B0604020202020204" pitchFamily="34" charset="0"/>
                <a:ea typeface="Arial Unicode MS" pitchFamily="34" charset="-128"/>
                <a:cs typeface="Arial" panose="020B0604020202020204" pitchFamily="34" charset="0"/>
              </a:rPr>
              <a:t>Опытно-методические </a:t>
            </a:r>
            <a:r>
              <a:rPr lang="ru-RU" sz="2400" dirty="0" err="1">
                <a:solidFill>
                  <a:srgbClr val="017ECB"/>
                </a:solidFill>
                <a:latin typeface="Arial" panose="020B0604020202020204" pitchFamily="34" charset="0"/>
                <a:ea typeface="Arial Unicode MS" pitchFamily="34" charset="-128"/>
                <a:cs typeface="Arial" panose="020B0604020202020204" pitchFamily="34" charset="0"/>
              </a:rPr>
              <a:t>георадарные</a:t>
            </a:r>
            <a:r>
              <a:rPr lang="ru-RU" sz="2400" dirty="0">
                <a:solidFill>
                  <a:srgbClr val="017ECB"/>
                </a:solidFill>
                <a:latin typeface="Arial" panose="020B0604020202020204" pitchFamily="34" charset="0"/>
                <a:ea typeface="Arial Unicode MS" pitchFamily="34" charset="-128"/>
                <a:cs typeface="Arial" panose="020B0604020202020204" pitchFamily="34" charset="0"/>
              </a:rPr>
              <a:t> исследования</a:t>
            </a:r>
            <a:endParaRPr lang="ru-RU" sz="2400" dirty="0">
              <a:solidFill>
                <a:srgbClr val="017ECB"/>
              </a:solidFill>
            </a:endParaRPr>
          </a:p>
        </p:txBody>
      </p:sp>
      <p:pic>
        <p:nvPicPr>
          <p:cNvPr id="19" name="Рисунок 18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624" t="9363" r="-2606" b="31305"/>
          <a:stretch/>
        </p:blipFill>
        <p:spPr>
          <a:xfrm>
            <a:off x="-15302" y="6349026"/>
            <a:ext cx="1058910" cy="508974"/>
          </a:xfrm>
          <a:prstGeom prst="ellipse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6" name="Прямоугольник 5"/>
          <p:cNvSpPr/>
          <p:nvPr/>
        </p:nvSpPr>
        <p:spPr>
          <a:xfrm>
            <a:off x="378088" y="4661997"/>
            <a:ext cx="8754480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2804"/>
            <a:r>
              <a:rPr lang="ru-RU" dirty="0">
                <a:solidFill>
                  <a:srgbClr val="00294F"/>
                </a:solidFill>
              </a:rPr>
              <a:t>Цель исследований — оценка  возможностей применения радарной съемки с </a:t>
            </a:r>
            <a:r>
              <a:rPr lang="ru-RU" dirty="0" err="1">
                <a:solidFill>
                  <a:srgbClr val="00294F"/>
                </a:solidFill>
              </a:rPr>
              <a:t>георадаром</a:t>
            </a:r>
            <a:r>
              <a:rPr lang="ru-RU" dirty="0">
                <a:solidFill>
                  <a:srgbClr val="00294F"/>
                </a:solidFill>
              </a:rPr>
              <a:t> </a:t>
            </a:r>
            <a:r>
              <a:rPr lang="ru-RU" dirty="0" smtClean="0">
                <a:solidFill>
                  <a:srgbClr val="00294F"/>
                </a:solidFill>
              </a:rPr>
              <a:t> Лоза-Н </a:t>
            </a:r>
            <a:r>
              <a:rPr lang="ru-RU" dirty="0">
                <a:solidFill>
                  <a:srgbClr val="00294F"/>
                </a:solidFill>
              </a:rPr>
              <a:t>для поисков кимберлитовых тел</a:t>
            </a:r>
            <a:r>
              <a:rPr lang="ru-RU" dirty="0" smtClean="0">
                <a:solidFill>
                  <a:srgbClr val="00294F"/>
                </a:solidFill>
              </a:rPr>
              <a:t>, в </a:t>
            </a:r>
            <a:r>
              <a:rPr lang="ru-RU" dirty="0">
                <a:solidFill>
                  <a:srgbClr val="00294F"/>
                </a:solidFill>
              </a:rPr>
              <a:t>том числе жильной морфологии.</a:t>
            </a:r>
          </a:p>
        </p:txBody>
      </p:sp>
      <p:pic>
        <p:nvPicPr>
          <p:cNvPr id="16" name="Рисунок 2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10736" y="1124744"/>
            <a:ext cx="2060149" cy="3446107"/>
          </a:xfrm>
          <a:prstGeom prst="rect">
            <a:avLst/>
          </a:prstGeom>
          <a:noFill/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" name="Рисунок 3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757" t="23982" r="26584" b="38290"/>
          <a:stretch>
            <a:fillRect/>
          </a:stretch>
        </p:blipFill>
        <p:spPr bwMode="auto">
          <a:xfrm>
            <a:off x="1026160" y="1215890"/>
            <a:ext cx="4524375" cy="3349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42146504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4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Horizontal)">
                                      <p:cBhvr>
                                        <p:cTn id="7" dur="10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6" presetClass="entr" presetSubtype="37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Vertical)">
                                      <p:cBhvr>
                                        <p:cTn id="10" dur="10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0" name="BainBulletsConfiguration" hidden="1"/>
          <p:cNvSpPr txBox="1"/>
          <p:nvPr/>
        </p:nvSpPr>
        <p:spPr>
          <a:xfrm>
            <a:off x="11209" y="12068"/>
            <a:ext cx="7846522" cy="83639"/>
          </a:xfrm>
          <a:prstGeom prst="rect">
            <a:avLst/>
          </a:prstGeom>
          <a:noFill/>
        </p:spPr>
        <p:txBody>
          <a:bodyPr vert="horz" wrap="square" lIns="32688" tIns="32688" rIns="32688" bIns="32688" rtlCol="0">
            <a:spAutoFit/>
          </a:bodyPr>
          <a:lstStyle/>
          <a:p>
            <a:pPr defTabSz="891045"/>
            <a:r>
              <a:rPr lang="ru-RU" sz="100" dirty="0">
                <a:solidFill>
                  <a:srgbClr val="FFFFFF"/>
                </a:solidFill>
              </a:rPr>
              <a:t>52_89 7_84 78_88 81_88 49_84</a:t>
            </a:r>
          </a:p>
        </p:txBody>
      </p:sp>
      <p:sp>
        <p:nvSpPr>
          <p:cNvPr id="735" name="Заголовок 2"/>
          <p:cNvSpPr txBox="1">
            <a:spLocks/>
          </p:cNvSpPr>
          <p:nvPr/>
        </p:nvSpPr>
        <p:spPr bwMode="gray">
          <a:xfrm>
            <a:off x="0" y="204794"/>
            <a:ext cx="8893175" cy="504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65382" bIns="0" numCol="1" anchor="ctr" anchorCtr="0" compatLnSpc="1">
            <a:prstTxWarp prst="textNoShape">
              <a:avLst/>
            </a:prstTxWarp>
          </a:bodyPr>
          <a:lstStyle>
            <a:lvl1pPr algn="l" defTabSz="893014" rtl="0" eaLnBrk="1" latinLnBrk="0" hangingPunct="1">
              <a:spcBef>
                <a:spcPct val="0"/>
              </a:spcBef>
              <a:buNone/>
              <a:defRPr sz="2500" b="1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r"/>
            <a:r>
              <a:rPr lang="ru-RU" sz="2400" b="0" kern="0" dirty="0">
                <a:solidFill>
                  <a:srgbClr val="92C5EB">
                    <a:lumMod val="75000"/>
                  </a:srgb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бщие сведения</a:t>
            </a:r>
            <a:endParaRPr lang="ru-RU" sz="2400" dirty="0">
              <a:solidFill>
                <a:schemeClr val="accent3">
                  <a:lumMod val="7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728" name="Объект 2"/>
          <p:cNvSpPr txBox="1">
            <a:spLocks/>
          </p:cNvSpPr>
          <p:nvPr/>
        </p:nvSpPr>
        <p:spPr>
          <a:xfrm>
            <a:off x="442529" y="1172134"/>
            <a:ext cx="8229600" cy="5184576"/>
          </a:xfrm>
          <a:prstGeom prst="rect">
            <a:avLst/>
          </a:prstGeom>
        </p:spPr>
        <p:txBody>
          <a:bodyPr lIns="91243" tIns="45622" rIns="91243" bIns="45622">
            <a:noAutofit/>
          </a:bodyPr>
          <a:lstStyle>
            <a:lvl1pPr marL="257175" indent="-257175" algn="l" rtl="0" eaLnBrk="1" fontAlgn="base" hangingPunct="1">
              <a:lnSpc>
                <a:spcPct val="110000"/>
              </a:lnSpc>
              <a:spcBef>
                <a:spcPct val="75000"/>
              </a:spcBef>
              <a:spcAft>
                <a:spcPct val="0"/>
              </a:spcAft>
              <a:buClr>
                <a:srgbClr val="3376D9"/>
              </a:buClr>
              <a:buSzPct val="120000"/>
              <a:buFont typeface="Wingdings" pitchFamily="2" charset="2"/>
              <a:buBlip>
                <a:blip r:embed="rId3"/>
              </a:buBlip>
              <a:defRPr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2625" indent="-423863" algn="l" rtl="0" eaLnBrk="1" fontAlgn="base" hangingPunct="1">
              <a:lnSpc>
                <a:spcPct val="110000"/>
              </a:lnSpc>
              <a:spcBef>
                <a:spcPct val="15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buBlip>
                <a:blip r:embed="rId4"/>
              </a:buBlip>
              <a:defRPr sz="1100">
                <a:solidFill>
                  <a:schemeClr val="tx1"/>
                </a:solidFill>
                <a:latin typeface="+mn-lt"/>
                <a:cs typeface="+mn-cs"/>
              </a:defRPr>
            </a:lvl2pPr>
            <a:lvl3pPr marL="977900" indent="-293688" algn="l" rtl="0" eaLnBrk="1" fontAlgn="base" hangingPunct="1">
              <a:lnSpc>
                <a:spcPct val="110000"/>
              </a:lnSpc>
              <a:spcBef>
                <a:spcPct val="15000"/>
              </a:spcBef>
              <a:spcAft>
                <a:spcPct val="0"/>
              </a:spcAft>
              <a:buClr>
                <a:schemeClr val="bg2"/>
              </a:buClr>
              <a:buSzPct val="85000"/>
              <a:buFont typeface="Wingdings 3" pitchFamily="18" charset="2"/>
              <a:buChar char=""/>
              <a:defRPr sz="1100">
                <a:solidFill>
                  <a:schemeClr val="tx1"/>
                </a:solidFill>
                <a:latin typeface="+mn-lt"/>
                <a:cs typeface="+mn-cs"/>
              </a:defRPr>
            </a:lvl3pPr>
            <a:lvl4pPr marL="1262063" indent="-282575" algn="l" rtl="0" eaLnBrk="1" fontAlgn="base" hangingPunct="1">
              <a:lnSpc>
                <a:spcPct val="110000"/>
              </a:lnSpc>
              <a:spcBef>
                <a:spcPct val="1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buChar char="w"/>
              <a:defRPr sz="1600">
                <a:solidFill>
                  <a:schemeClr val="tx1"/>
                </a:solidFill>
                <a:latin typeface="+mn-lt"/>
                <a:cs typeface="+mn-cs"/>
              </a:defRPr>
            </a:lvl4pPr>
            <a:lvl5pPr marL="1506538" indent="-242888" algn="l" rtl="0" eaLnBrk="1" fontAlgn="base" hangingPunct="1">
              <a:lnSpc>
                <a:spcPct val="110000"/>
              </a:lnSpc>
              <a:spcBef>
                <a:spcPct val="15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5pPr>
            <a:lvl6pPr marL="1963738" indent="-242888" algn="l" rtl="0" eaLnBrk="1" fontAlgn="base" hangingPunct="1">
              <a:lnSpc>
                <a:spcPct val="110000"/>
              </a:lnSpc>
              <a:spcBef>
                <a:spcPct val="15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2420938" indent="-242888" algn="l" rtl="0" eaLnBrk="1" fontAlgn="base" hangingPunct="1">
              <a:lnSpc>
                <a:spcPct val="110000"/>
              </a:lnSpc>
              <a:spcBef>
                <a:spcPct val="15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2878138" indent="-242888" algn="l" rtl="0" eaLnBrk="1" fontAlgn="base" hangingPunct="1">
              <a:lnSpc>
                <a:spcPct val="110000"/>
              </a:lnSpc>
              <a:spcBef>
                <a:spcPct val="15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3335338" indent="-242888" algn="l" rtl="0" eaLnBrk="1" fontAlgn="base" hangingPunct="1">
              <a:lnSpc>
                <a:spcPct val="110000"/>
              </a:lnSpc>
              <a:spcBef>
                <a:spcPct val="15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257175" marR="0" lvl="0" indent="-257175" algn="just" defTabSz="914400" rtl="0" eaLnBrk="1" fontAlgn="base" latinLnBrk="0" hangingPunct="1">
              <a:lnSpc>
                <a:spcPct val="110000"/>
              </a:lnSpc>
              <a:spcBef>
                <a:spcPct val="75000"/>
              </a:spcBef>
              <a:spcAft>
                <a:spcPct val="0"/>
              </a:spcAft>
              <a:buClr>
                <a:srgbClr val="3376D9"/>
              </a:buClr>
              <a:buSzPct val="120000"/>
              <a:buFont typeface="Wingdings" pitchFamily="2" charset="2"/>
              <a:buBlip>
                <a:blip r:embed="rId3"/>
              </a:buBlip>
              <a:tabLst/>
              <a:defRPr/>
            </a:pPr>
            <a:r>
              <a:rPr kumimoji="0" lang="ru-RU" sz="1600" b="1" i="0" u="none" strike="noStrike" kern="0" cap="none" spc="0" normalizeH="0" baseline="0" noProof="0" dirty="0">
                <a:ln>
                  <a:noFill/>
                </a:ln>
                <a:solidFill>
                  <a:srgbClr val="00294F">
                    <a:lumMod val="90000"/>
                    <a:lumOff val="1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Группа «АЛРОСА» </a:t>
            </a:r>
            <a:r>
              <a:rPr kumimoji="0" lang="ru-RU" sz="1600" b="0" i="0" u="none" strike="noStrike" kern="0" cap="none" spc="0" normalizeH="0" baseline="0" noProof="0" dirty="0">
                <a:ln>
                  <a:noFill/>
                </a:ln>
                <a:solidFill>
                  <a:srgbClr val="00294F">
                    <a:lumMod val="90000"/>
                    <a:lumOff val="1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– российская группа компаний, нацеленная на комплексное решение приоритетных национальных задач по освоению природных ресурсов, занимающая лидирующие позиции в Мире по объёму добычи алмазов. Корпорация занимается разведкой месторождений, добычей, обработкой и продажей алмазного сырья и других полезных ископаемых. Основная деятельность Компании сосредоточена в Якутии и Архангельской области, а также в Африке.</a:t>
            </a:r>
          </a:p>
          <a:p>
            <a:pPr marL="257175" marR="0" lvl="0" indent="-257175" algn="just" defTabSz="914400" rtl="0" eaLnBrk="1" fontAlgn="base" latinLnBrk="0" hangingPunct="1">
              <a:lnSpc>
                <a:spcPct val="110000"/>
              </a:lnSpc>
              <a:spcBef>
                <a:spcPct val="75000"/>
              </a:spcBef>
              <a:spcAft>
                <a:spcPct val="0"/>
              </a:spcAft>
              <a:buClr>
                <a:srgbClr val="3376D9"/>
              </a:buClr>
              <a:buSzPct val="120000"/>
              <a:buFont typeface="Wingdings" pitchFamily="2" charset="2"/>
              <a:buBlip>
                <a:blip r:embed="rId3"/>
              </a:buBlip>
              <a:tabLst/>
              <a:defRPr/>
            </a:pPr>
            <a:r>
              <a:rPr kumimoji="0" lang="ru-RU" sz="1600" b="0" i="0" u="none" strike="noStrike" kern="0" cap="none" spc="0" normalizeH="0" baseline="0" noProof="0" dirty="0">
                <a:ln>
                  <a:noFill/>
                </a:ln>
                <a:solidFill>
                  <a:srgbClr val="00294F">
                    <a:lumMod val="90000"/>
                    <a:lumOff val="1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В настоящее время группа «АЛРОСА» обеспечивает около </a:t>
            </a:r>
            <a:r>
              <a:rPr kumimoji="0" lang="ru-RU" sz="1600" b="1" i="0" u="none" strike="noStrike" kern="0" cap="none" spc="0" normalizeH="0" baseline="0" noProof="0" dirty="0">
                <a:ln>
                  <a:noFill/>
                </a:ln>
                <a:solidFill>
                  <a:srgbClr val="00294F">
                    <a:lumMod val="90000"/>
                    <a:lumOff val="1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95% добычи алмазов в России</a:t>
            </a:r>
            <a:r>
              <a:rPr kumimoji="0" lang="ru-RU" sz="1600" b="0" i="0" u="none" strike="noStrike" kern="0" cap="none" spc="0" normalizeH="0" baseline="0" noProof="0" dirty="0">
                <a:ln>
                  <a:noFill/>
                </a:ln>
                <a:solidFill>
                  <a:srgbClr val="00294F">
                    <a:lumMod val="90000"/>
                    <a:lumOff val="1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, осуществляя эксплуатацию коренных и россыпных месторождений в Якутской и Архангельской алмазоносных провинциях и более 28% алмазов в Мире. </a:t>
            </a:r>
            <a:endParaRPr kumimoji="0" lang="ru-RU" sz="1600" b="0" i="0" u="none" strike="noStrike" kern="0" cap="none" spc="0" normalizeH="0" baseline="0" noProof="0" dirty="0" smtClean="0">
              <a:ln>
                <a:noFill/>
              </a:ln>
              <a:solidFill>
                <a:srgbClr val="00294F">
                  <a:lumMod val="90000"/>
                  <a:lumOff val="10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lvl="0" algn="just" defTabSz="914400">
              <a:defRPr/>
            </a:pPr>
            <a:r>
              <a:rPr lang="ru-RU" sz="1600" kern="0" dirty="0">
                <a:solidFill>
                  <a:srgbClr val="00294F">
                    <a:lumMod val="90000"/>
                    <a:lumOff val="10000"/>
                  </a:srgbClr>
                </a:solidFill>
              </a:rPr>
              <a:t>В разработке находятся десятки месторождений, представленных кимберлитовыми телами и россыпным типом. В эксплуатации находятся 3 подземных рудника: «Удачный», «</a:t>
            </a:r>
            <a:r>
              <a:rPr lang="ru-RU" sz="1600" kern="0" dirty="0" err="1">
                <a:solidFill>
                  <a:srgbClr val="00294F">
                    <a:lumMod val="90000"/>
                    <a:lumOff val="10000"/>
                  </a:srgbClr>
                </a:solidFill>
              </a:rPr>
              <a:t>Айхал</a:t>
            </a:r>
            <a:r>
              <a:rPr lang="ru-RU" sz="1600" kern="0" dirty="0">
                <a:solidFill>
                  <a:srgbClr val="00294F">
                    <a:lumMod val="90000"/>
                    <a:lumOff val="10000"/>
                  </a:srgbClr>
                </a:solidFill>
              </a:rPr>
              <a:t>» и «Интернациональный</a:t>
            </a:r>
            <a:r>
              <a:rPr lang="ru-RU" sz="1600" kern="0" dirty="0" smtClean="0">
                <a:solidFill>
                  <a:srgbClr val="00294F">
                    <a:lumMod val="90000"/>
                    <a:lumOff val="10000"/>
                  </a:srgbClr>
                </a:solidFill>
              </a:rPr>
              <a:t>».</a:t>
            </a:r>
            <a:endParaRPr kumimoji="0" lang="ru-RU" sz="1600" b="0" i="0" u="none" strike="noStrike" kern="0" cap="none" spc="0" normalizeH="0" baseline="0" noProof="0" dirty="0">
              <a:ln>
                <a:noFill/>
              </a:ln>
              <a:solidFill>
                <a:srgbClr val="00294F">
                  <a:lumMod val="90000"/>
                  <a:lumOff val="10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257175" marR="0" lvl="0" indent="-257175" algn="just" defTabSz="914400" rtl="0" eaLnBrk="1" fontAlgn="base" latinLnBrk="0" hangingPunct="1">
              <a:lnSpc>
                <a:spcPct val="110000"/>
              </a:lnSpc>
              <a:spcBef>
                <a:spcPct val="75000"/>
              </a:spcBef>
              <a:spcAft>
                <a:spcPct val="0"/>
              </a:spcAft>
              <a:buClr>
                <a:srgbClr val="3376D9"/>
              </a:buClr>
              <a:buSzPct val="120000"/>
              <a:buFont typeface="Wingdings" pitchFamily="2" charset="2"/>
              <a:buBlip>
                <a:blip r:embed="rId3"/>
              </a:buBlip>
              <a:tabLst/>
              <a:defRPr/>
            </a:pPr>
            <a:r>
              <a:rPr kumimoji="0" lang="ru-RU" sz="1600" b="0" i="0" u="none" strike="noStrike" kern="0" cap="none" spc="0" normalizeH="0" baseline="0" noProof="0" dirty="0">
                <a:ln>
                  <a:noFill/>
                </a:ln>
                <a:solidFill>
                  <a:srgbClr val="00294F">
                    <a:lumMod val="90000"/>
                    <a:lumOff val="1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Общий объем запасов алмазов по группе АЛРОСА составил </a:t>
            </a:r>
            <a:r>
              <a:rPr kumimoji="0" lang="ru-RU" sz="1600" b="1" i="0" u="none" strike="noStrike" kern="0" cap="none" spc="0" normalizeH="0" baseline="0" noProof="0" dirty="0">
                <a:ln>
                  <a:noFill/>
                </a:ln>
                <a:solidFill>
                  <a:srgbClr val="00294F">
                    <a:lumMod val="90000"/>
                    <a:lumOff val="1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 </a:t>
            </a:r>
            <a:r>
              <a:rPr kumimoji="0" lang="ru-RU" sz="1600" b="1" i="0" u="none" strike="noStrike" kern="0" cap="none" spc="0" normalizeH="0" baseline="0" noProof="0" dirty="0" smtClean="0">
                <a:ln>
                  <a:noFill/>
                </a:ln>
                <a:solidFill>
                  <a:srgbClr val="00294F">
                    <a:lumMod val="90000"/>
                    <a:lumOff val="1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82 </a:t>
            </a:r>
            <a:r>
              <a:rPr kumimoji="0" lang="ru-RU" sz="1600" b="1" i="0" u="none" strike="noStrike" kern="0" cap="none" spc="0" normalizeH="0" baseline="0" noProof="0" dirty="0">
                <a:ln>
                  <a:noFill/>
                </a:ln>
                <a:solidFill>
                  <a:srgbClr val="00294F">
                    <a:lumMod val="90000"/>
                    <a:lumOff val="1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млн карат </a:t>
            </a:r>
            <a:r>
              <a:rPr kumimoji="0" lang="ru-RU" sz="1600" b="0" i="0" u="none" strike="noStrike" kern="0" cap="none" spc="0" normalizeH="0" baseline="0" noProof="0" dirty="0">
                <a:ln>
                  <a:noFill/>
                </a:ln>
                <a:solidFill>
                  <a:srgbClr val="00294F">
                    <a:lumMod val="90000"/>
                    <a:lumOff val="1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в соответствии с учетом, проведенным Государственным комитетом по запасам. </a:t>
            </a:r>
          </a:p>
        </p:txBody>
      </p:sp>
    </p:spTree>
    <p:extLst>
      <p:ext uri="{BB962C8B-B14F-4D97-AF65-F5344CB8AC3E}">
        <p14:creationId xmlns:p14="http://schemas.microsoft.com/office/powerpoint/2010/main" val="23520304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261257" y="1"/>
            <a:ext cx="8703231" cy="897162"/>
          </a:xfrm>
        </p:spPr>
        <p:txBody>
          <a:bodyPr/>
          <a:lstStyle/>
          <a:p>
            <a:pPr algn="r"/>
            <a:r>
              <a:rPr lang="ru-RU" sz="2400" dirty="0" smtClean="0">
                <a:solidFill>
                  <a:srgbClr val="017ECB"/>
                </a:solidFill>
                <a:latin typeface="Arial" panose="020B0604020202020204" pitchFamily="34" charset="0"/>
                <a:ea typeface="Arial Unicode MS" pitchFamily="34" charset="-128"/>
                <a:cs typeface="Arial" panose="020B0604020202020204" pitchFamily="34" charset="0"/>
              </a:rPr>
              <a:t>Опытно-методические </a:t>
            </a:r>
            <a:r>
              <a:rPr lang="ru-RU" sz="2400" dirty="0" err="1" smtClean="0">
                <a:solidFill>
                  <a:srgbClr val="017ECB"/>
                </a:solidFill>
                <a:latin typeface="Arial" panose="020B0604020202020204" pitchFamily="34" charset="0"/>
                <a:ea typeface="Arial Unicode MS" pitchFamily="34" charset="-128"/>
                <a:cs typeface="Arial" panose="020B0604020202020204" pitchFamily="34" charset="0"/>
              </a:rPr>
              <a:t>георадарные</a:t>
            </a:r>
            <a:r>
              <a:rPr lang="ru-RU" sz="2400" dirty="0" smtClean="0">
                <a:solidFill>
                  <a:srgbClr val="017ECB"/>
                </a:solidFill>
                <a:latin typeface="Arial" panose="020B0604020202020204" pitchFamily="34" charset="0"/>
                <a:ea typeface="Arial Unicode MS" pitchFamily="34" charset="-128"/>
                <a:cs typeface="Arial" panose="020B0604020202020204" pitchFamily="34" charset="0"/>
              </a:rPr>
              <a:t> исследования</a:t>
            </a:r>
            <a:endParaRPr lang="ru-RU" sz="2400" dirty="0">
              <a:solidFill>
                <a:srgbClr val="017ECB"/>
              </a:solidFill>
            </a:endParaRPr>
          </a:p>
        </p:txBody>
      </p:sp>
      <p:pic>
        <p:nvPicPr>
          <p:cNvPr id="19" name="Рисунок 18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624" t="9363" r="-2606" b="31305"/>
          <a:stretch/>
        </p:blipFill>
        <p:spPr>
          <a:xfrm>
            <a:off x="-15302" y="6349026"/>
            <a:ext cx="1058910" cy="508974"/>
          </a:xfrm>
          <a:prstGeom prst="ellipse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4" name="Прямоугольник 3"/>
          <p:cNvSpPr/>
          <p:nvPr/>
        </p:nvSpPr>
        <p:spPr>
          <a:xfrm>
            <a:off x="251520" y="1052736"/>
            <a:ext cx="8496944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912804"/>
            <a:r>
              <a:rPr lang="ru-RU" dirty="0" smtClean="0">
                <a:solidFill>
                  <a:srgbClr val="00294F"/>
                </a:solidFill>
              </a:rPr>
              <a:t>Пример выявления аномалии перспективной на обнаружение кимберлитового тела</a:t>
            </a:r>
            <a:endParaRPr lang="ru-RU" dirty="0">
              <a:solidFill>
                <a:srgbClr val="00294F"/>
              </a:solidFill>
            </a:endParaRPr>
          </a:p>
        </p:txBody>
      </p:sp>
      <p:pic>
        <p:nvPicPr>
          <p:cNvPr id="9" name="Рисунок 6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053" t="19753" r="13454" b="7475"/>
          <a:stretch>
            <a:fillRect/>
          </a:stretch>
        </p:blipFill>
        <p:spPr bwMode="auto">
          <a:xfrm>
            <a:off x="1763688" y="1732346"/>
            <a:ext cx="5472608" cy="34203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Овал 9"/>
          <p:cNvSpPr/>
          <p:nvPr/>
        </p:nvSpPr>
        <p:spPr>
          <a:xfrm>
            <a:off x="2987824" y="2107726"/>
            <a:ext cx="2316234" cy="1050215"/>
          </a:xfrm>
          <a:prstGeom prst="ellipse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2804">
              <a:defRPr/>
            </a:pPr>
            <a:endParaRPr lang="ru-RU">
              <a:solidFill>
                <a:srgbClr val="FFFFFF"/>
              </a:solidFill>
            </a:endParaRPr>
          </a:p>
        </p:txBody>
      </p:sp>
      <p:sp>
        <p:nvSpPr>
          <p:cNvPr id="17" name="Овал 16"/>
          <p:cNvSpPr/>
          <p:nvPr/>
        </p:nvSpPr>
        <p:spPr>
          <a:xfrm>
            <a:off x="3010022" y="4221088"/>
            <a:ext cx="1158117" cy="720080"/>
          </a:xfrm>
          <a:prstGeom prst="ellipse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2804">
              <a:defRPr/>
            </a:pPr>
            <a:endParaRPr lang="ru-RU">
              <a:solidFill>
                <a:srgbClr val="FFFFFF"/>
              </a:solidFill>
            </a:endParaRPr>
          </a:p>
        </p:txBody>
      </p:sp>
      <p:sp>
        <p:nvSpPr>
          <p:cNvPr id="18" name="Прямоугольник 17"/>
          <p:cNvSpPr/>
          <p:nvPr/>
        </p:nvSpPr>
        <p:spPr>
          <a:xfrm>
            <a:off x="7608386" y="5127848"/>
            <a:ext cx="1535614" cy="560095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defTabSz="912804"/>
            <a:r>
              <a:rPr lang="ru-RU" sz="1000" dirty="0" smtClean="0">
                <a:solidFill>
                  <a:srgbClr val="00294F"/>
                </a:solidFill>
              </a:rPr>
              <a:t>Восточный участок, </a:t>
            </a:r>
            <a:r>
              <a:rPr lang="en-US" sz="1000" dirty="0" smtClean="0">
                <a:solidFill>
                  <a:srgbClr val="00294F"/>
                </a:solidFill>
              </a:rPr>
              <a:t>3D-</a:t>
            </a:r>
            <a:r>
              <a:rPr lang="ru-RU" sz="1000" dirty="0" smtClean="0">
                <a:solidFill>
                  <a:srgbClr val="00294F"/>
                </a:solidFill>
              </a:rPr>
              <a:t>разрез на глубине 130 м. Интерпретация</a:t>
            </a:r>
            <a:endParaRPr lang="ru-RU" sz="1000" dirty="0">
              <a:solidFill>
                <a:srgbClr val="00294F"/>
              </a:solidFill>
            </a:endParaRPr>
          </a:p>
        </p:txBody>
      </p:sp>
      <p:sp>
        <p:nvSpPr>
          <p:cNvPr id="21" name="Овал 20"/>
          <p:cNvSpPr/>
          <p:nvPr/>
        </p:nvSpPr>
        <p:spPr>
          <a:xfrm>
            <a:off x="1933172" y="5190745"/>
            <a:ext cx="769890" cy="497198"/>
          </a:xfrm>
          <a:prstGeom prst="ellipse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2804">
              <a:defRPr/>
            </a:pPr>
            <a:endParaRPr lang="ru-RU">
              <a:solidFill>
                <a:srgbClr val="FFFFFF"/>
              </a:solidFill>
            </a:endParaRPr>
          </a:p>
        </p:txBody>
      </p:sp>
      <p:sp>
        <p:nvSpPr>
          <p:cNvPr id="22" name="Прямоугольник 21"/>
          <p:cNvSpPr/>
          <p:nvPr/>
        </p:nvSpPr>
        <p:spPr>
          <a:xfrm>
            <a:off x="2802296" y="5285455"/>
            <a:ext cx="4434000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 defTabSz="912804"/>
            <a:r>
              <a:rPr lang="ru-RU" sz="1400" dirty="0" smtClean="0">
                <a:solidFill>
                  <a:srgbClr val="00294F"/>
                </a:solidFill>
              </a:rPr>
              <a:t>Выявленные аномальные объекты </a:t>
            </a:r>
            <a:endParaRPr lang="ru-RU" sz="1400" dirty="0">
              <a:solidFill>
                <a:srgbClr val="00294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8484205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1000"/>
                            </p:stCondLst>
                            <p:childTnLst>
                              <p:par>
                                <p:cTn id="11" presetID="21" presetClass="entr" presetSubtype="1" repeatCount="3000" fill="hold" grpId="0" nodeType="after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13" dur="2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7400"/>
                            </p:stCondLst>
                            <p:childTnLst>
                              <p:par>
                                <p:cTn id="15" presetID="21" presetClass="entr" presetSubtype="1" repeatCount="3000" fill="hold" grpId="0" nodeType="after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17" dur="20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13800"/>
                            </p:stCondLst>
                            <p:childTnLst>
                              <p:par>
                                <p:cTn id="19" presetID="21" presetClass="entr" presetSubtype="1" repeatCount="3000" fill="hold" grpId="0" nodeType="after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21" dur="20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animBg="1"/>
      <p:bldP spid="17" grpId="0" animBg="1"/>
      <p:bldP spid="21" grpId="0" animBg="1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261257" y="1"/>
            <a:ext cx="8703231" cy="897162"/>
          </a:xfrm>
        </p:spPr>
        <p:txBody>
          <a:bodyPr/>
          <a:lstStyle/>
          <a:p>
            <a:pPr algn="r"/>
            <a:r>
              <a:rPr lang="ru-RU" sz="2400" dirty="0">
                <a:solidFill>
                  <a:srgbClr val="017ECB"/>
                </a:solidFill>
                <a:latin typeface="Arial" panose="020B0604020202020204" pitchFamily="34" charset="0"/>
                <a:ea typeface="Arial Unicode MS" pitchFamily="34" charset="-128"/>
                <a:cs typeface="Arial" panose="020B0604020202020204" pitchFamily="34" charset="0"/>
              </a:rPr>
              <a:t>Внедрение технологии радиоволновой </a:t>
            </a:r>
            <a:r>
              <a:rPr lang="ru-RU" sz="2400" dirty="0" err="1">
                <a:solidFill>
                  <a:srgbClr val="017ECB"/>
                </a:solidFill>
                <a:latin typeface="Arial" panose="020B0604020202020204" pitchFamily="34" charset="0"/>
                <a:ea typeface="Arial Unicode MS" pitchFamily="34" charset="-128"/>
                <a:cs typeface="Arial" panose="020B0604020202020204" pitchFamily="34" charset="0"/>
              </a:rPr>
              <a:t>геоинтроскопии</a:t>
            </a:r>
            <a:r>
              <a:rPr lang="ru-RU" sz="2400" dirty="0">
                <a:solidFill>
                  <a:srgbClr val="017ECB"/>
                </a:solidFill>
                <a:latin typeface="Arial" panose="020B0604020202020204" pitchFamily="34" charset="0"/>
                <a:ea typeface="Arial Unicode MS" pitchFamily="34" charset="-128"/>
                <a:cs typeface="Arial" panose="020B0604020202020204" pitchFamily="34" charset="0"/>
              </a:rPr>
              <a:t> (РВГИ)</a:t>
            </a:r>
          </a:p>
        </p:txBody>
      </p:sp>
      <p:pic>
        <p:nvPicPr>
          <p:cNvPr id="19" name="Рисунок 18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624" t="9363" r="-2606" b="31305"/>
          <a:stretch/>
        </p:blipFill>
        <p:spPr>
          <a:xfrm>
            <a:off x="-15302" y="6349026"/>
            <a:ext cx="1058910" cy="508974"/>
          </a:xfrm>
          <a:prstGeom prst="ellipse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6" name="Прямоугольник 5"/>
          <p:cNvSpPr/>
          <p:nvPr/>
        </p:nvSpPr>
        <p:spPr>
          <a:xfrm>
            <a:off x="2259232" y="1381418"/>
            <a:ext cx="4977064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 defTabSz="912804"/>
            <a:r>
              <a:rPr lang="ru-RU" dirty="0">
                <a:solidFill>
                  <a:srgbClr val="00294F"/>
                </a:solidFill>
              </a:rPr>
              <a:t>Изучение межскважинного </a:t>
            </a:r>
            <a:r>
              <a:rPr lang="ru-RU" dirty="0" smtClean="0">
                <a:solidFill>
                  <a:srgbClr val="00294F"/>
                </a:solidFill>
              </a:rPr>
              <a:t>пространства</a:t>
            </a:r>
            <a:endParaRPr lang="ru-RU" dirty="0">
              <a:solidFill>
                <a:srgbClr val="00294F"/>
              </a:solidFill>
            </a:endParaRPr>
          </a:p>
        </p:txBody>
      </p:sp>
      <p:pic>
        <p:nvPicPr>
          <p:cNvPr id="20" name="Рисунок 19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28298" y="2060848"/>
            <a:ext cx="3820166" cy="2736304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 w="28575">
            <a:solidFill>
              <a:schemeClr val="accent2">
                <a:lumMod val="50000"/>
              </a:schemeClr>
            </a:solidFill>
          </a:ln>
          <a:effectLst/>
        </p:spPr>
      </p:pic>
      <p:pic>
        <p:nvPicPr>
          <p:cNvPr id="23" name="Picture 2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3818" y="2060848"/>
            <a:ext cx="4347192" cy="2736304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 w="19050">
            <a:solidFill>
              <a:schemeClr val="accent2">
                <a:lumMod val="50000"/>
              </a:schemeClr>
            </a:solidFill>
            <a:miter lim="800000"/>
            <a:headEnd/>
            <a:tailEnd/>
          </a:ln>
          <a:effectLst>
            <a:outerShdw dist="35921" dir="2700000" algn="ctr" rotWithShape="0">
              <a:schemeClr val="bg2"/>
            </a:outerShdw>
          </a:effectLst>
          <a:extLst/>
        </p:spPr>
      </p:pic>
    </p:spTree>
    <p:extLst>
      <p:ext uri="{BB962C8B-B14F-4D97-AF65-F5344CB8AC3E}">
        <p14:creationId xmlns:p14="http://schemas.microsoft.com/office/powerpoint/2010/main" val="87812851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1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1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1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" dur="1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1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4" dur="1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261257" y="1"/>
            <a:ext cx="8703231" cy="897162"/>
          </a:xfrm>
        </p:spPr>
        <p:txBody>
          <a:bodyPr/>
          <a:lstStyle/>
          <a:p>
            <a:pPr algn="r"/>
            <a:r>
              <a:rPr lang="ru-RU" sz="2400" dirty="0">
                <a:solidFill>
                  <a:srgbClr val="017ECB"/>
                </a:solidFill>
                <a:latin typeface="Arial" panose="020B0604020202020204" pitchFamily="34" charset="0"/>
                <a:ea typeface="Arial Unicode MS" pitchFamily="34" charset="-128"/>
                <a:cs typeface="Arial" panose="020B0604020202020204" pitchFamily="34" charset="0"/>
              </a:rPr>
              <a:t>Пример </a:t>
            </a:r>
            <a:r>
              <a:rPr lang="ru-RU" sz="2400" dirty="0" smtClean="0">
                <a:solidFill>
                  <a:srgbClr val="017ECB"/>
                </a:solidFill>
                <a:latin typeface="Arial" panose="020B0604020202020204" pitchFamily="34" charset="0"/>
                <a:ea typeface="Arial Unicode MS" pitchFamily="34" charset="-128"/>
                <a:cs typeface="Arial" panose="020B0604020202020204" pitchFamily="34" charset="0"/>
              </a:rPr>
              <a:t>изучения </a:t>
            </a:r>
            <a:r>
              <a:rPr lang="ru-RU" sz="2400" dirty="0" err="1" smtClean="0">
                <a:solidFill>
                  <a:srgbClr val="017ECB"/>
                </a:solidFill>
                <a:latin typeface="Arial" panose="020B0604020202020204" pitchFamily="34" charset="0"/>
                <a:ea typeface="Arial Unicode MS" pitchFamily="34" charset="-128"/>
                <a:cs typeface="Arial" panose="020B0604020202020204" pitchFamily="34" charset="0"/>
              </a:rPr>
              <a:t>трещиноватости</a:t>
            </a:r>
            <a:r>
              <a:rPr lang="ru-RU" sz="2400" dirty="0" smtClean="0">
                <a:solidFill>
                  <a:srgbClr val="017ECB"/>
                </a:solidFill>
                <a:latin typeface="Arial" panose="020B0604020202020204" pitchFamily="34" charset="0"/>
                <a:ea typeface="Arial Unicode MS" pitchFamily="34" charset="-128"/>
                <a:cs typeface="Arial" panose="020B0604020202020204" pitchFamily="34" charset="0"/>
              </a:rPr>
              <a:t> пород по </a:t>
            </a:r>
            <a:r>
              <a:rPr lang="ru-RU" sz="2400" dirty="0">
                <a:solidFill>
                  <a:srgbClr val="017ECB"/>
                </a:solidFill>
                <a:latin typeface="Arial" panose="020B0604020202020204" pitchFamily="34" charset="0"/>
                <a:ea typeface="Arial Unicode MS" pitchFamily="34" charset="-128"/>
                <a:cs typeface="Arial" panose="020B0604020202020204" pitchFamily="34" charset="0"/>
              </a:rPr>
              <a:t>стенкам скважин с применением оптического </a:t>
            </a:r>
            <a:r>
              <a:rPr lang="ru-RU" sz="2400" dirty="0" err="1" smtClean="0">
                <a:solidFill>
                  <a:srgbClr val="017ECB"/>
                </a:solidFill>
                <a:latin typeface="Arial" panose="020B0604020202020204" pitchFamily="34" charset="0"/>
                <a:ea typeface="Arial Unicode MS" pitchFamily="34" charset="-128"/>
                <a:cs typeface="Arial" panose="020B0604020202020204" pitchFamily="34" charset="0"/>
              </a:rPr>
              <a:t>телевьювера</a:t>
            </a:r>
            <a:endParaRPr lang="ru-RU" sz="2400" dirty="0">
              <a:solidFill>
                <a:srgbClr val="017ECB"/>
              </a:solidFill>
              <a:latin typeface="Arial" panose="020B0604020202020204" pitchFamily="34" charset="0"/>
              <a:ea typeface="Arial Unicode MS" pitchFamily="34" charset="-128"/>
              <a:cs typeface="Arial" panose="020B0604020202020204" pitchFamily="34" charset="0"/>
            </a:endParaRPr>
          </a:p>
        </p:txBody>
      </p:sp>
      <p:pic>
        <p:nvPicPr>
          <p:cNvPr id="19" name="Рисунок 18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624" t="9363" r="-2606" b="31305"/>
          <a:stretch/>
        </p:blipFill>
        <p:spPr>
          <a:xfrm>
            <a:off x="-15302" y="6349026"/>
            <a:ext cx="1058910" cy="508974"/>
          </a:xfrm>
          <a:prstGeom prst="ellipse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45058" name="Picture 2" descr="I:\ДОКУМЕНТЫ ОТДЕЛА\Телевьювер\Телев_Улахан-Курунг-Юрях\Снимок_2017_02_14_15_28_11_702.pn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4153" y="1065806"/>
            <a:ext cx="8134760" cy="52832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0217786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0" name="BainBulletsConfiguration" hidden="1"/>
          <p:cNvSpPr txBox="1"/>
          <p:nvPr/>
        </p:nvSpPr>
        <p:spPr>
          <a:xfrm>
            <a:off x="11209" y="12068"/>
            <a:ext cx="7846522" cy="83639"/>
          </a:xfrm>
          <a:prstGeom prst="rect">
            <a:avLst/>
          </a:prstGeom>
          <a:noFill/>
        </p:spPr>
        <p:txBody>
          <a:bodyPr vert="horz" wrap="square" lIns="32688" tIns="32688" rIns="32688" bIns="32688" rtlCol="0">
            <a:spAutoFit/>
          </a:bodyPr>
          <a:lstStyle/>
          <a:p>
            <a:pPr defTabSz="891045"/>
            <a:r>
              <a:rPr lang="ru-RU" sz="100" dirty="0">
                <a:solidFill>
                  <a:srgbClr val="FFFFFF"/>
                </a:solidFill>
              </a:rPr>
              <a:t>52_89 7_84 78_88 81_88 49_84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134512" y="4717615"/>
            <a:ext cx="4263464" cy="391613"/>
          </a:xfrm>
          <a:prstGeom prst="rect">
            <a:avLst/>
          </a:prstGeom>
          <a:noFill/>
        </p:spPr>
        <p:txBody>
          <a:bodyPr wrap="square" lIns="83025" tIns="41513" rIns="83025" bIns="41513" rtlCol="0">
            <a:spAutoFit/>
          </a:bodyPr>
          <a:lstStyle/>
          <a:p>
            <a:pPr algn="ctr" defTabSz="891045"/>
            <a:r>
              <a:rPr lang="ru-RU" sz="1000" b="1" dirty="0">
                <a:solidFill>
                  <a:srgbClr val="003149"/>
                </a:solidFill>
              </a:rPr>
              <a:t>Запасы алмазов Группы АЛРОСА 1182 млн карат (ГКЗ, 01.01.2018)</a:t>
            </a:r>
          </a:p>
        </p:txBody>
      </p:sp>
      <p:sp>
        <p:nvSpPr>
          <p:cNvPr id="8" name="Freeform 750"/>
          <p:cNvSpPr>
            <a:spLocks noChangeAspect="1"/>
          </p:cNvSpPr>
          <p:nvPr>
            <p:custDataLst>
              <p:tags r:id="rId1"/>
            </p:custDataLst>
          </p:nvPr>
        </p:nvSpPr>
        <p:spPr bwMode="gray">
          <a:xfrm>
            <a:off x="4499832" y="2961210"/>
            <a:ext cx="588572" cy="793463"/>
          </a:xfrm>
          <a:custGeom>
            <a:avLst/>
            <a:gdLst>
              <a:gd name="T0" fmla="*/ 0 w 3418228"/>
              <a:gd name="T1" fmla="*/ 0 h 4063999"/>
              <a:gd name="T2" fmla="*/ 0 w 3418228"/>
              <a:gd name="T3" fmla="*/ 0 h 4063999"/>
              <a:gd name="T4" fmla="*/ 0 w 3418228"/>
              <a:gd name="T5" fmla="*/ 0 h 4063999"/>
              <a:gd name="T6" fmla="*/ 0 w 3418228"/>
              <a:gd name="T7" fmla="*/ 0 h 4063999"/>
              <a:gd name="T8" fmla="*/ 0 w 3418228"/>
              <a:gd name="T9" fmla="*/ 0 h 4063999"/>
              <a:gd name="T10" fmla="*/ 0 w 3418228"/>
              <a:gd name="T11" fmla="*/ 0 h 4063999"/>
              <a:gd name="T12" fmla="*/ 0 w 3418228"/>
              <a:gd name="T13" fmla="*/ 0 h 4063999"/>
              <a:gd name="T14" fmla="*/ 0 w 3418228"/>
              <a:gd name="T15" fmla="*/ 0 h 4063999"/>
              <a:gd name="T16" fmla="*/ 0 w 3418228"/>
              <a:gd name="T17" fmla="*/ 0 h 4063999"/>
              <a:gd name="T18" fmla="*/ 0 w 3418228"/>
              <a:gd name="T19" fmla="*/ 0 h 4063999"/>
              <a:gd name="T20" fmla="*/ 0 w 3418228"/>
              <a:gd name="T21" fmla="*/ 0 h 4063999"/>
              <a:gd name="T22" fmla="*/ 0 w 3418228"/>
              <a:gd name="T23" fmla="*/ 0 h 4063999"/>
              <a:gd name="T24" fmla="*/ 0 w 3418228"/>
              <a:gd name="T25" fmla="*/ 0 h 4063999"/>
              <a:gd name="T26" fmla="*/ 0 w 3418228"/>
              <a:gd name="T27" fmla="*/ 0 h 4063999"/>
              <a:gd name="T28" fmla="*/ 0 w 3418228"/>
              <a:gd name="T29" fmla="*/ 0 h 4063999"/>
              <a:gd name="T30" fmla="*/ 0 w 3418228"/>
              <a:gd name="T31" fmla="*/ 0 h 4063999"/>
              <a:gd name="T32" fmla="*/ 0 w 3418228"/>
              <a:gd name="T33" fmla="*/ 0 h 4063999"/>
              <a:gd name="T34" fmla="*/ 0 w 3418228"/>
              <a:gd name="T35" fmla="*/ 0 h 4063999"/>
              <a:gd name="T36" fmla="*/ 0 w 3418228"/>
              <a:gd name="T37" fmla="*/ 0 h 4063999"/>
              <a:gd name="T38" fmla="*/ 0 w 3418228"/>
              <a:gd name="T39" fmla="*/ 0 h 4063999"/>
              <a:gd name="T40" fmla="*/ 0 w 3418228"/>
              <a:gd name="T41" fmla="*/ 0 h 4063999"/>
              <a:gd name="T42" fmla="*/ 0 w 3418228"/>
              <a:gd name="T43" fmla="*/ 0 h 4063999"/>
              <a:gd name="T44" fmla="*/ 0 w 3418228"/>
              <a:gd name="T45" fmla="*/ 0 h 4063999"/>
              <a:gd name="T46" fmla="*/ 0 w 3418228"/>
              <a:gd name="T47" fmla="*/ 0 h 4063999"/>
              <a:gd name="T48" fmla="*/ 0 w 3418228"/>
              <a:gd name="T49" fmla="*/ 0 h 4063999"/>
              <a:gd name="T50" fmla="*/ 0 w 3418228"/>
              <a:gd name="T51" fmla="*/ 0 h 4063999"/>
              <a:gd name="T52" fmla="*/ 0 w 3418228"/>
              <a:gd name="T53" fmla="*/ 0 h 4063999"/>
              <a:gd name="T54" fmla="*/ 0 w 3418228"/>
              <a:gd name="T55" fmla="*/ 0 h 4063999"/>
              <a:gd name="T56" fmla="*/ 0 w 3418228"/>
              <a:gd name="T57" fmla="*/ 0 h 4063999"/>
              <a:gd name="T58" fmla="*/ 0 w 3418228"/>
              <a:gd name="T59" fmla="*/ 0 h 4063999"/>
              <a:gd name="T60" fmla="*/ 0 w 3418228"/>
              <a:gd name="T61" fmla="*/ 0 h 4063999"/>
              <a:gd name="T62" fmla="*/ 0 w 3418228"/>
              <a:gd name="T63" fmla="*/ 0 h 4063999"/>
              <a:gd name="T64" fmla="*/ 0 w 3418228"/>
              <a:gd name="T65" fmla="*/ 0 h 4063999"/>
              <a:gd name="T66" fmla="*/ 0 w 3418228"/>
              <a:gd name="T67" fmla="*/ 0 h 4063999"/>
              <a:gd name="T68" fmla="*/ 0 w 3418228"/>
              <a:gd name="T69" fmla="*/ 0 h 4063999"/>
              <a:gd name="T70" fmla="*/ 0 w 3418228"/>
              <a:gd name="T71" fmla="*/ 0 h 4063999"/>
              <a:gd name="T72" fmla="*/ 0 w 3418228"/>
              <a:gd name="T73" fmla="*/ 0 h 4063999"/>
              <a:gd name="T74" fmla="*/ 0 w 3418228"/>
              <a:gd name="T75" fmla="*/ 0 h 4063999"/>
              <a:gd name="T76" fmla="*/ 0 w 3418228"/>
              <a:gd name="T77" fmla="*/ 0 h 4063999"/>
              <a:gd name="T78" fmla="*/ 0 w 3418228"/>
              <a:gd name="T79" fmla="*/ 0 h 4063999"/>
              <a:gd name="T80" fmla="*/ 0 w 3418228"/>
              <a:gd name="T81" fmla="*/ 0 h 4063999"/>
              <a:gd name="T82" fmla="*/ 0 w 3418228"/>
              <a:gd name="T83" fmla="*/ 0 h 4063999"/>
              <a:gd name="T84" fmla="*/ 0 w 3418228"/>
              <a:gd name="T85" fmla="*/ 0 h 4063999"/>
              <a:gd name="T86" fmla="*/ 0 w 3418228"/>
              <a:gd name="T87" fmla="*/ 0 h 4063999"/>
              <a:gd name="T88" fmla="*/ 0 w 3418228"/>
              <a:gd name="T89" fmla="*/ 0 h 4063999"/>
              <a:gd name="T90" fmla="*/ 0 w 3418228"/>
              <a:gd name="T91" fmla="*/ 0 h 4063999"/>
              <a:gd name="T92" fmla="*/ 0 w 3418228"/>
              <a:gd name="T93" fmla="*/ 0 h 4063999"/>
              <a:gd name="T94" fmla="*/ 0 w 3418228"/>
              <a:gd name="T95" fmla="*/ 0 h 4063999"/>
              <a:gd name="T96" fmla="*/ 0 w 3418228"/>
              <a:gd name="T97" fmla="*/ 0 h 4063999"/>
              <a:gd name="T98" fmla="*/ 0 w 3418228"/>
              <a:gd name="T99" fmla="*/ 0 h 4063999"/>
              <a:gd name="T100" fmla="*/ 0 w 3418228"/>
              <a:gd name="T101" fmla="*/ 0 h 4063999"/>
              <a:gd name="T102" fmla="*/ 0 w 3418228"/>
              <a:gd name="T103" fmla="*/ 0 h 4063999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w 3418228"/>
              <a:gd name="T157" fmla="*/ 0 h 4063999"/>
              <a:gd name="T158" fmla="*/ 3418228 w 3418228"/>
              <a:gd name="T159" fmla="*/ 4063999 h 4063999"/>
            </a:gdLst>
            <a:ahLst/>
            <a:cxnLst>
              <a:cxn ang="T104">
                <a:pos x="T0" y="T1"/>
              </a:cxn>
              <a:cxn ang="T105">
                <a:pos x="T2" y="T3"/>
              </a:cxn>
              <a:cxn ang="T106">
                <a:pos x="T4" y="T5"/>
              </a:cxn>
              <a:cxn ang="T107">
                <a:pos x="T6" y="T7"/>
              </a:cxn>
              <a:cxn ang="T108">
                <a:pos x="T8" y="T9"/>
              </a:cxn>
              <a:cxn ang="T109">
                <a:pos x="T10" y="T11"/>
              </a:cxn>
              <a:cxn ang="T110">
                <a:pos x="T12" y="T13"/>
              </a:cxn>
              <a:cxn ang="T111">
                <a:pos x="T14" y="T15"/>
              </a:cxn>
              <a:cxn ang="T112">
                <a:pos x="T16" y="T17"/>
              </a:cxn>
              <a:cxn ang="T113">
                <a:pos x="T18" y="T19"/>
              </a:cxn>
              <a:cxn ang="T114">
                <a:pos x="T20" y="T21"/>
              </a:cxn>
              <a:cxn ang="T115">
                <a:pos x="T22" y="T23"/>
              </a:cxn>
              <a:cxn ang="T116">
                <a:pos x="T24" y="T25"/>
              </a:cxn>
              <a:cxn ang="T117">
                <a:pos x="T26" y="T27"/>
              </a:cxn>
              <a:cxn ang="T118">
                <a:pos x="T28" y="T29"/>
              </a:cxn>
              <a:cxn ang="T119">
                <a:pos x="T30" y="T31"/>
              </a:cxn>
              <a:cxn ang="T120">
                <a:pos x="T32" y="T33"/>
              </a:cxn>
              <a:cxn ang="T121">
                <a:pos x="T34" y="T35"/>
              </a:cxn>
              <a:cxn ang="T122">
                <a:pos x="T36" y="T37"/>
              </a:cxn>
              <a:cxn ang="T123">
                <a:pos x="T38" y="T39"/>
              </a:cxn>
              <a:cxn ang="T124">
                <a:pos x="T40" y="T41"/>
              </a:cxn>
              <a:cxn ang="T125">
                <a:pos x="T42" y="T43"/>
              </a:cxn>
              <a:cxn ang="T126">
                <a:pos x="T44" y="T45"/>
              </a:cxn>
              <a:cxn ang="T127">
                <a:pos x="T46" y="T47"/>
              </a:cxn>
              <a:cxn ang="T128">
                <a:pos x="T48" y="T49"/>
              </a:cxn>
              <a:cxn ang="T129">
                <a:pos x="T50" y="T51"/>
              </a:cxn>
              <a:cxn ang="T130">
                <a:pos x="T52" y="T53"/>
              </a:cxn>
              <a:cxn ang="T131">
                <a:pos x="T54" y="T55"/>
              </a:cxn>
              <a:cxn ang="T132">
                <a:pos x="T56" y="T57"/>
              </a:cxn>
              <a:cxn ang="T133">
                <a:pos x="T58" y="T59"/>
              </a:cxn>
              <a:cxn ang="T134">
                <a:pos x="T60" y="T61"/>
              </a:cxn>
              <a:cxn ang="T135">
                <a:pos x="T62" y="T63"/>
              </a:cxn>
              <a:cxn ang="T136">
                <a:pos x="T64" y="T65"/>
              </a:cxn>
              <a:cxn ang="T137">
                <a:pos x="T66" y="T67"/>
              </a:cxn>
              <a:cxn ang="T138">
                <a:pos x="T68" y="T69"/>
              </a:cxn>
              <a:cxn ang="T139">
                <a:pos x="T70" y="T71"/>
              </a:cxn>
              <a:cxn ang="T140">
                <a:pos x="T72" y="T73"/>
              </a:cxn>
              <a:cxn ang="T141">
                <a:pos x="T74" y="T75"/>
              </a:cxn>
              <a:cxn ang="T142">
                <a:pos x="T76" y="T77"/>
              </a:cxn>
              <a:cxn ang="T143">
                <a:pos x="T78" y="T79"/>
              </a:cxn>
              <a:cxn ang="T144">
                <a:pos x="T80" y="T81"/>
              </a:cxn>
              <a:cxn ang="T145">
                <a:pos x="T82" y="T83"/>
              </a:cxn>
              <a:cxn ang="T146">
                <a:pos x="T84" y="T85"/>
              </a:cxn>
              <a:cxn ang="T147">
                <a:pos x="T86" y="T87"/>
              </a:cxn>
              <a:cxn ang="T148">
                <a:pos x="T88" y="T89"/>
              </a:cxn>
              <a:cxn ang="T149">
                <a:pos x="T90" y="T91"/>
              </a:cxn>
              <a:cxn ang="T150">
                <a:pos x="T92" y="T93"/>
              </a:cxn>
              <a:cxn ang="T151">
                <a:pos x="T94" y="T95"/>
              </a:cxn>
              <a:cxn ang="T152">
                <a:pos x="T96" y="T97"/>
              </a:cxn>
              <a:cxn ang="T153">
                <a:pos x="T98" y="T99"/>
              </a:cxn>
              <a:cxn ang="T154">
                <a:pos x="T100" y="T101"/>
              </a:cxn>
              <a:cxn ang="T155">
                <a:pos x="T102" y="T103"/>
              </a:cxn>
            </a:cxnLst>
            <a:rect l="T156" t="T157" r="T158" b="T159"/>
            <a:pathLst>
              <a:path w="3418228" h="4063999">
                <a:moveTo>
                  <a:pt x="185790" y="750015"/>
                </a:moveTo>
                <a:lnTo>
                  <a:pt x="189334" y="754166"/>
                </a:lnTo>
                <a:lnTo>
                  <a:pt x="179726" y="755648"/>
                </a:lnTo>
                <a:cubicBezTo>
                  <a:pt x="180680" y="750179"/>
                  <a:pt x="182745" y="748463"/>
                  <a:pt x="185790" y="750015"/>
                </a:cubicBezTo>
                <a:close/>
                <a:moveTo>
                  <a:pt x="1700248" y="0"/>
                </a:moveTo>
                <a:lnTo>
                  <a:pt x="1779120" y="17909"/>
                </a:lnTo>
                <a:lnTo>
                  <a:pt x="1876092" y="14357"/>
                </a:lnTo>
                <a:lnTo>
                  <a:pt x="1973322" y="0"/>
                </a:lnTo>
                <a:lnTo>
                  <a:pt x="2034350" y="21460"/>
                </a:lnTo>
                <a:lnTo>
                  <a:pt x="2120720" y="42996"/>
                </a:lnTo>
                <a:cubicBezTo>
                  <a:pt x="2142442" y="57278"/>
                  <a:pt x="2163646" y="71635"/>
                  <a:pt x="2185368" y="85917"/>
                </a:cubicBezTo>
                <a:lnTo>
                  <a:pt x="2275100" y="111005"/>
                </a:lnTo>
                <a:lnTo>
                  <a:pt x="2365090" y="146822"/>
                </a:lnTo>
                <a:lnTo>
                  <a:pt x="2436978" y="146822"/>
                </a:lnTo>
                <a:lnTo>
                  <a:pt x="2544812" y="146822"/>
                </a:lnTo>
                <a:lnTo>
                  <a:pt x="2602478" y="128914"/>
                </a:lnTo>
                <a:lnTo>
                  <a:pt x="2670746" y="121735"/>
                </a:lnTo>
                <a:lnTo>
                  <a:pt x="2731774" y="139644"/>
                </a:lnTo>
                <a:cubicBezTo>
                  <a:pt x="2770304" y="151583"/>
                  <a:pt x="2810128" y="177804"/>
                  <a:pt x="2848658" y="189743"/>
                </a:cubicBezTo>
                <a:lnTo>
                  <a:pt x="2848650" y="189807"/>
                </a:lnTo>
                <a:lnTo>
                  <a:pt x="2852048" y="188928"/>
                </a:lnTo>
                <a:lnTo>
                  <a:pt x="2902448" y="263930"/>
                </a:lnTo>
                <a:lnTo>
                  <a:pt x="2977232" y="381020"/>
                </a:lnTo>
                <a:cubicBezTo>
                  <a:pt x="2982538" y="459081"/>
                  <a:pt x="2987956" y="536961"/>
                  <a:pt x="2993260" y="615021"/>
                </a:cubicBezTo>
                <a:cubicBezTo>
                  <a:pt x="3002178" y="716103"/>
                  <a:pt x="3011040" y="817186"/>
                  <a:pt x="3019900" y="918268"/>
                </a:cubicBezTo>
                <a:lnTo>
                  <a:pt x="3003984" y="944888"/>
                </a:lnTo>
                <a:lnTo>
                  <a:pt x="2966620" y="939492"/>
                </a:lnTo>
                <a:lnTo>
                  <a:pt x="2945118" y="960895"/>
                </a:lnTo>
                <a:lnTo>
                  <a:pt x="2913172" y="960895"/>
                </a:lnTo>
                <a:lnTo>
                  <a:pt x="2907754" y="998127"/>
                </a:lnTo>
                <a:lnTo>
                  <a:pt x="2875808" y="1024746"/>
                </a:lnTo>
                <a:lnTo>
                  <a:pt x="2854304" y="1035358"/>
                </a:lnTo>
                <a:lnTo>
                  <a:pt x="2827664" y="1045970"/>
                </a:lnTo>
                <a:lnTo>
                  <a:pt x="2854304" y="1072590"/>
                </a:lnTo>
                <a:lnTo>
                  <a:pt x="2913172" y="1072590"/>
                </a:lnTo>
                <a:lnTo>
                  <a:pt x="2923782" y="1099029"/>
                </a:lnTo>
                <a:cubicBezTo>
                  <a:pt x="2922034" y="1104425"/>
                  <a:pt x="2920228" y="1109641"/>
                  <a:pt x="2918478" y="1115037"/>
                </a:cubicBezTo>
                <a:lnTo>
                  <a:pt x="2955898" y="1125649"/>
                </a:lnTo>
                <a:lnTo>
                  <a:pt x="2977232" y="1200112"/>
                </a:lnTo>
                <a:cubicBezTo>
                  <a:pt x="2975482" y="1212522"/>
                  <a:pt x="2973676" y="1225112"/>
                  <a:pt x="2971870" y="1237523"/>
                </a:cubicBezTo>
                <a:lnTo>
                  <a:pt x="2950592" y="1248135"/>
                </a:lnTo>
                <a:cubicBezTo>
                  <a:pt x="2952398" y="1255329"/>
                  <a:pt x="2954092" y="1262344"/>
                  <a:pt x="2955898" y="1269358"/>
                </a:cubicBezTo>
                <a:lnTo>
                  <a:pt x="2966620" y="1301374"/>
                </a:lnTo>
                <a:lnTo>
                  <a:pt x="2987956" y="1327814"/>
                </a:lnTo>
                <a:lnTo>
                  <a:pt x="3025318" y="1349217"/>
                </a:lnTo>
                <a:cubicBezTo>
                  <a:pt x="3028874" y="1370441"/>
                  <a:pt x="3032486" y="1391664"/>
                  <a:pt x="3035930" y="1412888"/>
                </a:cubicBezTo>
                <a:cubicBezTo>
                  <a:pt x="3032486" y="1427277"/>
                  <a:pt x="3028874" y="1441306"/>
                  <a:pt x="3025318" y="1455516"/>
                </a:cubicBezTo>
                <a:lnTo>
                  <a:pt x="3046710" y="1487531"/>
                </a:lnTo>
                <a:lnTo>
                  <a:pt x="3100102" y="1514150"/>
                </a:lnTo>
                <a:lnTo>
                  <a:pt x="3116132" y="1540770"/>
                </a:lnTo>
                <a:lnTo>
                  <a:pt x="3116132" y="1578001"/>
                </a:lnTo>
                <a:lnTo>
                  <a:pt x="3089322" y="1604441"/>
                </a:lnTo>
                <a:lnTo>
                  <a:pt x="3062682" y="1615233"/>
                </a:lnTo>
                <a:cubicBezTo>
                  <a:pt x="3060876" y="1624046"/>
                  <a:pt x="3059126" y="1633039"/>
                  <a:pt x="3057434" y="1641852"/>
                </a:cubicBezTo>
                <a:lnTo>
                  <a:pt x="3057434" y="1668292"/>
                </a:lnTo>
                <a:lnTo>
                  <a:pt x="3035930" y="1684480"/>
                </a:lnTo>
                <a:lnTo>
                  <a:pt x="3003984" y="1710919"/>
                </a:lnTo>
                <a:lnTo>
                  <a:pt x="2977232" y="1726927"/>
                </a:lnTo>
                <a:cubicBezTo>
                  <a:pt x="2980844" y="1735740"/>
                  <a:pt x="2984344" y="1744733"/>
                  <a:pt x="2987956" y="1753547"/>
                </a:cubicBezTo>
                <a:lnTo>
                  <a:pt x="3025318" y="1763979"/>
                </a:lnTo>
                <a:cubicBezTo>
                  <a:pt x="3027012" y="1774770"/>
                  <a:pt x="3028874" y="1785382"/>
                  <a:pt x="3030624" y="1795994"/>
                </a:cubicBezTo>
                <a:lnTo>
                  <a:pt x="3003984" y="1795994"/>
                </a:lnTo>
                <a:lnTo>
                  <a:pt x="2982538" y="1790778"/>
                </a:lnTo>
                <a:lnTo>
                  <a:pt x="2993260" y="1812002"/>
                </a:lnTo>
                <a:lnTo>
                  <a:pt x="2977232" y="1838621"/>
                </a:lnTo>
                <a:lnTo>
                  <a:pt x="2977232" y="1865241"/>
                </a:lnTo>
                <a:lnTo>
                  <a:pt x="2945118" y="1876032"/>
                </a:lnTo>
                <a:lnTo>
                  <a:pt x="2955898" y="1886464"/>
                </a:lnTo>
                <a:lnTo>
                  <a:pt x="2982538" y="1934308"/>
                </a:lnTo>
                <a:lnTo>
                  <a:pt x="3003984" y="1907688"/>
                </a:lnTo>
                <a:lnTo>
                  <a:pt x="3025318" y="1918480"/>
                </a:lnTo>
                <a:lnTo>
                  <a:pt x="3025318" y="1939704"/>
                </a:lnTo>
                <a:lnTo>
                  <a:pt x="3057434" y="1939704"/>
                </a:lnTo>
                <a:lnTo>
                  <a:pt x="3094796" y="1929092"/>
                </a:lnTo>
                <a:cubicBezTo>
                  <a:pt x="3092990" y="1921897"/>
                  <a:pt x="3091128" y="1914883"/>
                  <a:pt x="3089322" y="1907688"/>
                </a:cubicBezTo>
                <a:lnTo>
                  <a:pt x="3116132" y="1902472"/>
                </a:lnTo>
                <a:lnTo>
                  <a:pt x="3132160" y="1939704"/>
                </a:lnTo>
                <a:lnTo>
                  <a:pt x="3174886" y="1939704"/>
                </a:lnTo>
                <a:lnTo>
                  <a:pt x="3212250" y="1950495"/>
                </a:lnTo>
                <a:lnTo>
                  <a:pt x="3238888" y="1971719"/>
                </a:lnTo>
                <a:lnTo>
                  <a:pt x="3265698" y="1966323"/>
                </a:lnTo>
                <a:lnTo>
                  <a:pt x="3292338" y="1966323"/>
                </a:lnTo>
                <a:lnTo>
                  <a:pt x="3329702" y="1987547"/>
                </a:lnTo>
                <a:lnTo>
                  <a:pt x="3351092" y="1982331"/>
                </a:lnTo>
                <a:lnTo>
                  <a:pt x="3372540" y="1955532"/>
                </a:lnTo>
                <a:cubicBezTo>
                  <a:pt x="3380092" y="1954152"/>
                  <a:pt x="3382438" y="1956301"/>
                  <a:pt x="3388484" y="1955287"/>
                </a:cubicBezTo>
                <a:lnTo>
                  <a:pt x="3391908" y="1949447"/>
                </a:lnTo>
                <a:lnTo>
                  <a:pt x="3390268" y="1955230"/>
                </a:lnTo>
                <a:cubicBezTo>
                  <a:pt x="3390866" y="1955420"/>
                  <a:pt x="3391450" y="1955308"/>
                  <a:pt x="3392068" y="1955172"/>
                </a:cubicBezTo>
                <a:lnTo>
                  <a:pt x="3387900" y="1963570"/>
                </a:lnTo>
                <a:lnTo>
                  <a:pt x="3381348" y="1986663"/>
                </a:lnTo>
                <a:lnTo>
                  <a:pt x="3418228" y="2018593"/>
                </a:lnTo>
                <a:lnTo>
                  <a:pt x="3412948" y="2056020"/>
                </a:lnTo>
                <a:lnTo>
                  <a:pt x="3370786" y="2056020"/>
                </a:lnTo>
                <a:lnTo>
                  <a:pt x="3302222" y="2061307"/>
                </a:lnTo>
                <a:lnTo>
                  <a:pt x="3286464" y="2098523"/>
                </a:lnTo>
                <a:lnTo>
                  <a:pt x="3270620" y="2119880"/>
                </a:lnTo>
                <a:lnTo>
                  <a:pt x="3244302" y="2119880"/>
                </a:lnTo>
                <a:lnTo>
                  <a:pt x="3233740" y="2098523"/>
                </a:lnTo>
                <a:lnTo>
                  <a:pt x="3212618" y="2109307"/>
                </a:lnTo>
                <a:lnTo>
                  <a:pt x="3191578" y="2114594"/>
                </a:lnTo>
                <a:lnTo>
                  <a:pt x="3175736" y="2098523"/>
                </a:lnTo>
                <a:lnTo>
                  <a:pt x="3154614" y="2082664"/>
                </a:lnTo>
                <a:lnTo>
                  <a:pt x="3123014" y="2077377"/>
                </a:lnTo>
                <a:lnTo>
                  <a:pt x="3101892" y="2087950"/>
                </a:lnTo>
                <a:lnTo>
                  <a:pt x="3128294" y="2114594"/>
                </a:lnTo>
                <a:lnTo>
                  <a:pt x="3154614" y="2135950"/>
                </a:lnTo>
                <a:lnTo>
                  <a:pt x="3154614" y="2183739"/>
                </a:lnTo>
                <a:lnTo>
                  <a:pt x="3138856" y="2221167"/>
                </a:lnTo>
                <a:cubicBezTo>
                  <a:pt x="3137096" y="2233643"/>
                  <a:pt x="3135336" y="2245907"/>
                  <a:pt x="3133576" y="2258383"/>
                </a:cubicBezTo>
                <a:lnTo>
                  <a:pt x="3133576" y="2300886"/>
                </a:lnTo>
                <a:lnTo>
                  <a:pt x="3170456" y="2316956"/>
                </a:lnTo>
                <a:lnTo>
                  <a:pt x="3154614" y="2348886"/>
                </a:lnTo>
                <a:lnTo>
                  <a:pt x="3112452" y="2348886"/>
                </a:lnTo>
                <a:lnTo>
                  <a:pt x="3112452" y="2380816"/>
                </a:lnTo>
                <a:lnTo>
                  <a:pt x="3123014" y="2418243"/>
                </a:lnTo>
                <a:lnTo>
                  <a:pt x="3086134" y="2444887"/>
                </a:lnTo>
                <a:cubicBezTo>
                  <a:pt x="3084372" y="2451865"/>
                  <a:pt x="3082612" y="2459054"/>
                  <a:pt x="3080852" y="2466032"/>
                </a:cubicBezTo>
                <a:lnTo>
                  <a:pt x="3128294" y="2514032"/>
                </a:lnTo>
                <a:lnTo>
                  <a:pt x="3149334" y="2551248"/>
                </a:lnTo>
                <a:lnTo>
                  <a:pt x="3170456" y="2577892"/>
                </a:lnTo>
                <a:lnTo>
                  <a:pt x="3191578" y="2583178"/>
                </a:lnTo>
                <a:lnTo>
                  <a:pt x="3191578" y="2652536"/>
                </a:lnTo>
                <a:lnTo>
                  <a:pt x="3175736" y="2679179"/>
                </a:lnTo>
                <a:lnTo>
                  <a:pt x="3144136" y="2700536"/>
                </a:lnTo>
                <a:lnTo>
                  <a:pt x="3170456" y="2732466"/>
                </a:lnTo>
                <a:lnTo>
                  <a:pt x="3170456" y="2785752"/>
                </a:lnTo>
                <a:lnTo>
                  <a:pt x="3144136" y="2822968"/>
                </a:lnTo>
                <a:lnTo>
                  <a:pt x="3107172" y="2860185"/>
                </a:lnTo>
                <a:lnTo>
                  <a:pt x="3075572" y="2876255"/>
                </a:lnTo>
                <a:lnTo>
                  <a:pt x="3096694" y="2950899"/>
                </a:lnTo>
                <a:lnTo>
                  <a:pt x="3049168" y="2961472"/>
                </a:lnTo>
                <a:lnTo>
                  <a:pt x="3022850" y="2988115"/>
                </a:lnTo>
                <a:lnTo>
                  <a:pt x="2991248" y="3003974"/>
                </a:lnTo>
                <a:lnTo>
                  <a:pt x="2975408" y="3041402"/>
                </a:lnTo>
                <a:lnTo>
                  <a:pt x="2927964" y="3062547"/>
                </a:lnTo>
                <a:lnTo>
                  <a:pt x="2906842" y="3073331"/>
                </a:lnTo>
                <a:cubicBezTo>
                  <a:pt x="2905082" y="3080521"/>
                  <a:pt x="2903322" y="3087499"/>
                  <a:pt x="2901562" y="3094688"/>
                </a:cubicBezTo>
                <a:lnTo>
                  <a:pt x="2922684" y="3115834"/>
                </a:lnTo>
                <a:lnTo>
                  <a:pt x="2927964" y="3142477"/>
                </a:lnTo>
                <a:lnTo>
                  <a:pt x="2896364" y="3153262"/>
                </a:lnTo>
                <a:lnTo>
                  <a:pt x="2896364" y="3179905"/>
                </a:lnTo>
                <a:lnTo>
                  <a:pt x="2880522" y="3206548"/>
                </a:lnTo>
                <a:lnTo>
                  <a:pt x="2869962" y="3227694"/>
                </a:lnTo>
                <a:lnTo>
                  <a:pt x="2859400" y="3265121"/>
                </a:lnTo>
                <a:lnTo>
                  <a:pt x="2859400" y="3291765"/>
                </a:lnTo>
                <a:lnTo>
                  <a:pt x="2885804" y="3302337"/>
                </a:lnTo>
                <a:lnTo>
                  <a:pt x="2869962" y="3344840"/>
                </a:lnTo>
                <a:lnTo>
                  <a:pt x="2906842" y="3387554"/>
                </a:lnTo>
                <a:lnTo>
                  <a:pt x="2933246" y="3435554"/>
                </a:lnTo>
                <a:lnTo>
                  <a:pt x="2985968" y="3456700"/>
                </a:lnTo>
                <a:lnTo>
                  <a:pt x="3022850" y="3451413"/>
                </a:lnTo>
                <a:lnTo>
                  <a:pt x="3075572" y="3456700"/>
                </a:lnTo>
                <a:lnTo>
                  <a:pt x="3075572" y="3483343"/>
                </a:lnTo>
                <a:lnTo>
                  <a:pt x="3059730" y="3509986"/>
                </a:lnTo>
                <a:lnTo>
                  <a:pt x="3070292" y="3552700"/>
                </a:lnTo>
                <a:cubicBezTo>
                  <a:pt x="3072052" y="3565176"/>
                  <a:pt x="3073812" y="3577441"/>
                  <a:pt x="3075572" y="3589916"/>
                </a:cubicBezTo>
                <a:lnTo>
                  <a:pt x="3065010" y="3611273"/>
                </a:lnTo>
                <a:lnTo>
                  <a:pt x="3017568" y="3600701"/>
                </a:lnTo>
                <a:lnTo>
                  <a:pt x="2991248" y="3605987"/>
                </a:lnTo>
                <a:lnTo>
                  <a:pt x="2970126" y="3637917"/>
                </a:lnTo>
                <a:cubicBezTo>
                  <a:pt x="2968366" y="3650393"/>
                  <a:pt x="2966606" y="3662657"/>
                  <a:pt x="2964846" y="3675133"/>
                </a:cubicBezTo>
                <a:cubicBezTo>
                  <a:pt x="2963086" y="3689300"/>
                  <a:pt x="2961326" y="3703679"/>
                  <a:pt x="2959564" y="3717847"/>
                </a:cubicBezTo>
                <a:lnTo>
                  <a:pt x="2959564" y="3749777"/>
                </a:lnTo>
                <a:lnTo>
                  <a:pt x="2991248" y="3760349"/>
                </a:lnTo>
                <a:lnTo>
                  <a:pt x="3028130" y="3771134"/>
                </a:lnTo>
                <a:lnTo>
                  <a:pt x="3038692" y="3818922"/>
                </a:lnTo>
                <a:lnTo>
                  <a:pt x="3070292" y="3856350"/>
                </a:lnTo>
                <a:cubicBezTo>
                  <a:pt x="3072052" y="3868826"/>
                  <a:pt x="3073812" y="3881090"/>
                  <a:pt x="3075572" y="3893566"/>
                </a:cubicBezTo>
                <a:lnTo>
                  <a:pt x="3038692" y="3904139"/>
                </a:lnTo>
                <a:lnTo>
                  <a:pt x="3017568" y="3936069"/>
                </a:lnTo>
                <a:lnTo>
                  <a:pt x="2975408" y="3941566"/>
                </a:lnTo>
                <a:lnTo>
                  <a:pt x="2959564" y="3978782"/>
                </a:lnTo>
                <a:lnTo>
                  <a:pt x="2970126" y="4015999"/>
                </a:lnTo>
                <a:lnTo>
                  <a:pt x="2970126" y="4047928"/>
                </a:lnTo>
                <a:lnTo>
                  <a:pt x="2927964" y="4058712"/>
                </a:lnTo>
                <a:lnTo>
                  <a:pt x="2896364" y="4063999"/>
                </a:lnTo>
                <a:lnTo>
                  <a:pt x="2885804" y="4032069"/>
                </a:lnTo>
                <a:lnTo>
                  <a:pt x="2854120" y="4010712"/>
                </a:lnTo>
                <a:lnTo>
                  <a:pt x="2827800" y="4005426"/>
                </a:lnTo>
                <a:lnTo>
                  <a:pt x="2827800" y="4026783"/>
                </a:lnTo>
                <a:lnTo>
                  <a:pt x="2806678" y="4026783"/>
                </a:lnTo>
                <a:cubicBezTo>
                  <a:pt x="2803156" y="4012615"/>
                  <a:pt x="2799720" y="3998236"/>
                  <a:pt x="2796200" y="3984069"/>
                </a:cubicBezTo>
                <a:lnTo>
                  <a:pt x="2759236" y="3968210"/>
                </a:lnTo>
                <a:lnTo>
                  <a:pt x="2727636" y="3968210"/>
                </a:lnTo>
                <a:lnTo>
                  <a:pt x="2696034" y="3957426"/>
                </a:lnTo>
                <a:lnTo>
                  <a:pt x="2685474" y="3941566"/>
                </a:lnTo>
                <a:lnTo>
                  <a:pt x="2653874" y="3914923"/>
                </a:lnTo>
                <a:lnTo>
                  <a:pt x="2653874" y="3882993"/>
                </a:lnTo>
                <a:lnTo>
                  <a:pt x="2653874" y="3866923"/>
                </a:lnTo>
                <a:lnTo>
                  <a:pt x="2669632" y="3850852"/>
                </a:lnTo>
                <a:lnTo>
                  <a:pt x="2648592" y="3840279"/>
                </a:lnTo>
                <a:lnTo>
                  <a:pt x="2627470" y="3840279"/>
                </a:lnTo>
                <a:lnTo>
                  <a:pt x="2595870" y="3840279"/>
                </a:lnTo>
                <a:lnTo>
                  <a:pt x="2583360" y="3840279"/>
                </a:lnTo>
                <a:lnTo>
                  <a:pt x="2581616" y="3842597"/>
                </a:lnTo>
                <a:cubicBezTo>
                  <a:pt x="2552348" y="3835239"/>
                  <a:pt x="2527960" y="3834932"/>
                  <a:pt x="2498694" y="3827574"/>
                </a:cubicBezTo>
                <a:lnTo>
                  <a:pt x="2368534" y="3788331"/>
                </a:lnTo>
                <a:lnTo>
                  <a:pt x="2280992" y="3747861"/>
                </a:lnTo>
                <a:lnTo>
                  <a:pt x="2170858" y="3704326"/>
                </a:lnTo>
                <a:lnTo>
                  <a:pt x="2074586" y="3682251"/>
                </a:lnTo>
                <a:lnTo>
                  <a:pt x="1978314" y="3634424"/>
                </a:lnTo>
                <a:lnTo>
                  <a:pt x="1890514" y="3604991"/>
                </a:lnTo>
                <a:lnTo>
                  <a:pt x="1797324" y="3620320"/>
                </a:lnTo>
                <a:lnTo>
                  <a:pt x="1728008" y="3634424"/>
                </a:lnTo>
                <a:lnTo>
                  <a:pt x="1624806" y="3645767"/>
                </a:lnTo>
                <a:lnTo>
                  <a:pt x="1480526" y="3661097"/>
                </a:lnTo>
                <a:lnTo>
                  <a:pt x="1244340" y="3679492"/>
                </a:lnTo>
                <a:lnTo>
                  <a:pt x="1085942" y="3652819"/>
                </a:lnTo>
                <a:lnTo>
                  <a:pt x="991468" y="3565748"/>
                </a:lnTo>
                <a:cubicBezTo>
                  <a:pt x="989928" y="3536315"/>
                  <a:pt x="988388" y="3506883"/>
                  <a:pt x="986846" y="3477757"/>
                </a:cubicBezTo>
                <a:lnTo>
                  <a:pt x="1023814" y="3420118"/>
                </a:lnTo>
                <a:cubicBezTo>
                  <a:pt x="1027666" y="3406628"/>
                  <a:pt x="1031260" y="3393138"/>
                  <a:pt x="1035110" y="3379342"/>
                </a:cubicBezTo>
                <a:cubicBezTo>
                  <a:pt x="1021248" y="3359107"/>
                  <a:pt x="1007898" y="3338566"/>
                  <a:pt x="994292" y="3318024"/>
                </a:cubicBezTo>
                <a:lnTo>
                  <a:pt x="909316" y="3259160"/>
                </a:lnTo>
                <a:lnTo>
                  <a:pt x="851296" y="3207040"/>
                </a:lnTo>
                <a:lnTo>
                  <a:pt x="814328" y="3200294"/>
                </a:lnTo>
                <a:lnTo>
                  <a:pt x="784804" y="3222676"/>
                </a:lnTo>
                <a:lnTo>
                  <a:pt x="699830" y="3284300"/>
                </a:lnTo>
                <a:lnTo>
                  <a:pt x="596626" y="3343164"/>
                </a:lnTo>
                <a:lnTo>
                  <a:pt x="496248" y="3318024"/>
                </a:lnTo>
                <a:lnTo>
                  <a:pt x="429756" y="3236778"/>
                </a:lnTo>
                <a:lnTo>
                  <a:pt x="316798" y="3186192"/>
                </a:lnTo>
                <a:lnTo>
                  <a:pt x="223350" y="3175154"/>
                </a:lnTo>
                <a:lnTo>
                  <a:pt x="168411" y="3065702"/>
                </a:lnTo>
                <a:cubicBezTo>
                  <a:pt x="162250" y="3018181"/>
                  <a:pt x="156345" y="2970660"/>
                  <a:pt x="149927" y="2923139"/>
                </a:cubicBezTo>
                <a:lnTo>
                  <a:pt x="149927" y="2743784"/>
                </a:lnTo>
                <a:lnTo>
                  <a:pt x="213594" y="2573015"/>
                </a:lnTo>
                <a:lnTo>
                  <a:pt x="271614" y="2452526"/>
                </a:lnTo>
                <a:lnTo>
                  <a:pt x="342212" y="2368520"/>
                </a:lnTo>
                <a:cubicBezTo>
                  <a:pt x="358130" y="2324678"/>
                  <a:pt x="374304" y="2280836"/>
                  <a:pt x="390220" y="2236994"/>
                </a:cubicBezTo>
                <a:cubicBezTo>
                  <a:pt x="398692" y="2198058"/>
                  <a:pt x="407164" y="2159427"/>
                  <a:pt x="415636" y="2120491"/>
                </a:cubicBezTo>
                <a:cubicBezTo>
                  <a:pt x="414352" y="2063159"/>
                  <a:pt x="412812" y="2005520"/>
                  <a:pt x="411528" y="1948188"/>
                </a:cubicBezTo>
                <a:cubicBezTo>
                  <a:pt x="394328" y="1892389"/>
                  <a:pt x="377640" y="1835977"/>
                  <a:pt x="360440" y="1780178"/>
                </a:cubicBezTo>
                <a:lnTo>
                  <a:pt x="293948" y="1714261"/>
                </a:lnTo>
                <a:lnTo>
                  <a:pt x="158399" y="1634242"/>
                </a:lnTo>
                <a:lnTo>
                  <a:pt x="65208" y="1536440"/>
                </a:lnTo>
                <a:lnTo>
                  <a:pt x="18484" y="1434346"/>
                </a:lnTo>
                <a:cubicBezTo>
                  <a:pt x="23105" y="1412272"/>
                  <a:pt x="27983" y="1390504"/>
                  <a:pt x="32604" y="1368430"/>
                </a:cubicBezTo>
                <a:lnTo>
                  <a:pt x="83435" y="1350341"/>
                </a:lnTo>
                <a:lnTo>
                  <a:pt x="117323" y="1291169"/>
                </a:lnTo>
                <a:cubicBezTo>
                  <a:pt x="105000" y="1263270"/>
                  <a:pt x="92934" y="1235064"/>
                  <a:pt x="80611" y="1207164"/>
                </a:cubicBezTo>
                <a:lnTo>
                  <a:pt x="6932" y="1163935"/>
                </a:lnTo>
                <a:cubicBezTo>
                  <a:pt x="4621" y="1146766"/>
                  <a:pt x="2311" y="1129291"/>
                  <a:pt x="0" y="1112122"/>
                </a:cubicBezTo>
                <a:cubicBezTo>
                  <a:pt x="9242" y="1097712"/>
                  <a:pt x="18998" y="1083303"/>
                  <a:pt x="28240" y="1068586"/>
                </a:cubicBezTo>
                <a:lnTo>
                  <a:pt x="91907" y="980289"/>
                </a:lnTo>
                <a:lnTo>
                  <a:pt x="168411" y="864092"/>
                </a:lnTo>
                <a:cubicBezTo>
                  <a:pt x="174572" y="830367"/>
                  <a:pt x="180477" y="796029"/>
                  <a:pt x="186638" y="761998"/>
                </a:cubicBezTo>
                <a:lnTo>
                  <a:pt x="193791" y="760628"/>
                </a:lnTo>
                <a:cubicBezTo>
                  <a:pt x="192476" y="757815"/>
                  <a:pt x="190835" y="755759"/>
                  <a:pt x="189334" y="754166"/>
                </a:cubicBezTo>
                <a:lnTo>
                  <a:pt x="226272" y="748470"/>
                </a:lnTo>
                <a:lnTo>
                  <a:pt x="481504" y="540742"/>
                </a:lnTo>
                <a:lnTo>
                  <a:pt x="639762" y="436916"/>
                </a:lnTo>
                <a:lnTo>
                  <a:pt x="700790" y="422559"/>
                </a:lnTo>
                <a:lnTo>
                  <a:pt x="798020" y="383189"/>
                </a:lnTo>
                <a:lnTo>
                  <a:pt x="981104" y="347372"/>
                </a:lnTo>
                <a:cubicBezTo>
                  <a:pt x="1002826" y="325911"/>
                  <a:pt x="1024288" y="304375"/>
                  <a:pt x="1046010" y="282915"/>
                </a:cubicBezTo>
                <a:cubicBezTo>
                  <a:pt x="1058940" y="257827"/>
                  <a:pt x="1072386" y="232815"/>
                  <a:pt x="1085316" y="207728"/>
                </a:cubicBezTo>
                <a:lnTo>
                  <a:pt x="1178926" y="161180"/>
                </a:lnTo>
                <a:lnTo>
                  <a:pt x="1333564" y="103826"/>
                </a:lnTo>
                <a:lnTo>
                  <a:pt x="1405454" y="82366"/>
                </a:lnTo>
                <a:lnTo>
                  <a:pt x="1559834" y="71635"/>
                </a:lnTo>
                <a:lnTo>
                  <a:pt x="1610258" y="46548"/>
                </a:lnTo>
                <a:close/>
              </a:path>
            </a:pathLst>
          </a:custGeom>
          <a:solidFill>
            <a:srgbClr val="70B0DF"/>
          </a:solidFill>
          <a:ln w="3175" cap="flat" cmpd="sng">
            <a:noFill/>
            <a:prstDash val="solid"/>
            <a:round/>
            <a:headEnd type="none" w="med" len="med"/>
            <a:tailEnd type="none" w="med" len="med"/>
          </a:ln>
        </p:spPr>
        <p:txBody>
          <a:bodyPr wrap="none" lIns="32632" tIns="32632" rIns="32632" bIns="32632" anchor="ctr"/>
          <a:lstStyle/>
          <a:p>
            <a:pPr defTabSz="891045"/>
            <a:endParaRPr lang="en-US" sz="1700" dirty="0">
              <a:solidFill>
                <a:srgbClr val="003149"/>
              </a:solidFill>
              <a:cs typeface="Arial" panose="020B0604020202020204" pitchFamily="34" charset="0"/>
            </a:endParaRPr>
          </a:p>
        </p:txBody>
      </p:sp>
      <p:sp>
        <p:nvSpPr>
          <p:cNvPr id="12" name="Freeform 268"/>
          <p:cNvSpPr>
            <a:spLocks noChangeAspect="1"/>
          </p:cNvSpPr>
          <p:nvPr/>
        </p:nvSpPr>
        <p:spPr bwMode="gray">
          <a:xfrm>
            <a:off x="4987477" y="2321261"/>
            <a:ext cx="1265287" cy="1453487"/>
          </a:xfrm>
          <a:custGeom>
            <a:avLst/>
            <a:gdLst>
              <a:gd name="T0" fmla="*/ 0 w 7334264"/>
              <a:gd name="T1" fmla="*/ 0 h 7433340"/>
              <a:gd name="T2" fmla="*/ 0 w 7334264"/>
              <a:gd name="T3" fmla="*/ 0 h 7433340"/>
              <a:gd name="T4" fmla="*/ 0 w 7334264"/>
              <a:gd name="T5" fmla="*/ 0 h 7433340"/>
              <a:gd name="T6" fmla="*/ 0 w 7334264"/>
              <a:gd name="T7" fmla="*/ 0 h 7433340"/>
              <a:gd name="T8" fmla="*/ 0 w 7334264"/>
              <a:gd name="T9" fmla="*/ 0 h 7433340"/>
              <a:gd name="T10" fmla="*/ 0 w 7334264"/>
              <a:gd name="T11" fmla="*/ 0 h 7433340"/>
              <a:gd name="T12" fmla="*/ 0 w 7334264"/>
              <a:gd name="T13" fmla="*/ 0 h 7433340"/>
              <a:gd name="T14" fmla="*/ 0 w 7334264"/>
              <a:gd name="T15" fmla="*/ 0 h 7433340"/>
              <a:gd name="T16" fmla="*/ 0 w 7334264"/>
              <a:gd name="T17" fmla="*/ 0 h 7433340"/>
              <a:gd name="T18" fmla="*/ 0 w 7334264"/>
              <a:gd name="T19" fmla="*/ 0 h 7433340"/>
              <a:gd name="T20" fmla="*/ 0 w 7334264"/>
              <a:gd name="T21" fmla="*/ 0 h 7433340"/>
              <a:gd name="T22" fmla="*/ 0 w 7334264"/>
              <a:gd name="T23" fmla="*/ 0 h 7433340"/>
              <a:gd name="T24" fmla="*/ 0 w 7334264"/>
              <a:gd name="T25" fmla="*/ 0 h 7433340"/>
              <a:gd name="T26" fmla="*/ 0 w 7334264"/>
              <a:gd name="T27" fmla="*/ 0 h 7433340"/>
              <a:gd name="T28" fmla="*/ 0 w 7334264"/>
              <a:gd name="T29" fmla="*/ 0 h 7433340"/>
              <a:gd name="T30" fmla="*/ 0 w 7334264"/>
              <a:gd name="T31" fmla="*/ 0 h 7433340"/>
              <a:gd name="T32" fmla="*/ 0 w 7334264"/>
              <a:gd name="T33" fmla="*/ 0 h 7433340"/>
              <a:gd name="T34" fmla="*/ 0 w 7334264"/>
              <a:gd name="T35" fmla="*/ 0 h 7433340"/>
              <a:gd name="T36" fmla="*/ 0 w 7334264"/>
              <a:gd name="T37" fmla="*/ 0 h 7433340"/>
              <a:gd name="T38" fmla="*/ 0 w 7334264"/>
              <a:gd name="T39" fmla="*/ 0 h 7433340"/>
              <a:gd name="T40" fmla="*/ 0 w 7334264"/>
              <a:gd name="T41" fmla="*/ 0 h 7433340"/>
              <a:gd name="T42" fmla="*/ 0 w 7334264"/>
              <a:gd name="T43" fmla="*/ 0 h 7433340"/>
              <a:gd name="T44" fmla="*/ 0 w 7334264"/>
              <a:gd name="T45" fmla="*/ 0 h 7433340"/>
              <a:gd name="T46" fmla="*/ 0 w 7334264"/>
              <a:gd name="T47" fmla="*/ 0 h 7433340"/>
              <a:gd name="T48" fmla="*/ 0 w 7334264"/>
              <a:gd name="T49" fmla="*/ 0 h 7433340"/>
              <a:gd name="T50" fmla="*/ 0 w 7334264"/>
              <a:gd name="T51" fmla="*/ 0 h 7433340"/>
              <a:gd name="T52" fmla="*/ 0 w 7334264"/>
              <a:gd name="T53" fmla="*/ 0 h 7433340"/>
              <a:gd name="T54" fmla="*/ 0 w 7334264"/>
              <a:gd name="T55" fmla="*/ 0 h 7433340"/>
              <a:gd name="T56" fmla="*/ 0 w 7334264"/>
              <a:gd name="T57" fmla="*/ 0 h 7433340"/>
              <a:gd name="T58" fmla="*/ 0 w 7334264"/>
              <a:gd name="T59" fmla="*/ 0 h 7433340"/>
              <a:gd name="T60" fmla="*/ 0 w 7334264"/>
              <a:gd name="T61" fmla="*/ 0 h 7433340"/>
              <a:gd name="T62" fmla="*/ 0 w 7334264"/>
              <a:gd name="T63" fmla="*/ 0 h 7433340"/>
              <a:gd name="T64" fmla="*/ 0 w 7334264"/>
              <a:gd name="T65" fmla="*/ 0 h 7433340"/>
              <a:gd name="T66" fmla="*/ 0 w 7334264"/>
              <a:gd name="T67" fmla="*/ 0 h 7433340"/>
              <a:gd name="T68" fmla="*/ 0 w 7334264"/>
              <a:gd name="T69" fmla="*/ 0 h 7433340"/>
              <a:gd name="T70" fmla="*/ 0 w 7334264"/>
              <a:gd name="T71" fmla="*/ 0 h 7433340"/>
              <a:gd name="T72" fmla="*/ 0 w 7334264"/>
              <a:gd name="T73" fmla="*/ 0 h 7433340"/>
              <a:gd name="T74" fmla="*/ 0 w 7334264"/>
              <a:gd name="T75" fmla="*/ 0 h 7433340"/>
              <a:gd name="T76" fmla="*/ 0 w 7334264"/>
              <a:gd name="T77" fmla="*/ 0 h 7433340"/>
              <a:gd name="T78" fmla="*/ 0 w 7334264"/>
              <a:gd name="T79" fmla="*/ 0 h 7433340"/>
              <a:gd name="T80" fmla="*/ 0 w 7334264"/>
              <a:gd name="T81" fmla="*/ 0 h 7433340"/>
              <a:gd name="T82" fmla="*/ 0 w 7334264"/>
              <a:gd name="T83" fmla="*/ 0 h 7433340"/>
              <a:gd name="T84" fmla="*/ 0 w 7334264"/>
              <a:gd name="T85" fmla="*/ 0 h 7433340"/>
              <a:gd name="T86" fmla="*/ 0 w 7334264"/>
              <a:gd name="T87" fmla="*/ 0 h 7433340"/>
              <a:gd name="T88" fmla="*/ 0 w 7334264"/>
              <a:gd name="T89" fmla="*/ 0 h 7433340"/>
              <a:gd name="T90" fmla="*/ 0 w 7334264"/>
              <a:gd name="T91" fmla="*/ 0 h 7433340"/>
              <a:gd name="T92" fmla="*/ 0 w 7334264"/>
              <a:gd name="T93" fmla="*/ 0 h 7433340"/>
              <a:gd name="T94" fmla="*/ 0 w 7334264"/>
              <a:gd name="T95" fmla="*/ 0 h 7433340"/>
              <a:gd name="T96" fmla="*/ 0 w 7334264"/>
              <a:gd name="T97" fmla="*/ 0 h 7433340"/>
              <a:gd name="T98" fmla="*/ 0 w 7334264"/>
              <a:gd name="T99" fmla="*/ 0 h 7433340"/>
              <a:gd name="T100" fmla="*/ 0 w 7334264"/>
              <a:gd name="T101" fmla="*/ 0 h 7433340"/>
              <a:gd name="T102" fmla="*/ 0 w 7334264"/>
              <a:gd name="T103" fmla="*/ 0 h 7433340"/>
              <a:gd name="T104" fmla="*/ 0 w 7334264"/>
              <a:gd name="T105" fmla="*/ 0 h 7433340"/>
              <a:gd name="T106" fmla="*/ 0 w 7334264"/>
              <a:gd name="T107" fmla="*/ 0 h 7433340"/>
              <a:gd name="T108" fmla="*/ 0 w 7334264"/>
              <a:gd name="T109" fmla="*/ 0 h 7433340"/>
              <a:gd name="T110" fmla="*/ 0 w 7334264"/>
              <a:gd name="T111" fmla="*/ 0 h 7433340"/>
              <a:gd name="T112" fmla="*/ 0 w 7334264"/>
              <a:gd name="T113" fmla="*/ 0 h 7433340"/>
              <a:gd name="T114" fmla="*/ 0 w 7334264"/>
              <a:gd name="T115" fmla="*/ 0 h 7433340"/>
              <a:gd name="T116" fmla="*/ 0 w 7334264"/>
              <a:gd name="T117" fmla="*/ 0 h 7433340"/>
              <a:gd name="T118" fmla="*/ 0 w 7334264"/>
              <a:gd name="T119" fmla="*/ 0 h 7433340"/>
              <a:gd name="T120" fmla="*/ 0 w 7334264"/>
              <a:gd name="T121" fmla="*/ 0 h 7433340"/>
              <a:gd name="T122" fmla="*/ 0 w 7334264"/>
              <a:gd name="T123" fmla="*/ 0 h 7433340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w 7334264"/>
              <a:gd name="T187" fmla="*/ 0 h 7433340"/>
              <a:gd name="T188" fmla="*/ 7334264 w 7334264"/>
              <a:gd name="T189" fmla="*/ 7433340 h 7433340"/>
            </a:gdLst>
            <a:ahLst/>
            <a:cxnLst>
              <a:cxn ang="T124">
                <a:pos x="T0" y="T1"/>
              </a:cxn>
              <a:cxn ang="T125">
                <a:pos x="T2" y="T3"/>
              </a:cxn>
              <a:cxn ang="T126">
                <a:pos x="T4" y="T5"/>
              </a:cxn>
              <a:cxn ang="T127">
                <a:pos x="T6" y="T7"/>
              </a:cxn>
              <a:cxn ang="T128">
                <a:pos x="T8" y="T9"/>
              </a:cxn>
              <a:cxn ang="T129">
                <a:pos x="T10" y="T11"/>
              </a:cxn>
              <a:cxn ang="T130">
                <a:pos x="T12" y="T13"/>
              </a:cxn>
              <a:cxn ang="T131">
                <a:pos x="T14" y="T15"/>
              </a:cxn>
              <a:cxn ang="T132">
                <a:pos x="T16" y="T17"/>
              </a:cxn>
              <a:cxn ang="T133">
                <a:pos x="T18" y="T19"/>
              </a:cxn>
              <a:cxn ang="T134">
                <a:pos x="T20" y="T21"/>
              </a:cxn>
              <a:cxn ang="T135">
                <a:pos x="T22" y="T23"/>
              </a:cxn>
              <a:cxn ang="T136">
                <a:pos x="T24" y="T25"/>
              </a:cxn>
              <a:cxn ang="T137">
                <a:pos x="T26" y="T27"/>
              </a:cxn>
              <a:cxn ang="T138">
                <a:pos x="T28" y="T29"/>
              </a:cxn>
              <a:cxn ang="T139">
                <a:pos x="T30" y="T31"/>
              </a:cxn>
              <a:cxn ang="T140">
                <a:pos x="T32" y="T33"/>
              </a:cxn>
              <a:cxn ang="T141">
                <a:pos x="T34" y="T35"/>
              </a:cxn>
              <a:cxn ang="T142">
                <a:pos x="T36" y="T37"/>
              </a:cxn>
              <a:cxn ang="T143">
                <a:pos x="T38" y="T39"/>
              </a:cxn>
              <a:cxn ang="T144">
                <a:pos x="T40" y="T41"/>
              </a:cxn>
              <a:cxn ang="T145">
                <a:pos x="T42" y="T43"/>
              </a:cxn>
              <a:cxn ang="T146">
                <a:pos x="T44" y="T45"/>
              </a:cxn>
              <a:cxn ang="T147">
                <a:pos x="T46" y="T47"/>
              </a:cxn>
              <a:cxn ang="T148">
                <a:pos x="T48" y="T49"/>
              </a:cxn>
              <a:cxn ang="T149">
                <a:pos x="T50" y="T51"/>
              </a:cxn>
              <a:cxn ang="T150">
                <a:pos x="T52" y="T53"/>
              </a:cxn>
              <a:cxn ang="T151">
                <a:pos x="T54" y="T55"/>
              </a:cxn>
              <a:cxn ang="T152">
                <a:pos x="T56" y="T57"/>
              </a:cxn>
              <a:cxn ang="T153">
                <a:pos x="T58" y="T59"/>
              </a:cxn>
              <a:cxn ang="T154">
                <a:pos x="T60" y="T61"/>
              </a:cxn>
              <a:cxn ang="T155">
                <a:pos x="T62" y="T63"/>
              </a:cxn>
              <a:cxn ang="T156">
                <a:pos x="T64" y="T65"/>
              </a:cxn>
              <a:cxn ang="T157">
                <a:pos x="T66" y="T67"/>
              </a:cxn>
              <a:cxn ang="T158">
                <a:pos x="T68" y="T69"/>
              </a:cxn>
              <a:cxn ang="T159">
                <a:pos x="T70" y="T71"/>
              </a:cxn>
              <a:cxn ang="T160">
                <a:pos x="T72" y="T73"/>
              </a:cxn>
              <a:cxn ang="T161">
                <a:pos x="T74" y="T75"/>
              </a:cxn>
              <a:cxn ang="T162">
                <a:pos x="T76" y="T77"/>
              </a:cxn>
              <a:cxn ang="T163">
                <a:pos x="T78" y="T79"/>
              </a:cxn>
              <a:cxn ang="T164">
                <a:pos x="T80" y="T81"/>
              </a:cxn>
              <a:cxn ang="T165">
                <a:pos x="T82" y="T83"/>
              </a:cxn>
              <a:cxn ang="T166">
                <a:pos x="T84" y="T85"/>
              </a:cxn>
              <a:cxn ang="T167">
                <a:pos x="T86" y="T87"/>
              </a:cxn>
              <a:cxn ang="T168">
                <a:pos x="T88" y="T89"/>
              </a:cxn>
              <a:cxn ang="T169">
                <a:pos x="T90" y="T91"/>
              </a:cxn>
              <a:cxn ang="T170">
                <a:pos x="T92" y="T93"/>
              </a:cxn>
              <a:cxn ang="T171">
                <a:pos x="T94" y="T95"/>
              </a:cxn>
              <a:cxn ang="T172">
                <a:pos x="T96" y="T97"/>
              </a:cxn>
              <a:cxn ang="T173">
                <a:pos x="T98" y="T99"/>
              </a:cxn>
              <a:cxn ang="T174">
                <a:pos x="T100" y="T101"/>
              </a:cxn>
              <a:cxn ang="T175">
                <a:pos x="T102" y="T103"/>
              </a:cxn>
              <a:cxn ang="T176">
                <a:pos x="T104" y="T105"/>
              </a:cxn>
              <a:cxn ang="T177">
                <a:pos x="T106" y="T107"/>
              </a:cxn>
              <a:cxn ang="T178">
                <a:pos x="T108" y="T109"/>
              </a:cxn>
              <a:cxn ang="T179">
                <a:pos x="T110" y="T111"/>
              </a:cxn>
              <a:cxn ang="T180">
                <a:pos x="T112" y="T113"/>
              </a:cxn>
              <a:cxn ang="T181">
                <a:pos x="T114" y="T115"/>
              </a:cxn>
              <a:cxn ang="T182">
                <a:pos x="T116" y="T117"/>
              </a:cxn>
              <a:cxn ang="T183">
                <a:pos x="T118" y="T119"/>
              </a:cxn>
              <a:cxn ang="T184">
                <a:pos x="T120" y="T121"/>
              </a:cxn>
              <a:cxn ang="T185">
                <a:pos x="T122" y="T123"/>
              </a:cxn>
            </a:cxnLst>
            <a:rect l="T186" t="T187" r="T188" b="T189"/>
            <a:pathLst>
              <a:path w="7334264" h="7433340">
                <a:moveTo>
                  <a:pt x="6059216" y="0"/>
                </a:moveTo>
                <a:lnTo>
                  <a:pt x="6060750" y="337"/>
                </a:lnTo>
                <a:lnTo>
                  <a:pt x="6064582" y="0"/>
                </a:lnTo>
                <a:lnTo>
                  <a:pt x="6064546" y="1171"/>
                </a:lnTo>
                <a:lnTo>
                  <a:pt x="6107134" y="10526"/>
                </a:lnTo>
                <a:lnTo>
                  <a:pt x="6149590" y="26573"/>
                </a:lnTo>
                <a:lnTo>
                  <a:pt x="6197624" y="37369"/>
                </a:lnTo>
                <a:cubicBezTo>
                  <a:pt x="6206502" y="51486"/>
                  <a:pt x="6215322" y="65623"/>
                  <a:pt x="6224200" y="79740"/>
                </a:cubicBezTo>
                <a:lnTo>
                  <a:pt x="6224200" y="111815"/>
                </a:lnTo>
                <a:lnTo>
                  <a:pt x="6250722" y="122361"/>
                </a:lnTo>
                <a:lnTo>
                  <a:pt x="6277298" y="154456"/>
                </a:lnTo>
                <a:lnTo>
                  <a:pt x="6309226" y="186282"/>
                </a:lnTo>
                <a:lnTo>
                  <a:pt x="6330568" y="207602"/>
                </a:lnTo>
                <a:lnTo>
                  <a:pt x="6341152" y="186282"/>
                </a:lnTo>
                <a:lnTo>
                  <a:pt x="6378316" y="170234"/>
                </a:lnTo>
                <a:lnTo>
                  <a:pt x="6420772" y="170234"/>
                </a:lnTo>
                <a:cubicBezTo>
                  <a:pt x="6426234" y="157965"/>
                  <a:pt x="6431414" y="145425"/>
                  <a:pt x="6436820" y="133135"/>
                </a:cubicBezTo>
                <a:lnTo>
                  <a:pt x="6458162" y="111815"/>
                </a:lnTo>
                <a:lnTo>
                  <a:pt x="6489918" y="117088"/>
                </a:lnTo>
                <a:lnTo>
                  <a:pt x="6511260" y="133135"/>
                </a:lnTo>
                <a:lnTo>
                  <a:pt x="6543300" y="159708"/>
                </a:lnTo>
                <a:cubicBezTo>
                  <a:pt x="6548650" y="152692"/>
                  <a:pt x="6553830" y="145425"/>
                  <a:pt x="6559236" y="138408"/>
                </a:cubicBezTo>
                <a:cubicBezTo>
                  <a:pt x="6557472" y="125869"/>
                  <a:pt x="6555594" y="113579"/>
                  <a:pt x="6553830" y="101040"/>
                </a:cubicBezTo>
                <a:lnTo>
                  <a:pt x="6575228" y="106562"/>
                </a:lnTo>
                <a:lnTo>
                  <a:pt x="6617798" y="143661"/>
                </a:lnTo>
                <a:cubicBezTo>
                  <a:pt x="6621326" y="134796"/>
                  <a:pt x="6624798" y="125952"/>
                  <a:pt x="6628326" y="117088"/>
                </a:cubicBezTo>
                <a:cubicBezTo>
                  <a:pt x="6621212" y="79740"/>
                  <a:pt x="6614042" y="42621"/>
                  <a:pt x="6606928" y="5273"/>
                </a:cubicBezTo>
                <a:lnTo>
                  <a:pt x="6615614" y="21002"/>
                </a:lnTo>
                <a:lnTo>
                  <a:pt x="6632944" y="33468"/>
                </a:lnTo>
                <a:cubicBezTo>
                  <a:pt x="6634014" y="37303"/>
                  <a:pt x="6635154" y="41254"/>
                  <a:pt x="6636224" y="45089"/>
                </a:cubicBezTo>
                <a:lnTo>
                  <a:pt x="6658686" y="42997"/>
                </a:lnTo>
                <a:lnTo>
                  <a:pt x="6682290" y="36606"/>
                </a:lnTo>
                <a:lnTo>
                  <a:pt x="6697336" y="33468"/>
                </a:lnTo>
                <a:lnTo>
                  <a:pt x="6729496" y="33468"/>
                </a:lnTo>
                <a:lnTo>
                  <a:pt x="6759516" y="32422"/>
                </a:lnTo>
                <a:lnTo>
                  <a:pt x="6774564" y="35560"/>
                </a:lnTo>
                <a:cubicBezTo>
                  <a:pt x="6775990" y="40905"/>
                  <a:pt x="6777344" y="46135"/>
                  <a:pt x="6778842" y="51480"/>
                </a:cubicBezTo>
                <a:lnTo>
                  <a:pt x="6778842" y="67400"/>
                </a:lnTo>
                <a:lnTo>
                  <a:pt x="6778842" y="83204"/>
                </a:lnTo>
                <a:lnTo>
                  <a:pt x="6787398" y="97032"/>
                </a:lnTo>
                <a:cubicBezTo>
                  <a:pt x="6789538" y="100867"/>
                  <a:pt x="6791678" y="104818"/>
                  <a:pt x="6793816" y="108653"/>
                </a:cubicBezTo>
                <a:lnTo>
                  <a:pt x="6807722" y="118182"/>
                </a:lnTo>
                <a:lnTo>
                  <a:pt x="6829256" y="118182"/>
                </a:lnTo>
                <a:lnTo>
                  <a:pt x="6846370" y="118182"/>
                </a:lnTo>
                <a:lnTo>
                  <a:pt x="6870972" y="118182"/>
                </a:lnTo>
                <a:cubicBezTo>
                  <a:pt x="6871328" y="122365"/>
                  <a:pt x="6871756" y="126664"/>
                  <a:pt x="6872114" y="130848"/>
                </a:cubicBezTo>
                <a:lnTo>
                  <a:pt x="6883950" y="135031"/>
                </a:lnTo>
                <a:lnTo>
                  <a:pt x="6891366" y="149905"/>
                </a:lnTo>
                <a:cubicBezTo>
                  <a:pt x="6895644" y="158388"/>
                  <a:pt x="6899994" y="166755"/>
                  <a:pt x="6904274" y="175238"/>
                </a:cubicBezTo>
                <a:lnTo>
                  <a:pt x="6919248" y="163618"/>
                </a:lnTo>
                <a:lnTo>
                  <a:pt x="6941852" y="185929"/>
                </a:lnTo>
                <a:lnTo>
                  <a:pt x="6965384" y="192204"/>
                </a:lnTo>
                <a:cubicBezTo>
                  <a:pt x="6967168" y="200338"/>
                  <a:pt x="6969022" y="208473"/>
                  <a:pt x="6970732" y="216607"/>
                </a:cubicBezTo>
                <a:lnTo>
                  <a:pt x="6994336" y="230319"/>
                </a:lnTo>
                <a:lnTo>
                  <a:pt x="7026568" y="257860"/>
                </a:lnTo>
                <a:lnTo>
                  <a:pt x="7026568" y="280055"/>
                </a:lnTo>
                <a:lnTo>
                  <a:pt x="7000754" y="295975"/>
                </a:lnTo>
                <a:lnTo>
                  <a:pt x="6980360" y="306549"/>
                </a:lnTo>
                <a:lnTo>
                  <a:pt x="6949270" y="327699"/>
                </a:lnTo>
                <a:lnTo>
                  <a:pt x="6912830" y="327699"/>
                </a:lnTo>
                <a:lnTo>
                  <a:pt x="6894576" y="341411"/>
                </a:lnTo>
                <a:cubicBezTo>
                  <a:pt x="6892080" y="352683"/>
                  <a:pt x="6889656" y="364071"/>
                  <a:pt x="6887160" y="375343"/>
                </a:cubicBezTo>
                <a:cubicBezTo>
                  <a:pt x="6889656" y="395446"/>
                  <a:pt x="6892080" y="415549"/>
                  <a:pt x="6894576" y="435653"/>
                </a:cubicBezTo>
                <a:cubicBezTo>
                  <a:pt x="6891010" y="447273"/>
                  <a:pt x="6887516" y="458894"/>
                  <a:pt x="6883950" y="470514"/>
                </a:cubicBezTo>
                <a:lnTo>
                  <a:pt x="6854928" y="500146"/>
                </a:lnTo>
                <a:lnTo>
                  <a:pt x="6816278" y="525595"/>
                </a:lnTo>
                <a:lnTo>
                  <a:pt x="6806652" y="554182"/>
                </a:lnTo>
                <a:lnTo>
                  <a:pt x="6803444" y="582768"/>
                </a:lnTo>
                <a:lnTo>
                  <a:pt x="6778842" y="598572"/>
                </a:lnTo>
                <a:cubicBezTo>
                  <a:pt x="6778484" y="602523"/>
                  <a:pt x="6778128" y="606358"/>
                  <a:pt x="6777772" y="610309"/>
                </a:cubicBezTo>
                <a:lnTo>
                  <a:pt x="6758448" y="639941"/>
                </a:lnTo>
                <a:cubicBezTo>
                  <a:pt x="6757378" y="652607"/>
                  <a:pt x="6756308" y="665390"/>
                  <a:pt x="6755168" y="678056"/>
                </a:cubicBezTo>
                <a:lnTo>
                  <a:pt x="6735914" y="705480"/>
                </a:lnTo>
                <a:cubicBezTo>
                  <a:pt x="6733774" y="711871"/>
                  <a:pt x="6731564" y="718147"/>
                  <a:pt x="6729496" y="724538"/>
                </a:cubicBezTo>
                <a:lnTo>
                  <a:pt x="6729496" y="775319"/>
                </a:lnTo>
                <a:lnTo>
                  <a:pt x="6742332" y="816688"/>
                </a:lnTo>
                <a:lnTo>
                  <a:pt x="6753028" y="829354"/>
                </a:lnTo>
                <a:lnTo>
                  <a:pt x="6771282" y="827263"/>
                </a:lnTo>
                <a:lnTo>
                  <a:pt x="6790608" y="827263"/>
                </a:lnTo>
                <a:lnTo>
                  <a:pt x="6804512" y="829354"/>
                </a:lnTo>
                <a:cubicBezTo>
                  <a:pt x="6806652" y="834700"/>
                  <a:pt x="6808862" y="839929"/>
                  <a:pt x="6811002" y="845275"/>
                </a:cubicBezTo>
                <a:lnTo>
                  <a:pt x="6801304" y="855849"/>
                </a:lnTo>
                <a:lnTo>
                  <a:pt x="6787398" y="865378"/>
                </a:lnTo>
                <a:cubicBezTo>
                  <a:pt x="6788468" y="876650"/>
                  <a:pt x="6789466" y="887922"/>
                  <a:pt x="6790608" y="899194"/>
                </a:cubicBezTo>
                <a:lnTo>
                  <a:pt x="6791678" y="924642"/>
                </a:lnTo>
                <a:lnTo>
                  <a:pt x="6809860" y="943584"/>
                </a:lnTo>
                <a:lnTo>
                  <a:pt x="6833464" y="953113"/>
                </a:lnTo>
                <a:lnTo>
                  <a:pt x="6859206" y="953113"/>
                </a:lnTo>
                <a:lnTo>
                  <a:pt x="6881740" y="962641"/>
                </a:lnTo>
                <a:lnTo>
                  <a:pt x="6896786" y="979607"/>
                </a:lnTo>
                <a:lnTo>
                  <a:pt x="6920390" y="982745"/>
                </a:lnTo>
                <a:lnTo>
                  <a:pt x="6961106" y="973332"/>
                </a:lnTo>
                <a:lnTo>
                  <a:pt x="6990058" y="972170"/>
                </a:lnTo>
                <a:lnTo>
                  <a:pt x="7023358" y="966941"/>
                </a:lnTo>
                <a:lnTo>
                  <a:pt x="7064076" y="959504"/>
                </a:lnTo>
                <a:lnTo>
                  <a:pt x="7087680" y="959504"/>
                </a:lnTo>
                <a:lnTo>
                  <a:pt x="7112280" y="973332"/>
                </a:lnTo>
                <a:lnTo>
                  <a:pt x="7139092" y="982745"/>
                </a:lnTo>
                <a:lnTo>
                  <a:pt x="7160556" y="984953"/>
                </a:lnTo>
                <a:lnTo>
                  <a:pt x="7176600" y="995527"/>
                </a:lnTo>
                <a:cubicBezTo>
                  <a:pt x="7178812" y="1003662"/>
                  <a:pt x="7180880" y="1011680"/>
                  <a:pt x="7183090" y="1019814"/>
                </a:cubicBezTo>
                <a:lnTo>
                  <a:pt x="7190578" y="1055838"/>
                </a:lnTo>
                <a:cubicBezTo>
                  <a:pt x="7194500" y="1061880"/>
                  <a:pt x="7198492" y="1067807"/>
                  <a:pt x="7202414" y="1073849"/>
                </a:cubicBezTo>
                <a:lnTo>
                  <a:pt x="7213110" y="1097090"/>
                </a:lnTo>
                <a:cubicBezTo>
                  <a:pt x="7214180" y="1111500"/>
                  <a:pt x="7215250" y="1126025"/>
                  <a:pt x="7216320" y="1140435"/>
                </a:cubicBezTo>
                <a:lnTo>
                  <a:pt x="7228086" y="1140435"/>
                </a:lnTo>
                <a:lnTo>
                  <a:pt x="7253900" y="1138343"/>
                </a:lnTo>
                <a:lnTo>
                  <a:pt x="7269944" y="1137297"/>
                </a:lnTo>
                <a:lnTo>
                  <a:pt x="7283848" y="1137297"/>
                </a:lnTo>
                <a:lnTo>
                  <a:pt x="7302032" y="1146826"/>
                </a:lnTo>
                <a:cubicBezTo>
                  <a:pt x="7305598" y="1154263"/>
                  <a:pt x="7309234" y="1161584"/>
                  <a:pt x="7312800" y="1169021"/>
                </a:cubicBezTo>
                <a:lnTo>
                  <a:pt x="7334264" y="1184941"/>
                </a:lnTo>
                <a:lnTo>
                  <a:pt x="7334264" y="1207257"/>
                </a:lnTo>
                <a:lnTo>
                  <a:pt x="7324662" y="1213564"/>
                </a:lnTo>
                <a:lnTo>
                  <a:pt x="7305414" y="1228482"/>
                </a:lnTo>
                <a:lnTo>
                  <a:pt x="7283012" y="1238064"/>
                </a:lnTo>
                <a:lnTo>
                  <a:pt x="7273364" y="1257106"/>
                </a:lnTo>
                <a:lnTo>
                  <a:pt x="7268016" y="1292157"/>
                </a:lnTo>
                <a:cubicBezTo>
                  <a:pt x="7267650" y="1302830"/>
                  <a:pt x="7267330" y="1313382"/>
                  <a:pt x="7266964" y="1324055"/>
                </a:cubicBezTo>
                <a:lnTo>
                  <a:pt x="7284064" y="1337882"/>
                </a:lnTo>
                <a:lnTo>
                  <a:pt x="7295814" y="1349525"/>
                </a:lnTo>
                <a:lnTo>
                  <a:pt x="7295814" y="1363352"/>
                </a:lnTo>
                <a:lnTo>
                  <a:pt x="7279766" y="1382515"/>
                </a:lnTo>
                <a:lnTo>
                  <a:pt x="7252014" y="1385668"/>
                </a:lnTo>
                <a:lnTo>
                  <a:pt x="7218912" y="1376086"/>
                </a:lnTo>
                <a:lnTo>
                  <a:pt x="7181514" y="1360198"/>
                </a:lnTo>
                <a:lnTo>
                  <a:pt x="7154814" y="1357045"/>
                </a:lnTo>
                <a:lnTo>
                  <a:pt x="7127016" y="1355953"/>
                </a:lnTo>
                <a:lnTo>
                  <a:pt x="7116362" y="1381423"/>
                </a:lnTo>
                <a:lnTo>
                  <a:pt x="7127016" y="1404831"/>
                </a:lnTo>
                <a:cubicBezTo>
                  <a:pt x="7128066" y="1409804"/>
                  <a:pt x="7129164" y="1414655"/>
                  <a:pt x="7130216" y="1419628"/>
                </a:cubicBezTo>
                <a:lnTo>
                  <a:pt x="7113162" y="1436608"/>
                </a:lnTo>
                <a:lnTo>
                  <a:pt x="7085364" y="1452617"/>
                </a:lnTo>
                <a:lnTo>
                  <a:pt x="7052264" y="1448372"/>
                </a:lnTo>
                <a:lnTo>
                  <a:pt x="7030866" y="1452617"/>
                </a:lnTo>
                <a:lnTo>
                  <a:pt x="7021264" y="1462078"/>
                </a:lnTo>
                <a:lnTo>
                  <a:pt x="7010612" y="1490822"/>
                </a:lnTo>
                <a:lnTo>
                  <a:pt x="6982814" y="1503557"/>
                </a:lnTo>
                <a:lnTo>
                  <a:pt x="6962514" y="1515201"/>
                </a:lnTo>
                <a:lnTo>
                  <a:pt x="6944364" y="1529027"/>
                </a:lnTo>
                <a:lnTo>
                  <a:pt x="6944364" y="1554497"/>
                </a:lnTo>
                <a:lnTo>
                  <a:pt x="6917664" y="1567232"/>
                </a:lnTo>
                <a:lnTo>
                  <a:pt x="6895216" y="1562987"/>
                </a:lnTo>
                <a:lnTo>
                  <a:pt x="6880264" y="1573660"/>
                </a:lnTo>
                <a:cubicBezTo>
                  <a:pt x="6879898" y="1581058"/>
                  <a:pt x="6879578" y="1588578"/>
                  <a:pt x="6879214" y="1595977"/>
                </a:cubicBezTo>
                <a:cubicBezTo>
                  <a:pt x="6878482" y="1604467"/>
                  <a:pt x="6877796" y="1612957"/>
                  <a:pt x="6877064" y="1621446"/>
                </a:cubicBezTo>
                <a:lnTo>
                  <a:pt x="6885614" y="1640610"/>
                </a:lnTo>
                <a:lnTo>
                  <a:pt x="6896312" y="1652253"/>
                </a:lnTo>
                <a:lnTo>
                  <a:pt x="6921916" y="1646916"/>
                </a:lnTo>
                <a:lnTo>
                  <a:pt x="6943312" y="1656498"/>
                </a:lnTo>
                <a:lnTo>
                  <a:pt x="6953966" y="1671416"/>
                </a:lnTo>
                <a:cubicBezTo>
                  <a:pt x="6955016" y="1679178"/>
                  <a:pt x="6956114" y="1686940"/>
                  <a:pt x="6957166" y="1694703"/>
                </a:cubicBezTo>
                <a:cubicBezTo>
                  <a:pt x="6956114" y="1702829"/>
                  <a:pt x="6955016" y="1711076"/>
                  <a:pt x="6953966" y="1719202"/>
                </a:cubicBezTo>
                <a:lnTo>
                  <a:pt x="6940112" y="1729754"/>
                </a:lnTo>
                <a:lnTo>
                  <a:pt x="6924064" y="1726601"/>
                </a:lnTo>
                <a:lnTo>
                  <a:pt x="6908062" y="1732908"/>
                </a:lnTo>
                <a:lnTo>
                  <a:pt x="6893066" y="1748917"/>
                </a:lnTo>
                <a:lnTo>
                  <a:pt x="6883464" y="1780694"/>
                </a:lnTo>
                <a:lnTo>
                  <a:pt x="6883464" y="1803010"/>
                </a:lnTo>
                <a:lnTo>
                  <a:pt x="6902714" y="1809439"/>
                </a:lnTo>
                <a:lnTo>
                  <a:pt x="6920864" y="1815745"/>
                </a:lnTo>
                <a:lnTo>
                  <a:pt x="6946512" y="1840245"/>
                </a:lnTo>
                <a:lnTo>
                  <a:pt x="6962514" y="1862562"/>
                </a:lnTo>
                <a:lnTo>
                  <a:pt x="6976414" y="1881603"/>
                </a:lnTo>
                <a:lnTo>
                  <a:pt x="6994564" y="1888031"/>
                </a:lnTo>
                <a:lnTo>
                  <a:pt x="7000966" y="1911318"/>
                </a:lnTo>
                <a:cubicBezTo>
                  <a:pt x="7000280" y="1917746"/>
                  <a:pt x="6999548" y="1924053"/>
                  <a:pt x="6998862" y="1930481"/>
                </a:cubicBezTo>
                <a:lnTo>
                  <a:pt x="6992416" y="1955951"/>
                </a:lnTo>
                <a:lnTo>
                  <a:pt x="6968916" y="1984696"/>
                </a:lnTo>
                <a:lnTo>
                  <a:pt x="6959314" y="2012227"/>
                </a:lnTo>
                <a:cubicBezTo>
                  <a:pt x="6958262" y="2021081"/>
                  <a:pt x="6957166" y="2029935"/>
                  <a:pt x="6956114" y="2038789"/>
                </a:cubicBezTo>
                <a:lnTo>
                  <a:pt x="6978562" y="2064259"/>
                </a:lnTo>
                <a:lnTo>
                  <a:pt x="6992416" y="2079177"/>
                </a:lnTo>
                <a:lnTo>
                  <a:pt x="7008464" y="2098340"/>
                </a:lnTo>
                <a:lnTo>
                  <a:pt x="7023414" y="2112045"/>
                </a:lnTo>
                <a:lnTo>
                  <a:pt x="7039416" y="2123810"/>
                </a:lnTo>
                <a:lnTo>
                  <a:pt x="7059716" y="2124901"/>
                </a:lnTo>
                <a:lnTo>
                  <a:pt x="7084312" y="2126963"/>
                </a:lnTo>
                <a:lnTo>
                  <a:pt x="7104612" y="2140790"/>
                </a:lnTo>
                <a:lnTo>
                  <a:pt x="7117414" y="2149280"/>
                </a:lnTo>
                <a:lnTo>
                  <a:pt x="7123816" y="2166260"/>
                </a:lnTo>
                <a:lnTo>
                  <a:pt x="7123816" y="2187485"/>
                </a:lnTo>
                <a:lnTo>
                  <a:pt x="7111014" y="2210893"/>
                </a:lnTo>
                <a:cubicBezTo>
                  <a:pt x="7109596" y="2216957"/>
                  <a:pt x="7108132" y="2222900"/>
                  <a:pt x="7106716" y="2228964"/>
                </a:cubicBezTo>
                <a:lnTo>
                  <a:pt x="7114214" y="2239516"/>
                </a:lnTo>
                <a:lnTo>
                  <a:pt x="7125964" y="2242791"/>
                </a:lnTo>
                <a:lnTo>
                  <a:pt x="7143064" y="2245944"/>
                </a:lnTo>
                <a:lnTo>
                  <a:pt x="7159064" y="2264016"/>
                </a:lnTo>
                <a:lnTo>
                  <a:pt x="7159064" y="2284149"/>
                </a:lnTo>
                <a:lnTo>
                  <a:pt x="7148412" y="2295792"/>
                </a:lnTo>
                <a:lnTo>
                  <a:pt x="7127016" y="2295792"/>
                </a:lnTo>
                <a:lnTo>
                  <a:pt x="7104612" y="2286332"/>
                </a:lnTo>
                <a:lnTo>
                  <a:pt x="7072562" y="2283057"/>
                </a:lnTo>
                <a:lnTo>
                  <a:pt x="7055464" y="2300037"/>
                </a:lnTo>
                <a:lnTo>
                  <a:pt x="7055464" y="2321384"/>
                </a:lnTo>
                <a:lnTo>
                  <a:pt x="7043714" y="2340425"/>
                </a:lnTo>
                <a:cubicBezTo>
                  <a:pt x="7044766" y="2349279"/>
                  <a:pt x="7045862" y="2358133"/>
                  <a:pt x="7046914" y="2366987"/>
                </a:cubicBezTo>
                <a:lnTo>
                  <a:pt x="7052264" y="2386150"/>
                </a:lnTo>
                <a:lnTo>
                  <a:pt x="7050248" y="2389817"/>
                </a:lnTo>
                <a:lnTo>
                  <a:pt x="7054864" y="2397792"/>
                </a:lnTo>
                <a:lnTo>
                  <a:pt x="7045070" y="2404120"/>
                </a:lnTo>
                <a:lnTo>
                  <a:pt x="6999490" y="2429697"/>
                </a:lnTo>
                <a:lnTo>
                  <a:pt x="6977746" y="2443563"/>
                </a:lnTo>
                <a:cubicBezTo>
                  <a:pt x="6977376" y="2453929"/>
                  <a:pt x="6977008" y="2464160"/>
                  <a:pt x="6976638" y="2474526"/>
                </a:cubicBezTo>
                <a:lnTo>
                  <a:pt x="6987540" y="2491488"/>
                </a:lnTo>
                <a:lnTo>
                  <a:pt x="7002692" y="2509662"/>
                </a:lnTo>
                <a:lnTo>
                  <a:pt x="7002692" y="2520297"/>
                </a:lnTo>
                <a:lnTo>
                  <a:pt x="6979902" y="2536182"/>
                </a:lnTo>
                <a:lnTo>
                  <a:pt x="6953848" y="2545874"/>
                </a:lnTo>
                <a:lnTo>
                  <a:pt x="6914734" y="2542644"/>
                </a:lnTo>
                <a:lnTo>
                  <a:pt x="6886462" y="2532009"/>
                </a:lnTo>
                <a:lnTo>
                  <a:pt x="6873466" y="2512758"/>
                </a:lnTo>
                <a:lnTo>
                  <a:pt x="6857144" y="2487315"/>
                </a:lnTo>
                <a:lnTo>
                  <a:pt x="6824560" y="2484084"/>
                </a:lnTo>
                <a:lnTo>
                  <a:pt x="6801770" y="2491488"/>
                </a:lnTo>
                <a:lnTo>
                  <a:pt x="6784338" y="2501046"/>
                </a:lnTo>
                <a:cubicBezTo>
                  <a:pt x="6785816" y="2511412"/>
                  <a:pt x="6787234" y="2521643"/>
                  <a:pt x="6788712" y="2532009"/>
                </a:cubicBezTo>
                <a:lnTo>
                  <a:pt x="6788712" y="2551125"/>
                </a:lnTo>
                <a:lnTo>
                  <a:pt x="6777872" y="2561760"/>
                </a:lnTo>
                <a:lnTo>
                  <a:pt x="6762658" y="2571452"/>
                </a:lnTo>
                <a:lnTo>
                  <a:pt x="6769186" y="2599049"/>
                </a:lnTo>
                <a:lnTo>
                  <a:pt x="6751756" y="2608607"/>
                </a:lnTo>
                <a:lnTo>
                  <a:pt x="6733338" y="2609684"/>
                </a:lnTo>
                <a:lnTo>
                  <a:pt x="6713752" y="2627858"/>
                </a:lnTo>
                <a:lnTo>
                  <a:pt x="6690960" y="2644820"/>
                </a:lnTo>
                <a:lnTo>
                  <a:pt x="6631214" y="2641724"/>
                </a:lnTo>
                <a:lnTo>
                  <a:pt x="6616000" y="2650205"/>
                </a:lnTo>
                <a:cubicBezTo>
                  <a:pt x="6614522" y="2657609"/>
                  <a:pt x="6613104" y="2665148"/>
                  <a:pt x="6611626" y="2672552"/>
                </a:cubicBezTo>
                <a:cubicBezTo>
                  <a:pt x="6612736" y="2685341"/>
                  <a:pt x="6613782" y="2698130"/>
                  <a:pt x="6614892" y="2710918"/>
                </a:cubicBezTo>
                <a:cubicBezTo>
                  <a:pt x="6616000" y="2718323"/>
                  <a:pt x="6617048" y="2725861"/>
                  <a:pt x="6618156" y="2733265"/>
                </a:cubicBezTo>
                <a:lnTo>
                  <a:pt x="6642054" y="2739727"/>
                </a:lnTo>
                <a:lnTo>
                  <a:pt x="6670326" y="2736496"/>
                </a:lnTo>
                <a:lnTo>
                  <a:pt x="6689852" y="2737573"/>
                </a:lnTo>
                <a:lnTo>
                  <a:pt x="6702910" y="2746054"/>
                </a:lnTo>
                <a:cubicBezTo>
                  <a:pt x="6706174" y="2753458"/>
                  <a:pt x="6709378" y="2760997"/>
                  <a:pt x="6712642" y="2768401"/>
                </a:cubicBezTo>
                <a:lnTo>
                  <a:pt x="6723544" y="2806768"/>
                </a:lnTo>
                <a:lnTo>
                  <a:pt x="6713752" y="2836519"/>
                </a:lnTo>
                <a:lnTo>
                  <a:pt x="6686588" y="2855769"/>
                </a:lnTo>
                <a:lnTo>
                  <a:pt x="6660532" y="2845135"/>
                </a:lnTo>
                <a:lnTo>
                  <a:pt x="6645320" y="2826961"/>
                </a:lnTo>
                <a:lnTo>
                  <a:pt x="6621420" y="2819557"/>
                </a:lnTo>
                <a:lnTo>
                  <a:pt x="6602942" y="2842981"/>
                </a:lnTo>
                <a:cubicBezTo>
                  <a:pt x="6604050" y="2854693"/>
                  <a:pt x="6605098" y="2866404"/>
                  <a:pt x="6606206" y="2878116"/>
                </a:cubicBezTo>
                <a:lnTo>
                  <a:pt x="6592102" y="2883501"/>
                </a:lnTo>
                <a:lnTo>
                  <a:pt x="6560564" y="2893059"/>
                </a:lnTo>
                <a:lnTo>
                  <a:pt x="6517140" y="2913252"/>
                </a:lnTo>
                <a:lnTo>
                  <a:pt x="6471498" y="2919714"/>
                </a:lnTo>
                <a:lnTo>
                  <a:pt x="6449756" y="2924964"/>
                </a:lnTo>
                <a:cubicBezTo>
                  <a:pt x="6446492" y="2930618"/>
                  <a:pt x="6443288" y="2936407"/>
                  <a:pt x="6440024" y="2942061"/>
                </a:cubicBezTo>
                <a:lnTo>
                  <a:pt x="6453020" y="2973966"/>
                </a:lnTo>
                <a:lnTo>
                  <a:pt x="6482340" y="3014486"/>
                </a:lnTo>
                <a:cubicBezTo>
                  <a:pt x="6481292" y="3025121"/>
                  <a:pt x="6480184" y="3035756"/>
                  <a:pt x="6479136" y="3046391"/>
                </a:cubicBezTo>
                <a:lnTo>
                  <a:pt x="6462814" y="3078296"/>
                </a:lnTo>
                <a:lnTo>
                  <a:pt x="6438914" y="3108182"/>
                </a:lnTo>
                <a:lnTo>
                  <a:pt x="6449756" y="3135914"/>
                </a:lnTo>
                <a:lnTo>
                  <a:pt x="6472608" y="3158261"/>
                </a:lnTo>
                <a:lnTo>
                  <a:pt x="6484556" y="3202954"/>
                </a:lnTo>
                <a:lnTo>
                  <a:pt x="6501926" y="3226378"/>
                </a:lnTo>
                <a:cubicBezTo>
                  <a:pt x="6505930" y="3236609"/>
                  <a:pt x="6509872" y="3246975"/>
                  <a:pt x="6513876" y="3257206"/>
                </a:cubicBezTo>
                <a:lnTo>
                  <a:pt x="6526934" y="3277534"/>
                </a:lnTo>
                <a:cubicBezTo>
                  <a:pt x="6530568" y="3286015"/>
                  <a:pt x="6534140" y="3294630"/>
                  <a:pt x="6537774" y="3303112"/>
                </a:cubicBezTo>
                <a:cubicBezTo>
                  <a:pt x="6539930" y="3313343"/>
                  <a:pt x="6542148" y="3323708"/>
                  <a:pt x="6544304" y="3333940"/>
                </a:cubicBezTo>
                <a:lnTo>
                  <a:pt x="6559518" y="3349959"/>
                </a:lnTo>
                <a:lnTo>
                  <a:pt x="6593148" y="3369075"/>
                </a:lnTo>
                <a:lnTo>
                  <a:pt x="6616000" y="3394653"/>
                </a:lnTo>
                <a:lnTo>
                  <a:pt x="6637744" y="3413769"/>
                </a:lnTo>
                <a:lnTo>
                  <a:pt x="6661642" y="3437328"/>
                </a:lnTo>
                <a:lnTo>
                  <a:pt x="6699646" y="3455367"/>
                </a:lnTo>
                <a:lnTo>
                  <a:pt x="6725700" y="3468156"/>
                </a:lnTo>
                <a:lnTo>
                  <a:pt x="6752864" y="3485252"/>
                </a:lnTo>
                <a:cubicBezTo>
                  <a:pt x="6753972" y="3490502"/>
                  <a:pt x="6755020" y="3495887"/>
                  <a:pt x="6756128" y="3501138"/>
                </a:cubicBezTo>
                <a:lnTo>
                  <a:pt x="6742024" y="3509618"/>
                </a:lnTo>
                <a:lnTo>
                  <a:pt x="6725700" y="3519311"/>
                </a:lnTo>
                <a:lnTo>
                  <a:pt x="6717016" y="3533177"/>
                </a:lnTo>
                <a:lnTo>
                  <a:pt x="6725700" y="3558620"/>
                </a:lnTo>
                <a:lnTo>
                  <a:pt x="6742024" y="3581102"/>
                </a:lnTo>
                <a:lnTo>
                  <a:pt x="6762658" y="3603449"/>
                </a:lnTo>
                <a:lnTo>
                  <a:pt x="6781136" y="3632123"/>
                </a:lnTo>
                <a:cubicBezTo>
                  <a:pt x="6778240" y="3644912"/>
                  <a:pt x="6775284" y="3657700"/>
                  <a:pt x="6772390" y="3670490"/>
                </a:cubicBezTo>
                <a:lnTo>
                  <a:pt x="6752864" y="3686509"/>
                </a:lnTo>
                <a:lnTo>
                  <a:pt x="6751756" y="3698221"/>
                </a:lnTo>
                <a:lnTo>
                  <a:pt x="6759392" y="3708856"/>
                </a:lnTo>
                <a:lnTo>
                  <a:pt x="6768078" y="3718414"/>
                </a:lnTo>
                <a:lnTo>
                  <a:pt x="6777872" y="3743992"/>
                </a:lnTo>
                <a:lnTo>
                  <a:pt x="6775778" y="3743730"/>
                </a:lnTo>
                <a:lnTo>
                  <a:pt x="6775944" y="3743993"/>
                </a:lnTo>
                <a:cubicBezTo>
                  <a:pt x="6777736" y="3747540"/>
                  <a:pt x="6774708" y="3751114"/>
                  <a:pt x="6776500" y="3754661"/>
                </a:cubicBezTo>
                <a:lnTo>
                  <a:pt x="6776500" y="3781331"/>
                </a:lnTo>
                <a:cubicBezTo>
                  <a:pt x="6778230" y="3788452"/>
                  <a:pt x="6780084" y="3795546"/>
                  <a:pt x="6781816" y="3802667"/>
                </a:cubicBezTo>
                <a:lnTo>
                  <a:pt x="6760494" y="3829337"/>
                </a:lnTo>
                <a:lnTo>
                  <a:pt x="6760494" y="3845339"/>
                </a:lnTo>
                <a:lnTo>
                  <a:pt x="6744548" y="3866675"/>
                </a:lnTo>
                <a:lnTo>
                  <a:pt x="6717910" y="3872009"/>
                </a:lnTo>
                <a:cubicBezTo>
                  <a:pt x="6712596" y="3864888"/>
                  <a:pt x="6707220" y="3857794"/>
                  <a:pt x="6701904" y="3850673"/>
                </a:cubicBezTo>
                <a:lnTo>
                  <a:pt x="6680582" y="3824003"/>
                </a:lnTo>
                <a:lnTo>
                  <a:pt x="6664636" y="3834671"/>
                </a:lnTo>
                <a:lnTo>
                  <a:pt x="6664636" y="3850673"/>
                </a:lnTo>
                <a:cubicBezTo>
                  <a:pt x="6661052" y="3856007"/>
                  <a:pt x="6657530" y="3861341"/>
                  <a:pt x="6653944" y="3866675"/>
                </a:cubicBezTo>
                <a:lnTo>
                  <a:pt x="6627308" y="3866675"/>
                </a:lnTo>
                <a:cubicBezTo>
                  <a:pt x="6623786" y="3859554"/>
                  <a:pt x="6620200" y="3852460"/>
                  <a:pt x="6616678" y="3845339"/>
                </a:cubicBezTo>
                <a:lnTo>
                  <a:pt x="6584664" y="3850673"/>
                </a:lnTo>
                <a:cubicBezTo>
                  <a:pt x="6582934" y="3857794"/>
                  <a:pt x="6581142" y="3864888"/>
                  <a:pt x="6579410" y="3872009"/>
                </a:cubicBezTo>
                <a:lnTo>
                  <a:pt x="6552712" y="3861341"/>
                </a:lnTo>
                <a:lnTo>
                  <a:pt x="6526076" y="3856007"/>
                </a:lnTo>
                <a:lnTo>
                  <a:pt x="6526076" y="3866675"/>
                </a:lnTo>
                <a:cubicBezTo>
                  <a:pt x="6524344" y="3873796"/>
                  <a:pt x="6522490" y="3880890"/>
                  <a:pt x="6520760" y="3888011"/>
                </a:cubicBezTo>
                <a:lnTo>
                  <a:pt x="6536766" y="3898679"/>
                </a:lnTo>
                <a:lnTo>
                  <a:pt x="6536766" y="3930683"/>
                </a:lnTo>
                <a:cubicBezTo>
                  <a:pt x="6533182" y="3936017"/>
                  <a:pt x="6529660" y="3941351"/>
                  <a:pt x="6526076" y="3946685"/>
                </a:cubicBezTo>
                <a:lnTo>
                  <a:pt x="6483432" y="3952019"/>
                </a:lnTo>
                <a:cubicBezTo>
                  <a:pt x="6479908" y="3962687"/>
                  <a:pt x="6476324" y="3973355"/>
                  <a:pt x="6472862" y="3984023"/>
                </a:cubicBezTo>
                <a:lnTo>
                  <a:pt x="6446164" y="4000025"/>
                </a:lnTo>
                <a:lnTo>
                  <a:pt x="6408896" y="3978689"/>
                </a:lnTo>
                <a:lnTo>
                  <a:pt x="6392952" y="3984023"/>
                </a:lnTo>
                <a:lnTo>
                  <a:pt x="6366252" y="3978689"/>
                </a:lnTo>
                <a:cubicBezTo>
                  <a:pt x="6364522" y="3984023"/>
                  <a:pt x="6362668" y="3989357"/>
                  <a:pt x="6360938" y="3994691"/>
                </a:cubicBezTo>
                <a:lnTo>
                  <a:pt x="6334300" y="4010693"/>
                </a:lnTo>
                <a:lnTo>
                  <a:pt x="6291656" y="4005359"/>
                </a:lnTo>
                <a:lnTo>
                  <a:pt x="6233068" y="3973355"/>
                </a:lnTo>
                <a:lnTo>
                  <a:pt x="6185108" y="3957353"/>
                </a:lnTo>
                <a:lnTo>
                  <a:pt x="6163786" y="3960980"/>
                </a:lnTo>
                <a:lnTo>
                  <a:pt x="6159398" y="3946333"/>
                </a:lnTo>
                <a:lnTo>
                  <a:pt x="6159516" y="3960695"/>
                </a:lnTo>
                <a:cubicBezTo>
                  <a:pt x="6156052" y="3964223"/>
                  <a:pt x="6152588" y="3960585"/>
                  <a:pt x="6149126" y="3964113"/>
                </a:cubicBezTo>
                <a:lnTo>
                  <a:pt x="6133534" y="3974623"/>
                </a:lnTo>
                <a:lnTo>
                  <a:pt x="6123144" y="3964113"/>
                </a:lnTo>
                <a:lnTo>
                  <a:pt x="6097164" y="3964113"/>
                </a:lnTo>
                <a:lnTo>
                  <a:pt x="6071196" y="3969405"/>
                </a:lnTo>
                <a:lnTo>
                  <a:pt x="6076384" y="3990462"/>
                </a:lnTo>
                <a:lnTo>
                  <a:pt x="6071196" y="4022140"/>
                </a:lnTo>
                <a:lnTo>
                  <a:pt x="6050416" y="4032687"/>
                </a:lnTo>
                <a:lnTo>
                  <a:pt x="6045216" y="4059074"/>
                </a:lnTo>
                <a:lnTo>
                  <a:pt x="6050416" y="4085460"/>
                </a:lnTo>
                <a:lnTo>
                  <a:pt x="6076384" y="4101299"/>
                </a:lnTo>
                <a:lnTo>
                  <a:pt x="6097164" y="4117101"/>
                </a:lnTo>
                <a:lnTo>
                  <a:pt x="6102366" y="4148779"/>
                </a:lnTo>
                <a:lnTo>
                  <a:pt x="6097164" y="4175129"/>
                </a:lnTo>
                <a:lnTo>
                  <a:pt x="6081586" y="4191005"/>
                </a:lnTo>
                <a:lnTo>
                  <a:pt x="6065994" y="4217354"/>
                </a:lnTo>
                <a:lnTo>
                  <a:pt x="6081586" y="4217354"/>
                </a:lnTo>
                <a:lnTo>
                  <a:pt x="6091976" y="4222646"/>
                </a:lnTo>
                <a:lnTo>
                  <a:pt x="6097164" y="4243740"/>
                </a:lnTo>
                <a:lnTo>
                  <a:pt x="6102366" y="4270163"/>
                </a:lnTo>
                <a:lnTo>
                  <a:pt x="6102366" y="4301805"/>
                </a:lnTo>
                <a:lnTo>
                  <a:pt x="6107566" y="4328191"/>
                </a:lnTo>
                <a:lnTo>
                  <a:pt x="6088542" y="4322231"/>
                </a:lnTo>
                <a:lnTo>
                  <a:pt x="6103358" y="4328192"/>
                </a:lnTo>
                <a:cubicBezTo>
                  <a:pt x="6105170" y="4335192"/>
                  <a:pt x="6106902" y="4342327"/>
                  <a:pt x="6108712" y="4349327"/>
                </a:cubicBezTo>
                <a:cubicBezTo>
                  <a:pt x="6106902" y="4359962"/>
                  <a:pt x="6105170" y="4370597"/>
                  <a:pt x="6103358" y="4381232"/>
                </a:cubicBezTo>
                <a:cubicBezTo>
                  <a:pt x="6098084" y="4393617"/>
                  <a:pt x="6092728" y="4405868"/>
                  <a:pt x="6087454" y="4418253"/>
                </a:cubicBezTo>
                <a:lnTo>
                  <a:pt x="6060840" y="4444773"/>
                </a:lnTo>
                <a:cubicBezTo>
                  <a:pt x="6059028" y="4451908"/>
                  <a:pt x="6057296" y="4458908"/>
                  <a:pt x="6055484" y="4466043"/>
                </a:cubicBezTo>
                <a:lnTo>
                  <a:pt x="6055484" y="4487178"/>
                </a:lnTo>
                <a:lnTo>
                  <a:pt x="6039580" y="4497813"/>
                </a:lnTo>
                <a:lnTo>
                  <a:pt x="6023596" y="4513698"/>
                </a:lnTo>
                <a:lnTo>
                  <a:pt x="6023596" y="4529583"/>
                </a:lnTo>
                <a:lnTo>
                  <a:pt x="6034224" y="4561354"/>
                </a:lnTo>
                <a:lnTo>
                  <a:pt x="6023596" y="4587874"/>
                </a:lnTo>
                <a:lnTo>
                  <a:pt x="6007610" y="4625029"/>
                </a:lnTo>
                <a:lnTo>
                  <a:pt x="6018240" y="4646164"/>
                </a:lnTo>
                <a:cubicBezTo>
                  <a:pt x="6020052" y="4660300"/>
                  <a:pt x="6021784" y="4674435"/>
                  <a:pt x="6023596" y="4688570"/>
                </a:cubicBezTo>
                <a:lnTo>
                  <a:pt x="6055484" y="4715090"/>
                </a:lnTo>
                <a:lnTo>
                  <a:pt x="6082098" y="4725725"/>
                </a:lnTo>
                <a:lnTo>
                  <a:pt x="6103358" y="4730975"/>
                </a:lnTo>
                <a:lnTo>
                  <a:pt x="6129972" y="4746860"/>
                </a:lnTo>
                <a:cubicBezTo>
                  <a:pt x="6131784" y="4757495"/>
                  <a:pt x="6133516" y="4767996"/>
                  <a:pt x="6135328" y="4778630"/>
                </a:cubicBezTo>
                <a:lnTo>
                  <a:pt x="6145956" y="4810535"/>
                </a:lnTo>
                <a:lnTo>
                  <a:pt x="6177846" y="4842306"/>
                </a:lnTo>
                <a:lnTo>
                  <a:pt x="6193832" y="4863441"/>
                </a:lnTo>
                <a:cubicBezTo>
                  <a:pt x="6192098" y="4875826"/>
                  <a:pt x="6190288" y="4888211"/>
                  <a:pt x="6188556" y="4900596"/>
                </a:cubicBezTo>
                <a:lnTo>
                  <a:pt x="6199186" y="4937751"/>
                </a:lnTo>
                <a:lnTo>
                  <a:pt x="6215090" y="4964137"/>
                </a:lnTo>
                <a:lnTo>
                  <a:pt x="6236430" y="4974772"/>
                </a:lnTo>
                <a:lnTo>
                  <a:pt x="6257688" y="4980157"/>
                </a:lnTo>
                <a:lnTo>
                  <a:pt x="6273674" y="4996042"/>
                </a:lnTo>
                <a:cubicBezTo>
                  <a:pt x="6271862" y="5004792"/>
                  <a:pt x="6270130" y="5013677"/>
                  <a:pt x="6268320" y="5022427"/>
                </a:cubicBezTo>
                <a:lnTo>
                  <a:pt x="6289578" y="5043697"/>
                </a:lnTo>
                <a:lnTo>
                  <a:pt x="6305564" y="5059582"/>
                </a:lnTo>
                <a:lnTo>
                  <a:pt x="6294932" y="5075468"/>
                </a:lnTo>
                <a:lnTo>
                  <a:pt x="6268320" y="5075468"/>
                </a:lnTo>
                <a:lnTo>
                  <a:pt x="6252334" y="5064833"/>
                </a:lnTo>
                <a:lnTo>
                  <a:pt x="6231076" y="5064833"/>
                </a:lnTo>
                <a:lnTo>
                  <a:pt x="6204460" y="5075468"/>
                </a:lnTo>
                <a:lnTo>
                  <a:pt x="6177846" y="5096738"/>
                </a:lnTo>
                <a:lnTo>
                  <a:pt x="6167216" y="5144393"/>
                </a:lnTo>
                <a:lnTo>
                  <a:pt x="6193832" y="5170913"/>
                </a:lnTo>
                <a:lnTo>
                  <a:pt x="6183200" y="5186798"/>
                </a:lnTo>
                <a:lnTo>
                  <a:pt x="6167216" y="5234454"/>
                </a:lnTo>
                <a:lnTo>
                  <a:pt x="6145956" y="5255724"/>
                </a:lnTo>
                <a:lnTo>
                  <a:pt x="6119342" y="5276859"/>
                </a:lnTo>
                <a:cubicBezTo>
                  <a:pt x="6117610" y="5289244"/>
                  <a:pt x="6115800" y="5301629"/>
                  <a:pt x="6114068" y="5314014"/>
                </a:cubicBezTo>
                <a:lnTo>
                  <a:pt x="6092728" y="5335150"/>
                </a:lnTo>
                <a:lnTo>
                  <a:pt x="6044854" y="5340534"/>
                </a:lnTo>
                <a:lnTo>
                  <a:pt x="5975722" y="5345785"/>
                </a:lnTo>
                <a:lnTo>
                  <a:pt x="5933122" y="5340534"/>
                </a:lnTo>
                <a:lnTo>
                  <a:pt x="5911862" y="5351035"/>
                </a:lnTo>
                <a:lnTo>
                  <a:pt x="5901232" y="5377555"/>
                </a:lnTo>
                <a:lnTo>
                  <a:pt x="5901232" y="5425345"/>
                </a:lnTo>
                <a:lnTo>
                  <a:pt x="5885248" y="5462366"/>
                </a:lnTo>
                <a:lnTo>
                  <a:pt x="5901232" y="5488886"/>
                </a:lnTo>
                <a:lnTo>
                  <a:pt x="5911862" y="5510156"/>
                </a:lnTo>
                <a:lnTo>
                  <a:pt x="5895878" y="5531291"/>
                </a:lnTo>
                <a:lnTo>
                  <a:pt x="5858634" y="5531291"/>
                </a:lnTo>
                <a:lnTo>
                  <a:pt x="5805486" y="5536541"/>
                </a:lnTo>
                <a:lnTo>
                  <a:pt x="5768242" y="5557811"/>
                </a:lnTo>
                <a:lnTo>
                  <a:pt x="5688398" y="5578946"/>
                </a:lnTo>
                <a:lnTo>
                  <a:pt x="5619264" y="5600216"/>
                </a:lnTo>
                <a:lnTo>
                  <a:pt x="5550052" y="5626736"/>
                </a:lnTo>
                <a:lnTo>
                  <a:pt x="5528792" y="5653257"/>
                </a:lnTo>
                <a:lnTo>
                  <a:pt x="5518600" y="5673520"/>
                </a:lnTo>
                <a:lnTo>
                  <a:pt x="5520106" y="5674393"/>
                </a:lnTo>
                <a:cubicBezTo>
                  <a:pt x="5516642" y="5683245"/>
                  <a:pt x="5522666" y="5692097"/>
                  <a:pt x="5519200" y="5700949"/>
                </a:cubicBezTo>
                <a:lnTo>
                  <a:pt x="5503526" y="5727505"/>
                </a:lnTo>
                <a:lnTo>
                  <a:pt x="5513954" y="5748723"/>
                </a:lnTo>
                <a:lnTo>
                  <a:pt x="5524414" y="5780616"/>
                </a:lnTo>
                <a:lnTo>
                  <a:pt x="5513954" y="5796627"/>
                </a:lnTo>
                <a:lnTo>
                  <a:pt x="5498280" y="5796627"/>
                </a:lnTo>
                <a:lnTo>
                  <a:pt x="5493066" y="5823183"/>
                </a:lnTo>
                <a:lnTo>
                  <a:pt x="5503526" y="5855076"/>
                </a:lnTo>
                <a:lnTo>
                  <a:pt x="5513954" y="5881632"/>
                </a:lnTo>
                <a:lnTo>
                  <a:pt x="5519200" y="5929406"/>
                </a:lnTo>
                <a:lnTo>
                  <a:pt x="5519200" y="5950624"/>
                </a:lnTo>
                <a:lnTo>
                  <a:pt x="5498280" y="5955961"/>
                </a:lnTo>
                <a:lnTo>
                  <a:pt x="5482638" y="5966636"/>
                </a:lnTo>
                <a:lnTo>
                  <a:pt x="5498280" y="5987854"/>
                </a:lnTo>
                <a:lnTo>
                  <a:pt x="5519200" y="6009073"/>
                </a:lnTo>
                <a:lnTo>
                  <a:pt x="5540088" y="6040965"/>
                </a:lnTo>
                <a:lnTo>
                  <a:pt x="5529628" y="6062314"/>
                </a:lnTo>
                <a:lnTo>
                  <a:pt x="5545302" y="6094077"/>
                </a:lnTo>
                <a:lnTo>
                  <a:pt x="5545302" y="6110088"/>
                </a:lnTo>
                <a:lnTo>
                  <a:pt x="5508740" y="6099414"/>
                </a:lnTo>
                <a:lnTo>
                  <a:pt x="5477392" y="6099414"/>
                </a:lnTo>
                <a:lnTo>
                  <a:pt x="5446076" y="6110088"/>
                </a:lnTo>
                <a:lnTo>
                  <a:pt x="5435614" y="6136644"/>
                </a:lnTo>
                <a:lnTo>
                  <a:pt x="5472178" y="6157862"/>
                </a:lnTo>
                <a:lnTo>
                  <a:pt x="5519200" y="6173874"/>
                </a:lnTo>
                <a:lnTo>
                  <a:pt x="5534874" y="6195092"/>
                </a:lnTo>
                <a:lnTo>
                  <a:pt x="5560976" y="6210974"/>
                </a:lnTo>
                <a:lnTo>
                  <a:pt x="5602752" y="6226985"/>
                </a:lnTo>
                <a:lnTo>
                  <a:pt x="5618428" y="6248204"/>
                </a:lnTo>
                <a:lnTo>
                  <a:pt x="5602752" y="6264215"/>
                </a:lnTo>
                <a:lnTo>
                  <a:pt x="5576650" y="6274759"/>
                </a:lnTo>
                <a:cubicBezTo>
                  <a:pt x="5574902" y="6287126"/>
                  <a:pt x="5573186" y="6299623"/>
                  <a:pt x="5571436" y="6311989"/>
                </a:cubicBezTo>
                <a:lnTo>
                  <a:pt x="5576650" y="6354426"/>
                </a:lnTo>
                <a:lnTo>
                  <a:pt x="5597540" y="6407668"/>
                </a:lnTo>
                <a:lnTo>
                  <a:pt x="5560976" y="6423549"/>
                </a:lnTo>
                <a:lnTo>
                  <a:pt x="5534874" y="6418212"/>
                </a:lnTo>
                <a:lnTo>
                  <a:pt x="5519200" y="6439561"/>
                </a:lnTo>
                <a:lnTo>
                  <a:pt x="5519200" y="6471323"/>
                </a:lnTo>
                <a:lnTo>
                  <a:pt x="5529628" y="6487335"/>
                </a:lnTo>
                <a:lnTo>
                  <a:pt x="5581864" y="6487335"/>
                </a:lnTo>
                <a:lnTo>
                  <a:pt x="5613214" y="6498009"/>
                </a:lnTo>
                <a:lnTo>
                  <a:pt x="5639316" y="6508553"/>
                </a:lnTo>
                <a:lnTo>
                  <a:pt x="5681124" y="6519228"/>
                </a:lnTo>
                <a:lnTo>
                  <a:pt x="5707226" y="6529772"/>
                </a:lnTo>
                <a:lnTo>
                  <a:pt x="5733360" y="6545783"/>
                </a:lnTo>
                <a:lnTo>
                  <a:pt x="5743788" y="6567002"/>
                </a:lnTo>
                <a:lnTo>
                  <a:pt x="5754250" y="6609569"/>
                </a:lnTo>
                <a:lnTo>
                  <a:pt x="5754250" y="6646669"/>
                </a:lnTo>
                <a:lnTo>
                  <a:pt x="5728114" y="6646669"/>
                </a:lnTo>
                <a:lnTo>
                  <a:pt x="5707226" y="6652006"/>
                </a:lnTo>
                <a:cubicBezTo>
                  <a:pt x="5705478" y="6664372"/>
                  <a:pt x="5703762" y="6676869"/>
                  <a:pt x="5702012" y="6689236"/>
                </a:cubicBezTo>
                <a:lnTo>
                  <a:pt x="5670664" y="6689236"/>
                </a:lnTo>
                <a:lnTo>
                  <a:pt x="5665450" y="6705117"/>
                </a:lnTo>
                <a:lnTo>
                  <a:pt x="5665450" y="6747684"/>
                </a:lnTo>
                <a:lnTo>
                  <a:pt x="5686338" y="6763566"/>
                </a:lnTo>
                <a:cubicBezTo>
                  <a:pt x="5688086" y="6775932"/>
                  <a:pt x="5689804" y="6788429"/>
                  <a:pt x="5691552" y="6800796"/>
                </a:cubicBezTo>
                <a:lnTo>
                  <a:pt x="5686338" y="6827351"/>
                </a:lnTo>
                <a:lnTo>
                  <a:pt x="5696798" y="6875125"/>
                </a:lnTo>
                <a:lnTo>
                  <a:pt x="5728114" y="6917692"/>
                </a:lnTo>
                <a:lnTo>
                  <a:pt x="5759464" y="6976141"/>
                </a:lnTo>
                <a:lnTo>
                  <a:pt x="5751608" y="6974575"/>
                </a:lnTo>
                <a:lnTo>
                  <a:pt x="5753112" y="6976140"/>
                </a:lnTo>
                <a:cubicBezTo>
                  <a:pt x="5739026" y="6981535"/>
                  <a:pt x="5724700" y="6986884"/>
                  <a:pt x="5710614" y="6992279"/>
                </a:cubicBezTo>
                <a:lnTo>
                  <a:pt x="5646864" y="7024558"/>
                </a:lnTo>
                <a:lnTo>
                  <a:pt x="5577624" y="7046046"/>
                </a:lnTo>
                <a:lnTo>
                  <a:pt x="5508622" y="7072975"/>
                </a:lnTo>
                <a:lnTo>
                  <a:pt x="5460632" y="7099858"/>
                </a:lnTo>
                <a:cubicBezTo>
                  <a:pt x="5442964" y="7107036"/>
                  <a:pt x="5425056" y="7114169"/>
                  <a:pt x="5407388" y="7121347"/>
                </a:cubicBezTo>
                <a:cubicBezTo>
                  <a:pt x="5403808" y="7128525"/>
                  <a:pt x="5400464" y="7135703"/>
                  <a:pt x="5396884" y="7142881"/>
                </a:cubicBezTo>
                <a:lnTo>
                  <a:pt x="5423386" y="7164415"/>
                </a:lnTo>
                <a:cubicBezTo>
                  <a:pt x="5426966" y="7169810"/>
                  <a:pt x="5430548" y="7175159"/>
                  <a:pt x="5434130" y="7180554"/>
                </a:cubicBezTo>
                <a:cubicBezTo>
                  <a:pt x="5425296" y="7193081"/>
                  <a:pt x="5416222" y="7205654"/>
                  <a:pt x="5407388" y="7218182"/>
                </a:cubicBezTo>
                <a:lnTo>
                  <a:pt x="5343640" y="7228926"/>
                </a:lnTo>
                <a:lnTo>
                  <a:pt x="5290396" y="7218182"/>
                </a:lnTo>
                <a:lnTo>
                  <a:pt x="5263894" y="7207438"/>
                </a:lnTo>
                <a:lnTo>
                  <a:pt x="5226648" y="7207438"/>
                </a:lnTo>
                <a:lnTo>
                  <a:pt x="5189400" y="7245065"/>
                </a:lnTo>
                <a:cubicBezTo>
                  <a:pt x="5178896" y="7248677"/>
                  <a:pt x="5168150" y="7252243"/>
                  <a:pt x="5157646" y="7255855"/>
                </a:cubicBezTo>
                <a:cubicBezTo>
                  <a:pt x="5147856" y="7257638"/>
                  <a:pt x="5137112" y="7259421"/>
                  <a:pt x="5130904" y="7255855"/>
                </a:cubicBezTo>
                <a:cubicBezTo>
                  <a:pt x="5124696" y="7252289"/>
                  <a:pt x="5125652" y="7236104"/>
                  <a:pt x="5120398" y="7234321"/>
                </a:cubicBezTo>
                <a:cubicBezTo>
                  <a:pt x="5113236" y="7237887"/>
                  <a:pt x="5106312" y="7241499"/>
                  <a:pt x="5099150" y="7245065"/>
                </a:cubicBezTo>
                <a:cubicBezTo>
                  <a:pt x="5100820" y="7257638"/>
                  <a:pt x="5102730" y="7270165"/>
                  <a:pt x="5104402" y="7282738"/>
                </a:cubicBezTo>
                <a:cubicBezTo>
                  <a:pt x="5111564" y="7288133"/>
                  <a:pt x="5118488" y="7293482"/>
                  <a:pt x="5125652" y="7298877"/>
                </a:cubicBezTo>
                <a:lnTo>
                  <a:pt x="5088406" y="7304227"/>
                </a:lnTo>
                <a:lnTo>
                  <a:pt x="5056412" y="7298877"/>
                </a:lnTo>
                <a:lnTo>
                  <a:pt x="5029908" y="7293482"/>
                </a:lnTo>
                <a:lnTo>
                  <a:pt x="4992662" y="7309622"/>
                </a:lnTo>
                <a:cubicBezTo>
                  <a:pt x="4982156" y="7316800"/>
                  <a:pt x="4971412" y="7323978"/>
                  <a:pt x="4960908" y="7331156"/>
                </a:cubicBezTo>
                <a:cubicBezTo>
                  <a:pt x="4955654" y="7345512"/>
                  <a:pt x="4950164" y="7359822"/>
                  <a:pt x="4944910" y="7374178"/>
                </a:cubicBezTo>
                <a:cubicBezTo>
                  <a:pt x="4934166" y="7365217"/>
                  <a:pt x="4923660" y="7356256"/>
                  <a:pt x="4912916" y="7347295"/>
                </a:cubicBezTo>
                <a:lnTo>
                  <a:pt x="4886414" y="7406457"/>
                </a:lnTo>
                <a:cubicBezTo>
                  <a:pt x="4877580" y="7401062"/>
                  <a:pt x="4868508" y="7395712"/>
                  <a:pt x="4859672" y="7390317"/>
                </a:cubicBezTo>
                <a:cubicBezTo>
                  <a:pt x="4843676" y="7399278"/>
                  <a:pt x="4827918" y="7408240"/>
                  <a:pt x="4811920" y="7417201"/>
                </a:cubicBezTo>
                <a:cubicBezTo>
                  <a:pt x="4804758" y="7404674"/>
                  <a:pt x="4797834" y="7392100"/>
                  <a:pt x="4790672" y="7379573"/>
                </a:cubicBezTo>
                <a:lnTo>
                  <a:pt x="4732176" y="7363434"/>
                </a:lnTo>
                <a:cubicBezTo>
                  <a:pt x="4721432" y="7374178"/>
                  <a:pt x="4710926" y="7384922"/>
                  <a:pt x="4700182" y="7395667"/>
                </a:cubicBezTo>
                <a:lnTo>
                  <a:pt x="4657682" y="7390317"/>
                </a:lnTo>
                <a:lnTo>
                  <a:pt x="4620436" y="7374178"/>
                </a:lnTo>
                <a:lnTo>
                  <a:pt x="4577936" y="7384922"/>
                </a:lnTo>
                <a:lnTo>
                  <a:pt x="4540690" y="7411806"/>
                </a:lnTo>
                <a:lnTo>
                  <a:pt x="4487446" y="7401062"/>
                </a:lnTo>
                <a:cubicBezTo>
                  <a:pt x="4480284" y="7411806"/>
                  <a:pt x="4473360" y="7422596"/>
                  <a:pt x="4466196" y="7433340"/>
                </a:cubicBezTo>
                <a:lnTo>
                  <a:pt x="4423698" y="7433340"/>
                </a:lnTo>
                <a:cubicBezTo>
                  <a:pt x="4420116" y="7420767"/>
                  <a:pt x="4416774" y="7408240"/>
                  <a:pt x="4413192" y="7395667"/>
                </a:cubicBezTo>
                <a:cubicBezTo>
                  <a:pt x="4404358" y="7390317"/>
                  <a:pt x="4395284" y="7384922"/>
                  <a:pt x="4386450" y="7379573"/>
                </a:cubicBezTo>
                <a:lnTo>
                  <a:pt x="4333208" y="7347295"/>
                </a:lnTo>
                <a:lnTo>
                  <a:pt x="4274710" y="7309622"/>
                </a:lnTo>
                <a:lnTo>
                  <a:pt x="4248208" y="7298877"/>
                </a:lnTo>
                <a:lnTo>
                  <a:pt x="4205710" y="7304227"/>
                </a:lnTo>
                <a:lnTo>
                  <a:pt x="4168462" y="7320366"/>
                </a:lnTo>
                <a:cubicBezTo>
                  <a:pt x="4154376" y="7325761"/>
                  <a:pt x="4140050" y="7331110"/>
                  <a:pt x="4125964" y="7336505"/>
                </a:cubicBezTo>
                <a:lnTo>
                  <a:pt x="4062214" y="7325761"/>
                </a:lnTo>
                <a:lnTo>
                  <a:pt x="4014224" y="7298877"/>
                </a:lnTo>
                <a:cubicBezTo>
                  <a:pt x="4008972" y="7304272"/>
                  <a:pt x="4003480" y="7309622"/>
                  <a:pt x="3998226" y="7315017"/>
                </a:cubicBezTo>
                <a:cubicBezTo>
                  <a:pt x="4000136" y="7323978"/>
                  <a:pt x="4001808" y="7332939"/>
                  <a:pt x="4003718" y="7341900"/>
                </a:cubicBezTo>
                <a:cubicBezTo>
                  <a:pt x="3996556" y="7349078"/>
                  <a:pt x="3989632" y="7356256"/>
                  <a:pt x="3982468" y="7363434"/>
                </a:cubicBezTo>
                <a:cubicBezTo>
                  <a:pt x="3968144" y="7356256"/>
                  <a:pt x="3954056" y="7349078"/>
                  <a:pt x="3939730" y="7341900"/>
                </a:cubicBezTo>
                <a:cubicBezTo>
                  <a:pt x="3914900" y="7331156"/>
                  <a:pt x="3890308" y="7320366"/>
                  <a:pt x="3865476" y="7309622"/>
                </a:cubicBezTo>
                <a:lnTo>
                  <a:pt x="3806980" y="7315017"/>
                </a:lnTo>
                <a:lnTo>
                  <a:pt x="3748484" y="7320366"/>
                </a:lnTo>
                <a:cubicBezTo>
                  <a:pt x="3737740" y="7311405"/>
                  <a:pt x="3727234" y="7302444"/>
                  <a:pt x="3716490" y="7293482"/>
                </a:cubicBezTo>
                <a:lnTo>
                  <a:pt x="3652742" y="7266599"/>
                </a:lnTo>
                <a:lnTo>
                  <a:pt x="3599498" y="7277343"/>
                </a:lnTo>
                <a:cubicBezTo>
                  <a:pt x="3588754" y="7273777"/>
                  <a:pt x="3578248" y="7270165"/>
                  <a:pt x="3567504" y="7266599"/>
                </a:cubicBezTo>
                <a:cubicBezTo>
                  <a:pt x="3560340" y="7271994"/>
                  <a:pt x="3553416" y="7277343"/>
                  <a:pt x="3546254" y="7282738"/>
                </a:cubicBezTo>
                <a:lnTo>
                  <a:pt x="3514500" y="7293482"/>
                </a:lnTo>
                <a:lnTo>
                  <a:pt x="3440006" y="7315017"/>
                </a:lnTo>
                <a:lnTo>
                  <a:pt x="3402760" y="7358039"/>
                </a:lnTo>
                <a:lnTo>
                  <a:pt x="3372164" y="7384552"/>
                </a:lnTo>
                <a:lnTo>
                  <a:pt x="3365516" y="7395241"/>
                </a:lnTo>
                <a:lnTo>
                  <a:pt x="3323294" y="7362986"/>
                </a:lnTo>
                <a:lnTo>
                  <a:pt x="3307482" y="7314550"/>
                </a:lnTo>
                <a:lnTo>
                  <a:pt x="3296918" y="7282294"/>
                </a:lnTo>
                <a:lnTo>
                  <a:pt x="3249412" y="7244663"/>
                </a:lnTo>
                <a:lnTo>
                  <a:pt x="3238884" y="7207032"/>
                </a:lnTo>
                <a:lnTo>
                  <a:pt x="3223036" y="7174724"/>
                </a:lnTo>
                <a:lnTo>
                  <a:pt x="3196660" y="7207032"/>
                </a:lnTo>
                <a:lnTo>
                  <a:pt x="3159720" y="7207032"/>
                </a:lnTo>
                <a:lnTo>
                  <a:pt x="3154438" y="7158596"/>
                </a:lnTo>
                <a:lnTo>
                  <a:pt x="3128062" y="7137093"/>
                </a:lnTo>
                <a:lnTo>
                  <a:pt x="3117496" y="7056402"/>
                </a:lnTo>
                <a:lnTo>
                  <a:pt x="3091122" y="6991891"/>
                </a:lnTo>
                <a:lnTo>
                  <a:pt x="3064746" y="6943508"/>
                </a:lnTo>
                <a:lnTo>
                  <a:pt x="3048898" y="6911200"/>
                </a:lnTo>
                <a:lnTo>
                  <a:pt x="3022522" y="6889696"/>
                </a:lnTo>
                <a:lnTo>
                  <a:pt x="2993164" y="6869755"/>
                </a:lnTo>
                <a:lnTo>
                  <a:pt x="2992594" y="6869974"/>
                </a:lnTo>
                <a:cubicBezTo>
                  <a:pt x="2992528" y="6869751"/>
                  <a:pt x="2992466" y="6869528"/>
                  <a:pt x="2992474" y="6869287"/>
                </a:cubicBezTo>
                <a:lnTo>
                  <a:pt x="2990864" y="6868193"/>
                </a:lnTo>
                <a:lnTo>
                  <a:pt x="2991210" y="6862021"/>
                </a:lnTo>
                <a:lnTo>
                  <a:pt x="2986522" y="6835064"/>
                </a:lnTo>
                <a:cubicBezTo>
                  <a:pt x="2982880" y="6826290"/>
                  <a:pt x="2979724" y="6817516"/>
                  <a:pt x="2976080" y="6808556"/>
                </a:cubicBezTo>
                <a:lnTo>
                  <a:pt x="2949128" y="6787088"/>
                </a:lnTo>
                <a:cubicBezTo>
                  <a:pt x="2944028" y="6772900"/>
                  <a:pt x="2938686" y="6758900"/>
                  <a:pt x="2933344" y="6744712"/>
                </a:cubicBezTo>
                <a:cubicBezTo>
                  <a:pt x="2938686" y="6737618"/>
                  <a:pt x="2944028" y="6730338"/>
                  <a:pt x="2949128" y="6723244"/>
                </a:cubicBezTo>
                <a:lnTo>
                  <a:pt x="2949128" y="6696735"/>
                </a:lnTo>
                <a:lnTo>
                  <a:pt x="2911732" y="6696735"/>
                </a:lnTo>
                <a:cubicBezTo>
                  <a:pt x="2904932" y="6691508"/>
                  <a:pt x="2897404" y="6686281"/>
                  <a:pt x="2890362" y="6680868"/>
                </a:cubicBezTo>
                <a:cubicBezTo>
                  <a:pt x="2895704" y="6670226"/>
                  <a:pt x="2901290" y="6659772"/>
                  <a:pt x="2906632" y="6648945"/>
                </a:cubicBezTo>
                <a:cubicBezTo>
                  <a:pt x="2902746" y="6640171"/>
                  <a:pt x="2899348" y="6631210"/>
                  <a:pt x="2895704" y="6622436"/>
                </a:cubicBezTo>
                <a:cubicBezTo>
                  <a:pt x="2888662" y="6613476"/>
                  <a:pt x="2881620" y="6604702"/>
                  <a:pt x="2874578" y="6595742"/>
                </a:cubicBezTo>
                <a:cubicBezTo>
                  <a:pt x="2867780" y="6593874"/>
                  <a:pt x="2860494" y="6592382"/>
                  <a:pt x="2853452" y="6590514"/>
                </a:cubicBezTo>
                <a:lnTo>
                  <a:pt x="2816056" y="6585101"/>
                </a:lnTo>
                <a:cubicBezTo>
                  <a:pt x="2807316" y="6581554"/>
                  <a:pt x="2798088" y="6578194"/>
                  <a:pt x="2789346" y="6574460"/>
                </a:cubicBezTo>
                <a:lnTo>
                  <a:pt x="2741266" y="6558592"/>
                </a:lnTo>
                <a:lnTo>
                  <a:pt x="2703870" y="6574460"/>
                </a:lnTo>
                <a:cubicBezTo>
                  <a:pt x="2702170" y="6586968"/>
                  <a:pt x="2700228" y="6599288"/>
                  <a:pt x="2698528" y="6611796"/>
                </a:cubicBezTo>
                <a:lnTo>
                  <a:pt x="2666474" y="6611796"/>
                </a:lnTo>
                <a:cubicBezTo>
                  <a:pt x="2659676" y="6609929"/>
                  <a:pt x="2652148" y="6608249"/>
                  <a:pt x="2645106" y="6606382"/>
                </a:cubicBezTo>
                <a:lnTo>
                  <a:pt x="2645106" y="6622436"/>
                </a:lnTo>
                <a:lnTo>
                  <a:pt x="2591926" y="6633264"/>
                </a:lnTo>
                <a:lnTo>
                  <a:pt x="2544088" y="6611796"/>
                </a:lnTo>
                <a:cubicBezTo>
                  <a:pt x="2542388" y="6595742"/>
                  <a:pt x="2540446" y="6579874"/>
                  <a:pt x="2538746" y="6563820"/>
                </a:cubicBezTo>
                <a:cubicBezTo>
                  <a:pt x="2531462" y="6553178"/>
                  <a:pt x="2524176" y="6542724"/>
                  <a:pt x="2517378" y="6532084"/>
                </a:cubicBezTo>
                <a:cubicBezTo>
                  <a:pt x="2513734" y="6521256"/>
                  <a:pt x="2510336" y="6510802"/>
                  <a:pt x="2506692" y="6500162"/>
                </a:cubicBezTo>
                <a:cubicBezTo>
                  <a:pt x="2515678" y="6487654"/>
                  <a:pt x="2524420" y="6475146"/>
                  <a:pt x="2533404" y="6462639"/>
                </a:cubicBezTo>
                <a:cubicBezTo>
                  <a:pt x="2529518" y="6454052"/>
                  <a:pt x="2526120" y="6444904"/>
                  <a:pt x="2522476" y="6436130"/>
                </a:cubicBezTo>
                <a:cubicBezTo>
                  <a:pt x="2510092" y="6444904"/>
                  <a:pt x="2497950" y="6453865"/>
                  <a:pt x="2485566" y="6462639"/>
                </a:cubicBezTo>
                <a:cubicBezTo>
                  <a:pt x="2478282" y="6453865"/>
                  <a:pt x="2471240" y="6444904"/>
                  <a:pt x="2463954" y="6436130"/>
                </a:cubicBezTo>
                <a:lnTo>
                  <a:pt x="2394506" y="6399168"/>
                </a:lnTo>
                <a:cubicBezTo>
                  <a:pt x="2382122" y="6392074"/>
                  <a:pt x="2369980" y="6384794"/>
                  <a:pt x="2357596" y="6377700"/>
                </a:cubicBezTo>
                <a:lnTo>
                  <a:pt x="2293732" y="6388340"/>
                </a:lnTo>
                <a:cubicBezTo>
                  <a:pt x="2284262" y="6383114"/>
                  <a:pt x="2275520" y="6377700"/>
                  <a:pt x="2266778" y="6372473"/>
                </a:cubicBezTo>
                <a:lnTo>
                  <a:pt x="2197572" y="6367059"/>
                </a:lnTo>
                <a:lnTo>
                  <a:pt x="2144150" y="6377700"/>
                </a:lnTo>
                <a:lnTo>
                  <a:pt x="2080286" y="6404395"/>
                </a:lnTo>
                <a:cubicBezTo>
                  <a:pt x="2076642" y="6429224"/>
                  <a:pt x="2073244" y="6454052"/>
                  <a:pt x="2069600" y="6478880"/>
                </a:cubicBezTo>
                <a:cubicBezTo>
                  <a:pt x="2055516" y="6487654"/>
                  <a:pt x="2041432" y="6496614"/>
                  <a:pt x="2026862" y="6505388"/>
                </a:cubicBezTo>
                <a:cubicBezTo>
                  <a:pt x="2019820" y="6519576"/>
                  <a:pt x="2012536" y="6533764"/>
                  <a:pt x="2005494" y="6547765"/>
                </a:cubicBezTo>
                <a:lnTo>
                  <a:pt x="1957414" y="6601155"/>
                </a:lnTo>
                <a:cubicBezTo>
                  <a:pt x="1955956" y="6609929"/>
                  <a:pt x="1954014" y="6618890"/>
                  <a:pt x="1952314" y="6627664"/>
                </a:cubicBezTo>
                <a:cubicBezTo>
                  <a:pt x="1950614" y="6641852"/>
                  <a:pt x="1948672" y="6655852"/>
                  <a:pt x="1946972" y="6670226"/>
                </a:cubicBezTo>
                <a:cubicBezTo>
                  <a:pt x="1937988" y="6679000"/>
                  <a:pt x="1929246" y="6687961"/>
                  <a:pt x="1920504" y="6696735"/>
                </a:cubicBezTo>
                <a:lnTo>
                  <a:pt x="1893550" y="6723244"/>
                </a:lnTo>
                <a:lnTo>
                  <a:pt x="1861740" y="6755166"/>
                </a:lnTo>
                <a:lnTo>
                  <a:pt x="1861740" y="6797916"/>
                </a:lnTo>
                <a:cubicBezTo>
                  <a:pt x="1858096" y="6810050"/>
                  <a:pt x="1854698" y="6822744"/>
                  <a:pt x="1851298" y="6835064"/>
                </a:cubicBezTo>
                <a:cubicBezTo>
                  <a:pt x="1840614" y="6844025"/>
                  <a:pt x="1829686" y="6852799"/>
                  <a:pt x="1819002" y="6861760"/>
                </a:cubicBezTo>
                <a:cubicBezTo>
                  <a:pt x="1822644" y="6874080"/>
                  <a:pt x="1826044" y="6886402"/>
                  <a:pt x="1829686" y="6899096"/>
                </a:cubicBezTo>
                <a:cubicBezTo>
                  <a:pt x="1824344" y="6907870"/>
                  <a:pt x="1819002" y="6916644"/>
                  <a:pt x="1813902" y="6925790"/>
                </a:cubicBezTo>
                <a:lnTo>
                  <a:pt x="1781606" y="6941472"/>
                </a:lnTo>
                <a:cubicBezTo>
                  <a:pt x="1770678" y="6948566"/>
                  <a:pt x="1760236" y="6955660"/>
                  <a:pt x="1749552" y="6962566"/>
                </a:cubicBezTo>
                <a:cubicBezTo>
                  <a:pt x="1744452" y="6971527"/>
                  <a:pt x="1739110" y="6980488"/>
                  <a:pt x="1733768" y="6989262"/>
                </a:cubicBezTo>
                <a:cubicBezTo>
                  <a:pt x="1723084" y="6984034"/>
                  <a:pt x="1712156" y="6978808"/>
                  <a:pt x="1701716" y="6973394"/>
                </a:cubicBezTo>
                <a:cubicBezTo>
                  <a:pt x="1698072" y="6980488"/>
                  <a:pt x="1694672" y="6987582"/>
                  <a:pt x="1691030" y="6994488"/>
                </a:cubicBezTo>
                <a:cubicBezTo>
                  <a:pt x="1694672" y="7000089"/>
                  <a:pt x="1698072" y="7005316"/>
                  <a:pt x="1701716" y="7010730"/>
                </a:cubicBezTo>
                <a:cubicBezTo>
                  <a:pt x="1705358" y="7026598"/>
                  <a:pt x="1708756" y="7042652"/>
                  <a:pt x="1712156" y="7058520"/>
                </a:cubicBezTo>
                <a:lnTo>
                  <a:pt x="1669904" y="7058520"/>
                </a:lnTo>
                <a:cubicBezTo>
                  <a:pt x="1668204" y="7040785"/>
                  <a:pt x="1666262" y="7023050"/>
                  <a:pt x="1664320" y="7005316"/>
                </a:cubicBezTo>
                <a:lnTo>
                  <a:pt x="1680346" y="6941472"/>
                </a:lnTo>
                <a:cubicBezTo>
                  <a:pt x="1685688" y="6923924"/>
                  <a:pt x="1691030" y="6906002"/>
                  <a:pt x="1696372" y="6888268"/>
                </a:cubicBezTo>
                <a:lnTo>
                  <a:pt x="1664320" y="6877628"/>
                </a:lnTo>
                <a:cubicBezTo>
                  <a:pt x="1662620" y="6886402"/>
                  <a:pt x="1660920" y="6895362"/>
                  <a:pt x="1659220" y="6904322"/>
                </a:cubicBezTo>
                <a:cubicBezTo>
                  <a:pt x="1650236" y="6898909"/>
                  <a:pt x="1641250" y="6893682"/>
                  <a:pt x="1632508" y="6888268"/>
                </a:cubicBezTo>
                <a:cubicBezTo>
                  <a:pt x="1630808" y="6874080"/>
                  <a:pt x="1628866" y="6859893"/>
                  <a:pt x="1627166" y="6845705"/>
                </a:cubicBezTo>
                <a:lnTo>
                  <a:pt x="1589770" y="6845705"/>
                </a:lnTo>
                <a:cubicBezTo>
                  <a:pt x="1584428" y="6856346"/>
                  <a:pt x="1579086" y="6866800"/>
                  <a:pt x="1573744" y="6877628"/>
                </a:cubicBezTo>
                <a:lnTo>
                  <a:pt x="1573744" y="6925790"/>
                </a:lnTo>
                <a:lnTo>
                  <a:pt x="1514980" y="6941472"/>
                </a:lnTo>
                <a:cubicBezTo>
                  <a:pt x="1511338" y="6948566"/>
                  <a:pt x="1507938" y="6955660"/>
                  <a:pt x="1504296" y="6962566"/>
                </a:cubicBezTo>
                <a:lnTo>
                  <a:pt x="1445774" y="6947072"/>
                </a:lnTo>
                <a:cubicBezTo>
                  <a:pt x="1444074" y="6955660"/>
                  <a:pt x="1442130" y="6964620"/>
                  <a:pt x="1440432" y="6973394"/>
                </a:cubicBezTo>
                <a:lnTo>
                  <a:pt x="1397936" y="6989262"/>
                </a:lnTo>
                <a:cubicBezTo>
                  <a:pt x="1390894" y="6985714"/>
                  <a:pt x="1383610" y="6982354"/>
                  <a:pt x="1376568" y="6978808"/>
                </a:cubicBezTo>
                <a:lnTo>
                  <a:pt x="1323144" y="6978808"/>
                </a:lnTo>
                <a:cubicBezTo>
                  <a:pt x="1314402" y="6991128"/>
                  <a:pt x="1305662" y="7003636"/>
                  <a:pt x="1296676" y="7015957"/>
                </a:cubicBezTo>
                <a:cubicBezTo>
                  <a:pt x="1294976" y="7028651"/>
                  <a:pt x="1292792" y="7040785"/>
                  <a:pt x="1291092" y="7053292"/>
                </a:cubicBezTo>
                <a:lnTo>
                  <a:pt x="1253696" y="7074574"/>
                </a:lnTo>
                <a:lnTo>
                  <a:pt x="1216542" y="7090442"/>
                </a:lnTo>
                <a:lnTo>
                  <a:pt x="1174290" y="7090442"/>
                </a:lnTo>
                <a:lnTo>
                  <a:pt x="1131310" y="7085215"/>
                </a:lnTo>
                <a:lnTo>
                  <a:pt x="1099256" y="7085215"/>
                </a:lnTo>
                <a:lnTo>
                  <a:pt x="1099256" y="7063934"/>
                </a:lnTo>
                <a:cubicBezTo>
                  <a:pt x="1093914" y="7058520"/>
                  <a:pt x="1088572" y="7053292"/>
                  <a:pt x="1083230" y="7047692"/>
                </a:cubicBezTo>
                <a:cubicBezTo>
                  <a:pt x="1079588" y="7037238"/>
                  <a:pt x="1076188" y="7026598"/>
                  <a:pt x="1072788" y="7015957"/>
                </a:cubicBezTo>
                <a:lnTo>
                  <a:pt x="1014024" y="7005316"/>
                </a:lnTo>
                <a:cubicBezTo>
                  <a:pt x="1017666" y="6996542"/>
                  <a:pt x="1021066" y="6987582"/>
                  <a:pt x="1024708" y="6978808"/>
                </a:cubicBezTo>
                <a:cubicBezTo>
                  <a:pt x="1028350" y="6971527"/>
                  <a:pt x="1031750" y="6964620"/>
                  <a:pt x="1035392" y="6957526"/>
                </a:cubicBezTo>
                <a:cubicBezTo>
                  <a:pt x="1030050" y="6946886"/>
                  <a:pt x="1024708" y="6936244"/>
                  <a:pt x="1019366" y="6925790"/>
                </a:cubicBezTo>
                <a:lnTo>
                  <a:pt x="1051420" y="6904322"/>
                </a:lnTo>
                <a:cubicBezTo>
                  <a:pt x="1053120" y="6897228"/>
                  <a:pt x="1055062" y="6889948"/>
                  <a:pt x="1056762" y="6883041"/>
                </a:cubicBezTo>
                <a:cubicBezTo>
                  <a:pt x="1051420" y="6872400"/>
                  <a:pt x="1045834" y="6861760"/>
                  <a:pt x="1040492" y="6851119"/>
                </a:cubicBezTo>
                <a:cubicBezTo>
                  <a:pt x="1042192" y="6840478"/>
                  <a:pt x="1044134" y="6829838"/>
                  <a:pt x="1046076" y="6819196"/>
                </a:cubicBezTo>
                <a:cubicBezTo>
                  <a:pt x="1051420" y="6813970"/>
                  <a:pt x="1056762" y="6808556"/>
                  <a:pt x="1062104" y="6803329"/>
                </a:cubicBezTo>
                <a:cubicBezTo>
                  <a:pt x="1065746" y="6796235"/>
                  <a:pt x="1069146" y="6789142"/>
                  <a:pt x="1072788" y="6782048"/>
                </a:cubicBezTo>
                <a:lnTo>
                  <a:pt x="1072788" y="6755166"/>
                </a:lnTo>
                <a:cubicBezTo>
                  <a:pt x="1077888" y="6751619"/>
                  <a:pt x="1083230" y="6748258"/>
                  <a:pt x="1088572" y="6744712"/>
                </a:cubicBezTo>
                <a:cubicBezTo>
                  <a:pt x="1079588" y="6737618"/>
                  <a:pt x="1071088" y="6730338"/>
                  <a:pt x="1062104" y="6723244"/>
                </a:cubicBezTo>
                <a:cubicBezTo>
                  <a:pt x="1060404" y="6711110"/>
                  <a:pt x="1058462" y="6698602"/>
                  <a:pt x="1056762" y="6686281"/>
                </a:cubicBezTo>
                <a:cubicBezTo>
                  <a:pt x="1062104" y="6673587"/>
                  <a:pt x="1067446" y="6661452"/>
                  <a:pt x="1072788" y="6648945"/>
                </a:cubicBezTo>
                <a:cubicBezTo>
                  <a:pt x="1074488" y="6636624"/>
                  <a:pt x="1076188" y="6624116"/>
                  <a:pt x="1077888" y="6611796"/>
                </a:cubicBezTo>
                <a:lnTo>
                  <a:pt x="1077888" y="6590514"/>
                </a:lnTo>
                <a:cubicBezTo>
                  <a:pt x="1081530" y="6579874"/>
                  <a:pt x="1084930" y="6569233"/>
                  <a:pt x="1088572" y="6558592"/>
                </a:cubicBezTo>
                <a:cubicBezTo>
                  <a:pt x="1095856" y="6553366"/>
                  <a:pt x="1102898" y="6547765"/>
                  <a:pt x="1110184" y="6542724"/>
                </a:cubicBezTo>
                <a:cubicBezTo>
                  <a:pt x="1113584" y="6533764"/>
                  <a:pt x="1116984" y="6524990"/>
                  <a:pt x="1120626" y="6516030"/>
                </a:cubicBezTo>
                <a:lnTo>
                  <a:pt x="1093914" y="6505388"/>
                </a:lnTo>
                <a:lnTo>
                  <a:pt x="1093914" y="6489334"/>
                </a:lnTo>
                <a:lnTo>
                  <a:pt x="1110184" y="6489334"/>
                </a:lnTo>
                <a:lnTo>
                  <a:pt x="1136652" y="6489334"/>
                </a:lnTo>
                <a:cubicBezTo>
                  <a:pt x="1140538" y="6480560"/>
                  <a:pt x="1143938" y="6471600"/>
                  <a:pt x="1147336" y="6462639"/>
                </a:cubicBezTo>
                <a:cubicBezTo>
                  <a:pt x="1138352" y="6454052"/>
                  <a:pt x="1129610" y="6444904"/>
                  <a:pt x="1120626" y="6436130"/>
                </a:cubicBezTo>
                <a:cubicBezTo>
                  <a:pt x="1125968" y="6427356"/>
                  <a:pt x="1131310" y="6418396"/>
                  <a:pt x="1136652" y="6409622"/>
                </a:cubicBezTo>
                <a:cubicBezTo>
                  <a:pt x="1138352" y="6399168"/>
                  <a:pt x="1140538" y="6388340"/>
                  <a:pt x="1142238" y="6377700"/>
                </a:cubicBezTo>
                <a:cubicBezTo>
                  <a:pt x="1149036" y="6367059"/>
                  <a:pt x="1156322" y="6356418"/>
                  <a:pt x="1163364" y="6345778"/>
                </a:cubicBezTo>
                <a:cubicBezTo>
                  <a:pt x="1158022" y="6331404"/>
                  <a:pt x="1152678" y="6317589"/>
                  <a:pt x="1147336" y="6303215"/>
                </a:cubicBezTo>
                <a:lnTo>
                  <a:pt x="1104598" y="6313669"/>
                </a:lnTo>
                <a:cubicBezTo>
                  <a:pt x="1097556" y="6299668"/>
                  <a:pt x="1090272" y="6285667"/>
                  <a:pt x="1083230" y="6271480"/>
                </a:cubicBezTo>
                <a:lnTo>
                  <a:pt x="1046076" y="6266066"/>
                </a:lnTo>
                <a:lnTo>
                  <a:pt x="1019366" y="6266066"/>
                </a:lnTo>
                <a:cubicBezTo>
                  <a:pt x="1017666" y="6251692"/>
                  <a:pt x="1015724" y="6237690"/>
                  <a:pt x="1014024" y="6223316"/>
                </a:cubicBezTo>
                <a:cubicBezTo>
                  <a:pt x="1012324" y="6209315"/>
                  <a:pt x="1010138" y="6195128"/>
                  <a:pt x="1008438" y="6180753"/>
                </a:cubicBezTo>
                <a:cubicBezTo>
                  <a:pt x="1005038" y="6170112"/>
                  <a:pt x="1001640" y="6159658"/>
                  <a:pt x="997996" y="6149018"/>
                </a:cubicBezTo>
                <a:lnTo>
                  <a:pt x="949916" y="6101228"/>
                </a:lnTo>
                <a:cubicBezTo>
                  <a:pt x="944574" y="6090587"/>
                  <a:pt x="939476" y="6079946"/>
                  <a:pt x="934376" y="6069306"/>
                </a:cubicBezTo>
                <a:cubicBezTo>
                  <a:pt x="941418" y="6056985"/>
                  <a:pt x="948216" y="6044290"/>
                  <a:pt x="955260" y="6031970"/>
                </a:cubicBezTo>
                <a:cubicBezTo>
                  <a:pt x="967644" y="6019462"/>
                  <a:pt x="980270" y="6007142"/>
                  <a:pt x="992654" y="5994634"/>
                </a:cubicBezTo>
                <a:cubicBezTo>
                  <a:pt x="994354" y="5980446"/>
                  <a:pt x="996298" y="5966445"/>
                  <a:pt x="997996" y="5952258"/>
                </a:cubicBezTo>
                <a:cubicBezTo>
                  <a:pt x="994354" y="5932843"/>
                  <a:pt x="990954" y="5913055"/>
                  <a:pt x="987312" y="5893640"/>
                </a:cubicBezTo>
                <a:lnTo>
                  <a:pt x="934376" y="5867132"/>
                </a:lnTo>
                <a:lnTo>
                  <a:pt x="864684" y="5867132"/>
                </a:lnTo>
                <a:cubicBezTo>
                  <a:pt x="861284" y="5858358"/>
                  <a:pt x="857642" y="5849397"/>
                  <a:pt x="854000" y="5840624"/>
                </a:cubicBezTo>
                <a:cubicBezTo>
                  <a:pt x="857642" y="5829983"/>
                  <a:pt x="861042" y="5819528"/>
                  <a:pt x="864684" y="5808701"/>
                </a:cubicBezTo>
                <a:cubicBezTo>
                  <a:pt x="868326" y="5792647"/>
                  <a:pt x="871726" y="5776779"/>
                  <a:pt x="875368" y="5760538"/>
                </a:cubicBezTo>
                <a:lnTo>
                  <a:pt x="902080" y="5744857"/>
                </a:lnTo>
                <a:lnTo>
                  <a:pt x="902080" y="5712935"/>
                </a:lnTo>
                <a:lnTo>
                  <a:pt x="864684" y="5691653"/>
                </a:lnTo>
                <a:cubicBezTo>
                  <a:pt x="863226" y="5677466"/>
                  <a:pt x="861284" y="5663278"/>
                  <a:pt x="859342" y="5648904"/>
                </a:cubicBezTo>
                <a:cubicBezTo>
                  <a:pt x="854000" y="5625942"/>
                  <a:pt x="848658" y="5602794"/>
                  <a:pt x="843314" y="5580019"/>
                </a:cubicBezTo>
                <a:cubicBezTo>
                  <a:pt x="841616" y="5565831"/>
                  <a:pt x="839672" y="5551457"/>
                  <a:pt x="837972" y="5537456"/>
                </a:cubicBezTo>
                <a:lnTo>
                  <a:pt x="795234" y="5521215"/>
                </a:lnTo>
                <a:cubicBezTo>
                  <a:pt x="790136" y="5509081"/>
                  <a:pt x="784794" y="5496386"/>
                  <a:pt x="779450" y="5484252"/>
                </a:cubicBezTo>
                <a:cubicBezTo>
                  <a:pt x="775808" y="5479026"/>
                  <a:pt x="772408" y="5473612"/>
                  <a:pt x="768766" y="5468198"/>
                </a:cubicBezTo>
                <a:lnTo>
                  <a:pt x="662164" y="5468198"/>
                </a:lnTo>
                <a:lnTo>
                  <a:pt x="624768" y="5473612"/>
                </a:lnTo>
                <a:lnTo>
                  <a:pt x="582030" y="5489666"/>
                </a:lnTo>
                <a:cubicBezTo>
                  <a:pt x="583730" y="5473612"/>
                  <a:pt x="585674" y="5457744"/>
                  <a:pt x="587374" y="5441503"/>
                </a:cubicBezTo>
                <a:lnTo>
                  <a:pt x="603400" y="5409581"/>
                </a:lnTo>
                <a:lnTo>
                  <a:pt x="635696" y="5414994"/>
                </a:lnTo>
                <a:lnTo>
                  <a:pt x="688876" y="5399127"/>
                </a:lnTo>
                <a:cubicBezTo>
                  <a:pt x="692276" y="5390353"/>
                  <a:pt x="695918" y="5381206"/>
                  <a:pt x="699318" y="5372432"/>
                </a:cubicBezTo>
                <a:cubicBezTo>
                  <a:pt x="692276" y="5358430"/>
                  <a:pt x="685476" y="5344243"/>
                  <a:pt x="678434" y="5330055"/>
                </a:cubicBezTo>
                <a:cubicBezTo>
                  <a:pt x="673092" y="5322962"/>
                  <a:pt x="667506" y="5316054"/>
                  <a:pt x="662164" y="5308774"/>
                </a:cubicBezTo>
                <a:lnTo>
                  <a:pt x="619426" y="5287306"/>
                </a:lnTo>
                <a:lnTo>
                  <a:pt x="619426" y="5255384"/>
                </a:lnTo>
                <a:cubicBezTo>
                  <a:pt x="616028" y="5244930"/>
                  <a:pt x="612628" y="5234102"/>
                  <a:pt x="608742" y="5223648"/>
                </a:cubicBezTo>
                <a:lnTo>
                  <a:pt x="564752" y="5228637"/>
                </a:lnTo>
                <a:lnTo>
                  <a:pt x="564402" y="5229265"/>
                </a:lnTo>
                <a:cubicBezTo>
                  <a:pt x="555428" y="5231243"/>
                  <a:pt x="553736" y="5228006"/>
                  <a:pt x="544874" y="5229624"/>
                </a:cubicBezTo>
                <a:lnTo>
                  <a:pt x="523428" y="5256424"/>
                </a:lnTo>
                <a:lnTo>
                  <a:pt x="502036" y="5261640"/>
                </a:lnTo>
                <a:lnTo>
                  <a:pt x="464672" y="5240416"/>
                </a:lnTo>
                <a:lnTo>
                  <a:pt x="438034" y="5240416"/>
                </a:lnTo>
                <a:lnTo>
                  <a:pt x="411224" y="5245812"/>
                </a:lnTo>
                <a:lnTo>
                  <a:pt x="384584" y="5224588"/>
                </a:lnTo>
                <a:lnTo>
                  <a:pt x="347220" y="5213797"/>
                </a:lnTo>
                <a:lnTo>
                  <a:pt x="304496" y="5213797"/>
                </a:lnTo>
                <a:lnTo>
                  <a:pt x="288466" y="5176565"/>
                </a:lnTo>
                <a:lnTo>
                  <a:pt x="261658" y="5181781"/>
                </a:lnTo>
                <a:cubicBezTo>
                  <a:pt x="263464" y="5188976"/>
                  <a:pt x="265326" y="5195990"/>
                  <a:pt x="267132" y="5203185"/>
                </a:cubicBezTo>
                <a:lnTo>
                  <a:pt x="229768" y="5213797"/>
                </a:lnTo>
                <a:lnTo>
                  <a:pt x="197654" y="5213797"/>
                </a:lnTo>
                <a:lnTo>
                  <a:pt x="197654" y="5192573"/>
                </a:lnTo>
                <a:lnTo>
                  <a:pt x="176320" y="5181781"/>
                </a:lnTo>
                <a:lnTo>
                  <a:pt x="154872" y="5208401"/>
                </a:lnTo>
                <a:lnTo>
                  <a:pt x="128232" y="5160558"/>
                </a:lnTo>
                <a:lnTo>
                  <a:pt x="117452" y="5150126"/>
                </a:lnTo>
                <a:lnTo>
                  <a:pt x="149566" y="5139334"/>
                </a:lnTo>
                <a:lnTo>
                  <a:pt x="149566" y="5112714"/>
                </a:lnTo>
                <a:lnTo>
                  <a:pt x="165596" y="5086095"/>
                </a:lnTo>
                <a:lnTo>
                  <a:pt x="154872" y="5064871"/>
                </a:lnTo>
                <a:lnTo>
                  <a:pt x="176320" y="5070087"/>
                </a:lnTo>
                <a:lnTo>
                  <a:pt x="202960" y="5070087"/>
                </a:lnTo>
                <a:cubicBezTo>
                  <a:pt x="201210" y="5059475"/>
                  <a:pt x="199348" y="5048863"/>
                  <a:pt x="197654" y="5038072"/>
                </a:cubicBezTo>
                <a:lnTo>
                  <a:pt x="160290" y="5027640"/>
                </a:lnTo>
                <a:cubicBezTo>
                  <a:pt x="156678" y="5018826"/>
                  <a:pt x="153178" y="5009833"/>
                  <a:pt x="149566" y="5001020"/>
                </a:cubicBezTo>
                <a:lnTo>
                  <a:pt x="176320" y="4985012"/>
                </a:lnTo>
                <a:lnTo>
                  <a:pt x="208264" y="4958573"/>
                </a:lnTo>
                <a:lnTo>
                  <a:pt x="229768" y="4942385"/>
                </a:lnTo>
                <a:lnTo>
                  <a:pt x="229768" y="4915945"/>
                </a:lnTo>
                <a:cubicBezTo>
                  <a:pt x="231462" y="4907132"/>
                  <a:pt x="233212" y="4898139"/>
                  <a:pt x="235018" y="4889326"/>
                </a:cubicBezTo>
                <a:lnTo>
                  <a:pt x="261658" y="4878534"/>
                </a:lnTo>
                <a:lnTo>
                  <a:pt x="288466" y="4852094"/>
                </a:lnTo>
                <a:lnTo>
                  <a:pt x="288466" y="4814863"/>
                </a:lnTo>
                <a:lnTo>
                  <a:pt x="272438" y="4788244"/>
                </a:lnTo>
                <a:lnTo>
                  <a:pt x="219044" y="4761624"/>
                </a:lnTo>
                <a:lnTo>
                  <a:pt x="197654" y="4729608"/>
                </a:lnTo>
                <a:cubicBezTo>
                  <a:pt x="201210" y="4715399"/>
                  <a:pt x="204822" y="4701370"/>
                  <a:pt x="208264" y="4686981"/>
                </a:cubicBezTo>
                <a:cubicBezTo>
                  <a:pt x="204822" y="4665758"/>
                  <a:pt x="201210" y="4644534"/>
                  <a:pt x="197654" y="4623310"/>
                </a:cubicBezTo>
                <a:lnTo>
                  <a:pt x="160290" y="4601906"/>
                </a:lnTo>
                <a:lnTo>
                  <a:pt x="138956" y="4575467"/>
                </a:lnTo>
                <a:lnTo>
                  <a:pt x="128232" y="4543451"/>
                </a:lnTo>
                <a:cubicBezTo>
                  <a:pt x="126426" y="4536437"/>
                  <a:pt x="124734" y="4529422"/>
                  <a:pt x="122926" y="4522228"/>
                </a:cubicBezTo>
                <a:lnTo>
                  <a:pt x="144204" y="4511616"/>
                </a:lnTo>
                <a:cubicBezTo>
                  <a:pt x="146012" y="4499205"/>
                  <a:pt x="147818" y="4486615"/>
                  <a:pt x="149566" y="4474205"/>
                </a:cubicBezTo>
                <a:lnTo>
                  <a:pt x="128232" y="4399742"/>
                </a:lnTo>
                <a:lnTo>
                  <a:pt x="90812" y="4389130"/>
                </a:lnTo>
                <a:cubicBezTo>
                  <a:pt x="92562" y="4383734"/>
                  <a:pt x="94368" y="4378518"/>
                  <a:pt x="96118" y="4373122"/>
                </a:cubicBezTo>
                <a:lnTo>
                  <a:pt x="85508" y="4346682"/>
                </a:lnTo>
                <a:lnTo>
                  <a:pt x="26640" y="4346682"/>
                </a:lnTo>
                <a:lnTo>
                  <a:pt x="0" y="4320063"/>
                </a:lnTo>
                <a:lnTo>
                  <a:pt x="26640" y="4309451"/>
                </a:lnTo>
                <a:lnTo>
                  <a:pt x="48144" y="4298839"/>
                </a:lnTo>
                <a:lnTo>
                  <a:pt x="80088" y="4272220"/>
                </a:lnTo>
                <a:lnTo>
                  <a:pt x="85508" y="4234988"/>
                </a:lnTo>
                <a:lnTo>
                  <a:pt x="117452" y="4234988"/>
                </a:lnTo>
                <a:lnTo>
                  <a:pt x="138956" y="4213585"/>
                </a:lnTo>
                <a:lnTo>
                  <a:pt x="176320" y="4218981"/>
                </a:lnTo>
                <a:lnTo>
                  <a:pt x="192236" y="4192361"/>
                </a:lnTo>
                <a:cubicBezTo>
                  <a:pt x="183374" y="4091279"/>
                  <a:pt x="174514" y="3990196"/>
                  <a:pt x="165596" y="3889114"/>
                </a:cubicBezTo>
                <a:cubicBezTo>
                  <a:pt x="160290" y="3811054"/>
                  <a:pt x="154872" y="3733174"/>
                  <a:pt x="149566" y="3655114"/>
                </a:cubicBezTo>
                <a:lnTo>
                  <a:pt x="74784" y="3538023"/>
                </a:lnTo>
                <a:lnTo>
                  <a:pt x="24382" y="3463021"/>
                </a:lnTo>
                <a:lnTo>
                  <a:pt x="35314" y="3461669"/>
                </a:lnTo>
                <a:lnTo>
                  <a:pt x="19064" y="3458242"/>
                </a:lnTo>
                <a:cubicBezTo>
                  <a:pt x="19930" y="3452423"/>
                  <a:pt x="20876" y="3446723"/>
                  <a:pt x="21742" y="3440905"/>
                </a:cubicBezTo>
                <a:cubicBezTo>
                  <a:pt x="26544" y="3432830"/>
                  <a:pt x="31426" y="3424874"/>
                  <a:pt x="36230" y="3416800"/>
                </a:cubicBezTo>
                <a:lnTo>
                  <a:pt x="44182" y="3394119"/>
                </a:lnTo>
                <a:lnTo>
                  <a:pt x="61426" y="3404806"/>
                </a:lnTo>
                <a:lnTo>
                  <a:pt x="106386" y="3399463"/>
                </a:lnTo>
                <a:lnTo>
                  <a:pt x="139458" y="3388776"/>
                </a:lnTo>
                <a:lnTo>
                  <a:pt x="168592" y="3360752"/>
                </a:lnTo>
                <a:lnTo>
                  <a:pt x="216230" y="3346028"/>
                </a:lnTo>
                <a:lnTo>
                  <a:pt x="258592" y="3346028"/>
                </a:lnTo>
                <a:lnTo>
                  <a:pt x="281110" y="3287249"/>
                </a:lnTo>
                <a:lnTo>
                  <a:pt x="271820" y="3271218"/>
                </a:lnTo>
                <a:lnTo>
                  <a:pt x="306228" y="3271218"/>
                </a:lnTo>
                <a:lnTo>
                  <a:pt x="359142" y="3261838"/>
                </a:lnTo>
                <a:cubicBezTo>
                  <a:pt x="361820" y="3273000"/>
                  <a:pt x="364418" y="3284162"/>
                  <a:pt x="367094" y="3295324"/>
                </a:cubicBezTo>
                <a:lnTo>
                  <a:pt x="416072" y="3295324"/>
                </a:lnTo>
                <a:lnTo>
                  <a:pt x="443866" y="3284637"/>
                </a:lnTo>
                <a:cubicBezTo>
                  <a:pt x="444732" y="3261481"/>
                  <a:pt x="445678" y="3238326"/>
                  <a:pt x="446544" y="3215171"/>
                </a:cubicBezTo>
                <a:cubicBezTo>
                  <a:pt x="450086" y="3206740"/>
                  <a:pt x="453552" y="3198191"/>
                  <a:pt x="457094" y="3189760"/>
                </a:cubicBezTo>
                <a:lnTo>
                  <a:pt x="416072" y="3161736"/>
                </a:lnTo>
                <a:cubicBezTo>
                  <a:pt x="413000" y="3148793"/>
                  <a:pt x="409850" y="3135968"/>
                  <a:pt x="406780" y="3123025"/>
                </a:cubicBezTo>
                <a:lnTo>
                  <a:pt x="438590" y="3102957"/>
                </a:lnTo>
                <a:cubicBezTo>
                  <a:pt x="437252" y="3092745"/>
                  <a:pt x="435914" y="3082414"/>
                  <a:pt x="434576" y="3072202"/>
                </a:cubicBezTo>
                <a:lnTo>
                  <a:pt x="471662" y="3057478"/>
                </a:lnTo>
                <a:lnTo>
                  <a:pt x="514024" y="3044179"/>
                </a:lnTo>
                <a:cubicBezTo>
                  <a:pt x="516702" y="3035748"/>
                  <a:pt x="519300" y="3027198"/>
                  <a:pt x="521976" y="3018767"/>
                </a:cubicBezTo>
                <a:lnTo>
                  <a:pt x="488828" y="2980056"/>
                </a:lnTo>
                <a:cubicBezTo>
                  <a:pt x="490638" y="2965807"/>
                  <a:pt x="492370" y="2951558"/>
                  <a:pt x="494182" y="2937308"/>
                </a:cubicBezTo>
                <a:lnTo>
                  <a:pt x="521976" y="2906553"/>
                </a:lnTo>
                <a:lnTo>
                  <a:pt x="553708" y="2883873"/>
                </a:lnTo>
                <a:lnTo>
                  <a:pt x="623866" y="2859887"/>
                </a:lnTo>
                <a:lnTo>
                  <a:pt x="659536" y="2827826"/>
                </a:lnTo>
                <a:lnTo>
                  <a:pt x="696622" y="2801108"/>
                </a:lnTo>
                <a:lnTo>
                  <a:pt x="721740" y="2760972"/>
                </a:lnTo>
                <a:lnTo>
                  <a:pt x="758826" y="2783653"/>
                </a:lnTo>
                <a:lnTo>
                  <a:pt x="786622" y="2738292"/>
                </a:lnTo>
                <a:cubicBezTo>
                  <a:pt x="789300" y="2728911"/>
                  <a:pt x="791898" y="2719649"/>
                  <a:pt x="794574" y="2710268"/>
                </a:cubicBezTo>
                <a:cubicBezTo>
                  <a:pt x="798512" y="2694713"/>
                  <a:pt x="802528" y="2679038"/>
                  <a:pt x="806464" y="2663483"/>
                </a:cubicBezTo>
                <a:lnTo>
                  <a:pt x="761504" y="2658139"/>
                </a:lnTo>
                <a:lnTo>
                  <a:pt x="738984" y="2646146"/>
                </a:lnTo>
                <a:lnTo>
                  <a:pt x="704574" y="2635459"/>
                </a:lnTo>
                <a:lnTo>
                  <a:pt x="686070" y="2582024"/>
                </a:lnTo>
                <a:lnTo>
                  <a:pt x="643708" y="2388351"/>
                </a:lnTo>
                <a:lnTo>
                  <a:pt x="621190" y="2377664"/>
                </a:lnTo>
                <a:lnTo>
                  <a:pt x="581504" y="2346909"/>
                </a:lnTo>
                <a:lnTo>
                  <a:pt x="551032" y="2333610"/>
                </a:lnTo>
                <a:lnTo>
                  <a:pt x="502056" y="2313542"/>
                </a:lnTo>
                <a:lnTo>
                  <a:pt x="508670" y="2270794"/>
                </a:lnTo>
                <a:lnTo>
                  <a:pt x="509000" y="2270739"/>
                </a:lnTo>
                <a:lnTo>
                  <a:pt x="508016" y="2270792"/>
                </a:lnTo>
                <a:lnTo>
                  <a:pt x="502602" y="2244653"/>
                </a:lnTo>
                <a:lnTo>
                  <a:pt x="453858" y="2228986"/>
                </a:lnTo>
                <a:lnTo>
                  <a:pt x="426770" y="2181986"/>
                </a:lnTo>
                <a:lnTo>
                  <a:pt x="410530" y="2098375"/>
                </a:lnTo>
                <a:lnTo>
                  <a:pt x="426770" y="2098375"/>
                </a:lnTo>
                <a:lnTo>
                  <a:pt x="426770" y="2066999"/>
                </a:lnTo>
                <a:lnTo>
                  <a:pt x="415944" y="2025236"/>
                </a:lnTo>
                <a:lnTo>
                  <a:pt x="378028" y="2040902"/>
                </a:lnTo>
                <a:lnTo>
                  <a:pt x="367200" y="2019999"/>
                </a:lnTo>
                <a:lnTo>
                  <a:pt x="388856" y="2009569"/>
                </a:lnTo>
                <a:lnTo>
                  <a:pt x="367200" y="1993860"/>
                </a:lnTo>
                <a:lnTo>
                  <a:pt x="323870" y="1988666"/>
                </a:lnTo>
                <a:lnTo>
                  <a:pt x="345526" y="1973000"/>
                </a:lnTo>
                <a:lnTo>
                  <a:pt x="378028" y="1962569"/>
                </a:lnTo>
                <a:cubicBezTo>
                  <a:pt x="379814" y="1957291"/>
                  <a:pt x="381636" y="1952097"/>
                  <a:pt x="383442" y="1946860"/>
                </a:cubicBezTo>
                <a:lnTo>
                  <a:pt x="394288" y="1910291"/>
                </a:lnTo>
                <a:lnTo>
                  <a:pt x="415944" y="1899860"/>
                </a:lnTo>
                <a:lnTo>
                  <a:pt x="437598" y="1894624"/>
                </a:lnTo>
                <a:cubicBezTo>
                  <a:pt x="435794" y="1887656"/>
                  <a:pt x="433972" y="1880689"/>
                  <a:pt x="432184" y="1873721"/>
                </a:cubicBezTo>
                <a:lnTo>
                  <a:pt x="406184" y="1848511"/>
                </a:lnTo>
                <a:lnTo>
                  <a:pt x="410296" y="1848163"/>
                </a:lnTo>
                <a:lnTo>
                  <a:pt x="402310" y="1844199"/>
                </a:lnTo>
                <a:cubicBezTo>
                  <a:pt x="400156" y="1834447"/>
                  <a:pt x="397764" y="1824572"/>
                  <a:pt x="395610" y="1814820"/>
                </a:cubicBezTo>
                <a:lnTo>
                  <a:pt x="422174" y="1796169"/>
                </a:lnTo>
                <a:cubicBezTo>
                  <a:pt x="430070" y="1790318"/>
                  <a:pt x="438208" y="1784588"/>
                  <a:pt x="446104" y="1778737"/>
                </a:cubicBezTo>
                <a:lnTo>
                  <a:pt x="474104" y="1788123"/>
                </a:lnTo>
                <a:lnTo>
                  <a:pt x="515264" y="1796169"/>
                </a:lnTo>
                <a:lnTo>
                  <a:pt x="575092" y="1814820"/>
                </a:lnTo>
                <a:lnTo>
                  <a:pt x="608356" y="1802752"/>
                </a:lnTo>
                <a:lnTo>
                  <a:pt x="644252" y="1781419"/>
                </a:lnTo>
                <a:cubicBezTo>
                  <a:pt x="637074" y="1764596"/>
                  <a:pt x="630134" y="1747651"/>
                  <a:pt x="622954" y="1730829"/>
                </a:cubicBezTo>
                <a:cubicBezTo>
                  <a:pt x="615774" y="1722783"/>
                  <a:pt x="608834" y="1714859"/>
                  <a:pt x="601656" y="1706814"/>
                </a:cubicBezTo>
                <a:lnTo>
                  <a:pt x="638988" y="1701450"/>
                </a:lnTo>
                <a:lnTo>
                  <a:pt x="680148" y="1737412"/>
                </a:lnTo>
                <a:cubicBezTo>
                  <a:pt x="685892" y="1753381"/>
                  <a:pt x="691636" y="1769472"/>
                  <a:pt x="697378" y="1785441"/>
                </a:cubicBezTo>
                <a:cubicBezTo>
                  <a:pt x="701926" y="1795194"/>
                  <a:pt x="706234" y="1805068"/>
                  <a:pt x="710780" y="1814820"/>
                </a:cubicBezTo>
                <a:cubicBezTo>
                  <a:pt x="717480" y="1821891"/>
                  <a:pt x="723942" y="1829083"/>
                  <a:pt x="730642" y="1836153"/>
                </a:cubicBezTo>
                <a:lnTo>
                  <a:pt x="704080" y="1868092"/>
                </a:lnTo>
                <a:cubicBezTo>
                  <a:pt x="713892" y="1880526"/>
                  <a:pt x="723464" y="1893082"/>
                  <a:pt x="733276" y="1905516"/>
                </a:cubicBezTo>
                <a:cubicBezTo>
                  <a:pt x="744284" y="1916609"/>
                  <a:pt x="755532" y="1927703"/>
                  <a:pt x="766540" y="1938796"/>
                </a:cubicBezTo>
                <a:cubicBezTo>
                  <a:pt x="771804" y="1931725"/>
                  <a:pt x="777308" y="1924533"/>
                  <a:pt x="782574" y="1917463"/>
                </a:cubicBezTo>
                <a:cubicBezTo>
                  <a:pt x="787838" y="1910392"/>
                  <a:pt x="793102" y="1903200"/>
                  <a:pt x="798368" y="1896130"/>
                </a:cubicBezTo>
                <a:lnTo>
                  <a:pt x="769172" y="1881501"/>
                </a:lnTo>
                <a:cubicBezTo>
                  <a:pt x="758642" y="1876137"/>
                  <a:pt x="747874" y="1870896"/>
                  <a:pt x="737344" y="1865532"/>
                </a:cubicBezTo>
                <a:cubicBezTo>
                  <a:pt x="735190" y="1854439"/>
                  <a:pt x="732796" y="1843224"/>
                  <a:pt x="730642" y="1832130"/>
                </a:cubicBezTo>
                <a:lnTo>
                  <a:pt x="766540" y="1832130"/>
                </a:lnTo>
                <a:cubicBezTo>
                  <a:pt x="771326" y="1824085"/>
                  <a:pt x="776352" y="1816161"/>
                  <a:pt x="781138" y="1808115"/>
                </a:cubicBezTo>
                <a:lnTo>
                  <a:pt x="854366" y="1802752"/>
                </a:lnTo>
                <a:cubicBezTo>
                  <a:pt x="864416" y="1790805"/>
                  <a:pt x="874708" y="1778737"/>
                  <a:pt x="884758" y="1766790"/>
                </a:cubicBezTo>
                <a:lnTo>
                  <a:pt x="939320" y="1736071"/>
                </a:lnTo>
                <a:lnTo>
                  <a:pt x="1040310" y="1736071"/>
                </a:lnTo>
                <a:lnTo>
                  <a:pt x="1150870" y="1728147"/>
                </a:lnTo>
                <a:lnTo>
                  <a:pt x="1258560" y="1713397"/>
                </a:lnTo>
                <a:lnTo>
                  <a:pt x="1319584" y="1728147"/>
                </a:lnTo>
                <a:lnTo>
                  <a:pt x="1343514" y="1745457"/>
                </a:lnTo>
                <a:lnTo>
                  <a:pt x="1306422" y="1752162"/>
                </a:lnTo>
                <a:lnTo>
                  <a:pt x="1276986" y="1745457"/>
                </a:lnTo>
                <a:cubicBezTo>
                  <a:pt x="1281772" y="1769472"/>
                  <a:pt x="1286798" y="1793487"/>
                  <a:pt x="1291584" y="1817502"/>
                </a:cubicBezTo>
                <a:lnTo>
                  <a:pt x="1456468" y="1860168"/>
                </a:lnTo>
                <a:lnTo>
                  <a:pt x="1494996" y="1880160"/>
                </a:lnTo>
                <a:cubicBezTo>
                  <a:pt x="1492364" y="1870408"/>
                  <a:pt x="1489732" y="1860534"/>
                  <a:pt x="1487100" y="1850782"/>
                </a:cubicBezTo>
                <a:lnTo>
                  <a:pt x="1622788" y="1836153"/>
                </a:lnTo>
                <a:lnTo>
                  <a:pt x="1718512" y="1800192"/>
                </a:lnTo>
                <a:lnTo>
                  <a:pt x="1780972" y="1796169"/>
                </a:lnTo>
                <a:cubicBezTo>
                  <a:pt x="1788150" y="1784101"/>
                  <a:pt x="1795090" y="1772154"/>
                  <a:pt x="1802270" y="1760086"/>
                </a:cubicBezTo>
                <a:lnTo>
                  <a:pt x="1844866" y="1773495"/>
                </a:lnTo>
                <a:cubicBezTo>
                  <a:pt x="1855396" y="1768985"/>
                  <a:pt x="1866166" y="1764596"/>
                  <a:pt x="1876696" y="1760086"/>
                </a:cubicBezTo>
                <a:cubicBezTo>
                  <a:pt x="1874062" y="1749480"/>
                  <a:pt x="1871430" y="1738753"/>
                  <a:pt x="1868798" y="1728147"/>
                </a:cubicBezTo>
                <a:cubicBezTo>
                  <a:pt x="1865686" y="1717054"/>
                  <a:pt x="1862576" y="1705839"/>
                  <a:pt x="1859464" y="1694745"/>
                </a:cubicBezTo>
                <a:cubicBezTo>
                  <a:pt x="1860422" y="1684993"/>
                  <a:pt x="1861140" y="1675119"/>
                  <a:pt x="1862098" y="1665367"/>
                </a:cubicBezTo>
                <a:cubicBezTo>
                  <a:pt x="1847500" y="1648057"/>
                  <a:pt x="1832662" y="1630746"/>
                  <a:pt x="1818064" y="1613436"/>
                </a:cubicBezTo>
                <a:cubicBezTo>
                  <a:pt x="1811124" y="1606366"/>
                  <a:pt x="1803944" y="1599173"/>
                  <a:pt x="1797004" y="1592103"/>
                </a:cubicBezTo>
                <a:cubicBezTo>
                  <a:pt x="1799638" y="1577840"/>
                  <a:pt x="1802270" y="1563700"/>
                  <a:pt x="1804902" y="1549437"/>
                </a:cubicBezTo>
                <a:cubicBezTo>
                  <a:pt x="1800116" y="1539685"/>
                  <a:pt x="1795090" y="1529810"/>
                  <a:pt x="1790304" y="1520058"/>
                </a:cubicBezTo>
                <a:cubicBezTo>
                  <a:pt x="1791500" y="1507624"/>
                  <a:pt x="1792936" y="1495190"/>
                  <a:pt x="1794134" y="1482756"/>
                </a:cubicBezTo>
                <a:cubicBezTo>
                  <a:pt x="1804902" y="1489826"/>
                  <a:pt x="1815432" y="1497018"/>
                  <a:pt x="1826200" y="1504089"/>
                </a:cubicBezTo>
                <a:lnTo>
                  <a:pt x="1852764" y="1496043"/>
                </a:lnTo>
                <a:cubicBezTo>
                  <a:pt x="1850132" y="1484097"/>
                  <a:pt x="1847500" y="1472028"/>
                  <a:pt x="1844866" y="1460082"/>
                </a:cubicBezTo>
                <a:cubicBezTo>
                  <a:pt x="1849654" y="1451670"/>
                  <a:pt x="1854678" y="1443137"/>
                  <a:pt x="1859464" y="1434726"/>
                </a:cubicBezTo>
                <a:lnTo>
                  <a:pt x="1925754" y="1438749"/>
                </a:lnTo>
                <a:lnTo>
                  <a:pt x="1960454" y="1448013"/>
                </a:lnTo>
                <a:cubicBezTo>
                  <a:pt x="1962608" y="1437774"/>
                  <a:pt x="1965000" y="1427534"/>
                  <a:pt x="1967154" y="1417294"/>
                </a:cubicBezTo>
                <a:cubicBezTo>
                  <a:pt x="1972898" y="1425339"/>
                  <a:pt x="1978640" y="1433263"/>
                  <a:pt x="1984384" y="1441309"/>
                </a:cubicBezTo>
                <a:lnTo>
                  <a:pt x="2020280" y="1470687"/>
                </a:lnTo>
                <a:cubicBezTo>
                  <a:pt x="2024348" y="1463129"/>
                  <a:pt x="2028178" y="1455571"/>
                  <a:pt x="2032246" y="1448013"/>
                </a:cubicBezTo>
                <a:cubicBezTo>
                  <a:pt x="2040144" y="1455571"/>
                  <a:pt x="2048280" y="1463129"/>
                  <a:pt x="2056176" y="1470687"/>
                </a:cubicBezTo>
                <a:cubicBezTo>
                  <a:pt x="2063356" y="1477758"/>
                  <a:pt x="2070296" y="1484950"/>
                  <a:pt x="2077476" y="1492020"/>
                </a:cubicBezTo>
                <a:cubicBezTo>
                  <a:pt x="2079630" y="1483975"/>
                  <a:pt x="2082022" y="1476051"/>
                  <a:pt x="2084176" y="1468005"/>
                </a:cubicBezTo>
                <a:cubicBezTo>
                  <a:pt x="2093988" y="1454230"/>
                  <a:pt x="2103560" y="1440455"/>
                  <a:pt x="2113372" y="1426680"/>
                </a:cubicBezTo>
                <a:lnTo>
                  <a:pt x="2134670" y="1446672"/>
                </a:lnTo>
                <a:lnTo>
                  <a:pt x="2177028" y="1460082"/>
                </a:lnTo>
                <a:lnTo>
                  <a:pt x="2210292" y="1456059"/>
                </a:lnTo>
                <a:lnTo>
                  <a:pt x="2175832" y="1426680"/>
                </a:lnTo>
                <a:cubicBezTo>
                  <a:pt x="2181096" y="1419610"/>
                  <a:pt x="2186600" y="1412418"/>
                  <a:pt x="2191866" y="1405347"/>
                </a:cubicBezTo>
                <a:lnTo>
                  <a:pt x="2335450" y="1405347"/>
                </a:lnTo>
                <a:lnTo>
                  <a:pt x="2371348" y="1410711"/>
                </a:lnTo>
                <a:lnTo>
                  <a:pt x="2377808" y="1456059"/>
                </a:lnTo>
                <a:lnTo>
                  <a:pt x="2413704" y="1446672"/>
                </a:lnTo>
                <a:lnTo>
                  <a:pt x="2413704" y="1419976"/>
                </a:lnTo>
                <a:lnTo>
                  <a:pt x="2449602" y="1446672"/>
                </a:lnTo>
                <a:cubicBezTo>
                  <a:pt x="2451756" y="1454718"/>
                  <a:pt x="2454148" y="1462642"/>
                  <a:pt x="2456302" y="1470687"/>
                </a:cubicBezTo>
                <a:lnTo>
                  <a:pt x="2492198" y="1448013"/>
                </a:lnTo>
                <a:cubicBezTo>
                  <a:pt x="2497942" y="1467640"/>
                  <a:pt x="2503686" y="1487144"/>
                  <a:pt x="2509428" y="1506771"/>
                </a:cubicBezTo>
                <a:lnTo>
                  <a:pt x="2557290" y="1520058"/>
                </a:lnTo>
                <a:lnTo>
                  <a:pt x="2549394" y="1546755"/>
                </a:lnTo>
                <a:cubicBezTo>
                  <a:pt x="2542214" y="1557848"/>
                  <a:pt x="2535274" y="1568941"/>
                  <a:pt x="2528094" y="1580035"/>
                </a:cubicBezTo>
                <a:lnTo>
                  <a:pt x="2570692" y="1584057"/>
                </a:lnTo>
                <a:cubicBezTo>
                  <a:pt x="2569256" y="1594785"/>
                  <a:pt x="2568060" y="1605390"/>
                  <a:pt x="2566624" y="1616118"/>
                </a:cubicBezTo>
                <a:lnTo>
                  <a:pt x="2537428" y="1620019"/>
                </a:lnTo>
                <a:cubicBezTo>
                  <a:pt x="2540060" y="1634769"/>
                  <a:pt x="2542692" y="1649397"/>
                  <a:pt x="2545326" y="1664148"/>
                </a:cubicBezTo>
                <a:cubicBezTo>
                  <a:pt x="2549394" y="1673412"/>
                  <a:pt x="2553222" y="1682799"/>
                  <a:pt x="2557290" y="1692064"/>
                </a:cubicBezTo>
                <a:lnTo>
                  <a:pt x="2599888" y="1680117"/>
                </a:lnTo>
                <a:lnTo>
                  <a:pt x="2645116" y="1694745"/>
                </a:lnTo>
                <a:cubicBezTo>
                  <a:pt x="2649904" y="1705839"/>
                  <a:pt x="2654928" y="1717054"/>
                  <a:pt x="2659716" y="1728147"/>
                </a:cubicBezTo>
                <a:cubicBezTo>
                  <a:pt x="2663784" y="1735217"/>
                  <a:pt x="2667612" y="1742410"/>
                  <a:pt x="2671680" y="1749480"/>
                </a:cubicBezTo>
                <a:cubicBezTo>
                  <a:pt x="2669048" y="1761427"/>
                  <a:pt x="2666416" y="1773495"/>
                  <a:pt x="2663784" y="1785441"/>
                </a:cubicBezTo>
                <a:lnTo>
                  <a:pt x="2627886" y="1802752"/>
                </a:lnTo>
                <a:lnTo>
                  <a:pt x="2581222" y="1814820"/>
                </a:lnTo>
                <a:lnTo>
                  <a:pt x="2545326" y="1796169"/>
                </a:lnTo>
                <a:lnTo>
                  <a:pt x="2501532" y="1778737"/>
                </a:lnTo>
                <a:lnTo>
                  <a:pt x="2456302" y="1778737"/>
                </a:lnTo>
                <a:lnTo>
                  <a:pt x="2501532" y="1809456"/>
                </a:lnTo>
                <a:lnTo>
                  <a:pt x="2587922" y="1850782"/>
                </a:lnTo>
                <a:lnTo>
                  <a:pt x="2657082" y="1909539"/>
                </a:lnTo>
                <a:lnTo>
                  <a:pt x="2692980" y="1896130"/>
                </a:lnTo>
                <a:lnTo>
                  <a:pt x="2692980" y="1872115"/>
                </a:lnTo>
                <a:lnTo>
                  <a:pt x="2671680" y="1860168"/>
                </a:lnTo>
                <a:cubicBezTo>
                  <a:pt x="2660672" y="1848100"/>
                  <a:pt x="2649424" y="1836153"/>
                  <a:pt x="2638416" y="1824085"/>
                </a:cubicBezTo>
                <a:lnTo>
                  <a:pt x="2666416" y="1817502"/>
                </a:lnTo>
                <a:lnTo>
                  <a:pt x="2731508" y="1868092"/>
                </a:lnTo>
                <a:lnTo>
                  <a:pt x="2764772" y="1905516"/>
                </a:lnTo>
                <a:lnTo>
                  <a:pt x="2723610" y="1917463"/>
                </a:lnTo>
                <a:lnTo>
                  <a:pt x="2695612" y="1926849"/>
                </a:lnTo>
                <a:lnTo>
                  <a:pt x="2695612" y="1948182"/>
                </a:lnTo>
                <a:cubicBezTo>
                  <a:pt x="2700398" y="1954399"/>
                  <a:pt x="2705424" y="1960616"/>
                  <a:pt x="2710210" y="1966833"/>
                </a:cubicBezTo>
                <a:cubicBezTo>
                  <a:pt x="2716432" y="1959763"/>
                  <a:pt x="2722654" y="1952571"/>
                  <a:pt x="2728876" y="1945500"/>
                </a:cubicBezTo>
                <a:cubicBezTo>
                  <a:pt x="2736054" y="1951230"/>
                  <a:pt x="2742994" y="1957081"/>
                  <a:pt x="2750174" y="1962811"/>
                </a:cubicBezTo>
                <a:lnTo>
                  <a:pt x="2782496" y="1980707"/>
                </a:lnTo>
                <a:lnTo>
                  <a:pt x="2783302" y="1980208"/>
                </a:lnTo>
                <a:lnTo>
                  <a:pt x="2784776" y="1981970"/>
                </a:lnTo>
                <a:cubicBezTo>
                  <a:pt x="2786078" y="1982705"/>
                  <a:pt x="2787388" y="1983425"/>
                  <a:pt x="2788702" y="1984144"/>
                </a:cubicBezTo>
                <a:lnTo>
                  <a:pt x="2789292" y="1987368"/>
                </a:lnTo>
                <a:cubicBezTo>
                  <a:pt x="2796228" y="1995637"/>
                  <a:pt x="2802992" y="2003821"/>
                  <a:pt x="2810044" y="2012179"/>
                </a:cubicBezTo>
                <a:lnTo>
                  <a:pt x="2857800" y="2022933"/>
                </a:lnTo>
                <a:cubicBezTo>
                  <a:pt x="2864964" y="2037175"/>
                  <a:pt x="2872126" y="2051126"/>
                  <a:pt x="2879290" y="2065368"/>
                </a:cubicBezTo>
                <a:lnTo>
                  <a:pt x="2905556" y="2081354"/>
                </a:lnTo>
                <a:lnTo>
                  <a:pt x="2942804" y="2076122"/>
                </a:lnTo>
                <a:lnTo>
                  <a:pt x="2980054" y="2070891"/>
                </a:lnTo>
                <a:lnTo>
                  <a:pt x="2980054" y="2102572"/>
                </a:lnTo>
                <a:lnTo>
                  <a:pt x="3022556" y="2102572"/>
                </a:lnTo>
                <a:cubicBezTo>
                  <a:pt x="3027810" y="2090074"/>
                  <a:pt x="3033540" y="2077866"/>
                  <a:pt x="3038794" y="2065368"/>
                </a:cubicBezTo>
                <a:lnTo>
                  <a:pt x="3070790" y="2076122"/>
                </a:lnTo>
                <a:cubicBezTo>
                  <a:pt x="3076042" y="2083098"/>
                  <a:pt x="3081296" y="2090364"/>
                  <a:pt x="3086548" y="2097340"/>
                </a:cubicBezTo>
                <a:lnTo>
                  <a:pt x="3129052" y="2124080"/>
                </a:lnTo>
                <a:cubicBezTo>
                  <a:pt x="3132394" y="2101118"/>
                  <a:pt x="3136214" y="2077866"/>
                  <a:pt x="3139558" y="2054905"/>
                </a:cubicBezTo>
                <a:cubicBezTo>
                  <a:pt x="3136214" y="2031943"/>
                  <a:pt x="3132394" y="2008691"/>
                  <a:pt x="3129052" y="1985730"/>
                </a:cubicBezTo>
                <a:lnTo>
                  <a:pt x="3129052" y="1943004"/>
                </a:lnTo>
                <a:cubicBezTo>
                  <a:pt x="3123798" y="1920043"/>
                  <a:pt x="3118546" y="1896791"/>
                  <a:pt x="3113292" y="1873829"/>
                </a:cubicBezTo>
                <a:cubicBezTo>
                  <a:pt x="3106128" y="1850868"/>
                  <a:pt x="3098966" y="1827616"/>
                  <a:pt x="3091802" y="1804654"/>
                </a:cubicBezTo>
                <a:cubicBezTo>
                  <a:pt x="3084638" y="1783437"/>
                  <a:pt x="3077952" y="1761928"/>
                  <a:pt x="3070790" y="1740711"/>
                </a:cubicBezTo>
                <a:cubicBezTo>
                  <a:pt x="3068880" y="1728213"/>
                  <a:pt x="3066970" y="1716005"/>
                  <a:pt x="3065060" y="1703507"/>
                </a:cubicBezTo>
                <a:cubicBezTo>
                  <a:pt x="3068880" y="1694497"/>
                  <a:pt x="3072222" y="1685778"/>
                  <a:pt x="3076042" y="1676768"/>
                </a:cubicBezTo>
                <a:lnTo>
                  <a:pt x="3134304" y="1713971"/>
                </a:lnTo>
                <a:lnTo>
                  <a:pt x="3208804" y="1751465"/>
                </a:lnTo>
                <a:lnTo>
                  <a:pt x="3293808" y="1777914"/>
                </a:lnTo>
                <a:lnTo>
                  <a:pt x="3373560" y="1756697"/>
                </a:lnTo>
                <a:lnTo>
                  <a:pt x="3405556" y="1735479"/>
                </a:lnTo>
                <a:cubicBezTo>
                  <a:pt x="3414630" y="1742455"/>
                  <a:pt x="3423226" y="1749721"/>
                  <a:pt x="3432298" y="1756697"/>
                </a:cubicBezTo>
                <a:cubicBezTo>
                  <a:pt x="3430388" y="1747686"/>
                  <a:pt x="3428956" y="1738967"/>
                  <a:pt x="3427046" y="1729957"/>
                </a:cubicBezTo>
                <a:cubicBezTo>
                  <a:pt x="3419882" y="1719203"/>
                  <a:pt x="3412720" y="1708739"/>
                  <a:pt x="3405556" y="1697985"/>
                </a:cubicBezTo>
                <a:cubicBezTo>
                  <a:pt x="3421316" y="1671536"/>
                  <a:pt x="3437552" y="1644796"/>
                  <a:pt x="3453312" y="1618347"/>
                </a:cubicBezTo>
                <a:cubicBezTo>
                  <a:pt x="3455222" y="1611371"/>
                  <a:pt x="3456654" y="1604105"/>
                  <a:pt x="3458564" y="1597129"/>
                </a:cubicBezTo>
                <a:cubicBezTo>
                  <a:pt x="3469070" y="1582887"/>
                  <a:pt x="3480054" y="1568645"/>
                  <a:pt x="3490560" y="1554403"/>
                </a:cubicBezTo>
                <a:lnTo>
                  <a:pt x="3575566" y="1554403"/>
                </a:lnTo>
                <a:cubicBezTo>
                  <a:pt x="3587982" y="1559635"/>
                  <a:pt x="3600398" y="1565157"/>
                  <a:pt x="3612814" y="1570389"/>
                </a:cubicBezTo>
                <a:lnTo>
                  <a:pt x="3661048" y="1565157"/>
                </a:lnTo>
                <a:cubicBezTo>
                  <a:pt x="3671554" y="1572133"/>
                  <a:pt x="3682060" y="1579399"/>
                  <a:pt x="3692566" y="1586375"/>
                </a:cubicBezTo>
                <a:lnTo>
                  <a:pt x="3724562" y="1570389"/>
                </a:lnTo>
                <a:cubicBezTo>
                  <a:pt x="3736980" y="1577365"/>
                  <a:pt x="3749396" y="1584631"/>
                  <a:pt x="3761812" y="1591607"/>
                </a:cubicBezTo>
                <a:cubicBezTo>
                  <a:pt x="3774228" y="1600617"/>
                  <a:pt x="3786644" y="1609336"/>
                  <a:pt x="3799060" y="1618347"/>
                </a:cubicBezTo>
                <a:lnTo>
                  <a:pt x="3831058" y="1623578"/>
                </a:lnTo>
                <a:cubicBezTo>
                  <a:pt x="3832968" y="1612824"/>
                  <a:pt x="3834400" y="1602361"/>
                  <a:pt x="3836310" y="1591607"/>
                </a:cubicBezTo>
                <a:cubicBezTo>
                  <a:pt x="3834400" y="1579109"/>
                  <a:pt x="3832968" y="1566901"/>
                  <a:pt x="3831058" y="1554403"/>
                </a:cubicBezTo>
                <a:cubicBezTo>
                  <a:pt x="3821984" y="1550916"/>
                  <a:pt x="3813388" y="1547137"/>
                  <a:pt x="3804314" y="1543649"/>
                </a:cubicBezTo>
                <a:lnTo>
                  <a:pt x="3767064" y="1533186"/>
                </a:lnTo>
                <a:lnTo>
                  <a:pt x="3767064" y="1511678"/>
                </a:lnTo>
                <a:cubicBezTo>
                  <a:pt x="3759902" y="1499180"/>
                  <a:pt x="3753216" y="1486972"/>
                  <a:pt x="3746052" y="1474474"/>
                </a:cubicBezTo>
                <a:cubicBezTo>
                  <a:pt x="3747962" y="1465755"/>
                  <a:pt x="3749396" y="1456745"/>
                  <a:pt x="3751306" y="1448025"/>
                </a:cubicBezTo>
                <a:cubicBezTo>
                  <a:pt x="3756558" y="1440759"/>
                  <a:pt x="3761812" y="1433783"/>
                  <a:pt x="3767064" y="1426517"/>
                </a:cubicBezTo>
                <a:lnTo>
                  <a:pt x="3799060" y="1410531"/>
                </a:lnTo>
                <a:lnTo>
                  <a:pt x="3863054" y="1394836"/>
                </a:lnTo>
                <a:cubicBezTo>
                  <a:pt x="3870216" y="1401811"/>
                  <a:pt x="3876902" y="1409078"/>
                  <a:pt x="3884066" y="1416053"/>
                </a:cubicBezTo>
                <a:cubicBezTo>
                  <a:pt x="3885976" y="1426807"/>
                  <a:pt x="3887408" y="1437271"/>
                  <a:pt x="3889320" y="1448025"/>
                </a:cubicBezTo>
                <a:cubicBezTo>
                  <a:pt x="3898392" y="1435527"/>
                  <a:pt x="3906988" y="1423029"/>
                  <a:pt x="3916062" y="1410531"/>
                </a:cubicBezTo>
                <a:lnTo>
                  <a:pt x="3958564" y="1373328"/>
                </a:lnTo>
                <a:cubicBezTo>
                  <a:pt x="3953312" y="1364608"/>
                  <a:pt x="3948058" y="1355598"/>
                  <a:pt x="3942804" y="1346878"/>
                </a:cubicBezTo>
                <a:cubicBezTo>
                  <a:pt x="3930388" y="1341647"/>
                  <a:pt x="3917972" y="1336124"/>
                  <a:pt x="3905556" y="1330893"/>
                </a:cubicBezTo>
                <a:cubicBezTo>
                  <a:pt x="3898392" y="1321882"/>
                  <a:pt x="3891230" y="1313163"/>
                  <a:pt x="3884066" y="1304153"/>
                </a:cubicBezTo>
                <a:cubicBezTo>
                  <a:pt x="3875470" y="1295433"/>
                  <a:pt x="3866396" y="1286423"/>
                  <a:pt x="3857800" y="1277703"/>
                </a:cubicBezTo>
                <a:lnTo>
                  <a:pt x="3820552" y="1277703"/>
                </a:lnTo>
                <a:cubicBezTo>
                  <a:pt x="3818640" y="1261718"/>
                  <a:pt x="3817208" y="1245732"/>
                  <a:pt x="3815298" y="1229746"/>
                </a:cubicBezTo>
                <a:cubicBezTo>
                  <a:pt x="3810044" y="1222770"/>
                  <a:pt x="3804314" y="1215504"/>
                  <a:pt x="3799060" y="1208528"/>
                </a:cubicBezTo>
                <a:cubicBezTo>
                  <a:pt x="3800972" y="1199518"/>
                  <a:pt x="3802404" y="1190799"/>
                  <a:pt x="3804314" y="1181788"/>
                </a:cubicBezTo>
                <a:cubicBezTo>
                  <a:pt x="3813388" y="1176557"/>
                  <a:pt x="3821984" y="1171034"/>
                  <a:pt x="3831058" y="1165803"/>
                </a:cubicBezTo>
                <a:cubicBezTo>
                  <a:pt x="3827714" y="1156792"/>
                  <a:pt x="3823894" y="1148073"/>
                  <a:pt x="3820552" y="1139063"/>
                </a:cubicBezTo>
                <a:lnTo>
                  <a:pt x="3793808" y="1160571"/>
                </a:lnTo>
                <a:lnTo>
                  <a:pt x="3767064" y="1165803"/>
                </a:lnTo>
                <a:lnTo>
                  <a:pt x="3767064" y="1203006"/>
                </a:lnTo>
                <a:cubicBezTo>
                  <a:pt x="3763722" y="1209982"/>
                  <a:pt x="3759902" y="1217248"/>
                  <a:pt x="3756558" y="1224223"/>
                </a:cubicBezTo>
                <a:lnTo>
                  <a:pt x="3703550" y="1203006"/>
                </a:lnTo>
                <a:cubicBezTo>
                  <a:pt x="3698296" y="1190508"/>
                  <a:pt x="3692566" y="1178301"/>
                  <a:pt x="3687314" y="1165803"/>
                </a:cubicBezTo>
                <a:cubicBezTo>
                  <a:pt x="3691134" y="1151561"/>
                  <a:pt x="3694476" y="1137319"/>
                  <a:pt x="3698296" y="1123077"/>
                </a:cubicBezTo>
                <a:cubicBezTo>
                  <a:pt x="3700208" y="1110579"/>
                  <a:pt x="3701640" y="1098371"/>
                  <a:pt x="3703550" y="1085873"/>
                </a:cubicBezTo>
                <a:lnTo>
                  <a:pt x="3767064" y="1059424"/>
                </a:lnTo>
                <a:lnTo>
                  <a:pt x="3825804" y="1006235"/>
                </a:lnTo>
                <a:cubicBezTo>
                  <a:pt x="3827714" y="991993"/>
                  <a:pt x="3829148" y="977751"/>
                  <a:pt x="3831058" y="963509"/>
                </a:cubicBezTo>
                <a:cubicBezTo>
                  <a:pt x="3821984" y="956534"/>
                  <a:pt x="3813388" y="949267"/>
                  <a:pt x="3804314" y="942292"/>
                </a:cubicBezTo>
                <a:cubicBezTo>
                  <a:pt x="3784734" y="937060"/>
                  <a:pt x="3765632" y="931538"/>
                  <a:pt x="3746052" y="926306"/>
                </a:cubicBezTo>
                <a:cubicBezTo>
                  <a:pt x="3740800" y="917296"/>
                  <a:pt x="3735068" y="908576"/>
                  <a:pt x="3729816" y="899566"/>
                </a:cubicBezTo>
                <a:lnTo>
                  <a:pt x="3772318" y="867594"/>
                </a:lnTo>
                <a:lnTo>
                  <a:pt x="3846816" y="873117"/>
                </a:lnTo>
                <a:lnTo>
                  <a:pt x="3958564" y="819928"/>
                </a:lnTo>
                <a:lnTo>
                  <a:pt x="4107562" y="750462"/>
                </a:lnTo>
                <a:lnTo>
                  <a:pt x="4235068" y="692041"/>
                </a:lnTo>
                <a:lnTo>
                  <a:pt x="4320074" y="665301"/>
                </a:lnTo>
                <a:lnTo>
                  <a:pt x="4405556" y="654838"/>
                </a:lnTo>
                <a:lnTo>
                  <a:pt x="4448058" y="654838"/>
                </a:lnTo>
                <a:lnTo>
                  <a:pt x="4373560" y="708027"/>
                </a:lnTo>
                <a:cubicBezTo>
                  <a:pt x="4361144" y="716746"/>
                  <a:pt x="4348726" y="725757"/>
                  <a:pt x="4336310" y="734476"/>
                </a:cubicBezTo>
                <a:cubicBezTo>
                  <a:pt x="4325804" y="743486"/>
                  <a:pt x="4314820" y="752206"/>
                  <a:pt x="4304314" y="761216"/>
                </a:cubicBezTo>
                <a:cubicBezTo>
                  <a:pt x="4295240" y="754240"/>
                  <a:pt x="4286644" y="746974"/>
                  <a:pt x="4277572" y="739998"/>
                </a:cubicBezTo>
                <a:cubicBezTo>
                  <a:pt x="4263244" y="748718"/>
                  <a:pt x="4249396" y="757728"/>
                  <a:pt x="4235068" y="766448"/>
                </a:cubicBezTo>
                <a:cubicBezTo>
                  <a:pt x="4236980" y="784177"/>
                  <a:pt x="4238412" y="802198"/>
                  <a:pt x="4240322" y="819928"/>
                </a:cubicBezTo>
                <a:cubicBezTo>
                  <a:pt x="4235068" y="832426"/>
                  <a:pt x="4229816" y="844633"/>
                  <a:pt x="4224562" y="857131"/>
                </a:cubicBezTo>
                <a:lnTo>
                  <a:pt x="4267064" y="867594"/>
                </a:lnTo>
                <a:cubicBezTo>
                  <a:pt x="4270408" y="851609"/>
                  <a:pt x="4274228" y="835913"/>
                  <a:pt x="4277572" y="819928"/>
                </a:cubicBezTo>
                <a:cubicBezTo>
                  <a:pt x="4282824" y="807430"/>
                  <a:pt x="4288556" y="794932"/>
                  <a:pt x="4293808" y="782434"/>
                </a:cubicBezTo>
                <a:lnTo>
                  <a:pt x="4363054" y="729244"/>
                </a:lnTo>
                <a:lnTo>
                  <a:pt x="4410808" y="702795"/>
                </a:lnTo>
                <a:lnTo>
                  <a:pt x="4453312" y="676055"/>
                </a:lnTo>
                <a:cubicBezTo>
                  <a:pt x="4460474" y="679543"/>
                  <a:pt x="4467160" y="683321"/>
                  <a:pt x="4474324" y="686809"/>
                </a:cubicBezTo>
                <a:cubicBezTo>
                  <a:pt x="4478144" y="720525"/>
                  <a:pt x="4481488" y="754240"/>
                  <a:pt x="4485308" y="787956"/>
                </a:cubicBezTo>
                <a:lnTo>
                  <a:pt x="4485308" y="851609"/>
                </a:lnTo>
                <a:cubicBezTo>
                  <a:pt x="4470980" y="833879"/>
                  <a:pt x="4457132" y="816149"/>
                  <a:pt x="4442806" y="798419"/>
                </a:cubicBezTo>
                <a:cubicBezTo>
                  <a:pt x="4449968" y="791444"/>
                  <a:pt x="4456654" y="784177"/>
                  <a:pt x="4463818" y="777202"/>
                </a:cubicBezTo>
                <a:cubicBezTo>
                  <a:pt x="4456654" y="764704"/>
                  <a:pt x="4449968" y="752496"/>
                  <a:pt x="4442806" y="739998"/>
                </a:cubicBezTo>
                <a:cubicBezTo>
                  <a:pt x="4440896" y="752496"/>
                  <a:pt x="4438984" y="764704"/>
                  <a:pt x="4437074" y="777202"/>
                </a:cubicBezTo>
                <a:cubicBezTo>
                  <a:pt x="4424658" y="770226"/>
                  <a:pt x="4412242" y="762960"/>
                  <a:pt x="4399826" y="755984"/>
                </a:cubicBezTo>
                <a:cubicBezTo>
                  <a:pt x="4394572" y="768482"/>
                  <a:pt x="4389320" y="780690"/>
                  <a:pt x="4384066" y="793188"/>
                </a:cubicBezTo>
                <a:lnTo>
                  <a:pt x="4416062" y="814405"/>
                </a:lnTo>
                <a:lnTo>
                  <a:pt x="4442806" y="814405"/>
                </a:lnTo>
                <a:cubicBezTo>
                  <a:pt x="4448058" y="825159"/>
                  <a:pt x="4453312" y="835623"/>
                  <a:pt x="4458564" y="846377"/>
                </a:cubicBezTo>
                <a:cubicBezTo>
                  <a:pt x="4446148" y="858875"/>
                  <a:pt x="4433732" y="871082"/>
                  <a:pt x="4421316" y="883580"/>
                </a:cubicBezTo>
                <a:cubicBezTo>
                  <a:pt x="4414152" y="887068"/>
                  <a:pt x="4406988" y="890846"/>
                  <a:pt x="4399826" y="894334"/>
                </a:cubicBezTo>
                <a:lnTo>
                  <a:pt x="4373560" y="878348"/>
                </a:lnTo>
                <a:cubicBezTo>
                  <a:pt x="4380724" y="889103"/>
                  <a:pt x="4387408" y="899566"/>
                  <a:pt x="4394572" y="910320"/>
                </a:cubicBezTo>
                <a:lnTo>
                  <a:pt x="4421316" y="915552"/>
                </a:lnTo>
                <a:cubicBezTo>
                  <a:pt x="4424658" y="936769"/>
                  <a:pt x="4428478" y="958278"/>
                  <a:pt x="4431822" y="979495"/>
                </a:cubicBezTo>
                <a:lnTo>
                  <a:pt x="4490560" y="952755"/>
                </a:lnTo>
                <a:cubicBezTo>
                  <a:pt x="4487218" y="944036"/>
                  <a:pt x="4483398" y="935025"/>
                  <a:pt x="4480054" y="926306"/>
                </a:cubicBezTo>
                <a:cubicBezTo>
                  <a:pt x="4494380" y="906832"/>
                  <a:pt x="4508230" y="887068"/>
                  <a:pt x="4522556" y="867594"/>
                </a:cubicBezTo>
                <a:lnTo>
                  <a:pt x="4522556" y="819928"/>
                </a:lnTo>
                <a:cubicBezTo>
                  <a:pt x="4517304" y="798710"/>
                  <a:pt x="4511572" y="777202"/>
                  <a:pt x="4506320" y="755984"/>
                </a:cubicBezTo>
                <a:cubicBezTo>
                  <a:pt x="4499156" y="741742"/>
                  <a:pt x="4492472" y="727500"/>
                  <a:pt x="4485308" y="713259"/>
                </a:cubicBezTo>
                <a:lnTo>
                  <a:pt x="4485308" y="633329"/>
                </a:lnTo>
                <a:lnTo>
                  <a:pt x="4543570" y="590894"/>
                </a:lnTo>
                <a:lnTo>
                  <a:pt x="4655318" y="521719"/>
                </a:lnTo>
                <a:lnTo>
                  <a:pt x="4809568" y="494979"/>
                </a:lnTo>
                <a:lnTo>
                  <a:pt x="4873560" y="516488"/>
                </a:lnTo>
                <a:lnTo>
                  <a:pt x="4873560" y="574909"/>
                </a:lnTo>
                <a:cubicBezTo>
                  <a:pt x="4863054" y="583919"/>
                  <a:pt x="4852070" y="592638"/>
                  <a:pt x="4841564" y="601648"/>
                </a:cubicBezTo>
                <a:lnTo>
                  <a:pt x="4809568" y="601648"/>
                </a:lnTo>
                <a:cubicBezTo>
                  <a:pt x="4804314" y="614146"/>
                  <a:pt x="4799062" y="626354"/>
                  <a:pt x="4793808" y="638852"/>
                </a:cubicBezTo>
                <a:lnTo>
                  <a:pt x="4793808" y="676055"/>
                </a:lnTo>
                <a:lnTo>
                  <a:pt x="4867828" y="633329"/>
                </a:lnTo>
                <a:cubicBezTo>
                  <a:pt x="4876902" y="626354"/>
                  <a:pt x="4885498" y="619088"/>
                  <a:pt x="4894572" y="612112"/>
                </a:cubicBezTo>
                <a:lnTo>
                  <a:pt x="4931822" y="601648"/>
                </a:lnTo>
                <a:cubicBezTo>
                  <a:pt x="4940896" y="614146"/>
                  <a:pt x="4949492" y="626354"/>
                  <a:pt x="4958564" y="638852"/>
                </a:cubicBezTo>
                <a:cubicBezTo>
                  <a:pt x="4974324" y="626354"/>
                  <a:pt x="4990560" y="614146"/>
                  <a:pt x="5006320" y="601648"/>
                </a:cubicBezTo>
                <a:lnTo>
                  <a:pt x="5054076" y="590894"/>
                </a:lnTo>
                <a:cubicBezTo>
                  <a:pt x="5066492" y="601648"/>
                  <a:pt x="5078908" y="612112"/>
                  <a:pt x="5091324" y="622866"/>
                </a:cubicBezTo>
                <a:lnTo>
                  <a:pt x="5128574" y="580140"/>
                </a:lnTo>
                <a:lnTo>
                  <a:pt x="5160570" y="564154"/>
                </a:lnTo>
                <a:lnTo>
                  <a:pt x="5298584" y="601648"/>
                </a:lnTo>
                <a:cubicBezTo>
                  <a:pt x="5293330" y="608624"/>
                  <a:pt x="5288078" y="615890"/>
                  <a:pt x="5282824" y="622866"/>
                </a:cubicBezTo>
                <a:lnTo>
                  <a:pt x="5362576" y="622866"/>
                </a:lnTo>
                <a:lnTo>
                  <a:pt x="5463818" y="516488"/>
                </a:lnTo>
                <a:cubicBezTo>
                  <a:pt x="5472414" y="493236"/>
                  <a:pt x="5481488" y="470274"/>
                  <a:pt x="5490084" y="447022"/>
                </a:cubicBezTo>
                <a:cubicBezTo>
                  <a:pt x="5506320" y="409819"/>
                  <a:pt x="5522080" y="372615"/>
                  <a:pt x="5538316" y="335412"/>
                </a:cubicBezTo>
                <a:cubicBezTo>
                  <a:pt x="5546912" y="319426"/>
                  <a:pt x="5555986" y="303440"/>
                  <a:pt x="5564582" y="287454"/>
                </a:cubicBezTo>
                <a:lnTo>
                  <a:pt x="5596578" y="282223"/>
                </a:lnTo>
                <a:lnTo>
                  <a:pt x="5596578" y="255483"/>
                </a:lnTo>
                <a:cubicBezTo>
                  <a:pt x="5635738" y="216535"/>
                  <a:pt x="5674420" y="177298"/>
                  <a:pt x="5713580" y="138350"/>
                </a:cubicBezTo>
                <a:lnTo>
                  <a:pt x="5835832" y="53189"/>
                </a:lnTo>
                <a:lnTo>
                  <a:pt x="5942328" y="10754"/>
                </a:lnTo>
                <a:lnTo>
                  <a:pt x="6059184" y="475"/>
                </a:lnTo>
                <a:cubicBezTo>
                  <a:pt x="6059266" y="305"/>
                  <a:pt x="6059242" y="152"/>
                  <a:pt x="6059216" y="0"/>
                </a:cubicBezTo>
                <a:close/>
              </a:path>
            </a:pathLst>
          </a:custGeom>
          <a:solidFill>
            <a:srgbClr val="008E8B"/>
          </a:solidFill>
          <a:ln w="3175" cap="flat" cmpd="sng">
            <a:noFill/>
            <a:prstDash val="solid"/>
            <a:round/>
            <a:headEnd type="none" w="med" len="med"/>
            <a:tailEnd type="none" w="sm" len="sm"/>
          </a:ln>
        </p:spPr>
        <p:txBody>
          <a:bodyPr wrap="none" lIns="32632" tIns="32632" rIns="32632" bIns="32632"/>
          <a:lstStyle/>
          <a:p>
            <a:pPr defTabSz="891045"/>
            <a:endParaRPr lang="en-US" sz="1700" dirty="0">
              <a:solidFill>
                <a:srgbClr val="003149"/>
              </a:solidFill>
              <a:cs typeface="Arial" panose="020B0604020202020204" pitchFamily="34" charset="0"/>
            </a:endParaRPr>
          </a:p>
        </p:txBody>
      </p:sp>
      <p:sp>
        <p:nvSpPr>
          <p:cNvPr id="13" name="Freeform 980"/>
          <p:cNvSpPr>
            <a:spLocks noChangeAspect="1"/>
          </p:cNvSpPr>
          <p:nvPr/>
        </p:nvSpPr>
        <p:spPr bwMode="gray">
          <a:xfrm rot="120000">
            <a:off x="2397190" y="2311214"/>
            <a:ext cx="75349" cy="117656"/>
          </a:xfrm>
          <a:custGeom>
            <a:avLst/>
            <a:gdLst>
              <a:gd name="T0" fmla="*/ 0 w 433357"/>
              <a:gd name="T1" fmla="*/ 0 h 603026"/>
              <a:gd name="T2" fmla="*/ 0 w 433357"/>
              <a:gd name="T3" fmla="*/ 0 h 603026"/>
              <a:gd name="T4" fmla="*/ 0 w 433357"/>
              <a:gd name="T5" fmla="*/ 0 h 603026"/>
              <a:gd name="T6" fmla="*/ 0 w 433357"/>
              <a:gd name="T7" fmla="*/ 0 h 603026"/>
              <a:gd name="T8" fmla="*/ 0 w 433357"/>
              <a:gd name="T9" fmla="*/ 0 h 603026"/>
              <a:gd name="T10" fmla="*/ 0 w 433357"/>
              <a:gd name="T11" fmla="*/ 0 h 603026"/>
              <a:gd name="T12" fmla="*/ 0 w 433357"/>
              <a:gd name="T13" fmla="*/ 0 h 603026"/>
              <a:gd name="T14" fmla="*/ 0 w 433357"/>
              <a:gd name="T15" fmla="*/ 0 h 603026"/>
              <a:gd name="T16" fmla="*/ 0 w 433357"/>
              <a:gd name="T17" fmla="*/ 0 h 603026"/>
              <a:gd name="T18" fmla="*/ 0 w 433357"/>
              <a:gd name="T19" fmla="*/ 0 h 603026"/>
              <a:gd name="T20" fmla="*/ 0 w 433357"/>
              <a:gd name="T21" fmla="*/ 0 h 603026"/>
              <a:gd name="T22" fmla="*/ 0 w 433357"/>
              <a:gd name="T23" fmla="*/ 0 h 603026"/>
              <a:gd name="T24" fmla="*/ 0 w 433357"/>
              <a:gd name="T25" fmla="*/ 0 h 603026"/>
              <a:gd name="T26" fmla="*/ 0 w 433357"/>
              <a:gd name="T27" fmla="*/ 0 h 603026"/>
              <a:gd name="T28" fmla="*/ 0 w 433357"/>
              <a:gd name="T29" fmla="*/ 0 h 603026"/>
              <a:gd name="T30" fmla="*/ 0 w 433357"/>
              <a:gd name="T31" fmla="*/ 0 h 603026"/>
              <a:gd name="T32" fmla="*/ 0 w 433357"/>
              <a:gd name="T33" fmla="*/ 0 h 603026"/>
              <a:gd name="T34" fmla="*/ 0 w 433357"/>
              <a:gd name="T35" fmla="*/ 0 h 603026"/>
              <a:gd name="T36" fmla="*/ 0 w 433357"/>
              <a:gd name="T37" fmla="*/ 0 h 603026"/>
              <a:gd name="T38" fmla="*/ 0 w 433357"/>
              <a:gd name="T39" fmla="*/ 0 h 603026"/>
              <a:gd name="T40" fmla="*/ 0 w 433357"/>
              <a:gd name="T41" fmla="*/ 0 h 603026"/>
              <a:gd name="T42" fmla="*/ 0 w 433357"/>
              <a:gd name="T43" fmla="*/ 0 h 603026"/>
              <a:gd name="T44" fmla="*/ 0 w 433357"/>
              <a:gd name="T45" fmla="*/ 0 h 603026"/>
              <a:gd name="T46" fmla="*/ 0 w 433357"/>
              <a:gd name="T47" fmla="*/ 0 h 603026"/>
              <a:gd name="T48" fmla="*/ 0 w 433357"/>
              <a:gd name="T49" fmla="*/ 0 h 603026"/>
              <a:gd name="T50" fmla="*/ 0 w 433357"/>
              <a:gd name="T51" fmla="*/ 0 h 603026"/>
              <a:gd name="T52" fmla="*/ 0 w 433357"/>
              <a:gd name="T53" fmla="*/ 0 h 603026"/>
              <a:gd name="T54" fmla="*/ 0 w 433357"/>
              <a:gd name="T55" fmla="*/ 0 h 603026"/>
              <a:gd name="T56" fmla="*/ 0 w 433357"/>
              <a:gd name="T57" fmla="*/ 0 h 603026"/>
              <a:gd name="T58" fmla="*/ 0 w 433357"/>
              <a:gd name="T59" fmla="*/ 0 h 603026"/>
              <a:gd name="T60" fmla="*/ 0 w 433357"/>
              <a:gd name="T61" fmla="*/ 0 h 603026"/>
              <a:gd name="T62" fmla="*/ 0 w 433357"/>
              <a:gd name="T63" fmla="*/ 0 h 60302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w 433357"/>
              <a:gd name="T97" fmla="*/ 0 h 603026"/>
              <a:gd name="T98" fmla="*/ 433357 w 433357"/>
              <a:gd name="T99" fmla="*/ 603026 h 603026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T96" t="T97" r="T98" b="T99"/>
            <a:pathLst>
              <a:path w="433357" h="603026">
                <a:moveTo>
                  <a:pt x="160178" y="0"/>
                </a:moveTo>
                <a:lnTo>
                  <a:pt x="180094" y="7058"/>
                </a:lnTo>
                <a:cubicBezTo>
                  <a:pt x="182199" y="14797"/>
                  <a:pt x="184264" y="22535"/>
                  <a:pt x="186369" y="30274"/>
                </a:cubicBezTo>
                <a:lnTo>
                  <a:pt x="194789" y="49442"/>
                </a:lnTo>
                <a:cubicBezTo>
                  <a:pt x="196894" y="60226"/>
                  <a:pt x="198959" y="70974"/>
                  <a:pt x="201063" y="81758"/>
                </a:cubicBezTo>
                <a:cubicBezTo>
                  <a:pt x="202116" y="90178"/>
                  <a:pt x="203168" y="98561"/>
                  <a:pt x="204221" y="106981"/>
                </a:cubicBezTo>
                <a:lnTo>
                  <a:pt x="213653" y="119090"/>
                </a:lnTo>
                <a:lnTo>
                  <a:pt x="229400" y="103935"/>
                </a:lnTo>
                <a:lnTo>
                  <a:pt x="251422" y="96877"/>
                </a:lnTo>
                <a:lnTo>
                  <a:pt x="251422" y="115042"/>
                </a:lnTo>
                <a:lnTo>
                  <a:pt x="260854" y="122100"/>
                </a:lnTo>
                <a:cubicBezTo>
                  <a:pt x="259114" y="128835"/>
                  <a:pt x="257333" y="135571"/>
                  <a:pt x="255592" y="142306"/>
                </a:cubicBezTo>
                <a:lnTo>
                  <a:pt x="245107" y="161474"/>
                </a:lnTo>
                <a:lnTo>
                  <a:pt x="260854" y="173584"/>
                </a:lnTo>
                <a:cubicBezTo>
                  <a:pt x="261219" y="182325"/>
                  <a:pt x="261542" y="191068"/>
                  <a:pt x="261907" y="199810"/>
                </a:cubicBezTo>
                <a:lnTo>
                  <a:pt x="273444" y="211919"/>
                </a:lnTo>
                <a:cubicBezTo>
                  <a:pt x="275873" y="218977"/>
                  <a:pt x="278342" y="226071"/>
                  <a:pt x="280771" y="233129"/>
                </a:cubicBezTo>
                <a:lnTo>
                  <a:pt x="296518" y="239184"/>
                </a:lnTo>
                <a:lnTo>
                  <a:pt x="311173" y="234132"/>
                </a:lnTo>
                <a:cubicBezTo>
                  <a:pt x="312589" y="229081"/>
                  <a:pt x="313966" y="224065"/>
                  <a:pt x="315383" y="219013"/>
                </a:cubicBezTo>
                <a:lnTo>
                  <a:pt x="331089" y="219013"/>
                </a:lnTo>
                <a:lnTo>
                  <a:pt x="358374" y="222023"/>
                </a:lnTo>
                <a:lnTo>
                  <a:pt x="377238" y="221020"/>
                </a:lnTo>
                <a:lnTo>
                  <a:pt x="394038" y="219013"/>
                </a:lnTo>
                <a:lnTo>
                  <a:pt x="415007" y="239184"/>
                </a:lnTo>
                <a:lnTo>
                  <a:pt x="409106" y="249036"/>
                </a:lnTo>
                <a:cubicBezTo>
                  <a:pt x="407398" y="264685"/>
                  <a:pt x="402950" y="290779"/>
                  <a:pt x="401824" y="303480"/>
                </a:cubicBezTo>
                <a:lnTo>
                  <a:pt x="392523" y="341147"/>
                </a:lnTo>
                <a:lnTo>
                  <a:pt x="394012" y="383780"/>
                </a:lnTo>
                <a:lnTo>
                  <a:pt x="405173" y="399389"/>
                </a:lnTo>
                <a:lnTo>
                  <a:pt x="432241" y="414443"/>
                </a:lnTo>
                <a:lnTo>
                  <a:pt x="432985" y="435759"/>
                </a:lnTo>
                <a:lnTo>
                  <a:pt x="433357" y="446401"/>
                </a:lnTo>
                <a:lnTo>
                  <a:pt x="418755" y="484286"/>
                </a:lnTo>
                <a:lnTo>
                  <a:pt x="399035" y="527627"/>
                </a:lnTo>
                <a:lnTo>
                  <a:pt x="367782" y="544717"/>
                </a:lnTo>
                <a:lnTo>
                  <a:pt x="330855" y="551351"/>
                </a:lnTo>
                <a:lnTo>
                  <a:pt x="283326" y="558388"/>
                </a:lnTo>
                <a:lnTo>
                  <a:pt x="272908" y="564062"/>
                </a:lnTo>
                <a:lnTo>
                  <a:pt x="246957" y="580967"/>
                </a:lnTo>
                <a:lnTo>
                  <a:pt x="226495" y="603024"/>
                </a:lnTo>
                <a:lnTo>
                  <a:pt x="226495" y="603026"/>
                </a:lnTo>
                <a:lnTo>
                  <a:pt x="159337" y="504034"/>
                </a:lnTo>
                <a:lnTo>
                  <a:pt x="124557" y="419859"/>
                </a:lnTo>
                <a:lnTo>
                  <a:pt x="60831" y="267364"/>
                </a:lnTo>
                <a:lnTo>
                  <a:pt x="20739" y="183431"/>
                </a:lnTo>
                <a:lnTo>
                  <a:pt x="8084" y="125174"/>
                </a:lnTo>
                <a:cubicBezTo>
                  <a:pt x="5396" y="98577"/>
                  <a:pt x="2689" y="72036"/>
                  <a:pt x="0" y="45438"/>
                </a:cubicBezTo>
                <a:lnTo>
                  <a:pt x="1518" y="48068"/>
                </a:lnTo>
                <a:lnTo>
                  <a:pt x="32216" y="58542"/>
                </a:lnTo>
                <a:lnTo>
                  <a:pt x="50028" y="46432"/>
                </a:lnTo>
                <a:lnTo>
                  <a:pt x="68933" y="43387"/>
                </a:lnTo>
                <a:lnTo>
                  <a:pt x="79417" y="54493"/>
                </a:lnTo>
                <a:lnTo>
                  <a:pt x="66828" y="64597"/>
                </a:lnTo>
                <a:lnTo>
                  <a:pt x="76260" y="81758"/>
                </a:lnTo>
                <a:lnTo>
                  <a:pt x="101439" y="102932"/>
                </a:lnTo>
                <a:lnTo>
                  <a:pt x="125566" y="115042"/>
                </a:lnTo>
                <a:lnTo>
                  <a:pt x="125566" y="91826"/>
                </a:lnTo>
                <a:cubicBezTo>
                  <a:pt x="127671" y="85771"/>
                  <a:pt x="129736" y="79716"/>
                  <a:pt x="131840" y="73661"/>
                </a:cubicBezTo>
                <a:lnTo>
                  <a:pt x="119251" y="70652"/>
                </a:lnTo>
                <a:lnTo>
                  <a:pt x="114028" y="58542"/>
                </a:lnTo>
                <a:cubicBezTo>
                  <a:pt x="116134" y="51484"/>
                  <a:pt x="118198" y="44390"/>
                  <a:pt x="120303" y="37332"/>
                </a:cubicBezTo>
                <a:cubicBezTo>
                  <a:pt x="123461" y="27229"/>
                  <a:pt x="126578" y="17161"/>
                  <a:pt x="129735" y="7058"/>
                </a:cubicBezTo>
                <a:lnTo>
                  <a:pt x="147587" y="10103"/>
                </a:lnTo>
                <a:close/>
              </a:path>
            </a:pathLst>
          </a:custGeom>
          <a:solidFill>
            <a:srgbClr val="70B0DF"/>
          </a:solidFill>
          <a:ln w="9525">
            <a:noFill/>
            <a:round/>
            <a:headEnd/>
            <a:tailEnd/>
          </a:ln>
        </p:spPr>
        <p:txBody>
          <a:bodyPr wrap="none" lIns="32632" tIns="32632" rIns="32632" bIns="32632" anchor="ctr"/>
          <a:lstStyle/>
          <a:p>
            <a:pPr defTabSz="891045"/>
            <a:endParaRPr lang="en-US" sz="1700" dirty="0">
              <a:solidFill>
                <a:srgbClr val="003149"/>
              </a:solidFill>
              <a:cs typeface="Arial" panose="020B0604020202020204" pitchFamily="34" charset="0"/>
            </a:endParaRPr>
          </a:p>
        </p:txBody>
      </p:sp>
      <p:sp>
        <p:nvSpPr>
          <p:cNvPr id="14" name="Freeform 807"/>
          <p:cNvSpPr>
            <a:spLocks noChangeAspect="1"/>
          </p:cNvSpPr>
          <p:nvPr>
            <p:custDataLst>
              <p:tags r:id="rId2"/>
            </p:custDataLst>
          </p:nvPr>
        </p:nvSpPr>
        <p:spPr bwMode="gray">
          <a:xfrm>
            <a:off x="6312447" y="3944081"/>
            <a:ext cx="263009" cy="594021"/>
          </a:xfrm>
          <a:custGeom>
            <a:avLst/>
            <a:gdLst>
              <a:gd name="T0" fmla="*/ 0 w 1514608"/>
              <a:gd name="T1" fmla="*/ 0 h 3039523"/>
              <a:gd name="T2" fmla="*/ 0 w 1514608"/>
              <a:gd name="T3" fmla="*/ 0 h 3039523"/>
              <a:gd name="T4" fmla="*/ 0 w 1514608"/>
              <a:gd name="T5" fmla="*/ 0 h 3039523"/>
              <a:gd name="T6" fmla="*/ 0 w 1514608"/>
              <a:gd name="T7" fmla="*/ 0 h 3039523"/>
              <a:gd name="T8" fmla="*/ 0 w 1514608"/>
              <a:gd name="T9" fmla="*/ 0 h 3039523"/>
              <a:gd name="T10" fmla="*/ 0 w 1514608"/>
              <a:gd name="T11" fmla="*/ 0 h 3039523"/>
              <a:gd name="T12" fmla="*/ 0 w 1514608"/>
              <a:gd name="T13" fmla="*/ 0 h 3039523"/>
              <a:gd name="T14" fmla="*/ 0 w 1514608"/>
              <a:gd name="T15" fmla="*/ 0 h 3039523"/>
              <a:gd name="T16" fmla="*/ 0 w 1514608"/>
              <a:gd name="T17" fmla="*/ 0 h 3039523"/>
              <a:gd name="T18" fmla="*/ 0 w 1514608"/>
              <a:gd name="T19" fmla="*/ 0 h 3039523"/>
              <a:gd name="T20" fmla="*/ 0 w 1514608"/>
              <a:gd name="T21" fmla="*/ 0 h 3039523"/>
              <a:gd name="T22" fmla="*/ 0 w 1514608"/>
              <a:gd name="T23" fmla="*/ 0 h 3039523"/>
              <a:gd name="T24" fmla="*/ 0 w 1514608"/>
              <a:gd name="T25" fmla="*/ 0 h 3039523"/>
              <a:gd name="T26" fmla="*/ 0 w 1514608"/>
              <a:gd name="T27" fmla="*/ 0 h 3039523"/>
              <a:gd name="T28" fmla="*/ 0 w 1514608"/>
              <a:gd name="T29" fmla="*/ 0 h 3039523"/>
              <a:gd name="T30" fmla="*/ 0 w 1514608"/>
              <a:gd name="T31" fmla="*/ 0 h 3039523"/>
              <a:gd name="T32" fmla="*/ 0 w 1514608"/>
              <a:gd name="T33" fmla="*/ 0 h 3039523"/>
              <a:gd name="T34" fmla="*/ 0 w 1514608"/>
              <a:gd name="T35" fmla="*/ 0 h 3039523"/>
              <a:gd name="T36" fmla="*/ 0 w 1514608"/>
              <a:gd name="T37" fmla="*/ 0 h 3039523"/>
              <a:gd name="T38" fmla="*/ 0 w 1514608"/>
              <a:gd name="T39" fmla="*/ 0 h 3039523"/>
              <a:gd name="T40" fmla="*/ 0 w 1514608"/>
              <a:gd name="T41" fmla="*/ 0 h 3039523"/>
              <a:gd name="T42" fmla="*/ 0 w 1514608"/>
              <a:gd name="T43" fmla="*/ 0 h 3039523"/>
              <a:gd name="T44" fmla="*/ 0 w 1514608"/>
              <a:gd name="T45" fmla="*/ 0 h 3039523"/>
              <a:gd name="T46" fmla="*/ 0 w 1514608"/>
              <a:gd name="T47" fmla="*/ 0 h 3039523"/>
              <a:gd name="T48" fmla="*/ 0 w 1514608"/>
              <a:gd name="T49" fmla="*/ 0 h 3039523"/>
              <a:gd name="T50" fmla="*/ 0 w 1514608"/>
              <a:gd name="T51" fmla="*/ 0 h 3039523"/>
              <a:gd name="T52" fmla="*/ 0 w 1514608"/>
              <a:gd name="T53" fmla="*/ 0 h 3039523"/>
              <a:gd name="T54" fmla="*/ 0 w 1514608"/>
              <a:gd name="T55" fmla="*/ 0 h 3039523"/>
              <a:gd name="T56" fmla="*/ 0 w 1514608"/>
              <a:gd name="T57" fmla="*/ 0 h 3039523"/>
              <a:gd name="T58" fmla="*/ 0 w 1514608"/>
              <a:gd name="T59" fmla="*/ 0 h 3039523"/>
              <a:gd name="T60" fmla="*/ 0 w 1514608"/>
              <a:gd name="T61" fmla="*/ 0 h 3039523"/>
              <a:gd name="T62" fmla="*/ 0 w 1514608"/>
              <a:gd name="T63" fmla="*/ 0 h 3039523"/>
              <a:gd name="T64" fmla="*/ 0 w 1514608"/>
              <a:gd name="T65" fmla="*/ 0 h 3039523"/>
              <a:gd name="T66" fmla="*/ 0 w 1514608"/>
              <a:gd name="T67" fmla="*/ 0 h 3039523"/>
              <a:gd name="T68" fmla="*/ 0 w 1514608"/>
              <a:gd name="T69" fmla="*/ 0 h 3039523"/>
              <a:gd name="T70" fmla="*/ 0 w 1514608"/>
              <a:gd name="T71" fmla="*/ 0 h 3039523"/>
              <a:gd name="T72" fmla="*/ 0 w 1514608"/>
              <a:gd name="T73" fmla="*/ 0 h 3039523"/>
              <a:gd name="T74" fmla="*/ 0 w 1514608"/>
              <a:gd name="T75" fmla="*/ 0 h 3039523"/>
              <a:gd name="T76" fmla="*/ 0 w 1514608"/>
              <a:gd name="T77" fmla="*/ 0 h 3039523"/>
              <a:gd name="T78" fmla="*/ 0 w 1514608"/>
              <a:gd name="T79" fmla="*/ 0 h 3039523"/>
              <a:gd name="T80" fmla="*/ 0 w 1514608"/>
              <a:gd name="T81" fmla="*/ 0 h 3039523"/>
              <a:gd name="T82" fmla="*/ 0 w 1514608"/>
              <a:gd name="T83" fmla="*/ 0 h 3039523"/>
              <a:gd name="T84" fmla="*/ 0 w 1514608"/>
              <a:gd name="T85" fmla="*/ 0 h 3039523"/>
              <a:gd name="T86" fmla="*/ 0 w 1514608"/>
              <a:gd name="T87" fmla="*/ 0 h 3039523"/>
              <a:gd name="T88" fmla="*/ 0 w 1514608"/>
              <a:gd name="T89" fmla="*/ 0 h 3039523"/>
              <a:gd name="T90" fmla="*/ 0 w 1514608"/>
              <a:gd name="T91" fmla="*/ 0 h 3039523"/>
              <a:gd name="T92" fmla="*/ 0 w 1514608"/>
              <a:gd name="T93" fmla="*/ 0 h 3039523"/>
              <a:gd name="T94" fmla="*/ 0 w 1514608"/>
              <a:gd name="T95" fmla="*/ 0 h 3039523"/>
              <a:gd name="T96" fmla="*/ 0 w 1514608"/>
              <a:gd name="T97" fmla="*/ 0 h 3039523"/>
              <a:gd name="T98" fmla="*/ 0 w 1514608"/>
              <a:gd name="T99" fmla="*/ 0 h 3039523"/>
              <a:gd name="T100" fmla="*/ 0 w 1514608"/>
              <a:gd name="T101" fmla="*/ 0 h 3039523"/>
              <a:gd name="T102" fmla="*/ 0 w 1514608"/>
              <a:gd name="T103" fmla="*/ 0 h 3039523"/>
              <a:gd name="T104" fmla="*/ 0 w 1514608"/>
              <a:gd name="T105" fmla="*/ 0 h 3039523"/>
              <a:gd name="T106" fmla="*/ 0 w 1514608"/>
              <a:gd name="T107" fmla="*/ 0 h 3039523"/>
              <a:gd name="T108" fmla="*/ 0 w 1514608"/>
              <a:gd name="T109" fmla="*/ 0 h 3039523"/>
              <a:gd name="T110" fmla="*/ 0 w 1514608"/>
              <a:gd name="T111" fmla="*/ 0 h 3039523"/>
              <a:gd name="T112" fmla="*/ 0 w 1514608"/>
              <a:gd name="T113" fmla="*/ 0 h 3039523"/>
              <a:gd name="T114" fmla="*/ 0 w 1514608"/>
              <a:gd name="T115" fmla="*/ 0 h 3039523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w 1514608"/>
              <a:gd name="T175" fmla="*/ 0 h 3039523"/>
              <a:gd name="T176" fmla="*/ 1514608 w 1514608"/>
              <a:gd name="T177" fmla="*/ 3039523 h 3039523"/>
            </a:gdLst>
            <a:ahLst/>
            <a:cxnLst>
              <a:cxn ang="T116">
                <a:pos x="T0" y="T1"/>
              </a:cxn>
              <a:cxn ang="T117">
                <a:pos x="T2" y="T3"/>
              </a:cxn>
              <a:cxn ang="T118">
                <a:pos x="T4" y="T5"/>
              </a:cxn>
              <a:cxn ang="T119">
                <a:pos x="T6" y="T7"/>
              </a:cxn>
              <a:cxn ang="T120">
                <a:pos x="T8" y="T9"/>
              </a:cxn>
              <a:cxn ang="T121">
                <a:pos x="T10" y="T11"/>
              </a:cxn>
              <a:cxn ang="T122">
                <a:pos x="T12" y="T13"/>
              </a:cxn>
              <a:cxn ang="T123">
                <a:pos x="T14" y="T15"/>
              </a:cxn>
              <a:cxn ang="T124">
                <a:pos x="T16" y="T17"/>
              </a:cxn>
              <a:cxn ang="T125">
                <a:pos x="T18" y="T19"/>
              </a:cxn>
              <a:cxn ang="T126">
                <a:pos x="T20" y="T21"/>
              </a:cxn>
              <a:cxn ang="T127">
                <a:pos x="T22" y="T23"/>
              </a:cxn>
              <a:cxn ang="T128">
                <a:pos x="T24" y="T25"/>
              </a:cxn>
              <a:cxn ang="T129">
                <a:pos x="T26" y="T27"/>
              </a:cxn>
              <a:cxn ang="T130">
                <a:pos x="T28" y="T29"/>
              </a:cxn>
              <a:cxn ang="T131">
                <a:pos x="T30" y="T31"/>
              </a:cxn>
              <a:cxn ang="T132">
                <a:pos x="T32" y="T33"/>
              </a:cxn>
              <a:cxn ang="T133">
                <a:pos x="T34" y="T35"/>
              </a:cxn>
              <a:cxn ang="T134">
                <a:pos x="T36" y="T37"/>
              </a:cxn>
              <a:cxn ang="T135">
                <a:pos x="T38" y="T39"/>
              </a:cxn>
              <a:cxn ang="T136">
                <a:pos x="T40" y="T41"/>
              </a:cxn>
              <a:cxn ang="T137">
                <a:pos x="T42" y="T43"/>
              </a:cxn>
              <a:cxn ang="T138">
                <a:pos x="T44" y="T45"/>
              </a:cxn>
              <a:cxn ang="T139">
                <a:pos x="T46" y="T47"/>
              </a:cxn>
              <a:cxn ang="T140">
                <a:pos x="T48" y="T49"/>
              </a:cxn>
              <a:cxn ang="T141">
                <a:pos x="T50" y="T51"/>
              </a:cxn>
              <a:cxn ang="T142">
                <a:pos x="T52" y="T53"/>
              </a:cxn>
              <a:cxn ang="T143">
                <a:pos x="T54" y="T55"/>
              </a:cxn>
              <a:cxn ang="T144">
                <a:pos x="T56" y="T57"/>
              </a:cxn>
              <a:cxn ang="T145">
                <a:pos x="T58" y="T59"/>
              </a:cxn>
              <a:cxn ang="T146">
                <a:pos x="T60" y="T61"/>
              </a:cxn>
              <a:cxn ang="T147">
                <a:pos x="T62" y="T63"/>
              </a:cxn>
              <a:cxn ang="T148">
                <a:pos x="T64" y="T65"/>
              </a:cxn>
              <a:cxn ang="T149">
                <a:pos x="T66" y="T67"/>
              </a:cxn>
              <a:cxn ang="T150">
                <a:pos x="T68" y="T69"/>
              </a:cxn>
              <a:cxn ang="T151">
                <a:pos x="T70" y="T71"/>
              </a:cxn>
              <a:cxn ang="T152">
                <a:pos x="T72" y="T73"/>
              </a:cxn>
              <a:cxn ang="T153">
                <a:pos x="T74" y="T75"/>
              </a:cxn>
              <a:cxn ang="T154">
                <a:pos x="T76" y="T77"/>
              </a:cxn>
              <a:cxn ang="T155">
                <a:pos x="T78" y="T79"/>
              </a:cxn>
              <a:cxn ang="T156">
                <a:pos x="T80" y="T81"/>
              </a:cxn>
              <a:cxn ang="T157">
                <a:pos x="T82" y="T83"/>
              </a:cxn>
              <a:cxn ang="T158">
                <a:pos x="T84" y="T85"/>
              </a:cxn>
              <a:cxn ang="T159">
                <a:pos x="T86" y="T87"/>
              </a:cxn>
              <a:cxn ang="T160">
                <a:pos x="T88" y="T89"/>
              </a:cxn>
              <a:cxn ang="T161">
                <a:pos x="T90" y="T91"/>
              </a:cxn>
              <a:cxn ang="T162">
                <a:pos x="T92" y="T93"/>
              </a:cxn>
              <a:cxn ang="T163">
                <a:pos x="T94" y="T95"/>
              </a:cxn>
              <a:cxn ang="T164">
                <a:pos x="T96" y="T97"/>
              </a:cxn>
              <a:cxn ang="T165">
                <a:pos x="T98" y="T99"/>
              </a:cxn>
              <a:cxn ang="T166">
                <a:pos x="T100" y="T101"/>
              </a:cxn>
              <a:cxn ang="T167">
                <a:pos x="T102" y="T103"/>
              </a:cxn>
              <a:cxn ang="T168">
                <a:pos x="T104" y="T105"/>
              </a:cxn>
              <a:cxn ang="T169">
                <a:pos x="T106" y="T107"/>
              </a:cxn>
              <a:cxn ang="T170">
                <a:pos x="T108" y="T109"/>
              </a:cxn>
              <a:cxn ang="T171">
                <a:pos x="T110" y="T111"/>
              </a:cxn>
              <a:cxn ang="T172">
                <a:pos x="T112" y="T113"/>
              </a:cxn>
              <a:cxn ang="T173">
                <a:pos x="T114" y="T115"/>
              </a:cxn>
            </a:cxnLst>
            <a:rect l="T174" t="T175" r="T176" b="T177"/>
            <a:pathLst>
              <a:path w="1514608" h="3039523">
                <a:moveTo>
                  <a:pt x="995736" y="0"/>
                </a:moveTo>
                <a:lnTo>
                  <a:pt x="1043064" y="19332"/>
                </a:lnTo>
                <a:lnTo>
                  <a:pt x="1112530" y="54736"/>
                </a:lnTo>
                <a:lnTo>
                  <a:pt x="1191376" y="93400"/>
                </a:lnTo>
                <a:lnTo>
                  <a:pt x="1254518" y="144877"/>
                </a:lnTo>
                <a:cubicBezTo>
                  <a:pt x="1257680" y="156679"/>
                  <a:pt x="1260842" y="168593"/>
                  <a:pt x="1264004" y="180394"/>
                </a:cubicBezTo>
                <a:cubicBezTo>
                  <a:pt x="1271382" y="203997"/>
                  <a:pt x="1278656" y="227600"/>
                  <a:pt x="1286034" y="251203"/>
                </a:cubicBezTo>
                <a:lnTo>
                  <a:pt x="1336632" y="315606"/>
                </a:lnTo>
                <a:lnTo>
                  <a:pt x="1371312" y="380008"/>
                </a:lnTo>
                <a:lnTo>
                  <a:pt x="1424966" y="412265"/>
                </a:lnTo>
                <a:lnTo>
                  <a:pt x="1469132" y="412265"/>
                </a:lnTo>
                <a:lnTo>
                  <a:pt x="1464870" y="418267"/>
                </a:lnTo>
                <a:lnTo>
                  <a:pt x="1472066" y="411975"/>
                </a:lnTo>
                <a:cubicBezTo>
                  <a:pt x="1470364" y="420769"/>
                  <a:pt x="1468448" y="429783"/>
                  <a:pt x="1466748" y="438577"/>
                </a:cubicBezTo>
                <a:cubicBezTo>
                  <a:pt x="1463130" y="442095"/>
                  <a:pt x="1459728" y="445833"/>
                  <a:pt x="1456112" y="449350"/>
                </a:cubicBezTo>
                <a:lnTo>
                  <a:pt x="1456112" y="497059"/>
                </a:lnTo>
                <a:cubicBezTo>
                  <a:pt x="1452494" y="505853"/>
                  <a:pt x="1449092" y="514867"/>
                  <a:pt x="1445476" y="523661"/>
                </a:cubicBezTo>
                <a:cubicBezTo>
                  <a:pt x="1450794" y="559278"/>
                  <a:pt x="1456112" y="594894"/>
                  <a:pt x="1461430" y="630291"/>
                </a:cubicBezTo>
                <a:cubicBezTo>
                  <a:pt x="1465046" y="651397"/>
                  <a:pt x="1468448" y="672943"/>
                  <a:pt x="1472066" y="694049"/>
                </a:cubicBezTo>
                <a:cubicBezTo>
                  <a:pt x="1477384" y="702843"/>
                  <a:pt x="1482702" y="711857"/>
                  <a:pt x="1488020" y="720651"/>
                </a:cubicBezTo>
                <a:cubicBezTo>
                  <a:pt x="1493338" y="729446"/>
                  <a:pt x="1498656" y="738460"/>
                  <a:pt x="1503972" y="747254"/>
                </a:cubicBezTo>
                <a:cubicBezTo>
                  <a:pt x="1498656" y="749013"/>
                  <a:pt x="1493338" y="750991"/>
                  <a:pt x="1488020" y="752530"/>
                </a:cubicBezTo>
                <a:cubicBezTo>
                  <a:pt x="1489720" y="764842"/>
                  <a:pt x="1491636" y="777594"/>
                  <a:pt x="1493338" y="789906"/>
                </a:cubicBezTo>
                <a:lnTo>
                  <a:pt x="1493338" y="821785"/>
                </a:lnTo>
                <a:cubicBezTo>
                  <a:pt x="1496954" y="834097"/>
                  <a:pt x="1500356" y="846848"/>
                  <a:pt x="1503972" y="859160"/>
                </a:cubicBezTo>
                <a:cubicBezTo>
                  <a:pt x="1505674" y="862678"/>
                  <a:pt x="1507590" y="866195"/>
                  <a:pt x="1509292" y="869933"/>
                </a:cubicBezTo>
                <a:cubicBezTo>
                  <a:pt x="1507590" y="878727"/>
                  <a:pt x="1505674" y="887741"/>
                  <a:pt x="1503972" y="896535"/>
                </a:cubicBezTo>
                <a:cubicBezTo>
                  <a:pt x="1505674" y="907308"/>
                  <a:pt x="1507590" y="917642"/>
                  <a:pt x="1509292" y="928414"/>
                </a:cubicBezTo>
                <a:cubicBezTo>
                  <a:pt x="1510992" y="937209"/>
                  <a:pt x="1512908" y="946223"/>
                  <a:pt x="1514608" y="955017"/>
                </a:cubicBezTo>
                <a:lnTo>
                  <a:pt x="1498656" y="976123"/>
                </a:lnTo>
                <a:cubicBezTo>
                  <a:pt x="1500356" y="986896"/>
                  <a:pt x="1502272" y="997229"/>
                  <a:pt x="1503972" y="1008002"/>
                </a:cubicBezTo>
                <a:cubicBezTo>
                  <a:pt x="1505674" y="1018775"/>
                  <a:pt x="1507590" y="1029548"/>
                  <a:pt x="1509292" y="1040101"/>
                </a:cubicBezTo>
                <a:cubicBezTo>
                  <a:pt x="1505674" y="1050874"/>
                  <a:pt x="1502272" y="1061207"/>
                  <a:pt x="1498656" y="1071980"/>
                </a:cubicBezTo>
                <a:cubicBezTo>
                  <a:pt x="1496954" y="1082753"/>
                  <a:pt x="1495038" y="1093086"/>
                  <a:pt x="1493338" y="1103859"/>
                </a:cubicBezTo>
                <a:cubicBezTo>
                  <a:pt x="1488020" y="1109135"/>
                  <a:pt x="1482702" y="1114632"/>
                  <a:pt x="1477384" y="1119908"/>
                </a:cubicBezTo>
                <a:cubicBezTo>
                  <a:pt x="1475682" y="1130461"/>
                  <a:pt x="1473766" y="1141234"/>
                  <a:pt x="1472066" y="1152007"/>
                </a:cubicBezTo>
                <a:cubicBezTo>
                  <a:pt x="1468448" y="1157284"/>
                  <a:pt x="1465046" y="1162780"/>
                  <a:pt x="1461430" y="1167837"/>
                </a:cubicBezTo>
                <a:cubicBezTo>
                  <a:pt x="1463130" y="1182127"/>
                  <a:pt x="1465046" y="1196198"/>
                  <a:pt x="1466748" y="1210488"/>
                </a:cubicBezTo>
                <a:lnTo>
                  <a:pt x="1466748" y="1253140"/>
                </a:lnTo>
                <a:cubicBezTo>
                  <a:pt x="1465046" y="1256658"/>
                  <a:pt x="1463130" y="1260176"/>
                  <a:pt x="1461430" y="1263693"/>
                </a:cubicBezTo>
                <a:cubicBezTo>
                  <a:pt x="1456112" y="1277984"/>
                  <a:pt x="1450794" y="1292055"/>
                  <a:pt x="1445476" y="1306345"/>
                </a:cubicBezTo>
                <a:cubicBezTo>
                  <a:pt x="1443774" y="1315139"/>
                  <a:pt x="1441858" y="1324153"/>
                  <a:pt x="1440158" y="1332948"/>
                </a:cubicBezTo>
                <a:cubicBezTo>
                  <a:pt x="1436540" y="1343721"/>
                  <a:pt x="1433138" y="1354054"/>
                  <a:pt x="1429522" y="1364827"/>
                </a:cubicBezTo>
                <a:cubicBezTo>
                  <a:pt x="1431222" y="1375600"/>
                  <a:pt x="1433138" y="1385933"/>
                  <a:pt x="1434840" y="1396706"/>
                </a:cubicBezTo>
                <a:cubicBezTo>
                  <a:pt x="1429522" y="1405500"/>
                  <a:pt x="1424204" y="1414514"/>
                  <a:pt x="1418886" y="1423308"/>
                </a:cubicBezTo>
                <a:cubicBezTo>
                  <a:pt x="1415268" y="1428585"/>
                  <a:pt x="1411866" y="1434081"/>
                  <a:pt x="1408250" y="1439358"/>
                </a:cubicBezTo>
                <a:lnTo>
                  <a:pt x="1429522" y="1465960"/>
                </a:lnTo>
                <a:cubicBezTo>
                  <a:pt x="1427820" y="1481789"/>
                  <a:pt x="1425904" y="1498059"/>
                  <a:pt x="1424204" y="1513888"/>
                </a:cubicBezTo>
                <a:cubicBezTo>
                  <a:pt x="1418886" y="1521144"/>
                  <a:pt x="1413568" y="1527959"/>
                  <a:pt x="1408250" y="1535214"/>
                </a:cubicBezTo>
                <a:cubicBezTo>
                  <a:pt x="1404632" y="1540271"/>
                  <a:pt x="1401230" y="1545767"/>
                  <a:pt x="1397614" y="1551044"/>
                </a:cubicBezTo>
                <a:lnTo>
                  <a:pt x="1397614" y="1577646"/>
                </a:lnTo>
                <a:cubicBezTo>
                  <a:pt x="1399316" y="1590178"/>
                  <a:pt x="1401230" y="1602710"/>
                  <a:pt x="1402932" y="1615022"/>
                </a:cubicBezTo>
                <a:cubicBezTo>
                  <a:pt x="1406548" y="1627334"/>
                  <a:pt x="1409952" y="1639865"/>
                  <a:pt x="1413568" y="1652177"/>
                </a:cubicBezTo>
                <a:lnTo>
                  <a:pt x="1413568" y="1673503"/>
                </a:lnTo>
                <a:cubicBezTo>
                  <a:pt x="1408250" y="1678780"/>
                  <a:pt x="1402932" y="1684276"/>
                  <a:pt x="1397614" y="1689553"/>
                </a:cubicBezTo>
                <a:cubicBezTo>
                  <a:pt x="1388680" y="1698347"/>
                  <a:pt x="1379958" y="1707361"/>
                  <a:pt x="1371024" y="1716155"/>
                </a:cubicBezTo>
                <a:lnTo>
                  <a:pt x="1368924" y="1715834"/>
                </a:lnTo>
                <a:lnTo>
                  <a:pt x="1370876" y="1722295"/>
                </a:lnTo>
                <a:lnTo>
                  <a:pt x="1370876" y="1732778"/>
                </a:lnTo>
                <a:cubicBezTo>
                  <a:pt x="1372552" y="1741617"/>
                  <a:pt x="1374750" y="1750662"/>
                  <a:pt x="1376636" y="1759501"/>
                </a:cubicBezTo>
                <a:cubicBezTo>
                  <a:pt x="1372552" y="1771835"/>
                  <a:pt x="1369514" y="1784168"/>
                  <a:pt x="1365744" y="1796502"/>
                </a:cubicBezTo>
                <a:cubicBezTo>
                  <a:pt x="1364172" y="1801846"/>
                  <a:pt x="1362392" y="1807191"/>
                  <a:pt x="1360192" y="1812535"/>
                </a:cubicBezTo>
                <a:cubicBezTo>
                  <a:pt x="1356946" y="1814385"/>
                  <a:pt x="1353384" y="1816030"/>
                  <a:pt x="1349824" y="1817880"/>
                </a:cubicBezTo>
                <a:lnTo>
                  <a:pt x="1349824" y="1839053"/>
                </a:lnTo>
                <a:lnTo>
                  <a:pt x="1365744" y="1844397"/>
                </a:lnTo>
                <a:cubicBezTo>
                  <a:pt x="1369304" y="1851386"/>
                  <a:pt x="1372552" y="1858581"/>
                  <a:pt x="1376636" y="1865570"/>
                </a:cubicBezTo>
                <a:lnTo>
                  <a:pt x="1376636" y="1897432"/>
                </a:lnTo>
                <a:lnTo>
                  <a:pt x="1376636" y="1913465"/>
                </a:lnTo>
                <a:lnTo>
                  <a:pt x="1360192" y="1918810"/>
                </a:lnTo>
                <a:lnTo>
                  <a:pt x="1360192" y="1939983"/>
                </a:lnTo>
                <a:lnTo>
                  <a:pt x="1381664" y="1950672"/>
                </a:lnTo>
                <a:cubicBezTo>
                  <a:pt x="1380302" y="1957661"/>
                  <a:pt x="1378626" y="1964855"/>
                  <a:pt x="1376636" y="1971844"/>
                </a:cubicBezTo>
                <a:lnTo>
                  <a:pt x="1376636" y="1998362"/>
                </a:lnTo>
                <a:cubicBezTo>
                  <a:pt x="1371190" y="2005556"/>
                  <a:pt x="1365638" y="2012545"/>
                  <a:pt x="1360192" y="2019740"/>
                </a:cubicBezTo>
                <a:cubicBezTo>
                  <a:pt x="1358516" y="2026729"/>
                  <a:pt x="1356840" y="2033923"/>
                  <a:pt x="1355060" y="2040913"/>
                </a:cubicBezTo>
                <a:cubicBezTo>
                  <a:pt x="1358622" y="2049752"/>
                  <a:pt x="1362392" y="2058591"/>
                  <a:pt x="1365744" y="2067430"/>
                </a:cubicBezTo>
                <a:cubicBezTo>
                  <a:pt x="1367628" y="2074624"/>
                  <a:pt x="1369200" y="2081613"/>
                  <a:pt x="1370876" y="2088808"/>
                </a:cubicBezTo>
                <a:cubicBezTo>
                  <a:pt x="1367314" y="2097647"/>
                  <a:pt x="1364172" y="2106486"/>
                  <a:pt x="1360192" y="2115325"/>
                </a:cubicBezTo>
                <a:cubicBezTo>
                  <a:pt x="1355164" y="2120670"/>
                  <a:pt x="1349614" y="2125809"/>
                  <a:pt x="1344482" y="2131153"/>
                </a:cubicBezTo>
                <a:lnTo>
                  <a:pt x="1328668" y="2141843"/>
                </a:lnTo>
                <a:lnTo>
                  <a:pt x="1312852" y="2147187"/>
                </a:lnTo>
                <a:cubicBezTo>
                  <a:pt x="1314318" y="2154176"/>
                  <a:pt x="1316098" y="2161371"/>
                  <a:pt x="1317566" y="2168360"/>
                </a:cubicBezTo>
                <a:cubicBezTo>
                  <a:pt x="1316098" y="2177199"/>
                  <a:pt x="1314318" y="2186038"/>
                  <a:pt x="1312852" y="2194877"/>
                </a:cubicBezTo>
                <a:cubicBezTo>
                  <a:pt x="1310444" y="2203716"/>
                  <a:pt x="1308872" y="2212761"/>
                  <a:pt x="1307302" y="2221600"/>
                </a:cubicBezTo>
                <a:lnTo>
                  <a:pt x="1285830" y="2242772"/>
                </a:lnTo>
                <a:lnTo>
                  <a:pt x="1270120" y="2285323"/>
                </a:lnTo>
                <a:lnTo>
                  <a:pt x="1259228" y="2295807"/>
                </a:lnTo>
                <a:cubicBezTo>
                  <a:pt x="1256086" y="2303001"/>
                  <a:pt x="1252002" y="2309991"/>
                  <a:pt x="1248650" y="2317185"/>
                </a:cubicBezTo>
                <a:lnTo>
                  <a:pt x="1238386" y="2317185"/>
                </a:lnTo>
                <a:lnTo>
                  <a:pt x="1222048" y="2343702"/>
                </a:lnTo>
                <a:cubicBezTo>
                  <a:pt x="1220266" y="2352541"/>
                  <a:pt x="1218904" y="2361381"/>
                  <a:pt x="1217124" y="2370220"/>
                </a:cubicBezTo>
                <a:cubicBezTo>
                  <a:pt x="1213144" y="2379059"/>
                  <a:pt x="1209688" y="2387898"/>
                  <a:pt x="1206128" y="2396737"/>
                </a:cubicBezTo>
                <a:lnTo>
                  <a:pt x="1190208" y="2407426"/>
                </a:lnTo>
                <a:cubicBezTo>
                  <a:pt x="1186542" y="2418115"/>
                  <a:pt x="1182980" y="2428599"/>
                  <a:pt x="1179524" y="2439288"/>
                </a:cubicBezTo>
                <a:lnTo>
                  <a:pt x="1163604" y="2449977"/>
                </a:lnTo>
                <a:lnTo>
                  <a:pt x="1147686" y="2449977"/>
                </a:lnTo>
                <a:cubicBezTo>
                  <a:pt x="1145696" y="2455321"/>
                  <a:pt x="1144230" y="2460461"/>
                  <a:pt x="1142554" y="2465805"/>
                </a:cubicBezTo>
                <a:lnTo>
                  <a:pt x="1110294" y="2481839"/>
                </a:lnTo>
                <a:cubicBezTo>
                  <a:pt x="1108620" y="2478344"/>
                  <a:pt x="1107048" y="2474644"/>
                  <a:pt x="1104744" y="2471150"/>
                </a:cubicBezTo>
                <a:cubicBezTo>
                  <a:pt x="1101392" y="2474644"/>
                  <a:pt x="1098250" y="2478344"/>
                  <a:pt x="1094480" y="2481839"/>
                </a:cubicBezTo>
                <a:lnTo>
                  <a:pt x="1073218" y="2487183"/>
                </a:lnTo>
                <a:cubicBezTo>
                  <a:pt x="1071228" y="2494172"/>
                  <a:pt x="1069554" y="2501367"/>
                  <a:pt x="1067878" y="2508356"/>
                </a:cubicBezTo>
                <a:cubicBezTo>
                  <a:pt x="1064422" y="2513701"/>
                  <a:pt x="1060650" y="2519045"/>
                  <a:pt x="1057404" y="2524390"/>
                </a:cubicBezTo>
                <a:lnTo>
                  <a:pt x="1041484" y="2534873"/>
                </a:lnTo>
                <a:lnTo>
                  <a:pt x="1020118" y="2534873"/>
                </a:lnTo>
                <a:cubicBezTo>
                  <a:pt x="1018442" y="2540218"/>
                  <a:pt x="1016452" y="2545562"/>
                  <a:pt x="1014776" y="2550907"/>
                </a:cubicBezTo>
                <a:cubicBezTo>
                  <a:pt x="1012996" y="2556251"/>
                  <a:pt x="1011320" y="2561390"/>
                  <a:pt x="1009436" y="2566735"/>
                </a:cubicBezTo>
                <a:lnTo>
                  <a:pt x="993202" y="2561390"/>
                </a:lnTo>
                <a:cubicBezTo>
                  <a:pt x="991736" y="2568585"/>
                  <a:pt x="989850" y="2575574"/>
                  <a:pt x="988070" y="2582769"/>
                </a:cubicBezTo>
                <a:lnTo>
                  <a:pt x="961676" y="2603941"/>
                </a:lnTo>
                <a:lnTo>
                  <a:pt x="945338" y="2619975"/>
                </a:lnTo>
                <a:lnTo>
                  <a:pt x="929628" y="2625114"/>
                </a:lnTo>
                <a:lnTo>
                  <a:pt x="929628" y="2603941"/>
                </a:lnTo>
                <a:cubicBezTo>
                  <a:pt x="925962" y="2596952"/>
                  <a:pt x="922714" y="2589758"/>
                  <a:pt x="919154" y="2582769"/>
                </a:cubicBezTo>
                <a:lnTo>
                  <a:pt x="897368" y="2582769"/>
                </a:lnTo>
                <a:cubicBezTo>
                  <a:pt x="894226" y="2589758"/>
                  <a:pt x="890666" y="2596952"/>
                  <a:pt x="887104" y="2603941"/>
                </a:cubicBezTo>
                <a:cubicBezTo>
                  <a:pt x="889094" y="2607436"/>
                  <a:pt x="890562" y="2611136"/>
                  <a:pt x="892446" y="2614631"/>
                </a:cubicBezTo>
                <a:lnTo>
                  <a:pt x="892446" y="2625114"/>
                </a:lnTo>
                <a:lnTo>
                  <a:pt x="881450" y="2614631"/>
                </a:lnTo>
                <a:lnTo>
                  <a:pt x="849714" y="2603941"/>
                </a:lnTo>
                <a:lnTo>
                  <a:pt x="833900" y="2593252"/>
                </a:lnTo>
                <a:cubicBezTo>
                  <a:pt x="831910" y="2589758"/>
                  <a:pt x="830444" y="2586263"/>
                  <a:pt x="828768" y="2582769"/>
                </a:cubicBezTo>
                <a:cubicBezTo>
                  <a:pt x="824998" y="2591608"/>
                  <a:pt x="821646" y="2600447"/>
                  <a:pt x="817980" y="2609286"/>
                </a:cubicBezTo>
                <a:lnTo>
                  <a:pt x="817980" y="2630459"/>
                </a:lnTo>
                <a:lnTo>
                  <a:pt x="791586" y="2625114"/>
                </a:lnTo>
                <a:lnTo>
                  <a:pt x="770012" y="2625114"/>
                </a:lnTo>
                <a:lnTo>
                  <a:pt x="759434" y="2614631"/>
                </a:lnTo>
                <a:cubicBezTo>
                  <a:pt x="755768" y="2612780"/>
                  <a:pt x="752206" y="2611136"/>
                  <a:pt x="748960" y="2609286"/>
                </a:cubicBezTo>
                <a:lnTo>
                  <a:pt x="727490" y="2609286"/>
                </a:lnTo>
                <a:cubicBezTo>
                  <a:pt x="724348" y="2611136"/>
                  <a:pt x="720576" y="2612780"/>
                  <a:pt x="716806" y="2614631"/>
                </a:cubicBezTo>
                <a:cubicBezTo>
                  <a:pt x="720472" y="2616481"/>
                  <a:pt x="724242" y="2618125"/>
                  <a:pt x="727490" y="2619975"/>
                </a:cubicBezTo>
                <a:cubicBezTo>
                  <a:pt x="729270" y="2623469"/>
                  <a:pt x="731260" y="2626964"/>
                  <a:pt x="732936" y="2630459"/>
                </a:cubicBezTo>
                <a:lnTo>
                  <a:pt x="732936" y="2646492"/>
                </a:lnTo>
                <a:cubicBezTo>
                  <a:pt x="734402" y="2653481"/>
                  <a:pt x="736706" y="2660676"/>
                  <a:pt x="738276" y="2667665"/>
                </a:cubicBezTo>
                <a:lnTo>
                  <a:pt x="722358" y="2657181"/>
                </a:lnTo>
                <a:cubicBezTo>
                  <a:pt x="720472" y="2658826"/>
                  <a:pt x="718692" y="2660676"/>
                  <a:pt x="716806" y="2662320"/>
                </a:cubicBezTo>
                <a:lnTo>
                  <a:pt x="695754" y="2635803"/>
                </a:lnTo>
                <a:cubicBezTo>
                  <a:pt x="693764" y="2619975"/>
                  <a:pt x="691880" y="2603941"/>
                  <a:pt x="690308" y="2588113"/>
                </a:cubicBezTo>
                <a:cubicBezTo>
                  <a:pt x="686852" y="2580919"/>
                  <a:pt x="683186" y="2573930"/>
                  <a:pt x="679834" y="2566735"/>
                </a:cubicBezTo>
                <a:cubicBezTo>
                  <a:pt x="681720" y="2559746"/>
                  <a:pt x="683290" y="2552551"/>
                  <a:pt x="685176" y="2545562"/>
                </a:cubicBezTo>
                <a:cubicBezTo>
                  <a:pt x="683290" y="2540218"/>
                  <a:pt x="681616" y="2534873"/>
                  <a:pt x="679834" y="2529529"/>
                </a:cubicBezTo>
                <a:lnTo>
                  <a:pt x="663916" y="2519045"/>
                </a:lnTo>
                <a:cubicBezTo>
                  <a:pt x="660250" y="2524390"/>
                  <a:pt x="656584" y="2529529"/>
                  <a:pt x="653022" y="2534873"/>
                </a:cubicBezTo>
                <a:cubicBezTo>
                  <a:pt x="649776" y="2540218"/>
                  <a:pt x="646214" y="2545562"/>
                  <a:pt x="642340" y="2550907"/>
                </a:cubicBezTo>
                <a:cubicBezTo>
                  <a:pt x="638988" y="2565091"/>
                  <a:pt x="635532" y="2579069"/>
                  <a:pt x="631552" y="2593252"/>
                </a:cubicBezTo>
                <a:cubicBezTo>
                  <a:pt x="626524" y="2603941"/>
                  <a:pt x="621184" y="2614425"/>
                  <a:pt x="616156" y="2625114"/>
                </a:cubicBezTo>
                <a:lnTo>
                  <a:pt x="583898" y="2625114"/>
                </a:lnTo>
                <a:cubicBezTo>
                  <a:pt x="582326" y="2632309"/>
                  <a:pt x="580232" y="2639298"/>
                  <a:pt x="578452" y="2646492"/>
                </a:cubicBezTo>
                <a:lnTo>
                  <a:pt x="552162" y="2630459"/>
                </a:lnTo>
                <a:lnTo>
                  <a:pt x="567874" y="2582769"/>
                </a:lnTo>
                <a:lnTo>
                  <a:pt x="567874" y="2561390"/>
                </a:lnTo>
                <a:lnTo>
                  <a:pt x="552162" y="2550907"/>
                </a:lnTo>
                <a:lnTo>
                  <a:pt x="530902" y="2556251"/>
                </a:lnTo>
                <a:cubicBezTo>
                  <a:pt x="527236" y="2563241"/>
                  <a:pt x="523990" y="2570435"/>
                  <a:pt x="519904" y="2577424"/>
                </a:cubicBezTo>
                <a:lnTo>
                  <a:pt x="519904" y="2603941"/>
                </a:lnTo>
                <a:lnTo>
                  <a:pt x="519904" y="2630459"/>
                </a:lnTo>
                <a:lnTo>
                  <a:pt x="519904" y="2641148"/>
                </a:lnTo>
                <a:lnTo>
                  <a:pt x="504300" y="2625114"/>
                </a:lnTo>
                <a:cubicBezTo>
                  <a:pt x="500528" y="2630459"/>
                  <a:pt x="497178" y="2635803"/>
                  <a:pt x="493720" y="2641148"/>
                </a:cubicBezTo>
                <a:cubicBezTo>
                  <a:pt x="497178" y="2648137"/>
                  <a:pt x="500528" y="2655331"/>
                  <a:pt x="504300" y="2662320"/>
                </a:cubicBezTo>
                <a:cubicBezTo>
                  <a:pt x="506290" y="2671159"/>
                  <a:pt x="507756" y="2680204"/>
                  <a:pt x="509640" y="2689043"/>
                </a:cubicBezTo>
                <a:cubicBezTo>
                  <a:pt x="507756" y="2694388"/>
                  <a:pt x="506290" y="2699527"/>
                  <a:pt x="504300" y="2704871"/>
                </a:cubicBezTo>
                <a:lnTo>
                  <a:pt x="488274" y="2710216"/>
                </a:lnTo>
                <a:cubicBezTo>
                  <a:pt x="491522" y="2715560"/>
                  <a:pt x="495502" y="2720699"/>
                  <a:pt x="498852" y="2726044"/>
                </a:cubicBezTo>
                <a:cubicBezTo>
                  <a:pt x="495502" y="2731389"/>
                  <a:pt x="491626" y="2736733"/>
                  <a:pt x="488274" y="2742078"/>
                </a:cubicBezTo>
                <a:cubicBezTo>
                  <a:pt x="489950" y="2745572"/>
                  <a:pt x="491522" y="2749272"/>
                  <a:pt x="493720" y="2752767"/>
                </a:cubicBezTo>
                <a:cubicBezTo>
                  <a:pt x="497178" y="2754411"/>
                  <a:pt x="500528" y="2756261"/>
                  <a:pt x="504300" y="2757906"/>
                </a:cubicBezTo>
                <a:lnTo>
                  <a:pt x="504300" y="2784629"/>
                </a:lnTo>
                <a:cubicBezTo>
                  <a:pt x="500528" y="2789973"/>
                  <a:pt x="496862" y="2795112"/>
                  <a:pt x="493720" y="2800457"/>
                </a:cubicBezTo>
                <a:cubicBezTo>
                  <a:pt x="491522" y="2803951"/>
                  <a:pt x="489950" y="2807651"/>
                  <a:pt x="488274" y="2811146"/>
                </a:cubicBezTo>
                <a:cubicBezTo>
                  <a:pt x="489950" y="2816490"/>
                  <a:pt x="491522" y="2821629"/>
                  <a:pt x="493720" y="2826974"/>
                </a:cubicBezTo>
                <a:cubicBezTo>
                  <a:pt x="491522" y="2830469"/>
                  <a:pt x="489950" y="2834169"/>
                  <a:pt x="488274" y="2837663"/>
                </a:cubicBezTo>
                <a:cubicBezTo>
                  <a:pt x="489950" y="2841158"/>
                  <a:pt x="491522" y="2844858"/>
                  <a:pt x="493720" y="2848352"/>
                </a:cubicBezTo>
                <a:lnTo>
                  <a:pt x="493720" y="2869525"/>
                </a:lnTo>
                <a:cubicBezTo>
                  <a:pt x="491836" y="2874869"/>
                  <a:pt x="489846" y="2880214"/>
                  <a:pt x="488274" y="2885559"/>
                </a:cubicBezTo>
                <a:lnTo>
                  <a:pt x="472250" y="2885559"/>
                </a:lnTo>
                <a:cubicBezTo>
                  <a:pt x="468584" y="2880214"/>
                  <a:pt x="465548" y="2874869"/>
                  <a:pt x="461358" y="2869525"/>
                </a:cubicBezTo>
                <a:cubicBezTo>
                  <a:pt x="456226" y="2864180"/>
                  <a:pt x="450884" y="2859041"/>
                  <a:pt x="445438" y="2853697"/>
                </a:cubicBezTo>
                <a:cubicBezTo>
                  <a:pt x="442296" y="2860686"/>
                  <a:pt x="438526" y="2867880"/>
                  <a:pt x="435384" y="2874869"/>
                </a:cubicBezTo>
                <a:lnTo>
                  <a:pt x="408362" y="2896042"/>
                </a:lnTo>
                <a:lnTo>
                  <a:pt x="381760" y="2890697"/>
                </a:lnTo>
                <a:lnTo>
                  <a:pt x="360708" y="2890697"/>
                </a:lnTo>
                <a:lnTo>
                  <a:pt x="344684" y="2896042"/>
                </a:lnTo>
                <a:lnTo>
                  <a:pt x="336406" y="2900309"/>
                </a:lnTo>
                <a:lnTo>
                  <a:pt x="344970" y="2917420"/>
                </a:lnTo>
                <a:lnTo>
                  <a:pt x="371286" y="2917420"/>
                </a:lnTo>
                <a:lnTo>
                  <a:pt x="392442" y="2917420"/>
                </a:lnTo>
                <a:cubicBezTo>
                  <a:pt x="395898" y="2919270"/>
                  <a:pt x="399564" y="2920915"/>
                  <a:pt x="403230" y="2922765"/>
                </a:cubicBezTo>
                <a:cubicBezTo>
                  <a:pt x="406790" y="2924409"/>
                  <a:pt x="410248" y="2926259"/>
                  <a:pt x="413808" y="2927904"/>
                </a:cubicBezTo>
                <a:cubicBezTo>
                  <a:pt x="415588" y="2931398"/>
                  <a:pt x="416950" y="2935099"/>
                  <a:pt x="418730" y="2938593"/>
                </a:cubicBezTo>
                <a:cubicBezTo>
                  <a:pt x="415588" y="2943938"/>
                  <a:pt x="412132" y="2949282"/>
                  <a:pt x="408362" y="2954627"/>
                </a:cubicBezTo>
                <a:lnTo>
                  <a:pt x="408362" y="2965110"/>
                </a:lnTo>
                <a:lnTo>
                  <a:pt x="424910" y="2965110"/>
                </a:lnTo>
                <a:cubicBezTo>
                  <a:pt x="426376" y="2972305"/>
                  <a:pt x="427842" y="2979294"/>
                  <a:pt x="429728" y="2986489"/>
                </a:cubicBezTo>
                <a:cubicBezTo>
                  <a:pt x="431508" y="2993477"/>
                  <a:pt x="433288" y="3000672"/>
                  <a:pt x="435384" y="3007661"/>
                </a:cubicBezTo>
                <a:cubicBezTo>
                  <a:pt x="436850" y="3013006"/>
                  <a:pt x="438420" y="3018145"/>
                  <a:pt x="440410" y="3023489"/>
                </a:cubicBezTo>
                <a:lnTo>
                  <a:pt x="430478" y="3038398"/>
                </a:lnTo>
                <a:lnTo>
                  <a:pt x="431150" y="3039270"/>
                </a:lnTo>
                <a:lnTo>
                  <a:pt x="429896" y="3039270"/>
                </a:lnTo>
                <a:cubicBezTo>
                  <a:pt x="429840" y="3039354"/>
                  <a:pt x="429784" y="3039439"/>
                  <a:pt x="429728" y="3039523"/>
                </a:cubicBezTo>
                <a:lnTo>
                  <a:pt x="429494" y="3039270"/>
                </a:lnTo>
                <a:lnTo>
                  <a:pt x="415184" y="3039270"/>
                </a:lnTo>
                <a:lnTo>
                  <a:pt x="399216" y="3023320"/>
                </a:lnTo>
                <a:lnTo>
                  <a:pt x="372606" y="3002102"/>
                </a:lnTo>
                <a:lnTo>
                  <a:pt x="345994" y="2975471"/>
                </a:lnTo>
                <a:lnTo>
                  <a:pt x="335350" y="2954253"/>
                </a:lnTo>
                <a:lnTo>
                  <a:pt x="319384" y="2938303"/>
                </a:lnTo>
                <a:lnTo>
                  <a:pt x="298096" y="2933034"/>
                </a:lnTo>
                <a:lnTo>
                  <a:pt x="276806" y="2917084"/>
                </a:lnTo>
                <a:lnTo>
                  <a:pt x="255464" y="2906404"/>
                </a:lnTo>
                <a:lnTo>
                  <a:pt x="266162" y="2901135"/>
                </a:lnTo>
                <a:lnTo>
                  <a:pt x="266162" y="2879916"/>
                </a:lnTo>
                <a:lnTo>
                  <a:pt x="287450" y="2879916"/>
                </a:lnTo>
                <a:lnTo>
                  <a:pt x="298096" y="2858555"/>
                </a:lnTo>
                <a:lnTo>
                  <a:pt x="303418" y="2848017"/>
                </a:lnTo>
                <a:lnTo>
                  <a:pt x="314062" y="2837336"/>
                </a:lnTo>
                <a:lnTo>
                  <a:pt x="335350" y="2837336"/>
                </a:lnTo>
                <a:lnTo>
                  <a:pt x="345994" y="2826655"/>
                </a:lnTo>
                <a:lnTo>
                  <a:pt x="361962" y="2826655"/>
                </a:lnTo>
                <a:lnTo>
                  <a:pt x="372606" y="2816117"/>
                </a:lnTo>
                <a:cubicBezTo>
                  <a:pt x="374398" y="2814408"/>
                  <a:pt x="376136" y="2812557"/>
                  <a:pt x="377928" y="2810848"/>
                </a:cubicBezTo>
                <a:lnTo>
                  <a:pt x="393894" y="2800168"/>
                </a:lnTo>
                <a:lnTo>
                  <a:pt x="393894" y="2784218"/>
                </a:lnTo>
                <a:lnTo>
                  <a:pt x="393894" y="2762999"/>
                </a:lnTo>
                <a:cubicBezTo>
                  <a:pt x="390364" y="2752319"/>
                  <a:pt x="386780" y="2741781"/>
                  <a:pt x="383250" y="2731100"/>
                </a:cubicBezTo>
                <a:lnTo>
                  <a:pt x="383250" y="2699201"/>
                </a:lnTo>
                <a:lnTo>
                  <a:pt x="383250" y="2667301"/>
                </a:lnTo>
                <a:lnTo>
                  <a:pt x="388572" y="2646083"/>
                </a:lnTo>
                <a:cubicBezTo>
                  <a:pt x="386780" y="2640814"/>
                  <a:pt x="385042" y="2635402"/>
                  <a:pt x="383250" y="2630133"/>
                </a:cubicBezTo>
                <a:lnTo>
                  <a:pt x="393894" y="2614183"/>
                </a:lnTo>
                <a:lnTo>
                  <a:pt x="377928" y="2603503"/>
                </a:lnTo>
                <a:lnTo>
                  <a:pt x="367284" y="2592965"/>
                </a:lnTo>
                <a:lnTo>
                  <a:pt x="351316" y="2582284"/>
                </a:lnTo>
                <a:lnTo>
                  <a:pt x="335350" y="2571603"/>
                </a:lnTo>
                <a:lnTo>
                  <a:pt x="319384" y="2555654"/>
                </a:lnTo>
                <a:lnTo>
                  <a:pt x="303418" y="2550385"/>
                </a:lnTo>
                <a:cubicBezTo>
                  <a:pt x="301626" y="2545116"/>
                  <a:pt x="299886" y="2539704"/>
                  <a:pt x="298096" y="2534435"/>
                </a:cubicBezTo>
                <a:lnTo>
                  <a:pt x="276806" y="2523897"/>
                </a:lnTo>
                <a:lnTo>
                  <a:pt x="276806" y="2502536"/>
                </a:lnTo>
                <a:lnTo>
                  <a:pt x="266162" y="2481317"/>
                </a:lnTo>
                <a:lnTo>
                  <a:pt x="255464" y="2470637"/>
                </a:lnTo>
                <a:lnTo>
                  <a:pt x="255464" y="2438880"/>
                </a:lnTo>
                <a:lnTo>
                  <a:pt x="234176" y="2417519"/>
                </a:lnTo>
                <a:lnTo>
                  <a:pt x="234176" y="2391031"/>
                </a:lnTo>
                <a:lnTo>
                  <a:pt x="228854" y="2369812"/>
                </a:lnTo>
                <a:lnTo>
                  <a:pt x="218210" y="2364400"/>
                </a:lnTo>
                <a:lnTo>
                  <a:pt x="207566" y="2343182"/>
                </a:lnTo>
                <a:lnTo>
                  <a:pt x="191598" y="2327232"/>
                </a:lnTo>
                <a:lnTo>
                  <a:pt x="180954" y="2316551"/>
                </a:lnTo>
                <a:lnTo>
                  <a:pt x="170310" y="2300602"/>
                </a:lnTo>
                <a:lnTo>
                  <a:pt x="159666" y="2284652"/>
                </a:lnTo>
                <a:lnTo>
                  <a:pt x="143700" y="2274114"/>
                </a:lnTo>
                <a:lnTo>
                  <a:pt x="143700" y="2252895"/>
                </a:lnTo>
                <a:lnTo>
                  <a:pt x="122410" y="2247484"/>
                </a:lnTo>
                <a:lnTo>
                  <a:pt x="111766" y="2236946"/>
                </a:lnTo>
                <a:lnTo>
                  <a:pt x="95800" y="2220996"/>
                </a:lnTo>
                <a:lnTo>
                  <a:pt x="85154" y="2210315"/>
                </a:lnTo>
                <a:lnTo>
                  <a:pt x="74510" y="2205046"/>
                </a:lnTo>
                <a:lnTo>
                  <a:pt x="53222" y="2194366"/>
                </a:lnTo>
                <a:lnTo>
                  <a:pt x="15966" y="2189097"/>
                </a:lnTo>
                <a:lnTo>
                  <a:pt x="5322" y="2183828"/>
                </a:lnTo>
                <a:cubicBezTo>
                  <a:pt x="3530" y="2176707"/>
                  <a:pt x="1792" y="2169587"/>
                  <a:pt x="0" y="2162466"/>
                </a:cubicBezTo>
                <a:lnTo>
                  <a:pt x="26610" y="2135979"/>
                </a:lnTo>
                <a:lnTo>
                  <a:pt x="58544" y="2114617"/>
                </a:lnTo>
                <a:lnTo>
                  <a:pt x="90478" y="2098810"/>
                </a:lnTo>
                <a:lnTo>
                  <a:pt x="106444" y="2077449"/>
                </a:lnTo>
                <a:lnTo>
                  <a:pt x="133054" y="2061499"/>
                </a:lnTo>
                <a:lnTo>
                  <a:pt x="143700" y="2045550"/>
                </a:lnTo>
                <a:lnTo>
                  <a:pt x="149022" y="2024331"/>
                </a:lnTo>
                <a:lnTo>
                  <a:pt x="149022" y="1987163"/>
                </a:lnTo>
                <a:cubicBezTo>
                  <a:pt x="147230" y="1981894"/>
                  <a:pt x="145490" y="1976482"/>
                  <a:pt x="143700" y="1971213"/>
                </a:cubicBezTo>
                <a:cubicBezTo>
                  <a:pt x="147230" y="1960533"/>
                  <a:pt x="150812" y="1949994"/>
                  <a:pt x="154344" y="1939314"/>
                </a:cubicBezTo>
                <a:lnTo>
                  <a:pt x="170310" y="1912826"/>
                </a:lnTo>
                <a:cubicBezTo>
                  <a:pt x="172102" y="1907557"/>
                  <a:pt x="173840" y="1902145"/>
                  <a:pt x="175632" y="1896876"/>
                </a:cubicBezTo>
                <a:lnTo>
                  <a:pt x="202244" y="1896876"/>
                </a:lnTo>
                <a:lnTo>
                  <a:pt x="223532" y="1902145"/>
                </a:lnTo>
                <a:lnTo>
                  <a:pt x="276806" y="1907414"/>
                </a:lnTo>
                <a:lnTo>
                  <a:pt x="330028" y="1891465"/>
                </a:lnTo>
                <a:lnTo>
                  <a:pt x="441794" y="1870246"/>
                </a:lnTo>
                <a:lnTo>
                  <a:pt x="500338" y="1859565"/>
                </a:lnTo>
                <a:lnTo>
                  <a:pt x="526950" y="1843616"/>
                </a:lnTo>
                <a:lnTo>
                  <a:pt x="526950" y="1817128"/>
                </a:lnTo>
                <a:cubicBezTo>
                  <a:pt x="525158" y="1806447"/>
                  <a:pt x="523418" y="1795909"/>
                  <a:pt x="521626" y="1785229"/>
                </a:cubicBezTo>
                <a:cubicBezTo>
                  <a:pt x="519836" y="1779960"/>
                  <a:pt x="518096" y="1774548"/>
                  <a:pt x="516304" y="1769279"/>
                </a:cubicBezTo>
                <a:lnTo>
                  <a:pt x="500338" y="1753329"/>
                </a:lnTo>
                <a:cubicBezTo>
                  <a:pt x="496808" y="1742649"/>
                  <a:pt x="493224" y="1732111"/>
                  <a:pt x="489694" y="1721430"/>
                </a:cubicBezTo>
                <a:lnTo>
                  <a:pt x="484372" y="1700211"/>
                </a:lnTo>
                <a:cubicBezTo>
                  <a:pt x="486164" y="1691382"/>
                  <a:pt x="487902" y="1682410"/>
                  <a:pt x="489694" y="1673581"/>
                </a:cubicBezTo>
                <a:lnTo>
                  <a:pt x="500338" y="1663043"/>
                </a:lnTo>
                <a:cubicBezTo>
                  <a:pt x="502130" y="1654214"/>
                  <a:pt x="503868" y="1645242"/>
                  <a:pt x="505660" y="1636413"/>
                </a:cubicBezTo>
                <a:lnTo>
                  <a:pt x="505660" y="1615194"/>
                </a:lnTo>
                <a:cubicBezTo>
                  <a:pt x="505452" y="1619586"/>
                  <a:pt x="508272" y="1619611"/>
                  <a:pt x="513254" y="1615776"/>
                </a:cubicBezTo>
                <a:lnTo>
                  <a:pt x="508042" y="1612263"/>
                </a:lnTo>
                <a:lnTo>
                  <a:pt x="497392" y="1590998"/>
                </a:lnTo>
                <a:lnTo>
                  <a:pt x="481424" y="1569732"/>
                </a:lnTo>
                <a:lnTo>
                  <a:pt x="476104" y="1543187"/>
                </a:lnTo>
                <a:lnTo>
                  <a:pt x="486754" y="1505985"/>
                </a:lnTo>
                <a:lnTo>
                  <a:pt x="497392" y="1479439"/>
                </a:lnTo>
                <a:lnTo>
                  <a:pt x="492074" y="1463502"/>
                </a:lnTo>
                <a:lnTo>
                  <a:pt x="481424" y="1452845"/>
                </a:lnTo>
                <a:lnTo>
                  <a:pt x="470784" y="1436908"/>
                </a:lnTo>
                <a:lnTo>
                  <a:pt x="470784" y="1420971"/>
                </a:lnTo>
                <a:lnTo>
                  <a:pt x="476104" y="1399706"/>
                </a:lnTo>
                <a:lnTo>
                  <a:pt x="486754" y="1394377"/>
                </a:lnTo>
                <a:lnTo>
                  <a:pt x="492074" y="1378440"/>
                </a:lnTo>
                <a:lnTo>
                  <a:pt x="486754" y="1351895"/>
                </a:lnTo>
                <a:lnTo>
                  <a:pt x="476104" y="1341287"/>
                </a:lnTo>
                <a:lnTo>
                  <a:pt x="460136" y="1325301"/>
                </a:lnTo>
                <a:lnTo>
                  <a:pt x="454816" y="1314693"/>
                </a:lnTo>
                <a:lnTo>
                  <a:pt x="438848" y="1304084"/>
                </a:lnTo>
                <a:lnTo>
                  <a:pt x="438848" y="1277490"/>
                </a:lnTo>
                <a:lnTo>
                  <a:pt x="444166" y="1245617"/>
                </a:lnTo>
                <a:lnTo>
                  <a:pt x="444166" y="1219071"/>
                </a:lnTo>
                <a:lnTo>
                  <a:pt x="438848" y="1197806"/>
                </a:lnTo>
                <a:lnTo>
                  <a:pt x="428198" y="1176540"/>
                </a:lnTo>
                <a:lnTo>
                  <a:pt x="412230" y="1165932"/>
                </a:lnTo>
                <a:lnTo>
                  <a:pt x="412230" y="1144667"/>
                </a:lnTo>
                <a:lnTo>
                  <a:pt x="406910" y="1123401"/>
                </a:lnTo>
                <a:lnTo>
                  <a:pt x="409152" y="1123501"/>
                </a:lnTo>
                <a:lnTo>
                  <a:pt x="500204" y="1091694"/>
                </a:lnTo>
                <a:lnTo>
                  <a:pt x="563344" y="1059549"/>
                </a:lnTo>
                <a:lnTo>
                  <a:pt x="610672" y="1043477"/>
                </a:lnTo>
                <a:lnTo>
                  <a:pt x="594966" y="1004813"/>
                </a:lnTo>
                <a:cubicBezTo>
                  <a:pt x="592858" y="988740"/>
                  <a:pt x="590750" y="972555"/>
                  <a:pt x="588642" y="956483"/>
                </a:cubicBezTo>
                <a:cubicBezTo>
                  <a:pt x="592858" y="939286"/>
                  <a:pt x="596970" y="922202"/>
                  <a:pt x="601186" y="905006"/>
                </a:cubicBezTo>
                <a:lnTo>
                  <a:pt x="632808" y="856676"/>
                </a:lnTo>
                <a:lnTo>
                  <a:pt x="721142" y="837344"/>
                </a:lnTo>
                <a:lnTo>
                  <a:pt x="812638" y="789014"/>
                </a:lnTo>
                <a:lnTo>
                  <a:pt x="885266" y="756869"/>
                </a:lnTo>
                <a:lnTo>
                  <a:pt x="948406" y="692354"/>
                </a:lnTo>
                <a:lnTo>
                  <a:pt x="1011548" y="666616"/>
                </a:lnTo>
                <a:lnTo>
                  <a:pt x="1043064" y="656950"/>
                </a:lnTo>
                <a:lnTo>
                  <a:pt x="1065200" y="608620"/>
                </a:lnTo>
                <a:lnTo>
                  <a:pt x="1122016" y="579734"/>
                </a:lnTo>
                <a:lnTo>
                  <a:pt x="1156696" y="557143"/>
                </a:lnTo>
                <a:lnTo>
                  <a:pt x="1178832" y="544217"/>
                </a:lnTo>
                <a:lnTo>
                  <a:pt x="1207188" y="515332"/>
                </a:lnTo>
                <a:lnTo>
                  <a:pt x="1235544" y="502406"/>
                </a:lnTo>
                <a:cubicBezTo>
                  <a:pt x="1238706" y="489481"/>
                  <a:pt x="1241868" y="476668"/>
                  <a:pt x="1245030" y="463742"/>
                </a:cubicBezTo>
                <a:lnTo>
                  <a:pt x="1219838" y="447670"/>
                </a:lnTo>
                <a:lnTo>
                  <a:pt x="1188214" y="431597"/>
                </a:lnTo>
                <a:lnTo>
                  <a:pt x="1153534" y="386415"/>
                </a:lnTo>
                <a:lnTo>
                  <a:pt x="1106206" y="351010"/>
                </a:lnTo>
                <a:lnTo>
                  <a:pt x="1039902" y="299533"/>
                </a:lnTo>
                <a:lnTo>
                  <a:pt x="992574" y="283348"/>
                </a:lnTo>
                <a:lnTo>
                  <a:pt x="923108" y="257610"/>
                </a:lnTo>
                <a:lnTo>
                  <a:pt x="866292" y="222205"/>
                </a:lnTo>
                <a:lnTo>
                  <a:pt x="834774" y="177135"/>
                </a:lnTo>
                <a:lnTo>
                  <a:pt x="815800" y="135211"/>
                </a:lnTo>
                <a:cubicBezTo>
                  <a:pt x="818964" y="117003"/>
                  <a:pt x="822126" y="98683"/>
                  <a:pt x="825288" y="80475"/>
                </a:cubicBezTo>
                <a:lnTo>
                  <a:pt x="856910" y="54736"/>
                </a:lnTo>
                <a:lnTo>
                  <a:pt x="913726" y="22591"/>
                </a:lnTo>
                <a:close/>
              </a:path>
            </a:pathLst>
          </a:custGeom>
          <a:solidFill>
            <a:srgbClr val="70B0DF"/>
          </a:solidFill>
          <a:ln w="3175" cap="flat" cmpd="sng">
            <a:noFill/>
            <a:prstDash val="solid"/>
            <a:round/>
            <a:headEnd type="none" w="med" len="med"/>
            <a:tailEnd type="none" w="med" len="med"/>
          </a:ln>
        </p:spPr>
        <p:txBody>
          <a:bodyPr wrap="none" lIns="32632" tIns="32632" rIns="32632" bIns="32632" anchor="ctr"/>
          <a:lstStyle/>
          <a:p>
            <a:pPr defTabSz="891045"/>
            <a:endParaRPr lang="en-US" sz="1700" dirty="0">
              <a:solidFill>
                <a:srgbClr val="003149"/>
              </a:solidFill>
              <a:cs typeface="Arial" panose="020B0604020202020204" pitchFamily="34" charset="0"/>
            </a:endParaRPr>
          </a:p>
        </p:txBody>
      </p:sp>
      <p:sp>
        <p:nvSpPr>
          <p:cNvPr id="15" name="Freeform 1030"/>
          <p:cNvSpPr>
            <a:spLocks noChangeAspect="1"/>
          </p:cNvSpPr>
          <p:nvPr/>
        </p:nvSpPr>
        <p:spPr bwMode="gray">
          <a:xfrm>
            <a:off x="6150377" y="4077511"/>
            <a:ext cx="183395" cy="111917"/>
          </a:xfrm>
          <a:custGeom>
            <a:avLst/>
            <a:gdLst>
              <a:gd name="T0" fmla="*/ 0 w 1053890"/>
              <a:gd name="T1" fmla="*/ 0 h 582107"/>
              <a:gd name="T2" fmla="*/ 0 w 1053890"/>
              <a:gd name="T3" fmla="*/ 0 h 582107"/>
              <a:gd name="T4" fmla="*/ 0 w 1053890"/>
              <a:gd name="T5" fmla="*/ 0 h 582107"/>
              <a:gd name="T6" fmla="*/ 0 w 1053890"/>
              <a:gd name="T7" fmla="*/ 0 h 582107"/>
              <a:gd name="T8" fmla="*/ 0 w 1053890"/>
              <a:gd name="T9" fmla="*/ 0 h 582107"/>
              <a:gd name="T10" fmla="*/ 0 w 1053890"/>
              <a:gd name="T11" fmla="*/ 0 h 582107"/>
              <a:gd name="T12" fmla="*/ 0 w 1053890"/>
              <a:gd name="T13" fmla="*/ 0 h 582107"/>
              <a:gd name="T14" fmla="*/ 0 w 1053890"/>
              <a:gd name="T15" fmla="*/ 0 h 582107"/>
              <a:gd name="T16" fmla="*/ 0 w 1053890"/>
              <a:gd name="T17" fmla="*/ 0 h 582107"/>
              <a:gd name="T18" fmla="*/ 0 w 1053890"/>
              <a:gd name="T19" fmla="*/ 0 h 582107"/>
              <a:gd name="T20" fmla="*/ 0 w 1053890"/>
              <a:gd name="T21" fmla="*/ 0 h 582107"/>
              <a:gd name="T22" fmla="*/ 0 w 1053890"/>
              <a:gd name="T23" fmla="*/ 0 h 582107"/>
              <a:gd name="T24" fmla="*/ 0 w 1053890"/>
              <a:gd name="T25" fmla="*/ 0 h 582107"/>
              <a:gd name="T26" fmla="*/ 0 w 1053890"/>
              <a:gd name="T27" fmla="*/ 0 h 582107"/>
              <a:gd name="T28" fmla="*/ 0 w 1053890"/>
              <a:gd name="T29" fmla="*/ 0 h 582107"/>
              <a:gd name="T30" fmla="*/ 0 w 1053890"/>
              <a:gd name="T31" fmla="*/ 0 h 582107"/>
              <a:gd name="T32" fmla="*/ 0 w 1053890"/>
              <a:gd name="T33" fmla="*/ 0 h 582107"/>
              <a:gd name="T34" fmla="*/ 0 w 1053890"/>
              <a:gd name="T35" fmla="*/ 0 h 582107"/>
              <a:gd name="T36" fmla="*/ 0 w 1053890"/>
              <a:gd name="T37" fmla="*/ 0 h 582107"/>
              <a:gd name="T38" fmla="*/ 0 w 1053890"/>
              <a:gd name="T39" fmla="*/ 0 h 582107"/>
              <a:gd name="T40" fmla="*/ 0 w 1053890"/>
              <a:gd name="T41" fmla="*/ 0 h 582107"/>
              <a:gd name="T42" fmla="*/ 0 w 1053890"/>
              <a:gd name="T43" fmla="*/ 0 h 582107"/>
              <a:gd name="T44" fmla="*/ 0 w 1053890"/>
              <a:gd name="T45" fmla="*/ 0 h 582107"/>
              <a:gd name="T46" fmla="*/ 0 w 1053890"/>
              <a:gd name="T47" fmla="*/ 0 h 582107"/>
              <a:gd name="T48" fmla="*/ 0 w 1053890"/>
              <a:gd name="T49" fmla="*/ 0 h 582107"/>
              <a:gd name="T50" fmla="*/ 0 w 1053890"/>
              <a:gd name="T51" fmla="*/ 0 h 582107"/>
              <a:gd name="T52" fmla="*/ 0 w 1053890"/>
              <a:gd name="T53" fmla="*/ 0 h 582107"/>
              <a:gd name="T54" fmla="*/ 0 w 1053890"/>
              <a:gd name="T55" fmla="*/ 0 h 582107"/>
              <a:gd name="T56" fmla="*/ 0 w 1053890"/>
              <a:gd name="T57" fmla="*/ 0 h 582107"/>
              <a:gd name="T58" fmla="*/ 0 w 1053890"/>
              <a:gd name="T59" fmla="*/ 0 h 582107"/>
              <a:gd name="T60" fmla="*/ 0 w 1053890"/>
              <a:gd name="T61" fmla="*/ 0 h 582107"/>
              <a:gd name="T62" fmla="*/ 0 w 1053890"/>
              <a:gd name="T63" fmla="*/ 0 h 582107"/>
              <a:gd name="T64" fmla="*/ 0 w 1053890"/>
              <a:gd name="T65" fmla="*/ 0 h 582107"/>
              <a:gd name="T66" fmla="*/ 0 w 1053890"/>
              <a:gd name="T67" fmla="*/ 0 h 582107"/>
              <a:gd name="T68" fmla="*/ 0 w 1053890"/>
              <a:gd name="T69" fmla="*/ 0 h 582107"/>
              <a:gd name="T70" fmla="*/ 0 w 1053890"/>
              <a:gd name="T71" fmla="*/ 0 h 582107"/>
              <a:gd name="T72" fmla="*/ 0 w 1053890"/>
              <a:gd name="T73" fmla="*/ 0 h 582107"/>
              <a:gd name="T74" fmla="*/ 0 w 1053890"/>
              <a:gd name="T75" fmla="*/ 0 h 582107"/>
              <a:gd name="T76" fmla="*/ 0 w 1053890"/>
              <a:gd name="T77" fmla="*/ 0 h 582107"/>
              <a:gd name="T78" fmla="*/ 0 w 1053890"/>
              <a:gd name="T79" fmla="*/ 0 h 582107"/>
              <a:gd name="T80" fmla="*/ 0 w 1053890"/>
              <a:gd name="T81" fmla="*/ 0 h 582107"/>
              <a:gd name="T82" fmla="*/ 0 w 1053890"/>
              <a:gd name="T83" fmla="*/ 0 h 582107"/>
              <a:gd name="T84" fmla="*/ 0 w 1053890"/>
              <a:gd name="T85" fmla="*/ 0 h 582107"/>
              <a:gd name="T86" fmla="*/ 0 w 1053890"/>
              <a:gd name="T87" fmla="*/ 0 h 582107"/>
              <a:gd name="T88" fmla="*/ 0 w 1053890"/>
              <a:gd name="T89" fmla="*/ 0 h 582107"/>
              <a:gd name="T90" fmla="*/ 0 w 1053890"/>
              <a:gd name="T91" fmla="*/ 0 h 582107"/>
              <a:gd name="T92" fmla="*/ 0 w 1053890"/>
              <a:gd name="T93" fmla="*/ 0 h 582107"/>
              <a:gd name="T94" fmla="*/ 0 w 1053890"/>
              <a:gd name="T95" fmla="*/ 0 h 582107"/>
              <a:gd name="T96" fmla="*/ 0 w 1053890"/>
              <a:gd name="T97" fmla="*/ 0 h 582107"/>
              <a:gd name="T98" fmla="*/ 0 w 1053890"/>
              <a:gd name="T99" fmla="*/ 0 h 582107"/>
              <a:gd name="T100" fmla="*/ 0 w 1053890"/>
              <a:gd name="T101" fmla="*/ 0 h 582107"/>
              <a:gd name="T102" fmla="*/ 0 w 1053890"/>
              <a:gd name="T103" fmla="*/ 0 h 582107"/>
              <a:gd name="T104" fmla="*/ 0 w 1053890"/>
              <a:gd name="T105" fmla="*/ 0 h 582107"/>
              <a:gd name="T106" fmla="*/ 0 w 1053890"/>
              <a:gd name="T107" fmla="*/ 0 h 582107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w 1053890"/>
              <a:gd name="T163" fmla="*/ 0 h 582107"/>
              <a:gd name="T164" fmla="*/ 1053890 w 1053890"/>
              <a:gd name="T165" fmla="*/ 582107 h 582107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T162" t="T163" r="T164" b="T165"/>
            <a:pathLst>
              <a:path w="1053890" h="582107">
                <a:moveTo>
                  <a:pt x="141914" y="0"/>
                </a:moveTo>
                <a:lnTo>
                  <a:pt x="141916" y="4"/>
                </a:lnTo>
                <a:cubicBezTo>
                  <a:pt x="141916" y="3"/>
                  <a:pt x="141916" y="2"/>
                  <a:pt x="141916" y="1"/>
                </a:cubicBezTo>
                <a:cubicBezTo>
                  <a:pt x="147236" y="5139"/>
                  <a:pt x="152466" y="10288"/>
                  <a:pt x="157786" y="15427"/>
                </a:cubicBezTo>
                <a:lnTo>
                  <a:pt x="180058" y="21591"/>
                </a:lnTo>
                <a:lnTo>
                  <a:pt x="205396" y="21591"/>
                </a:lnTo>
                <a:lnTo>
                  <a:pt x="246694" y="21591"/>
                </a:lnTo>
                <a:lnTo>
                  <a:pt x="291148" y="15427"/>
                </a:lnTo>
                <a:lnTo>
                  <a:pt x="354628" y="6165"/>
                </a:lnTo>
                <a:lnTo>
                  <a:pt x="433976" y="6165"/>
                </a:lnTo>
                <a:lnTo>
                  <a:pt x="494300" y="15427"/>
                </a:lnTo>
                <a:lnTo>
                  <a:pt x="542000" y="27754"/>
                </a:lnTo>
                <a:lnTo>
                  <a:pt x="592766" y="49344"/>
                </a:lnTo>
                <a:lnTo>
                  <a:pt x="624506" y="49344"/>
                </a:lnTo>
                <a:lnTo>
                  <a:pt x="665804" y="70934"/>
                </a:lnTo>
                <a:lnTo>
                  <a:pt x="732440" y="95610"/>
                </a:lnTo>
                <a:lnTo>
                  <a:pt x="824502" y="107949"/>
                </a:lnTo>
                <a:lnTo>
                  <a:pt x="884826" y="95610"/>
                </a:lnTo>
                <a:lnTo>
                  <a:pt x="957864" y="58606"/>
                </a:lnTo>
                <a:lnTo>
                  <a:pt x="1008720" y="24678"/>
                </a:lnTo>
                <a:lnTo>
                  <a:pt x="1039680" y="54780"/>
                </a:lnTo>
                <a:lnTo>
                  <a:pt x="1048504" y="50781"/>
                </a:lnTo>
                <a:cubicBezTo>
                  <a:pt x="1050240" y="64975"/>
                  <a:pt x="1052170" y="79064"/>
                  <a:pt x="1053890" y="93318"/>
                </a:cubicBezTo>
                <a:lnTo>
                  <a:pt x="1037930" y="103794"/>
                </a:lnTo>
                <a:lnTo>
                  <a:pt x="1016582" y="125137"/>
                </a:lnTo>
                <a:lnTo>
                  <a:pt x="1000712" y="125137"/>
                </a:lnTo>
                <a:lnTo>
                  <a:pt x="1000712" y="146330"/>
                </a:lnTo>
                <a:lnTo>
                  <a:pt x="984600" y="167629"/>
                </a:lnTo>
                <a:lnTo>
                  <a:pt x="952708" y="178286"/>
                </a:lnTo>
                <a:lnTo>
                  <a:pt x="942164" y="183629"/>
                </a:lnTo>
                <a:lnTo>
                  <a:pt x="926202" y="188882"/>
                </a:lnTo>
                <a:lnTo>
                  <a:pt x="911664" y="196673"/>
                </a:lnTo>
                <a:lnTo>
                  <a:pt x="906636" y="203553"/>
                </a:lnTo>
                <a:cubicBezTo>
                  <a:pt x="904280" y="218127"/>
                  <a:pt x="901832" y="232739"/>
                  <a:pt x="899474" y="247314"/>
                </a:cubicBezTo>
                <a:cubicBezTo>
                  <a:pt x="896030" y="250910"/>
                  <a:pt x="892402" y="254393"/>
                  <a:pt x="888958" y="257951"/>
                </a:cubicBezTo>
                <a:lnTo>
                  <a:pt x="888958" y="273888"/>
                </a:lnTo>
                <a:lnTo>
                  <a:pt x="888958" y="289863"/>
                </a:lnTo>
                <a:cubicBezTo>
                  <a:pt x="883608" y="296942"/>
                  <a:pt x="878168" y="304059"/>
                  <a:pt x="872820" y="311138"/>
                </a:cubicBezTo>
                <a:cubicBezTo>
                  <a:pt x="871096" y="314658"/>
                  <a:pt x="869464" y="318179"/>
                  <a:pt x="867560" y="321737"/>
                </a:cubicBezTo>
                <a:cubicBezTo>
                  <a:pt x="862302" y="327037"/>
                  <a:pt x="856862" y="332337"/>
                  <a:pt x="851604" y="337674"/>
                </a:cubicBezTo>
                <a:cubicBezTo>
                  <a:pt x="848068" y="341233"/>
                  <a:pt x="844442" y="344753"/>
                  <a:pt x="840906" y="348312"/>
                </a:cubicBezTo>
                <a:cubicBezTo>
                  <a:pt x="844442" y="355353"/>
                  <a:pt x="848068" y="362432"/>
                  <a:pt x="851604" y="369511"/>
                </a:cubicBezTo>
                <a:cubicBezTo>
                  <a:pt x="848068" y="374849"/>
                  <a:pt x="844442" y="380148"/>
                  <a:pt x="840906" y="385448"/>
                </a:cubicBezTo>
                <a:lnTo>
                  <a:pt x="825040" y="396123"/>
                </a:lnTo>
                <a:cubicBezTo>
                  <a:pt x="819782" y="401461"/>
                  <a:pt x="814432" y="406799"/>
                  <a:pt x="808992" y="412098"/>
                </a:cubicBezTo>
                <a:lnTo>
                  <a:pt x="787776" y="433335"/>
                </a:lnTo>
                <a:lnTo>
                  <a:pt x="771820" y="443973"/>
                </a:lnTo>
                <a:lnTo>
                  <a:pt x="750514" y="459910"/>
                </a:lnTo>
                <a:lnTo>
                  <a:pt x="734558" y="449272"/>
                </a:lnTo>
                <a:lnTo>
                  <a:pt x="734558" y="475847"/>
                </a:lnTo>
                <a:lnTo>
                  <a:pt x="697294" y="486446"/>
                </a:lnTo>
                <a:lnTo>
                  <a:pt x="670730" y="491784"/>
                </a:lnTo>
                <a:lnTo>
                  <a:pt x="660032" y="491784"/>
                </a:lnTo>
                <a:cubicBezTo>
                  <a:pt x="656496" y="497084"/>
                  <a:pt x="652870" y="502383"/>
                  <a:pt x="649334" y="507721"/>
                </a:cubicBezTo>
                <a:lnTo>
                  <a:pt x="622678" y="507721"/>
                </a:lnTo>
                <a:lnTo>
                  <a:pt x="601462" y="512983"/>
                </a:lnTo>
                <a:lnTo>
                  <a:pt x="580156" y="518321"/>
                </a:lnTo>
                <a:cubicBezTo>
                  <a:pt x="576622" y="520062"/>
                  <a:pt x="573086" y="521917"/>
                  <a:pt x="569550" y="523696"/>
                </a:cubicBezTo>
                <a:cubicBezTo>
                  <a:pt x="564290" y="527217"/>
                  <a:pt x="558852" y="530737"/>
                  <a:pt x="553592" y="534296"/>
                </a:cubicBezTo>
                <a:cubicBezTo>
                  <a:pt x="548244" y="537854"/>
                  <a:pt x="542894" y="541375"/>
                  <a:pt x="537636" y="544933"/>
                </a:cubicBezTo>
                <a:cubicBezTo>
                  <a:pt x="534100" y="546712"/>
                  <a:pt x="530474" y="548454"/>
                  <a:pt x="526938" y="550233"/>
                </a:cubicBezTo>
                <a:cubicBezTo>
                  <a:pt x="525124" y="553791"/>
                  <a:pt x="523492" y="557312"/>
                  <a:pt x="521678" y="560870"/>
                </a:cubicBezTo>
                <a:lnTo>
                  <a:pt x="505540" y="571470"/>
                </a:lnTo>
                <a:cubicBezTo>
                  <a:pt x="502004" y="573249"/>
                  <a:pt x="498560" y="575028"/>
                  <a:pt x="495024" y="576807"/>
                </a:cubicBezTo>
                <a:lnTo>
                  <a:pt x="479066" y="582107"/>
                </a:lnTo>
                <a:lnTo>
                  <a:pt x="463110" y="582107"/>
                </a:lnTo>
                <a:cubicBezTo>
                  <a:pt x="457760" y="576807"/>
                  <a:pt x="452412" y="571470"/>
                  <a:pt x="447154" y="566170"/>
                </a:cubicBezTo>
                <a:cubicBezTo>
                  <a:pt x="443618" y="560870"/>
                  <a:pt x="439990" y="555532"/>
                  <a:pt x="436456" y="550233"/>
                </a:cubicBezTo>
                <a:cubicBezTo>
                  <a:pt x="434642" y="546712"/>
                  <a:pt x="433010" y="543154"/>
                  <a:pt x="431106" y="539633"/>
                </a:cubicBezTo>
                <a:cubicBezTo>
                  <a:pt x="427570" y="534296"/>
                  <a:pt x="424124" y="528996"/>
                  <a:pt x="420588" y="523696"/>
                </a:cubicBezTo>
                <a:lnTo>
                  <a:pt x="399192" y="518321"/>
                </a:lnTo>
                <a:lnTo>
                  <a:pt x="377886" y="507721"/>
                </a:lnTo>
                <a:cubicBezTo>
                  <a:pt x="372628" y="504163"/>
                  <a:pt x="367278" y="500642"/>
                  <a:pt x="362020" y="497084"/>
                </a:cubicBezTo>
                <a:lnTo>
                  <a:pt x="345972" y="491784"/>
                </a:lnTo>
                <a:lnTo>
                  <a:pt x="324666" y="481147"/>
                </a:lnTo>
                <a:lnTo>
                  <a:pt x="324666" y="465172"/>
                </a:lnTo>
                <a:cubicBezTo>
                  <a:pt x="322854" y="456351"/>
                  <a:pt x="321130" y="447455"/>
                  <a:pt x="319318" y="438673"/>
                </a:cubicBezTo>
                <a:lnTo>
                  <a:pt x="319318" y="422698"/>
                </a:lnTo>
                <a:lnTo>
                  <a:pt x="335364" y="422698"/>
                </a:lnTo>
                <a:lnTo>
                  <a:pt x="335364" y="390824"/>
                </a:lnTo>
                <a:cubicBezTo>
                  <a:pt x="331738" y="381965"/>
                  <a:pt x="328202" y="373069"/>
                  <a:pt x="324666" y="364249"/>
                </a:cubicBezTo>
                <a:lnTo>
                  <a:pt x="298102" y="364249"/>
                </a:lnTo>
                <a:cubicBezTo>
                  <a:pt x="292844" y="358949"/>
                  <a:pt x="287404" y="353650"/>
                  <a:pt x="282054" y="348312"/>
                </a:cubicBezTo>
                <a:lnTo>
                  <a:pt x="260840" y="353650"/>
                </a:lnTo>
                <a:lnTo>
                  <a:pt x="244882" y="353650"/>
                </a:lnTo>
                <a:cubicBezTo>
                  <a:pt x="239534" y="350053"/>
                  <a:pt x="234184" y="346571"/>
                  <a:pt x="228836" y="342974"/>
                </a:cubicBezTo>
                <a:lnTo>
                  <a:pt x="196830" y="321737"/>
                </a:lnTo>
                <a:lnTo>
                  <a:pt x="196830" y="305800"/>
                </a:lnTo>
                <a:cubicBezTo>
                  <a:pt x="195108" y="295163"/>
                  <a:pt x="193386" y="284563"/>
                  <a:pt x="191572" y="273888"/>
                </a:cubicBezTo>
                <a:cubicBezTo>
                  <a:pt x="189850" y="263251"/>
                  <a:pt x="188128" y="252651"/>
                  <a:pt x="186314" y="242014"/>
                </a:cubicBezTo>
                <a:lnTo>
                  <a:pt x="143792" y="247314"/>
                </a:lnTo>
                <a:lnTo>
                  <a:pt x="106348" y="257951"/>
                </a:lnTo>
                <a:lnTo>
                  <a:pt x="58568" y="263289"/>
                </a:lnTo>
                <a:lnTo>
                  <a:pt x="26656" y="263289"/>
                </a:lnTo>
                <a:lnTo>
                  <a:pt x="10608" y="257951"/>
                </a:lnTo>
                <a:lnTo>
                  <a:pt x="954" y="253127"/>
                </a:lnTo>
                <a:lnTo>
                  <a:pt x="636" y="253201"/>
                </a:lnTo>
                <a:lnTo>
                  <a:pt x="700" y="253001"/>
                </a:lnTo>
                <a:cubicBezTo>
                  <a:pt x="466" y="252885"/>
                  <a:pt x="232" y="252768"/>
                  <a:pt x="0" y="252651"/>
                </a:cubicBezTo>
                <a:lnTo>
                  <a:pt x="986" y="252118"/>
                </a:lnTo>
                <a:lnTo>
                  <a:pt x="14906" y="208941"/>
                </a:lnTo>
                <a:lnTo>
                  <a:pt x="62530" y="183216"/>
                </a:lnTo>
                <a:lnTo>
                  <a:pt x="81602" y="151060"/>
                </a:lnTo>
                <a:cubicBezTo>
                  <a:pt x="82648" y="142502"/>
                  <a:pt x="83708" y="133918"/>
                  <a:pt x="84782" y="125360"/>
                </a:cubicBezTo>
                <a:lnTo>
                  <a:pt x="135556" y="93203"/>
                </a:lnTo>
                <a:cubicBezTo>
                  <a:pt x="136630" y="82518"/>
                  <a:pt x="137676" y="71782"/>
                  <a:pt x="138736" y="61072"/>
                </a:cubicBezTo>
                <a:lnTo>
                  <a:pt x="132406" y="35347"/>
                </a:lnTo>
                <a:lnTo>
                  <a:pt x="110154" y="32157"/>
                </a:lnTo>
                <a:close/>
              </a:path>
            </a:pathLst>
          </a:custGeom>
          <a:solidFill>
            <a:srgbClr val="70B0DF"/>
          </a:solidFill>
          <a:ln w="3175" cap="flat" cmpd="sng">
            <a:noFill/>
            <a:prstDash val="solid"/>
            <a:round/>
            <a:headEnd type="none" w="med" len="med"/>
            <a:tailEnd type="none" w="med" len="med"/>
          </a:ln>
        </p:spPr>
        <p:txBody>
          <a:bodyPr wrap="none" lIns="32632" tIns="32632" rIns="32632" bIns="32632" anchor="ctr"/>
          <a:lstStyle/>
          <a:p>
            <a:pPr defTabSz="891045"/>
            <a:endParaRPr lang="en-US" sz="1700" dirty="0">
              <a:solidFill>
                <a:srgbClr val="003149"/>
              </a:solidFill>
              <a:cs typeface="Arial" panose="020B0604020202020204" pitchFamily="34" charset="0"/>
            </a:endParaRPr>
          </a:p>
        </p:txBody>
      </p:sp>
      <p:sp>
        <p:nvSpPr>
          <p:cNvPr id="16" name="Freeform 809"/>
          <p:cNvSpPr>
            <a:spLocks noChangeAspect="1"/>
          </p:cNvSpPr>
          <p:nvPr>
            <p:custDataLst>
              <p:tags r:id="rId3"/>
            </p:custDataLst>
          </p:nvPr>
        </p:nvSpPr>
        <p:spPr bwMode="gray">
          <a:xfrm>
            <a:off x="5568917" y="3672873"/>
            <a:ext cx="702305" cy="457712"/>
          </a:xfrm>
          <a:custGeom>
            <a:avLst/>
            <a:gdLst>
              <a:gd name="T0" fmla="*/ 0 w 4076696"/>
              <a:gd name="T1" fmla="*/ 0 h 2344009"/>
              <a:gd name="T2" fmla="*/ 0 w 4076696"/>
              <a:gd name="T3" fmla="*/ 0 h 2344009"/>
              <a:gd name="T4" fmla="*/ 0 w 4076696"/>
              <a:gd name="T5" fmla="*/ 0 h 2344009"/>
              <a:gd name="T6" fmla="*/ 0 w 4076696"/>
              <a:gd name="T7" fmla="*/ 0 h 2344009"/>
              <a:gd name="T8" fmla="*/ 0 w 4076696"/>
              <a:gd name="T9" fmla="*/ 0 h 2344009"/>
              <a:gd name="T10" fmla="*/ 0 w 4076696"/>
              <a:gd name="T11" fmla="*/ 0 h 2344009"/>
              <a:gd name="T12" fmla="*/ 0 w 4076696"/>
              <a:gd name="T13" fmla="*/ 0 h 2344009"/>
              <a:gd name="T14" fmla="*/ 0 w 4076696"/>
              <a:gd name="T15" fmla="*/ 0 h 2344009"/>
              <a:gd name="T16" fmla="*/ 0 w 4076696"/>
              <a:gd name="T17" fmla="*/ 0 h 2344009"/>
              <a:gd name="T18" fmla="*/ 0 w 4076696"/>
              <a:gd name="T19" fmla="*/ 0 h 2344009"/>
              <a:gd name="T20" fmla="*/ 0 w 4076696"/>
              <a:gd name="T21" fmla="*/ 0 h 2344009"/>
              <a:gd name="T22" fmla="*/ 0 w 4076696"/>
              <a:gd name="T23" fmla="*/ 0 h 2344009"/>
              <a:gd name="T24" fmla="*/ 0 w 4076696"/>
              <a:gd name="T25" fmla="*/ 0 h 2344009"/>
              <a:gd name="T26" fmla="*/ 0 w 4076696"/>
              <a:gd name="T27" fmla="*/ 0 h 2344009"/>
              <a:gd name="T28" fmla="*/ 0 w 4076696"/>
              <a:gd name="T29" fmla="*/ 0 h 2344009"/>
              <a:gd name="T30" fmla="*/ 0 w 4076696"/>
              <a:gd name="T31" fmla="*/ 0 h 2344009"/>
              <a:gd name="T32" fmla="*/ 0 w 4076696"/>
              <a:gd name="T33" fmla="*/ 0 h 2344009"/>
              <a:gd name="T34" fmla="*/ 0 w 4076696"/>
              <a:gd name="T35" fmla="*/ 0 h 2344009"/>
              <a:gd name="T36" fmla="*/ 0 w 4076696"/>
              <a:gd name="T37" fmla="*/ 0 h 2344009"/>
              <a:gd name="T38" fmla="*/ 0 w 4076696"/>
              <a:gd name="T39" fmla="*/ 0 h 2344009"/>
              <a:gd name="T40" fmla="*/ 0 w 4076696"/>
              <a:gd name="T41" fmla="*/ 0 h 2344009"/>
              <a:gd name="T42" fmla="*/ 0 w 4076696"/>
              <a:gd name="T43" fmla="*/ 0 h 2344009"/>
              <a:gd name="T44" fmla="*/ 0 w 4076696"/>
              <a:gd name="T45" fmla="*/ 0 h 2344009"/>
              <a:gd name="T46" fmla="*/ 0 w 4076696"/>
              <a:gd name="T47" fmla="*/ 0 h 2344009"/>
              <a:gd name="T48" fmla="*/ 0 w 4076696"/>
              <a:gd name="T49" fmla="*/ 0 h 2344009"/>
              <a:gd name="T50" fmla="*/ 0 w 4076696"/>
              <a:gd name="T51" fmla="*/ 0 h 2344009"/>
              <a:gd name="T52" fmla="*/ 0 w 4076696"/>
              <a:gd name="T53" fmla="*/ 0 h 2344009"/>
              <a:gd name="T54" fmla="*/ 0 w 4076696"/>
              <a:gd name="T55" fmla="*/ 0 h 2344009"/>
              <a:gd name="T56" fmla="*/ 0 w 4076696"/>
              <a:gd name="T57" fmla="*/ 0 h 2344009"/>
              <a:gd name="T58" fmla="*/ 0 w 4076696"/>
              <a:gd name="T59" fmla="*/ 0 h 2344009"/>
              <a:gd name="T60" fmla="*/ 0 w 4076696"/>
              <a:gd name="T61" fmla="*/ 0 h 2344009"/>
              <a:gd name="T62" fmla="*/ 0 w 4076696"/>
              <a:gd name="T63" fmla="*/ 0 h 2344009"/>
              <a:gd name="T64" fmla="*/ 0 w 4076696"/>
              <a:gd name="T65" fmla="*/ 0 h 2344009"/>
              <a:gd name="T66" fmla="*/ 0 w 4076696"/>
              <a:gd name="T67" fmla="*/ 0 h 2344009"/>
              <a:gd name="T68" fmla="*/ 0 w 4076696"/>
              <a:gd name="T69" fmla="*/ 0 h 2344009"/>
              <a:gd name="T70" fmla="*/ 0 w 4076696"/>
              <a:gd name="T71" fmla="*/ 0 h 2344009"/>
              <a:gd name="T72" fmla="*/ 0 w 4076696"/>
              <a:gd name="T73" fmla="*/ 0 h 2344009"/>
              <a:gd name="T74" fmla="*/ 0 w 4076696"/>
              <a:gd name="T75" fmla="*/ 0 h 2344009"/>
              <a:gd name="T76" fmla="*/ 0 w 4076696"/>
              <a:gd name="T77" fmla="*/ 0 h 2344009"/>
              <a:gd name="T78" fmla="*/ 0 w 4076696"/>
              <a:gd name="T79" fmla="*/ 0 h 2344009"/>
              <a:gd name="T80" fmla="*/ 0 w 4076696"/>
              <a:gd name="T81" fmla="*/ 0 h 2344009"/>
              <a:gd name="T82" fmla="*/ 0 w 4076696"/>
              <a:gd name="T83" fmla="*/ 0 h 2344009"/>
              <a:gd name="T84" fmla="*/ 0 w 4076696"/>
              <a:gd name="T85" fmla="*/ 0 h 2344009"/>
              <a:gd name="T86" fmla="*/ 0 w 4076696"/>
              <a:gd name="T87" fmla="*/ 0 h 2344009"/>
              <a:gd name="T88" fmla="*/ 0 w 4076696"/>
              <a:gd name="T89" fmla="*/ 0 h 2344009"/>
              <a:gd name="T90" fmla="*/ 0 w 4076696"/>
              <a:gd name="T91" fmla="*/ 0 h 2344009"/>
              <a:gd name="T92" fmla="*/ 0 w 4076696"/>
              <a:gd name="T93" fmla="*/ 0 h 2344009"/>
              <a:gd name="T94" fmla="*/ 0 w 4076696"/>
              <a:gd name="T95" fmla="*/ 0 h 2344009"/>
              <a:gd name="T96" fmla="*/ 0 w 4076696"/>
              <a:gd name="T97" fmla="*/ 0 h 2344009"/>
              <a:gd name="T98" fmla="*/ 0 w 4076696"/>
              <a:gd name="T99" fmla="*/ 0 h 2344009"/>
              <a:gd name="T100" fmla="*/ 0 w 4076696"/>
              <a:gd name="T101" fmla="*/ 0 h 2344009"/>
              <a:gd name="T102" fmla="*/ 0 w 4076696"/>
              <a:gd name="T103" fmla="*/ 0 h 2344009"/>
              <a:gd name="T104" fmla="*/ 0 w 4076696"/>
              <a:gd name="T105" fmla="*/ 0 h 2344009"/>
              <a:gd name="T106" fmla="*/ 0 w 4076696"/>
              <a:gd name="T107" fmla="*/ 0 h 2344009"/>
              <a:gd name="T108" fmla="*/ 0 w 4076696"/>
              <a:gd name="T109" fmla="*/ 0 h 2344009"/>
              <a:gd name="T110" fmla="*/ 0 w 4076696"/>
              <a:gd name="T111" fmla="*/ 0 h 2344009"/>
              <a:gd name="T112" fmla="*/ 0 w 4076696"/>
              <a:gd name="T113" fmla="*/ 0 h 2344009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w 4076696"/>
              <a:gd name="T172" fmla="*/ 0 h 2344009"/>
              <a:gd name="T173" fmla="*/ 4076696 w 4076696"/>
              <a:gd name="T174" fmla="*/ 2344009 h 2344009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T171" t="T172" r="T173" b="T174"/>
            <a:pathLst>
              <a:path w="4076696" h="2344009">
                <a:moveTo>
                  <a:pt x="2855686" y="0"/>
                </a:moveTo>
                <a:lnTo>
                  <a:pt x="2878158" y="3222"/>
                </a:lnTo>
                <a:lnTo>
                  <a:pt x="2929480" y="6444"/>
                </a:lnTo>
                <a:lnTo>
                  <a:pt x="2971240" y="12888"/>
                </a:lnTo>
                <a:lnTo>
                  <a:pt x="3022562" y="41811"/>
                </a:lnTo>
                <a:cubicBezTo>
                  <a:pt x="3027822" y="52526"/>
                  <a:pt x="3033240" y="63241"/>
                  <a:pt x="3038500" y="73956"/>
                </a:cubicBezTo>
                <a:cubicBezTo>
                  <a:pt x="3037384" y="96435"/>
                  <a:pt x="3036428" y="118989"/>
                  <a:pt x="3035312" y="141468"/>
                </a:cubicBezTo>
                <a:cubicBezTo>
                  <a:pt x="3026706" y="151134"/>
                  <a:pt x="3018258" y="160800"/>
                  <a:pt x="3009652" y="170466"/>
                </a:cubicBezTo>
                <a:cubicBezTo>
                  <a:pt x="3001044" y="181181"/>
                  <a:pt x="2992598" y="191896"/>
                  <a:pt x="2983990" y="202611"/>
                </a:cubicBezTo>
                <a:lnTo>
                  <a:pt x="2983990" y="266901"/>
                </a:lnTo>
                <a:lnTo>
                  <a:pt x="2932668" y="289455"/>
                </a:lnTo>
                <a:cubicBezTo>
                  <a:pt x="2927408" y="303392"/>
                  <a:pt x="2921990" y="317329"/>
                  <a:pt x="2916730" y="331266"/>
                </a:cubicBezTo>
                <a:lnTo>
                  <a:pt x="2891068" y="340857"/>
                </a:lnTo>
                <a:lnTo>
                  <a:pt x="2868596" y="366633"/>
                </a:lnTo>
                <a:cubicBezTo>
                  <a:pt x="2864292" y="376299"/>
                  <a:pt x="2859988" y="385890"/>
                  <a:pt x="2855686" y="395556"/>
                </a:cubicBezTo>
                <a:cubicBezTo>
                  <a:pt x="2846122" y="408443"/>
                  <a:pt x="2836400" y="421257"/>
                  <a:pt x="2826836" y="434145"/>
                </a:cubicBezTo>
                <a:lnTo>
                  <a:pt x="2791612" y="440589"/>
                </a:lnTo>
                <a:lnTo>
                  <a:pt x="2782050" y="492065"/>
                </a:lnTo>
                <a:lnTo>
                  <a:pt x="2782050" y="543467"/>
                </a:lnTo>
                <a:cubicBezTo>
                  <a:pt x="2772486" y="552084"/>
                  <a:pt x="2762764" y="560626"/>
                  <a:pt x="2753200" y="569243"/>
                </a:cubicBezTo>
                <a:cubicBezTo>
                  <a:pt x="2746824" y="578909"/>
                  <a:pt x="2740290" y="588500"/>
                  <a:pt x="2733914" y="598166"/>
                </a:cubicBezTo>
                <a:lnTo>
                  <a:pt x="2733914" y="643199"/>
                </a:lnTo>
                <a:lnTo>
                  <a:pt x="2733914" y="691379"/>
                </a:lnTo>
                <a:lnTo>
                  <a:pt x="2756388" y="723599"/>
                </a:lnTo>
                <a:lnTo>
                  <a:pt x="2804364" y="723599"/>
                </a:lnTo>
                <a:lnTo>
                  <a:pt x="2849310" y="717155"/>
                </a:lnTo>
                <a:lnTo>
                  <a:pt x="2903820" y="704267"/>
                </a:lnTo>
                <a:lnTo>
                  <a:pt x="2945578" y="717155"/>
                </a:lnTo>
                <a:lnTo>
                  <a:pt x="2980802" y="733190"/>
                </a:lnTo>
                <a:lnTo>
                  <a:pt x="3025750" y="749300"/>
                </a:lnTo>
                <a:lnTo>
                  <a:pt x="3060974" y="749300"/>
                </a:lnTo>
                <a:lnTo>
                  <a:pt x="3102732" y="742856"/>
                </a:lnTo>
                <a:lnTo>
                  <a:pt x="3154054" y="720377"/>
                </a:lnTo>
                <a:lnTo>
                  <a:pt x="3211752" y="717155"/>
                </a:lnTo>
                <a:lnTo>
                  <a:pt x="3285548" y="701045"/>
                </a:lnTo>
                <a:lnTo>
                  <a:pt x="3365718" y="681788"/>
                </a:lnTo>
                <a:lnTo>
                  <a:pt x="3423416" y="668900"/>
                </a:lnTo>
                <a:lnTo>
                  <a:pt x="3497212" y="617423"/>
                </a:lnTo>
                <a:lnTo>
                  <a:pt x="3548374" y="582056"/>
                </a:lnTo>
                <a:lnTo>
                  <a:pt x="3590132" y="537023"/>
                </a:lnTo>
                <a:lnTo>
                  <a:pt x="3635080" y="488843"/>
                </a:lnTo>
                <a:lnTo>
                  <a:pt x="3673492" y="459845"/>
                </a:lnTo>
                <a:lnTo>
                  <a:pt x="3715250" y="437367"/>
                </a:lnTo>
                <a:lnTo>
                  <a:pt x="3769760" y="434145"/>
                </a:lnTo>
                <a:lnTo>
                  <a:pt x="3821082" y="447032"/>
                </a:lnTo>
                <a:lnTo>
                  <a:pt x="3859494" y="466289"/>
                </a:lnTo>
                <a:lnTo>
                  <a:pt x="3910816" y="501656"/>
                </a:lnTo>
                <a:lnTo>
                  <a:pt x="3946040" y="527432"/>
                </a:lnTo>
                <a:cubicBezTo>
                  <a:pt x="3951460" y="540320"/>
                  <a:pt x="3956718" y="553133"/>
                  <a:pt x="3962138" y="566021"/>
                </a:cubicBezTo>
                <a:cubicBezTo>
                  <a:pt x="3955762" y="574563"/>
                  <a:pt x="3949228" y="583180"/>
                  <a:pt x="3942852" y="591722"/>
                </a:cubicBezTo>
                <a:lnTo>
                  <a:pt x="3914004" y="611054"/>
                </a:lnTo>
                <a:cubicBezTo>
                  <a:pt x="3912888" y="621769"/>
                  <a:pt x="3911932" y="632484"/>
                  <a:pt x="3910816" y="643199"/>
                </a:cubicBezTo>
                <a:cubicBezTo>
                  <a:pt x="3911932" y="650692"/>
                  <a:pt x="3912888" y="658185"/>
                  <a:pt x="3914004" y="665678"/>
                </a:cubicBezTo>
                <a:cubicBezTo>
                  <a:pt x="3923566" y="675344"/>
                  <a:pt x="3933290" y="684935"/>
                  <a:pt x="3942852" y="694601"/>
                </a:cubicBezTo>
                <a:lnTo>
                  <a:pt x="3987800" y="739634"/>
                </a:lnTo>
                <a:lnTo>
                  <a:pt x="3982984" y="741620"/>
                </a:lnTo>
                <a:lnTo>
                  <a:pt x="3989258" y="743090"/>
                </a:lnTo>
                <a:lnTo>
                  <a:pt x="4041236" y="755962"/>
                </a:lnTo>
                <a:lnTo>
                  <a:pt x="4066982" y="772151"/>
                </a:lnTo>
                <a:lnTo>
                  <a:pt x="4076696" y="797763"/>
                </a:lnTo>
                <a:lnTo>
                  <a:pt x="4031520" y="807450"/>
                </a:lnTo>
                <a:lnTo>
                  <a:pt x="3934656" y="836246"/>
                </a:lnTo>
                <a:lnTo>
                  <a:pt x="3883066" y="842748"/>
                </a:lnTo>
                <a:lnTo>
                  <a:pt x="3808840" y="829876"/>
                </a:lnTo>
                <a:lnTo>
                  <a:pt x="3770076" y="855488"/>
                </a:lnTo>
                <a:lnTo>
                  <a:pt x="3695848" y="871545"/>
                </a:lnTo>
                <a:lnTo>
                  <a:pt x="3640956" y="871545"/>
                </a:lnTo>
                <a:cubicBezTo>
                  <a:pt x="3637750" y="887734"/>
                  <a:pt x="3634446" y="903791"/>
                  <a:pt x="3631240" y="919848"/>
                </a:cubicBezTo>
                <a:cubicBezTo>
                  <a:pt x="3634446" y="935905"/>
                  <a:pt x="3637750" y="951961"/>
                  <a:pt x="3640956" y="968018"/>
                </a:cubicBezTo>
                <a:cubicBezTo>
                  <a:pt x="3645230" y="980890"/>
                  <a:pt x="3649602" y="993762"/>
                  <a:pt x="3653878" y="1006502"/>
                </a:cubicBezTo>
                <a:cubicBezTo>
                  <a:pt x="3660290" y="1016189"/>
                  <a:pt x="3666800" y="1025743"/>
                  <a:pt x="3673212" y="1035431"/>
                </a:cubicBezTo>
                <a:lnTo>
                  <a:pt x="3692642" y="1057990"/>
                </a:lnTo>
                <a:lnTo>
                  <a:pt x="3637750" y="1099658"/>
                </a:lnTo>
                <a:lnTo>
                  <a:pt x="3602192" y="1119165"/>
                </a:lnTo>
                <a:lnTo>
                  <a:pt x="3573142" y="1167203"/>
                </a:lnTo>
                <a:lnTo>
                  <a:pt x="3518250" y="1212189"/>
                </a:lnTo>
                <a:lnTo>
                  <a:pt x="3450532" y="1241117"/>
                </a:lnTo>
                <a:lnTo>
                  <a:pt x="3385924" y="1282918"/>
                </a:lnTo>
                <a:lnTo>
                  <a:pt x="3340746" y="1298975"/>
                </a:lnTo>
                <a:lnTo>
                  <a:pt x="3279442" y="1295790"/>
                </a:lnTo>
                <a:lnTo>
                  <a:pt x="3231058" y="1353515"/>
                </a:lnTo>
                <a:lnTo>
                  <a:pt x="3195500" y="1392131"/>
                </a:lnTo>
                <a:lnTo>
                  <a:pt x="3172960" y="1433932"/>
                </a:lnTo>
                <a:cubicBezTo>
                  <a:pt x="3171890" y="1448928"/>
                  <a:pt x="3170726" y="1463923"/>
                  <a:pt x="3169656" y="1478918"/>
                </a:cubicBezTo>
                <a:lnTo>
                  <a:pt x="3111558" y="1539828"/>
                </a:lnTo>
                <a:cubicBezTo>
                  <a:pt x="3110488" y="1554823"/>
                  <a:pt x="3109420" y="1569951"/>
                  <a:pt x="3108352" y="1584946"/>
                </a:cubicBezTo>
                <a:cubicBezTo>
                  <a:pt x="3109420" y="1607506"/>
                  <a:pt x="3110488" y="1629799"/>
                  <a:pt x="3111558" y="1652226"/>
                </a:cubicBezTo>
                <a:cubicBezTo>
                  <a:pt x="3109420" y="1670406"/>
                  <a:pt x="3107282" y="1688719"/>
                  <a:pt x="3105146" y="1706899"/>
                </a:cubicBezTo>
                <a:lnTo>
                  <a:pt x="3130988" y="1732775"/>
                </a:lnTo>
                <a:cubicBezTo>
                  <a:pt x="3137400" y="1744586"/>
                  <a:pt x="3143910" y="1756264"/>
                  <a:pt x="3150322" y="1768207"/>
                </a:cubicBezTo>
                <a:lnTo>
                  <a:pt x="3166450" y="1800188"/>
                </a:lnTo>
                <a:lnTo>
                  <a:pt x="3208422" y="1835486"/>
                </a:lnTo>
                <a:lnTo>
                  <a:pt x="3250392" y="1873970"/>
                </a:lnTo>
                <a:cubicBezTo>
                  <a:pt x="3251460" y="1886974"/>
                  <a:pt x="3252530" y="1899714"/>
                  <a:pt x="3253598" y="1912586"/>
                </a:cubicBezTo>
                <a:lnTo>
                  <a:pt x="3285854" y="1915903"/>
                </a:lnTo>
                <a:lnTo>
                  <a:pt x="3308492" y="1922273"/>
                </a:lnTo>
                <a:lnTo>
                  <a:pt x="3353668" y="1938462"/>
                </a:lnTo>
                <a:lnTo>
                  <a:pt x="3382718" y="1970576"/>
                </a:lnTo>
                <a:lnTo>
                  <a:pt x="3414974" y="1986368"/>
                </a:lnTo>
                <a:lnTo>
                  <a:pt x="3479582" y="2034671"/>
                </a:lnTo>
                <a:lnTo>
                  <a:pt x="3520678" y="2069364"/>
                </a:lnTo>
                <a:lnTo>
                  <a:pt x="3524244" y="2070099"/>
                </a:lnTo>
                <a:lnTo>
                  <a:pt x="3492486" y="2102255"/>
                </a:lnTo>
                <a:lnTo>
                  <a:pt x="3514736" y="2105446"/>
                </a:lnTo>
                <a:lnTo>
                  <a:pt x="3521066" y="2131171"/>
                </a:lnTo>
                <a:cubicBezTo>
                  <a:pt x="3520006" y="2141881"/>
                  <a:pt x="3518962" y="2152617"/>
                  <a:pt x="3517888" y="2163302"/>
                </a:cubicBezTo>
                <a:lnTo>
                  <a:pt x="3467112" y="2195459"/>
                </a:lnTo>
                <a:cubicBezTo>
                  <a:pt x="3466038" y="2204017"/>
                  <a:pt x="3464978" y="2212601"/>
                  <a:pt x="3463934" y="2221159"/>
                </a:cubicBezTo>
                <a:lnTo>
                  <a:pt x="3444860" y="2253315"/>
                </a:lnTo>
                <a:lnTo>
                  <a:pt x="3397236" y="2279040"/>
                </a:lnTo>
                <a:lnTo>
                  <a:pt x="3382966" y="2323300"/>
                </a:lnTo>
                <a:lnTo>
                  <a:pt x="3376944" y="2319186"/>
                </a:lnTo>
                <a:cubicBezTo>
                  <a:pt x="3376966" y="2320361"/>
                  <a:pt x="3376986" y="2321537"/>
                  <a:pt x="3377006" y="2322712"/>
                </a:cubicBezTo>
                <a:lnTo>
                  <a:pt x="3345036" y="2306827"/>
                </a:lnTo>
                <a:lnTo>
                  <a:pt x="3307740" y="2296179"/>
                </a:lnTo>
                <a:cubicBezTo>
                  <a:pt x="3302412" y="2292629"/>
                  <a:pt x="3297236" y="2289079"/>
                  <a:pt x="3291908" y="2285530"/>
                </a:cubicBezTo>
                <a:lnTo>
                  <a:pt x="3265268" y="2274970"/>
                </a:lnTo>
                <a:lnTo>
                  <a:pt x="3243956" y="2269646"/>
                </a:lnTo>
                <a:lnTo>
                  <a:pt x="3227972" y="2258997"/>
                </a:lnTo>
                <a:cubicBezTo>
                  <a:pt x="3226146" y="2255447"/>
                  <a:pt x="3224472" y="2251898"/>
                  <a:pt x="3222644" y="2248348"/>
                </a:cubicBezTo>
                <a:lnTo>
                  <a:pt x="3201332" y="2243024"/>
                </a:lnTo>
                <a:lnTo>
                  <a:pt x="3180020" y="2243024"/>
                </a:lnTo>
                <a:cubicBezTo>
                  <a:pt x="3176518" y="2246574"/>
                  <a:pt x="3172866" y="2250123"/>
                  <a:pt x="3169364" y="2253673"/>
                </a:cubicBezTo>
                <a:lnTo>
                  <a:pt x="3169364" y="2269646"/>
                </a:lnTo>
                <a:lnTo>
                  <a:pt x="3148204" y="2274970"/>
                </a:lnTo>
                <a:lnTo>
                  <a:pt x="3132220" y="2290854"/>
                </a:lnTo>
                <a:lnTo>
                  <a:pt x="3116236" y="2296179"/>
                </a:lnTo>
                <a:lnTo>
                  <a:pt x="3094924" y="2301503"/>
                </a:lnTo>
                <a:cubicBezTo>
                  <a:pt x="3091422" y="2296179"/>
                  <a:pt x="3087768" y="2290854"/>
                  <a:pt x="3084268" y="2285530"/>
                </a:cubicBezTo>
                <a:lnTo>
                  <a:pt x="3068284" y="2290854"/>
                </a:lnTo>
                <a:lnTo>
                  <a:pt x="3052300" y="2290854"/>
                </a:lnTo>
                <a:lnTo>
                  <a:pt x="3025660" y="2296179"/>
                </a:lnTo>
                <a:lnTo>
                  <a:pt x="3004346" y="2296179"/>
                </a:lnTo>
                <a:cubicBezTo>
                  <a:pt x="3002520" y="2289079"/>
                  <a:pt x="3000846" y="2282069"/>
                  <a:pt x="2999018" y="2274970"/>
                </a:cubicBezTo>
                <a:cubicBezTo>
                  <a:pt x="2993690" y="2269646"/>
                  <a:pt x="2988516" y="2264321"/>
                  <a:pt x="2983188" y="2258997"/>
                </a:cubicBezTo>
                <a:lnTo>
                  <a:pt x="2961874" y="2269646"/>
                </a:lnTo>
                <a:lnTo>
                  <a:pt x="2945890" y="2285530"/>
                </a:lnTo>
                <a:lnTo>
                  <a:pt x="2919250" y="2296179"/>
                </a:lnTo>
                <a:lnTo>
                  <a:pt x="2903266" y="2301503"/>
                </a:lnTo>
                <a:lnTo>
                  <a:pt x="2887282" y="2317476"/>
                </a:lnTo>
                <a:lnTo>
                  <a:pt x="2871298" y="2333360"/>
                </a:lnTo>
                <a:lnTo>
                  <a:pt x="2849986" y="2333360"/>
                </a:lnTo>
                <a:lnTo>
                  <a:pt x="2818170" y="2338685"/>
                </a:lnTo>
                <a:lnTo>
                  <a:pt x="2791530" y="2344009"/>
                </a:lnTo>
                <a:lnTo>
                  <a:pt x="2764890" y="2344009"/>
                </a:lnTo>
                <a:lnTo>
                  <a:pt x="2738250" y="2333360"/>
                </a:lnTo>
                <a:cubicBezTo>
                  <a:pt x="2729420" y="2328036"/>
                  <a:pt x="2720438" y="2322800"/>
                  <a:pt x="2711610" y="2317476"/>
                </a:cubicBezTo>
                <a:lnTo>
                  <a:pt x="2674466" y="2301503"/>
                </a:lnTo>
                <a:cubicBezTo>
                  <a:pt x="2670964" y="2296179"/>
                  <a:pt x="2667310" y="2290854"/>
                  <a:pt x="2663810" y="2285530"/>
                </a:cubicBezTo>
                <a:cubicBezTo>
                  <a:pt x="2661982" y="2280206"/>
                  <a:pt x="2660308" y="2274970"/>
                  <a:pt x="2658482" y="2269646"/>
                </a:cubicBezTo>
                <a:lnTo>
                  <a:pt x="2642498" y="2243024"/>
                </a:lnTo>
                <a:cubicBezTo>
                  <a:pt x="2640670" y="2234150"/>
                  <a:pt x="2638996" y="2225365"/>
                  <a:pt x="2637168" y="2216491"/>
                </a:cubicBezTo>
                <a:cubicBezTo>
                  <a:pt x="2635342" y="2205842"/>
                  <a:pt x="2633668" y="2195282"/>
                  <a:pt x="2631840" y="2184634"/>
                </a:cubicBezTo>
                <a:cubicBezTo>
                  <a:pt x="2628340" y="2181084"/>
                  <a:pt x="2624686" y="2177535"/>
                  <a:pt x="2621184" y="2173985"/>
                </a:cubicBezTo>
                <a:lnTo>
                  <a:pt x="2599872" y="2168661"/>
                </a:lnTo>
                <a:lnTo>
                  <a:pt x="2583888" y="2168661"/>
                </a:lnTo>
                <a:lnTo>
                  <a:pt x="2562576" y="2152688"/>
                </a:lnTo>
                <a:lnTo>
                  <a:pt x="2541264" y="2136803"/>
                </a:lnTo>
                <a:cubicBezTo>
                  <a:pt x="2535936" y="2131479"/>
                  <a:pt x="2530760" y="2126155"/>
                  <a:pt x="2525432" y="2120830"/>
                </a:cubicBezTo>
                <a:cubicBezTo>
                  <a:pt x="2521932" y="2111957"/>
                  <a:pt x="2518278" y="2103171"/>
                  <a:pt x="2514776" y="2094297"/>
                </a:cubicBezTo>
                <a:cubicBezTo>
                  <a:pt x="2516604" y="2081874"/>
                  <a:pt x="2518278" y="2069451"/>
                  <a:pt x="2520104" y="2057027"/>
                </a:cubicBezTo>
                <a:lnTo>
                  <a:pt x="2493464" y="2046467"/>
                </a:lnTo>
                <a:lnTo>
                  <a:pt x="2477480" y="2025170"/>
                </a:lnTo>
                <a:lnTo>
                  <a:pt x="2461496" y="2003961"/>
                </a:lnTo>
                <a:cubicBezTo>
                  <a:pt x="2454342" y="1996862"/>
                  <a:pt x="2447338" y="1989763"/>
                  <a:pt x="2440184" y="1982664"/>
                </a:cubicBezTo>
                <a:lnTo>
                  <a:pt x="2408216" y="1972015"/>
                </a:lnTo>
                <a:lnTo>
                  <a:pt x="2381728" y="1966779"/>
                </a:lnTo>
                <a:lnTo>
                  <a:pt x="2349760" y="1950807"/>
                </a:lnTo>
                <a:lnTo>
                  <a:pt x="2328448" y="1934833"/>
                </a:lnTo>
                <a:cubicBezTo>
                  <a:pt x="2324946" y="1927734"/>
                  <a:pt x="2321292" y="1920724"/>
                  <a:pt x="2317792" y="1913625"/>
                </a:cubicBezTo>
                <a:cubicBezTo>
                  <a:pt x="2315964" y="1899427"/>
                  <a:pt x="2314290" y="1885317"/>
                  <a:pt x="2312464" y="1871119"/>
                </a:cubicBezTo>
                <a:cubicBezTo>
                  <a:pt x="2308962" y="1864020"/>
                  <a:pt x="2305308" y="1856921"/>
                  <a:pt x="2301808" y="1849821"/>
                </a:cubicBezTo>
                <a:cubicBezTo>
                  <a:pt x="2299980" y="1855146"/>
                  <a:pt x="2298306" y="1860470"/>
                  <a:pt x="2296480" y="1865795"/>
                </a:cubicBezTo>
                <a:cubicBezTo>
                  <a:pt x="2294652" y="1871119"/>
                  <a:pt x="2292978" y="1876355"/>
                  <a:pt x="2291152" y="1881679"/>
                </a:cubicBezTo>
                <a:cubicBezTo>
                  <a:pt x="2287650" y="1885228"/>
                  <a:pt x="2283996" y="1888778"/>
                  <a:pt x="2280494" y="1892327"/>
                </a:cubicBezTo>
                <a:lnTo>
                  <a:pt x="2264510" y="1897652"/>
                </a:lnTo>
                <a:lnTo>
                  <a:pt x="2248526" y="1887003"/>
                </a:lnTo>
                <a:cubicBezTo>
                  <a:pt x="2252028" y="1881679"/>
                  <a:pt x="2255682" y="1876443"/>
                  <a:pt x="2259182" y="1871119"/>
                </a:cubicBezTo>
                <a:cubicBezTo>
                  <a:pt x="2261010" y="1865795"/>
                  <a:pt x="2262684" y="1860470"/>
                  <a:pt x="2264510" y="1855146"/>
                </a:cubicBezTo>
                <a:lnTo>
                  <a:pt x="2264510" y="1839173"/>
                </a:lnTo>
                <a:lnTo>
                  <a:pt x="2248526" y="1828613"/>
                </a:lnTo>
                <a:lnTo>
                  <a:pt x="2237870" y="1828613"/>
                </a:lnTo>
                <a:cubicBezTo>
                  <a:pt x="2236196" y="1823289"/>
                  <a:pt x="2234370" y="1817964"/>
                  <a:pt x="2232694" y="1812640"/>
                </a:cubicBezTo>
                <a:lnTo>
                  <a:pt x="2232694" y="1796667"/>
                </a:lnTo>
                <a:lnTo>
                  <a:pt x="2211382" y="1786107"/>
                </a:lnTo>
                <a:lnTo>
                  <a:pt x="2184742" y="1764810"/>
                </a:lnTo>
                <a:lnTo>
                  <a:pt x="2163430" y="1748837"/>
                </a:lnTo>
                <a:lnTo>
                  <a:pt x="2136790" y="1738277"/>
                </a:lnTo>
                <a:cubicBezTo>
                  <a:pt x="2134964" y="1734727"/>
                  <a:pt x="2133288" y="1731177"/>
                  <a:pt x="2131462" y="1727628"/>
                </a:cubicBezTo>
                <a:cubicBezTo>
                  <a:pt x="2127960" y="1722304"/>
                  <a:pt x="2124308" y="1716979"/>
                  <a:pt x="2120806" y="1711655"/>
                </a:cubicBezTo>
                <a:lnTo>
                  <a:pt x="2104822" y="1711655"/>
                </a:lnTo>
                <a:lnTo>
                  <a:pt x="2088838" y="1706331"/>
                </a:lnTo>
                <a:cubicBezTo>
                  <a:pt x="2085336" y="1697457"/>
                  <a:pt x="2081836" y="1688671"/>
                  <a:pt x="2078334" y="1679798"/>
                </a:cubicBezTo>
                <a:cubicBezTo>
                  <a:pt x="2080008" y="1672699"/>
                  <a:pt x="2081836" y="1665599"/>
                  <a:pt x="2083510" y="1658500"/>
                </a:cubicBezTo>
                <a:cubicBezTo>
                  <a:pt x="2087012" y="1653176"/>
                  <a:pt x="2090664" y="1647940"/>
                  <a:pt x="2094166" y="1642616"/>
                </a:cubicBezTo>
                <a:cubicBezTo>
                  <a:pt x="2088838" y="1637292"/>
                  <a:pt x="2083662" y="1631967"/>
                  <a:pt x="2078334" y="1626643"/>
                </a:cubicBezTo>
                <a:lnTo>
                  <a:pt x="2057022" y="1621319"/>
                </a:lnTo>
                <a:lnTo>
                  <a:pt x="2035710" y="1621319"/>
                </a:lnTo>
                <a:lnTo>
                  <a:pt x="2014398" y="1615994"/>
                </a:lnTo>
                <a:lnTo>
                  <a:pt x="2014398" y="1594786"/>
                </a:lnTo>
                <a:lnTo>
                  <a:pt x="2035710" y="1578813"/>
                </a:lnTo>
                <a:lnTo>
                  <a:pt x="2035710" y="1562928"/>
                </a:lnTo>
                <a:lnTo>
                  <a:pt x="2019726" y="1562928"/>
                </a:lnTo>
                <a:lnTo>
                  <a:pt x="1998414" y="1562928"/>
                </a:lnTo>
                <a:lnTo>
                  <a:pt x="1971774" y="1541631"/>
                </a:lnTo>
                <a:cubicBezTo>
                  <a:pt x="1969946" y="1538081"/>
                  <a:pt x="1968272" y="1534532"/>
                  <a:pt x="1966446" y="1530982"/>
                </a:cubicBezTo>
                <a:cubicBezTo>
                  <a:pt x="1962944" y="1525658"/>
                  <a:pt x="1959290" y="1520422"/>
                  <a:pt x="1955790" y="1515098"/>
                </a:cubicBezTo>
                <a:lnTo>
                  <a:pt x="1934476" y="1509774"/>
                </a:lnTo>
                <a:lnTo>
                  <a:pt x="1902660" y="1509774"/>
                </a:lnTo>
                <a:lnTo>
                  <a:pt x="1886676" y="1488476"/>
                </a:lnTo>
                <a:lnTo>
                  <a:pt x="1870692" y="1467268"/>
                </a:lnTo>
                <a:lnTo>
                  <a:pt x="1854708" y="1456619"/>
                </a:lnTo>
                <a:lnTo>
                  <a:pt x="1854706" y="1456614"/>
                </a:lnTo>
                <a:lnTo>
                  <a:pt x="1828108" y="1451310"/>
                </a:lnTo>
                <a:cubicBezTo>
                  <a:pt x="1826298" y="1447769"/>
                  <a:pt x="1824578" y="1444227"/>
                  <a:pt x="1822770" y="1440686"/>
                </a:cubicBezTo>
                <a:cubicBezTo>
                  <a:pt x="1820960" y="1437144"/>
                  <a:pt x="1819240" y="1433586"/>
                  <a:pt x="1817430" y="1430044"/>
                </a:cubicBezTo>
                <a:lnTo>
                  <a:pt x="1806844" y="1435365"/>
                </a:lnTo>
                <a:lnTo>
                  <a:pt x="1806844" y="1451310"/>
                </a:lnTo>
                <a:cubicBezTo>
                  <a:pt x="1803314" y="1453073"/>
                  <a:pt x="1799696" y="1454852"/>
                  <a:pt x="1796166" y="1456615"/>
                </a:cubicBezTo>
                <a:cubicBezTo>
                  <a:pt x="1789108" y="1453073"/>
                  <a:pt x="1781960" y="1449531"/>
                  <a:pt x="1774902" y="1445990"/>
                </a:cubicBezTo>
                <a:cubicBezTo>
                  <a:pt x="1773092" y="1438907"/>
                  <a:pt x="1771372" y="1431823"/>
                  <a:pt x="1769564" y="1424740"/>
                </a:cubicBezTo>
                <a:cubicBezTo>
                  <a:pt x="1767754" y="1417657"/>
                  <a:pt x="1766034" y="1410557"/>
                  <a:pt x="1764224" y="1403474"/>
                </a:cubicBezTo>
                <a:cubicBezTo>
                  <a:pt x="1758886" y="1401712"/>
                  <a:pt x="1753638" y="1399933"/>
                  <a:pt x="1748300" y="1398170"/>
                </a:cubicBezTo>
                <a:lnTo>
                  <a:pt x="1732284" y="1403474"/>
                </a:lnTo>
                <a:lnTo>
                  <a:pt x="1711018" y="1398170"/>
                </a:lnTo>
                <a:cubicBezTo>
                  <a:pt x="1703870" y="1394629"/>
                  <a:pt x="1696812" y="1391087"/>
                  <a:pt x="1689664" y="1387545"/>
                </a:cubicBezTo>
                <a:lnTo>
                  <a:pt x="1679078" y="1371600"/>
                </a:lnTo>
                <a:lnTo>
                  <a:pt x="1652474" y="1376921"/>
                </a:lnTo>
                <a:lnTo>
                  <a:pt x="1625872" y="1382225"/>
                </a:lnTo>
                <a:lnTo>
                  <a:pt x="1609856" y="1392849"/>
                </a:lnTo>
                <a:lnTo>
                  <a:pt x="1583252" y="1398170"/>
                </a:lnTo>
                <a:cubicBezTo>
                  <a:pt x="1581442" y="1403491"/>
                  <a:pt x="1579724" y="1408795"/>
                  <a:pt x="1577914" y="1414115"/>
                </a:cubicBezTo>
                <a:cubicBezTo>
                  <a:pt x="1579724" y="1421199"/>
                  <a:pt x="1581442" y="1428282"/>
                  <a:pt x="1583252" y="1435365"/>
                </a:cubicBezTo>
                <a:cubicBezTo>
                  <a:pt x="1579724" y="1438907"/>
                  <a:pt x="1576104" y="1442448"/>
                  <a:pt x="1572576" y="1445990"/>
                </a:cubicBezTo>
                <a:lnTo>
                  <a:pt x="1556650" y="1445990"/>
                </a:lnTo>
                <a:cubicBezTo>
                  <a:pt x="1549592" y="1442448"/>
                  <a:pt x="1542444" y="1438907"/>
                  <a:pt x="1535386" y="1435365"/>
                </a:cubicBezTo>
                <a:lnTo>
                  <a:pt x="1519370" y="1424740"/>
                </a:lnTo>
                <a:lnTo>
                  <a:pt x="1503444" y="1424740"/>
                </a:lnTo>
                <a:lnTo>
                  <a:pt x="1487428" y="1424740"/>
                </a:lnTo>
                <a:cubicBezTo>
                  <a:pt x="1482088" y="1426503"/>
                  <a:pt x="1476840" y="1428282"/>
                  <a:pt x="1471502" y="1430044"/>
                </a:cubicBezTo>
                <a:lnTo>
                  <a:pt x="1455486" y="1430044"/>
                </a:lnTo>
                <a:lnTo>
                  <a:pt x="1444900" y="1424740"/>
                </a:lnTo>
                <a:lnTo>
                  <a:pt x="1428884" y="1430044"/>
                </a:lnTo>
                <a:cubicBezTo>
                  <a:pt x="1423544" y="1422961"/>
                  <a:pt x="1418296" y="1415878"/>
                  <a:pt x="1412958" y="1408795"/>
                </a:cubicBezTo>
                <a:lnTo>
                  <a:pt x="1396942" y="1403474"/>
                </a:lnTo>
                <a:lnTo>
                  <a:pt x="1381016" y="1403474"/>
                </a:lnTo>
                <a:lnTo>
                  <a:pt x="1354414" y="1414115"/>
                </a:lnTo>
                <a:lnTo>
                  <a:pt x="1338398" y="1414115"/>
                </a:lnTo>
                <a:cubicBezTo>
                  <a:pt x="1331340" y="1407032"/>
                  <a:pt x="1324190" y="1399933"/>
                  <a:pt x="1317132" y="1392849"/>
                </a:cubicBezTo>
                <a:lnTo>
                  <a:pt x="1295868" y="1387545"/>
                </a:lnTo>
                <a:lnTo>
                  <a:pt x="1279852" y="1387545"/>
                </a:lnTo>
                <a:lnTo>
                  <a:pt x="1247912" y="1387545"/>
                </a:lnTo>
                <a:lnTo>
                  <a:pt x="1231986" y="1387545"/>
                </a:lnTo>
                <a:lnTo>
                  <a:pt x="1231986" y="1403474"/>
                </a:lnTo>
                <a:lnTo>
                  <a:pt x="1210630" y="1408795"/>
                </a:lnTo>
                <a:lnTo>
                  <a:pt x="1189366" y="1408795"/>
                </a:lnTo>
                <a:lnTo>
                  <a:pt x="1178690" y="1408795"/>
                </a:lnTo>
                <a:cubicBezTo>
                  <a:pt x="1171632" y="1414115"/>
                  <a:pt x="1164482" y="1419420"/>
                  <a:pt x="1157426" y="1424740"/>
                </a:cubicBezTo>
                <a:cubicBezTo>
                  <a:pt x="1152086" y="1428282"/>
                  <a:pt x="1146838" y="1431823"/>
                  <a:pt x="1141500" y="1435365"/>
                </a:cubicBezTo>
                <a:lnTo>
                  <a:pt x="1125484" y="1445990"/>
                </a:lnTo>
                <a:lnTo>
                  <a:pt x="1093542" y="1456615"/>
                </a:lnTo>
                <a:cubicBezTo>
                  <a:pt x="1082864" y="1463698"/>
                  <a:pt x="1072278" y="1470797"/>
                  <a:pt x="1061600" y="1477881"/>
                </a:cubicBezTo>
                <a:lnTo>
                  <a:pt x="1019072" y="1499130"/>
                </a:lnTo>
                <a:lnTo>
                  <a:pt x="981792" y="1515075"/>
                </a:lnTo>
                <a:lnTo>
                  <a:pt x="954562" y="1533190"/>
                </a:lnTo>
                <a:lnTo>
                  <a:pt x="952500" y="1536699"/>
                </a:lnTo>
                <a:lnTo>
                  <a:pt x="951510" y="1535221"/>
                </a:lnTo>
                <a:cubicBezTo>
                  <a:pt x="950958" y="1535590"/>
                  <a:pt x="950404" y="1535958"/>
                  <a:pt x="949850" y="1536325"/>
                </a:cubicBezTo>
                <a:lnTo>
                  <a:pt x="950174" y="1533227"/>
                </a:lnTo>
                <a:cubicBezTo>
                  <a:pt x="947404" y="1529068"/>
                  <a:pt x="944588" y="1524953"/>
                  <a:pt x="941832" y="1520773"/>
                </a:cubicBezTo>
                <a:lnTo>
                  <a:pt x="877538" y="1504743"/>
                </a:lnTo>
                <a:cubicBezTo>
                  <a:pt x="875728" y="1490598"/>
                  <a:pt x="874014" y="1476349"/>
                  <a:pt x="872204" y="1462204"/>
                </a:cubicBezTo>
                <a:lnTo>
                  <a:pt x="829438" y="1403739"/>
                </a:lnTo>
                <a:lnTo>
                  <a:pt x="802672" y="1398396"/>
                </a:lnTo>
                <a:lnTo>
                  <a:pt x="759904" y="1371783"/>
                </a:lnTo>
                <a:lnTo>
                  <a:pt x="759904" y="1302631"/>
                </a:lnTo>
                <a:lnTo>
                  <a:pt x="733140" y="1260092"/>
                </a:lnTo>
                <a:lnTo>
                  <a:pt x="711708" y="1217554"/>
                </a:lnTo>
                <a:lnTo>
                  <a:pt x="743808" y="1201628"/>
                </a:lnTo>
                <a:cubicBezTo>
                  <a:pt x="747332" y="1206971"/>
                  <a:pt x="750952" y="1212210"/>
                  <a:pt x="754476" y="1217554"/>
                </a:cubicBezTo>
                <a:lnTo>
                  <a:pt x="792004" y="1228241"/>
                </a:lnTo>
                <a:cubicBezTo>
                  <a:pt x="795528" y="1219335"/>
                  <a:pt x="799148" y="1210534"/>
                  <a:pt x="802672" y="1201628"/>
                </a:cubicBezTo>
                <a:lnTo>
                  <a:pt x="829438" y="1180359"/>
                </a:lnTo>
                <a:lnTo>
                  <a:pt x="781240" y="1169671"/>
                </a:lnTo>
                <a:lnTo>
                  <a:pt x="738474" y="1137820"/>
                </a:lnTo>
                <a:cubicBezTo>
                  <a:pt x="734854" y="1125456"/>
                  <a:pt x="731330" y="1112988"/>
                  <a:pt x="727710" y="1100625"/>
                </a:cubicBezTo>
                <a:lnTo>
                  <a:pt x="711708" y="1105863"/>
                </a:lnTo>
                <a:lnTo>
                  <a:pt x="668846" y="1121894"/>
                </a:lnTo>
                <a:lnTo>
                  <a:pt x="668846" y="1084594"/>
                </a:lnTo>
                <a:cubicBezTo>
                  <a:pt x="672466" y="1070449"/>
                  <a:pt x="675990" y="1056200"/>
                  <a:pt x="679608" y="1042055"/>
                </a:cubicBezTo>
                <a:lnTo>
                  <a:pt x="701040" y="1031473"/>
                </a:lnTo>
                <a:cubicBezTo>
                  <a:pt x="697420" y="1015547"/>
                  <a:pt x="693896" y="999516"/>
                  <a:pt x="690276" y="983591"/>
                </a:cubicBezTo>
                <a:lnTo>
                  <a:pt x="674274" y="935708"/>
                </a:lnTo>
                <a:cubicBezTo>
                  <a:pt x="670656" y="923345"/>
                  <a:pt x="667132" y="910877"/>
                  <a:pt x="663512" y="898513"/>
                </a:cubicBezTo>
                <a:lnTo>
                  <a:pt x="647510" y="845287"/>
                </a:lnTo>
                <a:lnTo>
                  <a:pt x="604648" y="824018"/>
                </a:lnTo>
                <a:lnTo>
                  <a:pt x="567214" y="861213"/>
                </a:lnTo>
                <a:lnTo>
                  <a:pt x="513684" y="893170"/>
                </a:lnTo>
                <a:cubicBezTo>
                  <a:pt x="510160" y="877244"/>
                  <a:pt x="506540" y="861213"/>
                  <a:pt x="503016" y="845287"/>
                </a:cubicBezTo>
                <a:lnTo>
                  <a:pt x="481584" y="797405"/>
                </a:lnTo>
                <a:lnTo>
                  <a:pt x="444150" y="738941"/>
                </a:lnTo>
                <a:lnTo>
                  <a:pt x="374618" y="717671"/>
                </a:lnTo>
                <a:lnTo>
                  <a:pt x="299656" y="770792"/>
                </a:lnTo>
                <a:lnTo>
                  <a:pt x="262224" y="834600"/>
                </a:lnTo>
                <a:lnTo>
                  <a:pt x="203358" y="839944"/>
                </a:lnTo>
                <a:lnTo>
                  <a:pt x="187262" y="797405"/>
                </a:lnTo>
                <a:cubicBezTo>
                  <a:pt x="180118" y="786823"/>
                  <a:pt x="173070" y="776136"/>
                  <a:pt x="165926" y="765553"/>
                </a:cubicBezTo>
                <a:cubicBezTo>
                  <a:pt x="164116" y="751409"/>
                  <a:pt x="162306" y="737159"/>
                  <a:pt x="160496" y="723015"/>
                </a:cubicBezTo>
                <a:lnTo>
                  <a:pt x="198024" y="701641"/>
                </a:lnTo>
                <a:lnTo>
                  <a:pt x="235458" y="669789"/>
                </a:lnTo>
                <a:lnTo>
                  <a:pt x="198024" y="643176"/>
                </a:lnTo>
                <a:lnTo>
                  <a:pt x="123064" y="611324"/>
                </a:lnTo>
                <a:lnTo>
                  <a:pt x="53530" y="605981"/>
                </a:lnTo>
                <a:cubicBezTo>
                  <a:pt x="48196" y="598856"/>
                  <a:pt x="42768" y="591836"/>
                  <a:pt x="37434" y="584711"/>
                </a:cubicBezTo>
                <a:cubicBezTo>
                  <a:pt x="33910" y="575805"/>
                  <a:pt x="30290" y="567004"/>
                  <a:pt x="26766" y="558098"/>
                </a:cubicBezTo>
                <a:lnTo>
                  <a:pt x="5334" y="526142"/>
                </a:lnTo>
                <a:cubicBezTo>
                  <a:pt x="3524" y="513779"/>
                  <a:pt x="1810" y="501310"/>
                  <a:pt x="0" y="488947"/>
                </a:cubicBezTo>
                <a:lnTo>
                  <a:pt x="6112" y="486111"/>
                </a:lnTo>
                <a:lnTo>
                  <a:pt x="0" y="484025"/>
                </a:lnTo>
                <a:lnTo>
                  <a:pt x="37246" y="451747"/>
                </a:lnTo>
                <a:lnTo>
                  <a:pt x="74494" y="408725"/>
                </a:lnTo>
                <a:lnTo>
                  <a:pt x="148986" y="387191"/>
                </a:lnTo>
                <a:lnTo>
                  <a:pt x="180742" y="376446"/>
                </a:lnTo>
                <a:cubicBezTo>
                  <a:pt x="187904" y="371051"/>
                  <a:pt x="194828" y="365702"/>
                  <a:pt x="201992" y="360307"/>
                </a:cubicBezTo>
                <a:cubicBezTo>
                  <a:pt x="212736" y="363873"/>
                  <a:pt x="223240" y="367485"/>
                  <a:pt x="233984" y="371051"/>
                </a:cubicBezTo>
                <a:lnTo>
                  <a:pt x="287228" y="360307"/>
                </a:lnTo>
                <a:lnTo>
                  <a:pt x="350978" y="387191"/>
                </a:lnTo>
                <a:cubicBezTo>
                  <a:pt x="361722" y="396152"/>
                  <a:pt x="372226" y="405113"/>
                  <a:pt x="382972" y="414074"/>
                </a:cubicBezTo>
                <a:lnTo>
                  <a:pt x="441468" y="408725"/>
                </a:lnTo>
                <a:lnTo>
                  <a:pt x="499964" y="403330"/>
                </a:lnTo>
                <a:cubicBezTo>
                  <a:pt x="524794" y="414074"/>
                  <a:pt x="549386" y="424864"/>
                  <a:pt x="574218" y="435608"/>
                </a:cubicBezTo>
                <a:cubicBezTo>
                  <a:pt x="588544" y="442786"/>
                  <a:pt x="602630" y="449964"/>
                  <a:pt x="616956" y="457142"/>
                </a:cubicBezTo>
                <a:cubicBezTo>
                  <a:pt x="624118" y="449964"/>
                  <a:pt x="631042" y="442786"/>
                  <a:pt x="638206" y="435608"/>
                </a:cubicBezTo>
                <a:cubicBezTo>
                  <a:pt x="636296" y="426647"/>
                  <a:pt x="634624" y="417686"/>
                  <a:pt x="632714" y="408725"/>
                </a:cubicBezTo>
                <a:cubicBezTo>
                  <a:pt x="637966" y="403330"/>
                  <a:pt x="643458" y="397980"/>
                  <a:pt x="648712" y="392585"/>
                </a:cubicBezTo>
                <a:lnTo>
                  <a:pt x="696702" y="419469"/>
                </a:lnTo>
                <a:lnTo>
                  <a:pt x="760450" y="430213"/>
                </a:lnTo>
                <a:cubicBezTo>
                  <a:pt x="774538" y="424818"/>
                  <a:pt x="788864" y="419469"/>
                  <a:pt x="802950" y="414074"/>
                </a:cubicBezTo>
                <a:lnTo>
                  <a:pt x="840196" y="397935"/>
                </a:lnTo>
                <a:lnTo>
                  <a:pt x="882696" y="392585"/>
                </a:lnTo>
                <a:lnTo>
                  <a:pt x="909198" y="403330"/>
                </a:lnTo>
                <a:lnTo>
                  <a:pt x="967694" y="441003"/>
                </a:lnTo>
                <a:lnTo>
                  <a:pt x="1020938" y="473281"/>
                </a:lnTo>
                <a:cubicBezTo>
                  <a:pt x="1029772" y="478631"/>
                  <a:pt x="1038844" y="484025"/>
                  <a:pt x="1047680" y="489375"/>
                </a:cubicBezTo>
                <a:cubicBezTo>
                  <a:pt x="1051260" y="501948"/>
                  <a:pt x="1054604" y="514475"/>
                  <a:pt x="1058184" y="527048"/>
                </a:cubicBezTo>
                <a:lnTo>
                  <a:pt x="1100684" y="527048"/>
                </a:lnTo>
                <a:cubicBezTo>
                  <a:pt x="1107846" y="516304"/>
                  <a:pt x="1114770" y="505514"/>
                  <a:pt x="1121934" y="494770"/>
                </a:cubicBezTo>
                <a:lnTo>
                  <a:pt x="1175176" y="505514"/>
                </a:lnTo>
                <a:lnTo>
                  <a:pt x="1212424" y="478631"/>
                </a:lnTo>
                <a:lnTo>
                  <a:pt x="1254922" y="467886"/>
                </a:lnTo>
                <a:lnTo>
                  <a:pt x="1292170" y="484025"/>
                </a:lnTo>
                <a:lnTo>
                  <a:pt x="1334668" y="489375"/>
                </a:lnTo>
                <a:cubicBezTo>
                  <a:pt x="1345412" y="478631"/>
                  <a:pt x="1355918" y="467886"/>
                  <a:pt x="1366662" y="457142"/>
                </a:cubicBezTo>
                <a:lnTo>
                  <a:pt x="1425158" y="473281"/>
                </a:lnTo>
                <a:cubicBezTo>
                  <a:pt x="1432322" y="485809"/>
                  <a:pt x="1439246" y="498382"/>
                  <a:pt x="1446408" y="510909"/>
                </a:cubicBezTo>
                <a:cubicBezTo>
                  <a:pt x="1462406" y="501948"/>
                  <a:pt x="1478164" y="492987"/>
                  <a:pt x="1494160" y="484025"/>
                </a:cubicBezTo>
                <a:cubicBezTo>
                  <a:pt x="1502994" y="489420"/>
                  <a:pt x="1512068" y="494770"/>
                  <a:pt x="1520902" y="500165"/>
                </a:cubicBezTo>
                <a:lnTo>
                  <a:pt x="1547404" y="441003"/>
                </a:lnTo>
                <a:cubicBezTo>
                  <a:pt x="1558148" y="449964"/>
                  <a:pt x="1568654" y="458925"/>
                  <a:pt x="1579398" y="467886"/>
                </a:cubicBezTo>
                <a:cubicBezTo>
                  <a:pt x="1584650" y="453530"/>
                  <a:pt x="1590142" y="439220"/>
                  <a:pt x="1595394" y="424864"/>
                </a:cubicBezTo>
                <a:cubicBezTo>
                  <a:pt x="1605900" y="417686"/>
                  <a:pt x="1616644" y="410508"/>
                  <a:pt x="1627150" y="403330"/>
                </a:cubicBezTo>
                <a:lnTo>
                  <a:pt x="1664396" y="387191"/>
                </a:lnTo>
                <a:lnTo>
                  <a:pt x="1690898" y="392585"/>
                </a:lnTo>
                <a:lnTo>
                  <a:pt x="1722892" y="397935"/>
                </a:lnTo>
                <a:lnTo>
                  <a:pt x="1760140" y="392585"/>
                </a:lnTo>
                <a:cubicBezTo>
                  <a:pt x="1752976" y="387191"/>
                  <a:pt x="1746052" y="381841"/>
                  <a:pt x="1738890" y="376446"/>
                </a:cubicBezTo>
                <a:cubicBezTo>
                  <a:pt x="1737218" y="363873"/>
                  <a:pt x="1735308" y="351346"/>
                  <a:pt x="1733636" y="338773"/>
                </a:cubicBezTo>
                <a:cubicBezTo>
                  <a:pt x="1740800" y="335207"/>
                  <a:pt x="1747724" y="331595"/>
                  <a:pt x="1754886" y="328029"/>
                </a:cubicBezTo>
                <a:cubicBezTo>
                  <a:pt x="1760140" y="329812"/>
                  <a:pt x="1759184" y="345997"/>
                  <a:pt x="1765392" y="349563"/>
                </a:cubicBezTo>
                <a:cubicBezTo>
                  <a:pt x="1771600" y="353129"/>
                  <a:pt x="1782344" y="351346"/>
                  <a:pt x="1792132" y="349563"/>
                </a:cubicBezTo>
                <a:cubicBezTo>
                  <a:pt x="1802638" y="345951"/>
                  <a:pt x="1813382" y="342385"/>
                  <a:pt x="1823888" y="338773"/>
                </a:cubicBezTo>
                <a:lnTo>
                  <a:pt x="1861134" y="301145"/>
                </a:lnTo>
                <a:lnTo>
                  <a:pt x="1898382" y="301145"/>
                </a:lnTo>
                <a:lnTo>
                  <a:pt x="1924884" y="311890"/>
                </a:lnTo>
                <a:lnTo>
                  <a:pt x="1978126" y="322634"/>
                </a:lnTo>
                <a:lnTo>
                  <a:pt x="2041876" y="311890"/>
                </a:lnTo>
                <a:cubicBezTo>
                  <a:pt x="2050710" y="299362"/>
                  <a:pt x="2059782" y="286789"/>
                  <a:pt x="2068616" y="274262"/>
                </a:cubicBezTo>
                <a:cubicBezTo>
                  <a:pt x="2065036" y="268867"/>
                  <a:pt x="2061454" y="263518"/>
                  <a:pt x="2057872" y="258123"/>
                </a:cubicBezTo>
                <a:lnTo>
                  <a:pt x="2031370" y="236589"/>
                </a:lnTo>
                <a:cubicBezTo>
                  <a:pt x="2034952" y="229411"/>
                  <a:pt x="2038294" y="222233"/>
                  <a:pt x="2041876" y="215055"/>
                </a:cubicBezTo>
                <a:cubicBezTo>
                  <a:pt x="2059544" y="207877"/>
                  <a:pt x="2077452" y="200744"/>
                  <a:pt x="2095120" y="193566"/>
                </a:cubicBezTo>
                <a:lnTo>
                  <a:pt x="2143110" y="166683"/>
                </a:lnTo>
                <a:lnTo>
                  <a:pt x="2212112" y="139754"/>
                </a:lnTo>
                <a:lnTo>
                  <a:pt x="2281352" y="118265"/>
                </a:lnTo>
                <a:lnTo>
                  <a:pt x="2345100" y="85987"/>
                </a:lnTo>
                <a:cubicBezTo>
                  <a:pt x="2359188" y="80592"/>
                  <a:pt x="2373514" y="75243"/>
                  <a:pt x="2387600" y="69848"/>
                </a:cubicBezTo>
                <a:lnTo>
                  <a:pt x="2392710" y="80611"/>
                </a:lnTo>
                <a:lnTo>
                  <a:pt x="2393946" y="73956"/>
                </a:lnTo>
                <a:cubicBezTo>
                  <a:pt x="2400322" y="76129"/>
                  <a:pt x="2406856" y="78227"/>
                  <a:pt x="2413232" y="80400"/>
                </a:cubicBezTo>
                <a:lnTo>
                  <a:pt x="2435704" y="90066"/>
                </a:lnTo>
                <a:lnTo>
                  <a:pt x="2480492" y="106101"/>
                </a:lnTo>
                <a:lnTo>
                  <a:pt x="2515876" y="125433"/>
                </a:lnTo>
                <a:lnTo>
                  <a:pt x="2557476" y="144690"/>
                </a:lnTo>
                <a:lnTo>
                  <a:pt x="2602422" y="167244"/>
                </a:lnTo>
                <a:lnTo>
                  <a:pt x="2628082" y="167244"/>
                </a:lnTo>
                <a:cubicBezTo>
                  <a:pt x="2637646" y="161849"/>
                  <a:pt x="2647368" y="156529"/>
                  <a:pt x="2656932" y="151134"/>
                </a:cubicBezTo>
                <a:lnTo>
                  <a:pt x="2692156" y="118989"/>
                </a:lnTo>
                <a:lnTo>
                  <a:pt x="2724192" y="106101"/>
                </a:lnTo>
                <a:lnTo>
                  <a:pt x="2753200" y="93288"/>
                </a:lnTo>
                <a:cubicBezTo>
                  <a:pt x="2756388" y="85795"/>
                  <a:pt x="2759576" y="78227"/>
                  <a:pt x="2762764" y="70734"/>
                </a:cubicBezTo>
                <a:lnTo>
                  <a:pt x="2797988" y="57921"/>
                </a:lnTo>
                <a:lnTo>
                  <a:pt x="2836558" y="35367"/>
                </a:lnTo>
                <a:close/>
              </a:path>
            </a:pathLst>
          </a:custGeom>
          <a:solidFill>
            <a:srgbClr val="70B0DF"/>
          </a:solidFill>
          <a:ln w="3175" cap="flat" cmpd="sng">
            <a:noFill/>
            <a:prstDash val="solid"/>
            <a:round/>
            <a:headEnd type="none" w="med" len="med"/>
            <a:tailEnd type="none" w="med" len="med"/>
          </a:ln>
        </p:spPr>
        <p:txBody>
          <a:bodyPr wrap="none" lIns="32632" tIns="32632" rIns="32632" bIns="32632" anchor="ctr"/>
          <a:lstStyle/>
          <a:p>
            <a:pPr defTabSz="891045"/>
            <a:endParaRPr lang="en-US" sz="1700" dirty="0">
              <a:solidFill>
                <a:srgbClr val="003149"/>
              </a:solidFill>
              <a:cs typeface="Arial" panose="020B0604020202020204" pitchFamily="34" charset="0"/>
            </a:endParaRPr>
          </a:p>
        </p:txBody>
      </p:sp>
      <p:sp>
        <p:nvSpPr>
          <p:cNvPr id="17" name="Freeform 819"/>
          <p:cNvSpPr>
            <a:spLocks noChangeAspect="1"/>
          </p:cNvSpPr>
          <p:nvPr>
            <p:custDataLst>
              <p:tags r:id="rId4"/>
            </p:custDataLst>
          </p:nvPr>
        </p:nvSpPr>
        <p:spPr bwMode="gray">
          <a:xfrm>
            <a:off x="5924355" y="3044421"/>
            <a:ext cx="646861" cy="1119171"/>
          </a:xfrm>
          <a:custGeom>
            <a:avLst/>
            <a:gdLst>
              <a:gd name="T0" fmla="*/ 0 w 3739988"/>
              <a:gd name="T1" fmla="*/ 0 h 5721351"/>
              <a:gd name="T2" fmla="*/ 0 w 3739988"/>
              <a:gd name="T3" fmla="*/ 0 h 5721351"/>
              <a:gd name="T4" fmla="*/ 0 w 3739988"/>
              <a:gd name="T5" fmla="*/ 0 h 5721351"/>
              <a:gd name="T6" fmla="*/ 0 w 3739988"/>
              <a:gd name="T7" fmla="*/ 0 h 5721351"/>
              <a:gd name="T8" fmla="*/ 0 w 3739988"/>
              <a:gd name="T9" fmla="*/ 0 h 5721351"/>
              <a:gd name="T10" fmla="*/ 0 w 3739988"/>
              <a:gd name="T11" fmla="*/ 0 h 5721351"/>
              <a:gd name="T12" fmla="*/ 0 w 3739988"/>
              <a:gd name="T13" fmla="*/ 0 h 5721351"/>
              <a:gd name="T14" fmla="*/ 0 w 3739988"/>
              <a:gd name="T15" fmla="*/ 0 h 5721351"/>
              <a:gd name="T16" fmla="*/ 0 w 3739988"/>
              <a:gd name="T17" fmla="*/ 0 h 5721351"/>
              <a:gd name="T18" fmla="*/ 0 w 3739988"/>
              <a:gd name="T19" fmla="*/ 0 h 5721351"/>
              <a:gd name="T20" fmla="*/ 0 w 3739988"/>
              <a:gd name="T21" fmla="*/ 0 h 5721351"/>
              <a:gd name="T22" fmla="*/ 0 w 3739988"/>
              <a:gd name="T23" fmla="*/ 0 h 5721351"/>
              <a:gd name="T24" fmla="*/ 0 w 3739988"/>
              <a:gd name="T25" fmla="*/ 0 h 5721351"/>
              <a:gd name="T26" fmla="*/ 0 w 3739988"/>
              <a:gd name="T27" fmla="*/ 0 h 5721351"/>
              <a:gd name="T28" fmla="*/ 0 w 3739988"/>
              <a:gd name="T29" fmla="*/ 0 h 5721351"/>
              <a:gd name="T30" fmla="*/ 0 w 3739988"/>
              <a:gd name="T31" fmla="*/ 0 h 5721351"/>
              <a:gd name="T32" fmla="*/ 0 w 3739988"/>
              <a:gd name="T33" fmla="*/ 0 h 5721351"/>
              <a:gd name="T34" fmla="*/ 0 w 3739988"/>
              <a:gd name="T35" fmla="*/ 0 h 5721351"/>
              <a:gd name="T36" fmla="*/ 0 w 3739988"/>
              <a:gd name="T37" fmla="*/ 0 h 5721351"/>
              <a:gd name="T38" fmla="*/ 0 w 3739988"/>
              <a:gd name="T39" fmla="*/ 0 h 5721351"/>
              <a:gd name="T40" fmla="*/ 0 w 3739988"/>
              <a:gd name="T41" fmla="*/ 0 h 5721351"/>
              <a:gd name="T42" fmla="*/ 0 w 3739988"/>
              <a:gd name="T43" fmla="*/ 0 h 5721351"/>
              <a:gd name="T44" fmla="*/ 0 w 3739988"/>
              <a:gd name="T45" fmla="*/ 0 h 5721351"/>
              <a:gd name="T46" fmla="*/ 0 w 3739988"/>
              <a:gd name="T47" fmla="*/ 0 h 5721351"/>
              <a:gd name="T48" fmla="*/ 0 w 3739988"/>
              <a:gd name="T49" fmla="*/ 0 h 5721351"/>
              <a:gd name="T50" fmla="*/ 0 w 3739988"/>
              <a:gd name="T51" fmla="*/ 0 h 5721351"/>
              <a:gd name="T52" fmla="*/ 0 w 3739988"/>
              <a:gd name="T53" fmla="*/ 0 h 5721351"/>
              <a:gd name="T54" fmla="*/ 0 w 3739988"/>
              <a:gd name="T55" fmla="*/ 0 h 5721351"/>
              <a:gd name="T56" fmla="*/ 0 w 3739988"/>
              <a:gd name="T57" fmla="*/ 0 h 5721351"/>
              <a:gd name="T58" fmla="*/ 0 w 3739988"/>
              <a:gd name="T59" fmla="*/ 0 h 5721351"/>
              <a:gd name="T60" fmla="*/ 0 w 3739988"/>
              <a:gd name="T61" fmla="*/ 0 h 5721351"/>
              <a:gd name="T62" fmla="*/ 0 w 3739988"/>
              <a:gd name="T63" fmla="*/ 0 h 5721351"/>
              <a:gd name="T64" fmla="*/ 0 w 3739988"/>
              <a:gd name="T65" fmla="*/ 0 h 5721351"/>
              <a:gd name="T66" fmla="*/ 0 w 3739988"/>
              <a:gd name="T67" fmla="*/ 0 h 5721351"/>
              <a:gd name="T68" fmla="*/ 0 w 3739988"/>
              <a:gd name="T69" fmla="*/ 0 h 5721351"/>
              <a:gd name="T70" fmla="*/ 0 w 3739988"/>
              <a:gd name="T71" fmla="*/ 0 h 5721351"/>
              <a:gd name="T72" fmla="*/ 0 w 3739988"/>
              <a:gd name="T73" fmla="*/ 0 h 5721351"/>
              <a:gd name="T74" fmla="*/ 0 w 3739988"/>
              <a:gd name="T75" fmla="*/ 0 h 5721351"/>
              <a:gd name="T76" fmla="*/ 0 w 3739988"/>
              <a:gd name="T77" fmla="*/ 0 h 5721351"/>
              <a:gd name="T78" fmla="*/ 0 w 3739988"/>
              <a:gd name="T79" fmla="*/ 0 h 5721351"/>
              <a:gd name="T80" fmla="*/ 0 w 3739988"/>
              <a:gd name="T81" fmla="*/ 0 h 5721351"/>
              <a:gd name="T82" fmla="*/ 0 w 3739988"/>
              <a:gd name="T83" fmla="*/ 0 h 5721351"/>
              <a:gd name="T84" fmla="*/ 0 w 3739988"/>
              <a:gd name="T85" fmla="*/ 0 h 5721351"/>
              <a:gd name="T86" fmla="*/ 0 w 3739988"/>
              <a:gd name="T87" fmla="*/ 0 h 5721351"/>
              <a:gd name="T88" fmla="*/ 0 w 3739988"/>
              <a:gd name="T89" fmla="*/ 0 h 5721351"/>
              <a:gd name="T90" fmla="*/ 0 w 3739988"/>
              <a:gd name="T91" fmla="*/ 0 h 5721351"/>
              <a:gd name="T92" fmla="*/ 0 w 3739988"/>
              <a:gd name="T93" fmla="*/ 0 h 5721351"/>
              <a:gd name="T94" fmla="*/ 0 w 3739988"/>
              <a:gd name="T95" fmla="*/ 0 h 5721351"/>
              <a:gd name="T96" fmla="*/ 0 w 3739988"/>
              <a:gd name="T97" fmla="*/ 0 h 5721351"/>
              <a:gd name="T98" fmla="*/ 0 w 3739988"/>
              <a:gd name="T99" fmla="*/ 0 h 5721351"/>
              <a:gd name="T100" fmla="*/ 0 w 3739988"/>
              <a:gd name="T101" fmla="*/ 0 h 5721351"/>
              <a:gd name="T102" fmla="*/ 0 w 3739988"/>
              <a:gd name="T103" fmla="*/ 0 h 5721351"/>
              <a:gd name="T104" fmla="*/ 0 w 3739988"/>
              <a:gd name="T105" fmla="*/ 0 h 5721351"/>
              <a:gd name="T106" fmla="*/ 0 w 3739988"/>
              <a:gd name="T107" fmla="*/ 0 h 5721351"/>
              <a:gd name="T108" fmla="*/ 0 w 3739988"/>
              <a:gd name="T109" fmla="*/ 0 h 5721351"/>
              <a:gd name="T110" fmla="*/ 0 w 3739988"/>
              <a:gd name="T111" fmla="*/ 0 h 5721351"/>
              <a:gd name="T112" fmla="*/ 0 w 3739988"/>
              <a:gd name="T113" fmla="*/ 0 h 5721351"/>
              <a:gd name="T114" fmla="*/ 0 w 3739988"/>
              <a:gd name="T115" fmla="*/ 0 h 5721351"/>
              <a:gd name="T116" fmla="*/ 0 w 3739988"/>
              <a:gd name="T117" fmla="*/ 0 h 5721351"/>
              <a:gd name="T118" fmla="*/ 0 w 3739988"/>
              <a:gd name="T119" fmla="*/ 0 h 5721351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w 3739988"/>
              <a:gd name="T181" fmla="*/ 0 h 5721351"/>
              <a:gd name="T182" fmla="*/ 3739988 w 3739988"/>
              <a:gd name="T183" fmla="*/ 5721351 h 5721351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T180" t="T181" r="T182" b="T183"/>
            <a:pathLst>
              <a:path w="3739988" h="5721351">
                <a:moveTo>
                  <a:pt x="3720018" y="5009664"/>
                </a:moveTo>
                <a:lnTo>
                  <a:pt x="3721100" y="5009664"/>
                </a:lnTo>
                <a:cubicBezTo>
                  <a:pt x="3722964" y="5003611"/>
                  <a:pt x="3731008" y="5039139"/>
                  <a:pt x="3720018" y="5009664"/>
                </a:cubicBezTo>
                <a:close/>
                <a:moveTo>
                  <a:pt x="1919160" y="3949841"/>
                </a:moveTo>
                <a:lnTo>
                  <a:pt x="1926414" y="3951637"/>
                </a:lnTo>
                <a:cubicBezTo>
                  <a:pt x="1924914" y="3953128"/>
                  <a:pt x="1923410" y="3953824"/>
                  <a:pt x="1922198" y="3954208"/>
                </a:cubicBezTo>
                <a:close/>
                <a:moveTo>
                  <a:pt x="1942400" y="3029087"/>
                </a:moveTo>
                <a:lnTo>
                  <a:pt x="1942400" y="3045004"/>
                </a:lnTo>
                <a:cubicBezTo>
                  <a:pt x="1944368" y="3050415"/>
                  <a:pt x="1945978" y="3055668"/>
                  <a:pt x="1947766" y="3061079"/>
                </a:cubicBezTo>
                <a:lnTo>
                  <a:pt x="1947766" y="3082249"/>
                </a:lnTo>
                <a:lnTo>
                  <a:pt x="1947766" y="3103577"/>
                </a:lnTo>
                <a:cubicBezTo>
                  <a:pt x="1945978" y="3107079"/>
                  <a:pt x="1944368" y="3110739"/>
                  <a:pt x="1942400" y="3114241"/>
                </a:cubicBezTo>
                <a:lnTo>
                  <a:pt x="1926486" y="3114241"/>
                </a:lnTo>
                <a:cubicBezTo>
                  <a:pt x="1923088" y="3117743"/>
                  <a:pt x="1919334" y="3121403"/>
                  <a:pt x="1915936" y="3124905"/>
                </a:cubicBezTo>
                <a:lnTo>
                  <a:pt x="1915936" y="3146233"/>
                </a:lnTo>
                <a:lnTo>
                  <a:pt x="1931850" y="3146233"/>
                </a:lnTo>
                <a:lnTo>
                  <a:pt x="1921300" y="3156898"/>
                </a:lnTo>
                <a:cubicBezTo>
                  <a:pt x="1917724" y="3163901"/>
                  <a:pt x="1913968" y="3171063"/>
                  <a:pt x="1910572" y="3178067"/>
                </a:cubicBezTo>
                <a:lnTo>
                  <a:pt x="1884106" y="3162150"/>
                </a:lnTo>
                <a:cubicBezTo>
                  <a:pt x="1878742" y="3158648"/>
                  <a:pt x="1873378" y="3154988"/>
                  <a:pt x="1868370" y="3151486"/>
                </a:cubicBezTo>
                <a:lnTo>
                  <a:pt x="1868370" y="3124905"/>
                </a:lnTo>
                <a:cubicBezTo>
                  <a:pt x="1870158" y="3117743"/>
                  <a:pt x="1871590" y="3110739"/>
                  <a:pt x="1873378" y="3103577"/>
                </a:cubicBezTo>
                <a:cubicBezTo>
                  <a:pt x="1876954" y="3098324"/>
                  <a:pt x="1880530" y="3092913"/>
                  <a:pt x="1884106" y="3087660"/>
                </a:cubicBezTo>
                <a:lnTo>
                  <a:pt x="1884106" y="3061079"/>
                </a:lnTo>
                <a:cubicBezTo>
                  <a:pt x="1887504" y="3055668"/>
                  <a:pt x="1891260" y="3050415"/>
                  <a:pt x="1894656" y="3045004"/>
                </a:cubicBezTo>
                <a:close/>
                <a:moveTo>
                  <a:pt x="1688936" y="0"/>
                </a:moveTo>
                <a:lnTo>
                  <a:pt x="1725906" y="0"/>
                </a:lnTo>
                <a:lnTo>
                  <a:pt x="1768016" y="10687"/>
                </a:lnTo>
                <a:lnTo>
                  <a:pt x="1799664" y="37405"/>
                </a:lnTo>
                <a:lnTo>
                  <a:pt x="1820764" y="58779"/>
                </a:lnTo>
                <a:lnTo>
                  <a:pt x="1868194" y="58779"/>
                </a:lnTo>
                <a:lnTo>
                  <a:pt x="1910394" y="58779"/>
                </a:lnTo>
                <a:cubicBezTo>
                  <a:pt x="1912198" y="62341"/>
                  <a:pt x="1913910" y="65904"/>
                  <a:pt x="1915714" y="69466"/>
                </a:cubicBezTo>
                <a:lnTo>
                  <a:pt x="1936814" y="96184"/>
                </a:lnTo>
                <a:lnTo>
                  <a:pt x="1968464" y="106871"/>
                </a:lnTo>
                <a:lnTo>
                  <a:pt x="1984242" y="122901"/>
                </a:lnTo>
                <a:cubicBezTo>
                  <a:pt x="1986046" y="133589"/>
                  <a:pt x="1987760" y="144276"/>
                  <a:pt x="1989562" y="154963"/>
                </a:cubicBezTo>
                <a:cubicBezTo>
                  <a:pt x="1993080" y="165650"/>
                  <a:pt x="1996506" y="176337"/>
                  <a:pt x="2000022" y="187024"/>
                </a:cubicBezTo>
                <a:cubicBezTo>
                  <a:pt x="1994792" y="194149"/>
                  <a:pt x="1989472" y="201273"/>
                  <a:pt x="1984242" y="208398"/>
                </a:cubicBezTo>
                <a:cubicBezTo>
                  <a:pt x="1979014" y="215523"/>
                  <a:pt x="1973692" y="222647"/>
                  <a:pt x="1968464" y="229772"/>
                </a:cubicBezTo>
                <a:cubicBezTo>
                  <a:pt x="1963144" y="238678"/>
                  <a:pt x="1957914" y="247584"/>
                  <a:pt x="1952594" y="256490"/>
                </a:cubicBezTo>
                <a:lnTo>
                  <a:pt x="1920944" y="261833"/>
                </a:lnTo>
                <a:lnTo>
                  <a:pt x="1884064" y="272575"/>
                </a:lnTo>
                <a:lnTo>
                  <a:pt x="1862964" y="304636"/>
                </a:lnTo>
                <a:lnTo>
                  <a:pt x="1847184" y="315323"/>
                </a:lnTo>
                <a:lnTo>
                  <a:pt x="1847184" y="352728"/>
                </a:lnTo>
                <a:cubicBezTo>
                  <a:pt x="1848898" y="372321"/>
                  <a:pt x="1850702" y="391914"/>
                  <a:pt x="1852414" y="411507"/>
                </a:cubicBezTo>
                <a:lnTo>
                  <a:pt x="1884064" y="443568"/>
                </a:lnTo>
                <a:cubicBezTo>
                  <a:pt x="1889294" y="450693"/>
                  <a:pt x="1894614" y="457817"/>
                  <a:pt x="1899844" y="464942"/>
                </a:cubicBezTo>
                <a:lnTo>
                  <a:pt x="1968464" y="475629"/>
                </a:lnTo>
                <a:lnTo>
                  <a:pt x="2010572" y="475629"/>
                </a:lnTo>
                <a:lnTo>
                  <a:pt x="2079192" y="475629"/>
                </a:lnTo>
                <a:lnTo>
                  <a:pt x="2110842" y="470285"/>
                </a:lnTo>
                <a:lnTo>
                  <a:pt x="2137172" y="454255"/>
                </a:lnTo>
                <a:lnTo>
                  <a:pt x="2168820" y="454255"/>
                </a:lnTo>
                <a:lnTo>
                  <a:pt x="2195150" y="459598"/>
                </a:lnTo>
                <a:lnTo>
                  <a:pt x="2211020" y="475629"/>
                </a:lnTo>
                <a:lnTo>
                  <a:pt x="2226800" y="491660"/>
                </a:lnTo>
                <a:cubicBezTo>
                  <a:pt x="2228604" y="495222"/>
                  <a:pt x="2230316" y="498784"/>
                  <a:pt x="2232120" y="502347"/>
                </a:cubicBezTo>
                <a:lnTo>
                  <a:pt x="2242670" y="523721"/>
                </a:lnTo>
                <a:cubicBezTo>
                  <a:pt x="2244384" y="529064"/>
                  <a:pt x="2246186" y="534408"/>
                  <a:pt x="2247900" y="539751"/>
                </a:cubicBezTo>
                <a:lnTo>
                  <a:pt x="2243890" y="542466"/>
                </a:lnTo>
                <a:lnTo>
                  <a:pt x="2250970" y="543146"/>
                </a:lnTo>
                <a:lnTo>
                  <a:pt x="2240338" y="564475"/>
                </a:lnTo>
                <a:cubicBezTo>
                  <a:pt x="2242110" y="571585"/>
                  <a:pt x="2243882" y="578561"/>
                  <a:pt x="2245654" y="585670"/>
                </a:cubicBezTo>
                <a:lnTo>
                  <a:pt x="2256286" y="601634"/>
                </a:lnTo>
                <a:lnTo>
                  <a:pt x="2277550" y="612365"/>
                </a:lnTo>
                <a:lnTo>
                  <a:pt x="2277550" y="622963"/>
                </a:lnTo>
                <a:lnTo>
                  <a:pt x="2298812" y="633561"/>
                </a:lnTo>
                <a:cubicBezTo>
                  <a:pt x="2297040" y="637183"/>
                  <a:pt x="2295270" y="640670"/>
                  <a:pt x="2293498" y="644292"/>
                </a:cubicBezTo>
                <a:lnTo>
                  <a:pt x="2282866" y="644292"/>
                </a:lnTo>
                <a:cubicBezTo>
                  <a:pt x="2281094" y="651402"/>
                  <a:pt x="2279322" y="658378"/>
                  <a:pt x="2277550" y="665488"/>
                </a:cubicBezTo>
                <a:lnTo>
                  <a:pt x="2266918" y="676219"/>
                </a:lnTo>
                <a:lnTo>
                  <a:pt x="2266918" y="692183"/>
                </a:lnTo>
                <a:lnTo>
                  <a:pt x="2240338" y="692183"/>
                </a:lnTo>
                <a:lnTo>
                  <a:pt x="2219076" y="697549"/>
                </a:lnTo>
                <a:lnTo>
                  <a:pt x="2192496" y="681585"/>
                </a:lnTo>
                <a:lnTo>
                  <a:pt x="2192496" y="660256"/>
                </a:lnTo>
                <a:lnTo>
                  <a:pt x="2192496" y="628329"/>
                </a:lnTo>
                <a:lnTo>
                  <a:pt x="2176548" y="628329"/>
                </a:lnTo>
                <a:lnTo>
                  <a:pt x="2176548" y="649524"/>
                </a:lnTo>
                <a:lnTo>
                  <a:pt x="2155180" y="660256"/>
                </a:lnTo>
                <a:lnTo>
                  <a:pt x="2133918" y="665488"/>
                </a:lnTo>
                <a:lnTo>
                  <a:pt x="2112654" y="676219"/>
                </a:lnTo>
                <a:lnTo>
                  <a:pt x="2102022" y="692183"/>
                </a:lnTo>
                <a:lnTo>
                  <a:pt x="2096706" y="713512"/>
                </a:lnTo>
                <a:lnTo>
                  <a:pt x="2064812" y="713512"/>
                </a:lnTo>
                <a:cubicBezTo>
                  <a:pt x="2063040" y="718878"/>
                  <a:pt x="2061268" y="724110"/>
                  <a:pt x="2059496" y="729476"/>
                </a:cubicBezTo>
                <a:lnTo>
                  <a:pt x="2038232" y="740073"/>
                </a:lnTo>
                <a:lnTo>
                  <a:pt x="2027600" y="756037"/>
                </a:lnTo>
                <a:lnTo>
                  <a:pt x="2011652" y="766634"/>
                </a:lnTo>
                <a:lnTo>
                  <a:pt x="1990388" y="782598"/>
                </a:lnTo>
                <a:cubicBezTo>
                  <a:pt x="1988618" y="786220"/>
                  <a:pt x="1986846" y="789707"/>
                  <a:pt x="1985074" y="793329"/>
                </a:cubicBezTo>
                <a:lnTo>
                  <a:pt x="1969126" y="793329"/>
                </a:lnTo>
                <a:lnTo>
                  <a:pt x="1953178" y="809293"/>
                </a:lnTo>
                <a:lnTo>
                  <a:pt x="1931914" y="814659"/>
                </a:lnTo>
                <a:lnTo>
                  <a:pt x="1931914" y="830622"/>
                </a:lnTo>
                <a:lnTo>
                  <a:pt x="1910652" y="835854"/>
                </a:lnTo>
                <a:lnTo>
                  <a:pt x="1883968" y="835854"/>
                </a:lnTo>
                <a:cubicBezTo>
                  <a:pt x="1882196" y="844708"/>
                  <a:pt x="1880424" y="853695"/>
                  <a:pt x="1878652" y="862549"/>
                </a:cubicBezTo>
                <a:lnTo>
                  <a:pt x="1857388" y="862549"/>
                </a:lnTo>
                <a:lnTo>
                  <a:pt x="1857388" y="883744"/>
                </a:lnTo>
                <a:lnTo>
                  <a:pt x="1846756" y="894476"/>
                </a:lnTo>
                <a:cubicBezTo>
                  <a:pt x="1844984" y="899842"/>
                  <a:pt x="1843212" y="905074"/>
                  <a:pt x="1841440" y="910439"/>
                </a:cubicBezTo>
                <a:lnTo>
                  <a:pt x="1814862" y="915805"/>
                </a:lnTo>
                <a:lnTo>
                  <a:pt x="1804230" y="926403"/>
                </a:lnTo>
                <a:lnTo>
                  <a:pt x="1788282" y="931769"/>
                </a:lnTo>
                <a:lnTo>
                  <a:pt x="1772334" y="937001"/>
                </a:lnTo>
                <a:lnTo>
                  <a:pt x="1756388" y="942366"/>
                </a:lnTo>
                <a:lnTo>
                  <a:pt x="1756388" y="958330"/>
                </a:lnTo>
                <a:lnTo>
                  <a:pt x="1740440" y="968927"/>
                </a:lnTo>
                <a:lnTo>
                  <a:pt x="1740440" y="979659"/>
                </a:lnTo>
                <a:lnTo>
                  <a:pt x="1729808" y="984891"/>
                </a:lnTo>
                <a:lnTo>
                  <a:pt x="1719176" y="1000854"/>
                </a:lnTo>
                <a:lnTo>
                  <a:pt x="1708544" y="1006220"/>
                </a:lnTo>
                <a:lnTo>
                  <a:pt x="1697912" y="1032915"/>
                </a:lnTo>
                <a:lnTo>
                  <a:pt x="1697912" y="1048879"/>
                </a:lnTo>
                <a:lnTo>
                  <a:pt x="1681966" y="1048879"/>
                </a:lnTo>
                <a:cubicBezTo>
                  <a:pt x="1683736" y="1055989"/>
                  <a:pt x="1685508" y="1062964"/>
                  <a:pt x="1687280" y="1070074"/>
                </a:cubicBezTo>
                <a:cubicBezTo>
                  <a:pt x="1685508" y="1075440"/>
                  <a:pt x="1683736" y="1080672"/>
                  <a:pt x="1681966" y="1086037"/>
                </a:cubicBezTo>
                <a:lnTo>
                  <a:pt x="1666018" y="1091403"/>
                </a:lnTo>
                <a:lnTo>
                  <a:pt x="1676650" y="1107367"/>
                </a:lnTo>
                <a:lnTo>
                  <a:pt x="1676650" y="1134062"/>
                </a:lnTo>
                <a:lnTo>
                  <a:pt x="1676650" y="1155257"/>
                </a:lnTo>
                <a:cubicBezTo>
                  <a:pt x="1674878" y="1160623"/>
                  <a:pt x="1673106" y="1165855"/>
                  <a:pt x="1671334" y="1171221"/>
                </a:cubicBezTo>
                <a:cubicBezTo>
                  <a:pt x="1669562" y="1180074"/>
                  <a:pt x="1667790" y="1189062"/>
                  <a:pt x="1666018" y="1197916"/>
                </a:cubicBezTo>
                <a:lnTo>
                  <a:pt x="1676650" y="1251172"/>
                </a:lnTo>
                <a:cubicBezTo>
                  <a:pt x="1678422" y="1263514"/>
                  <a:pt x="1680194" y="1275989"/>
                  <a:pt x="1681966" y="1288331"/>
                </a:cubicBezTo>
                <a:lnTo>
                  <a:pt x="1681966" y="1315026"/>
                </a:lnTo>
                <a:cubicBezTo>
                  <a:pt x="1680194" y="1322136"/>
                  <a:pt x="1678422" y="1329111"/>
                  <a:pt x="1676650" y="1336221"/>
                </a:cubicBezTo>
                <a:lnTo>
                  <a:pt x="1666018" y="1346953"/>
                </a:lnTo>
                <a:lnTo>
                  <a:pt x="1666018" y="1373514"/>
                </a:lnTo>
                <a:lnTo>
                  <a:pt x="1655386" y="1378880"/>
                </a:lnTo>
                <a:cubicBezTo>
                  <a:pt x="1653614" y="1391355"/>
                  <a:pt x="1651842" y="1403697"/>
                  <a:pt x="1650070" y="1416173"/>
                </a:cubicBezTo>
                <a:lnTo>
                  <a:pt x="1634018" y="1416173"/>
                </a:lnTo>
                <a:cubicBezTo>
                  <a:pt x="1635790" y="1423282"/>
                  <a:pt x="1637562" y="1430258"/>
                  <a:pt x="1639334" y="1437368"/>
                </a:cubicBezTo>
                <a:lnTo>
                  <a:pt x="1634018" y="1458697"/>
                </a:lnTo>
                <a:lnTo>
                  <a:pt x="1618070" y="1458697"/>
                </a:lnTo>
                <a:lnTo>
                  <a:pt x="1623386" y="1480026"/>
                </a:lnTo>
                <a:cubicBezTo>
                  <a:pt x="1621614" y="1485392"/>
                  <a:pt x="1619842" y="1490624"/>
                  <a:pt x="1618070" y="1495990"/>
                </a:cubicBezTo>
                <a:lnTo>
                  <a:pt x="1602122" y="1501356"/>
                </a:lnTo>
                <a:lnTo>
                  <a:pt x="1612754" y="1511953"/>
                </a:lnTo>
                <a:lnTo>
                  <a:pt x="1607438" y="1533283"/>
                </a:lnTo>
                <a:lnTo>
                  <a:pt x="1618070" y="1554478"/>
                </a:lnTo>
                <a:lnTo>
                  <a:pt x="1618070" y="1581173"/>
                </a:lnTo>
                <a:lnTo>
                  <a:pt x="1634018" y="1591771"/>
                </a:lnTo>
                <a:lnTo>
                  <a:pt x="1634018" y="1607734"/>
                </a:lnTo>
                <a:lnTo>
                  <a:pt x="1644650" y="1634429"/>
                </a:lnTo>
                <a:cubicBezTo>
                  <a:pt x="1646422" y="1641539"/>
                  <a:pt x="1648298" y="1648515"/>
                  <a:pt x="1650070" y="1655624"/>
                </a:cubicBezTo>
                <a:lnTo>
                  <a:pt x="1660702" y="1666356"/>
                </a:lnTo>
                <a:lnTo>
                  <a:pt x="1666018" y="1687685"/>
                </a:lnTo>
                <a:cubicBezTo>
                  <a:pt x="1664246" y="1693051"/>
                  <a:pt x="1662474" y="1698283"/>
                  <a:pt x="1660702" y="1703649"/>
                </a:cubicBezTo>
                <a:lnTo>
                  <a:pt x="1660702" y="1730210"/>
                </a:lnTo>
                <a:lnTo>
                  <a:pt x="1644650" y="1735576"/>
                </a:lnTo>
                <a:cubicBezTo>
                  <a:pt x="1642878" y="1740942"/>
                  <a:pt x="1641106" y="1746173"/>
                  <a:pt x="1639334" y="1751539"/>
                </a:cubicBezTo>
                <a:lnTo>
                  <a:pt x="1623386" y="1762137"/>
                </a:lnTo>
                <a:lnTo>
                  <a:pt x="1623386" y="1778100"/>
                </a:lnTo>
                <a:cubicBezTo>
                  <a:pt x="1625158" y="1783466"/>
                  <a:pt x="1626930" y="1788698"/>
                  <a:pt x="1628702" y="1794064"/>
                </a:cubicBezTo>
                <a:cubicBezTo>
                  <a:pt x="1630474" y="1802917"/>
                  <a:pt x="1632246" y="1811905"/>
                  <a:pt x="1634018" y="1820759"/>
                </a:cubicBezTo>
                <a:lnTo>
                  <a:pt x="1634018" y="1847248"/>
                </a:lnTo>
                <a:lnTo>
                  <a:pt x="1634054" y="1847308"/>
                </a:lnTo>
                <a:lnTo>
                  <a:pt x="1618128" y="1863258"/>
                </a:lnTo>
                <a:lnTo>
                  <a:pt x="1602130" y="1874041"/>
                </a:lnTo>
                <a:lnTo>
                  <a:pt x="1591488" y="1884599"/>
                </a:lnTo>
                <a:lnTo>
                  <a:pt x="1607488" y="1916498"/>
                </a:lnTo>
                <a:lnTo>
                  <a:pt x="1607488" y="1948397"/>
                </a:lnTo>
                <a:lnTo>
                  <a:pt x="1591488" y="1969739"/>
                </a:lnTo>
                <a:lnTo>
                  <a:pt x="1575564" y="1985688"/>
                </a:lnTo>
                <a:lnTo>
                  <a:pt x="1575564" y="2007029"/>
                </a:lnTo>
                <a:cubicBezTo>
                  <a:pt x="1577324" y="2014218"/>
                  <a:pt x="1579160" y="2021182"/>
                  <a:pt x="1580920" y="2028370"/>
                </a:cubicBezTo>
                <a:lnTo>
                  <a:pt x="1580920" y="2060269"/>
                </a:lnTo>
                <a:cubicBezTo>
                  <a:pt x="1577398" y="2067458"/>
                  <a:pt x="1573802" y="2074422"/>
                  <a:pt x="1570280" y="2081611"/>
                </a:cubicBezTo>
                <a:lnTo>
                  <a:pt x="1559638" y="2108118"/>
                </a:lnTo>
                <a:lnTo>
                  <a:pt x="1543640" y="2134851"/>
                </a:lnTo>
                <a:cubicBezTo>
                  <a:pt x="1541878" y="2147206"/>
                  <a:pt x="1540116" y="2159786"/>
                  <a:pt x="1538356" y="2172141"/>
                </a:cubicBezTo>
                <a:cubicBezTo>
                  <a:pt x="1540116" y="2182700"/>
                  <a:pt x="1541878" y="2193483"/>
                  <a:pt x="1543640" y="2204041"/>
                </a:cubicBezTo>
                <a:lnTo>
                  <a:pt x="1543640" y="2235940"/>
                </a:lnTo>
                <a:lnTo>
                  <a:pt x="1543640" y="2251889"/>
                </a:lnTo>
                <a:lnTo>
                  <a:pt x="1548996" y="2257281"/>
                </a:lnTo>
                <a:lnTo>
                  <a:pt x="1538356" y="2283789"/>
                </a:lnTo>
                <a:lnTo>
                  <a:pt x="1527714" y="2294572"/>
                </a:lnTo>
                <a:lnTo>
                  <a:pt x="1543640" y="2310521"/>
                </a:lnTo>
                <a:lnTo>
                  <a:pt x="1559638" y="2299738"/>
                </a:lnTo>
                <a:lnTo>
                  <a:pt x="1575564" y="2299738"/>
                </a:lnTo>
                <a:lnTo>
                  <a:pt x="1575564" y="2315688"/>
                </a:lnTo>
                <a:lnTo>
                  <a:pt x="1591488" y="2315688"/>
                </a:lnTo>
                <a:lnTo>
                  <a:pt x="1580920" y="2321079"/>
                </a:lnTo>
                <a:cubicBezTo>
                  <a:pt x="1582682" y="2326471"/>
                  <a:pt x="1584444" y="2331638"/>
                  <a:pt x="1586204" y="2337029"/>
                </a:cubicBezTo>
                <a:lnTo>
                  <a:pt x="1596846" y="2337029"/>
                </a:lnTo>
                <a:lnTo>
                  <a:pt x="1570280" y="2342420"/>
                </a:lnTo>
                <a:lnTo>
                  <a:pt x="1559638" y="2352979"/>
                </a:lnTo>
                <a:cubicBezTo>
                  <a:pt x="1557876" y="2358370"/>
                  <a:pt x="1556042" y="2363537"/>
                  <a:pt x="1554280" y="2368928"/>
                </a:cubicBezTo>
                <a:cubicBezTo>
                  <a:pt x="1552520" y="2374320"/>
                  <a:pt x="1550758" y="2379487"/>
                  <a:pt x="1548996" y="2384878"/>
                </a:cubicBezTo>
                <a:lnTo>
                  <a:pt x="1548996" y="2417002"/>
                </a:lnTo>
                <a:cubicBezTo>
                  <a:pt x="1550758" y="2427560"/>
                  <a:pt x="1552520" y="2438343"/>
                  <a:pt x="1554280" y="2448901"/>
                </a:cubicBezTo>
                <a:cubicBezTo>
                  <a:pt x="1552520" y="2457662"/>
                  <a:pt x="1550758" y="2466648"/>
                  <a:pt x="1548996" y="2475409"/>
                </a:cubicBezTo>
                <a:lnTo>
                  <a:pt x="1538356" y="2486192"/>
                </a:lnTo>
                <a:lnTo>
                  <a:pt x="1538356" y="2496750"/>
                </a:lnTo>
                <a:lnTo>
                  <a:pt x="1522356" y="2496750"/>
                </a:lnTo>
                <a:lnTo>
                  <a:pt x="1522356" y="2539432"/>
                </a:lnTo>
                <a:lnTo>
                  <a:pt x="1522356" y="2571331"/>
                </a:lnTo>
                <a:cubicBezTo>
                  <a:pt x="1524118" y="2578520"/>
                  <a:pt x="1525952" y="2585484"/>
                  <a:pt x="1527714" y="2592672"/>
                </a:cubicBezTo>
                <a:lnTo>
                  <a:pt x="1506432" y="2603230"/>
                </a:lnTo>
                <a:cubicBezTo>
                  <a:pt x="1502910" y="2608622"/>
                  <a:pt x="1499312" y="2613789"/>
                  <a:pt x="1495790" y="2619180"/>
                </a:cubicBezTo>
                <a:cubicBezTo>
                  <a:pt x="1497552" y="2629738"/>
                  <a:pt x="1499386" y="2640521"/>
                  <a:pt x="1501148" y="2651079"/>
                </a:cubicBezTo>
                <a:cubicBezTo>
                  <a:pt x="1499386" y="2661637"/>
                  <a:pt x="1497552" y="2672420"/>
                  <a:pt x="1495790" y="2682979"/>
                </a:cubicBezTo>
                <a:lnTo>
                  <a:pt x="1474508" y="2704319"/>
                </a:lnTo>
                <a:cubicBezTo>
                  <a:pt x="1472746" y="2713305"/>
                  <a:pt x="1470986" y="2722066"/>
                  <a:pt x="1469224" y="2731052"/>
                </a:cubicBezTo>
                <a:lnTo>
                  <a:pt x="1453226" y="2752168"/>
                </a:lnTo>
                <a:cubicBezTo>
                  <a:pt x="1449702" y="2759357"/>
                  <a:pt x="1446106" y="2766321"/>
                  <a:pt x="1442584" y="2773509"/>
                </a:cubicBezTo>
                <a:lnTo>
                  <a:pt x="1442584" y="2794850"/>
                </a:lnTo>
                <a:lnTo>
                  <a:pt x="1426658" y="2805409"/>
                </a:lnTo>
                <a:lnTo>
                  <a:pt x="1426658" y="2816191"/>
                </a:lnTo>
                <a:cubicBezTo>
                  <a:pt x="1428420" y="2830344"/>
                  <a:pt x="1430254" y="2844496"/>
                  <a:pt x="1432016" y="2858649"/>
                </a:cubicBezTo>
                <a:cubicBezTo>
                  <a:pt x="1433778" y="2869432"/>
                  <a:pt x="1435538" y="2879990"/>
                  <a:pt x="1437300" y="2890773"/>
                </a:cubicBezTo>
                <a:lnTo>
                  <a:pt x="1426658" y="2927839"/>
                </a:lnTo>
                <a:lnTo>
                  <a:pt x="1410734" y="2949180"/>
                </a:lnTo>
                <a:lnTo>
                  <a:pt x="1394734" y="2970521"/>
                </a:lnTo>
                <a:cubicBezTo>
                  <a:pt x="1391212" y="2979507"/>
                  <a:pt x="1387616" y="2988268"/>
                  <a:pt x="1384094" y="2997253"/>
                </a:cubicBezTo>
                <a:lnTo>
                  <a:pt x="1368168" y="2997253"/>
                </a:lnTo>
                <a:cubicBezTo>
                  <a:pt x="1366408" y="3002645"/>
                  <a:pt x="1364646" y="3007811"/>
                  <a:pt x="1362884" y="3013203"/>
                </a:cubicBezTo>
                <a:lnTo>
                  <a:pt x="1373452" y="3029153"/>
                </a:lnTo>
                <a:lnTo>
                  <a:pt x="1389450" y="3045102"/>
                </a:lnTo>
                <a:lnTo>
                  <a:pt x="1373452" y="3061052"/>
                </a:lnTo>
                <a:cubicBezTo>
                  <a:pt x="1375214" y="3066443"/>
                  <a:pt x="1377048" y="3071610"/>
                  <a:pt x="1378810" y="3077001"/>
                </a:cubicBezTo>
                <a:cubicBezTo>
                  <a:pt x="1377048" y="3084190"/>
                  <a:pt x="1375214" y="3091154"/>
                  <a:pt x="1373452" y="3098343"/>
                </a:cubicBezTo>
                <a:lnTo>
                  <a:pt x="1362884" y="3103509"/>
                </a:lnTo>
                <a:cubicBezTo>
                  <a:pt x="1364646" y="3112495"/>
                  <a:pt x="1366408" y="3121256"/>
                  <a:pt x="1368168" y="3130242"/>
                </a:cubicBezTo>
                <a:cubicBezTo>
                  <a:pt x="1369930" y="3137430"/>
                  <a:pt x="1371690" y="3144394"/>
                  <a:pt x="1373452" y="3151583"/>
                </a:cubicBezTo>
                <a:lnTo>
                  <a:pt x="1384094" y="3156749"/>
                </a:lnTo>
                <a:lnTo>
                  <a:pt x="1405376" y="3140800"/>
                </a:lnTo>
                <a:lnTo>
                  <a:pt x="1426658" y="3146191"/>
                </a:lnTo>
                <a:lnTo>
                  <a:pt x="1469224" y="3151583"/>
                </a:lnTo>
                <a:lnTo>
                  <a:pt x="1506432" y="3156749"/>
                </a:lnTo>
                <a:lnTo>
                  <a:pt x="1543640" y="3140800"/>
                </a:lnTo>
                <a:lnTo>
                  <a:pt x="1559638" y="3119683"/>
                </a:lnTo>
                <a:lnTo>
                  <a:pt x="1575564" y="3114292"/>
                </a:lnTo>
                <a:lnTo>
                  <a:pt x="1596846" y="3092951"/>
                </a:lnTo>
                <a:lnTo>
                  <a:pt x="1612772" y="3092951"/>
                </a:lnTo>
                <a:lnTo>
                  <a:pt x="1628770" y="3071610"/>
                </a:lnTo>
                <a:lnTo>
                  <a:pt x="1639412" y="3061052"/>
                </a:lnTo>
                <a:cubicBezTo>
                  <a:pt x="1642934" y="3053863"/>
                  <a:pt x="1646530" y="3046899"/>
                  <a:pt x="1650052" y="3039711"/>
                </a:cubicBezTo>
                <a:cubicBezTo>
                  <a:pt x="1651814" y="3034319"/>
                  <a:pt x="1653576" y="3029153"/>
                  <a:pt x="1655336" y="3023761"/>
                </a:cubicBezTo>
                <a:cubicBezTo>
                  <a:pt x="1658858" y="3029153"/>
                  <a:pt x="1662456" y="3034319"/>
                  <a:pt x="1665978" y="3039711"/>
                </a:cubicBezTo>
                <a:lnTo>
                  <a:pt x="1697902" y="3034319"/>
                </a:lnTo>
                <a:lnTo>
                  <a:pt x="1713826" y="3039711"/>
                </a:lnTo>
                <a:lnTo>
                  <a:pt x="1724468" y="3045102"/>
                </a:lnTo>
                <a:cubicBezTo>
                  <a:pt x="1726230" y="3050494"/>
                  <a:pt x="1728064" y="3055660"/>
                  <a:pt x="1729826" y="3061052"/>
                </a:cubicBezTo>
                <a:lnTo>
                  <a:pt x="1745750" y="3082393"/>
                </a:lnTo>
                <a:lnTo>
                  <a:pt x="1745750" y="3103509"/>
                </a:lnTo>
                <a:lnTo>
                  <a:pt x="1729826" y="3114292"/>
                </a:lnTo>
                <a:cubicBezTo>
                  <a:pt x="1731586" y="3117886"/>
                  <a:pt x="1733348" y="3121256"/>
                  <a:pt x="1735110" y="3124850"/>
                </a:cubicBezTo>
                <a:lnTo>
                  <a:pt x="1751034" y="3119683"/>
                </a:lnTo>
                <a:lnTo>
                  <a:pt x="1767034" y="3124850"/>
                </a:lnTo>
                <a:cubicBezTo>
                  <a:pt x="1770556" y="3132039"/>
                  <a:pt x="1774152" y="3139003"/>
                  <a:pt x="1777674" y="3146191"/>
                </a:cubicBezTo>
                <a:cubicBezTo>
                  <a:pt x="1781198" y="3153380"/>
                  <a:pt x="1784794" y="3160344"/>
                  <a:pt x="1788316" y="3167532"/>
                </a:cubicBezTo>
                <a:lnTo>
                  <a:pt x="1804240" y="3188873"/>
                </a:lnTo>
                <a:lnTo>
                  <a:pt x="1804226" y="3188894"/>
                </a:lnTo>
                <a:cubicBezTo>
                  <a:pt x="1807776" y="3192368"/>
                  <a:pt x="1811172" y="3195916"/>
                  <a:pt x="1814726" y="3199395"/>
                </a:cubicBezTo>
                <a:cubicBezTo>
                  <a:pt x="1816872" y="3204807"/>
                  <a:pt x="1818122" y="3210059"/>
                  <a:pt x="1820090" y="3215471"/>
                </a:cubicBezTo>
                <a:cubicBezTo>
                  <a:pt x="1821878" y="3224384"/>
                  <a:pt x="1823488" y="3233138"/>
                  <a:pt x="1825454" y="3242051"/>
                </a:cubicBezTo>
                <a:cubicBezTo>
                  <a:pt x="1827242" y="3250965"/>
                  <a:pt x="1828852" y="3259719"/>
                  <a:pt x="1830640" y="3268632"/>
                </a:cubicBezTo>
                <a:cubicBezTo>
                  <a:pt x="1836004" y="3275795"/>
                  <a:pt x="1841370" y="3282798"/>
                  <a:pt x="1846554" y="3289960"/>
                </a:cubicBezTo>
                <a:cubicBezTo>
                  <a:pt x="1853708" y="3293462"/>
                  <a:pt x="1860860" y="3297123"/>
                  <a:pt x="1868370" y="3300625"/>
                </a:cubicBezTo>
                <a:cubicBezTo>
                  <a:pt x="1870158" y="3293462"/>
                  <a:pt x="1871590" y="3286459"/>
                  <a:pt x="1873378" y="3279296"/>
                </a:cubicBezTo>
                <a:cubicBezTo>
                  <a:pt x="1882140" y="3272134"/>
                  <a:pt x="1891260" y="3265131"/>
                  <a:pt x="1900022" y="3257968"/>
                </a:cubicBezTo>
                <a:lnTo>
                  <a:pt x="1915936" y="3252716"/>
                </a:lnTo>
                <a:lnTo>
                  <a:pt x="1937216" y="3257968"/>
                </a:lnTo>
                <a:lnTo>
                  <a:pt x="1937216" y="3231387"/>
                </a:lnTo>
                <a:cubicBezTo>
                  <a:pt x="1935248" y="3222474"/>
                  <a:pt x="1933638" y="3213720"/>
                  <a:pt x="1931850" y="3204807"/>
                </a:cubicBezTo>
                <a:cubicBezTo>
                  <a:pt x="1924698" y="3195893"/>
                  <a:pt x="1917724" y="3186980"/>
                  <a:pt x="1910572" y="3178067"/>
                </a:cubicBezTo>
                <a:lnTo>
                  <a:pt x="1931850" y="3146233"/>
                </a:lnTo>
                <a:lnTo>
                  <a:pt x="1942400" y="3146233"/>
                </a:lnTo>
                <a:lnTo>
                  <a:pt x="1974230" y="3151486"/>
                </a:lnTo>
                <a:cubicBezTo>
                  <a:pt x="1977806" y="3153237"/>
                  <a:pt x="1981384" y="3155147"/>
                  <a:pt x="1984960" y="3156898"/>
                </a:cubicBezTo>
                <a:lnTo>
                  <a:pt x="1984960" y="3167562"/>
                </a:lnTo>
                <a:cubicBezTo>
                  <a:pt x="1992112" y="3158648"/>
                  <a:pt x="1998908" y="3149735"/>
                  <a:pt x="2006238" y="3140822"/>
                </a:cubicBezTo>
                <a:lnTo>
                  <a:pt x="2033062" y="3135569"/>
                </a:lnTo>
                <a:cubicBezTo>
                  <a:pt x="2036458" y="3144483"/>
                  <a:pt x="2040214" y="3153237"/>
                  <a:pt x="2043612" y="3162150"/>
                </a:cubicBezTo>
                <a:lnTo>
                  <a:pt x="2043612" y="3188731"/>
                </a:lnTo>
                <a:lnTo>
                  <a:pt x="2043612" y="3204807"/>
                </a:lnTo>
                <a:cubicBezTo>
                  <a:pt x="2045400" y="3213720"/>
                  <a:pt x="2047008" y="3222474"/>
                  <a:pt x="2048976" y="3231387"/>
                </a:cubicBezTo>
                <a:cubicBezTo>
                  <a:pt x="2047008" y="3240301"/>
                  <a:pt x="2045400" y="3249055"/>
                  <a:pt x="2043612" y="3257968"/>
                </a:cubicBezTo>
                <a:cubicBezTo>
                  <a:pt x="2038246" y="3261470"/>
                  <a:pt x="2033062" y="3265131"/>
                  <a:pt x="2027696" y="3268632"/>
                </a:cubicBezTo>
                <a:cubicBezTo>
                  <a:pt x="2024300" y="3272134"/>
                  <a:pt x="2020544" y="3275795"/>
                  <a:pt x="2017146" y="3279296"/>
                </a:cubicBezTo>
                <a:cubicBezTo>
                  <a:pt x="2015180" y="3282798"/>
                  <a:pt x="2013392" y="3286459"/>
                  <a:pt x="2011424" y="3289960"/>
                </a:cubicBezTo>
                <a:cubicBezTo>
                  <a:pt x="2008026" y="3293462"/>
                  <a:pt x="2004272" y="3297123"/>
                  <a:pt x="2000874" y="3300625"/>
                </a:cubicBezTo>
                <a:cubicBezTo>
                  <a:pt x="2002662" y="3307628"/>
                  <a:pt x="2004272" y="3314790"/>
                  <a:pt x="2006238" y="3321794"/>
                </a:cubicBezTo>
                <a:lnTo>
                  <a:pt x="2033062" y="3316541"/>
                </a:lnTo>
                <a:lnTo>
                  <a:pt x="2064890" y="3295213"/>
                </a:lnTo>
                <a:lnTo>
                  <a:pt x="2102084" y="3273885"/>
                </a:lnTo>
                <a:lnTo>
                  <a:pt x="2128550" y="3252716"/>
                </a:lnTo>
                <a:cubicBezTo>
                  <a:pt x="2135702" y="3236799"/>
                  <a:pt x="2142676" y="3220723"/>
                  <a:pt x="2149828" y="3204807"/>
                </a:cubicBezTo>
                <a:cubicBezTo>
                  <a:pt x="2151616" y="3194142"/>
                  <a:pt x="2153226" y="3183478"/>
                  <a:pt x="2155194" y="3172814"/>
                </a:cubicBezTo>
                <a:cubicBezTo>
                  <a:pt x="2156982" y="3169313"/>
                  <a:pt x="2158590" y="3165652"/>
                  <a:pt x="2160380" y="3162150"/>
                </a:cubicBezTo>
                <a:lnTo>
                  <a:pt x="2160380" y="3146233"/>
                </a:lnTo>
                <a:cubicBezTo>
                  <a:pt x="2165744" y="3139071"/>
                  <a:pt x="2171286" y="3132068"/>
                  <a:pt x="2176652" y="3124905"/>
                </a:cubicBezTo>
                <a:cubicBezTo>
                  <a:pt x="2174684" y="3117743"/>
                  <a:pt x="2173254" y="3110739"/>
                  <a:pt x="2171286" y="3103577"/>
                </a:cubicBezTo>
                <a:cubicBezTo>
                  <a:pt x="2167532" y="3098324"/>
                  <a:pt x="2164134" y="3092913"/>
                  <a:pt x="2160380" y="3087660"/>
                </a:cubicBezTo>
                <a:lnTo>
                  <a:pt x="2160380" y="3055668"/>
                </a:lnTo>
                <a:cubicBezTo>
                  <a:pt x="2164134" y="3052166"/>
                  <a:pt x="2167532" y="3048505"/>
                  <a:pt x="2171286" y="3045004"/>
                </a:cubicBezTo>
                <a:cubicBezTo>
                  <a:pt x="2173254" y="3041502"/>
                  <a:pt x="2174684" y="3037841"/>
                  <a:pt x="2176652" y="3034340"/>
                </a:cubicBezTo>
                <a:lnTo>
                  <a:pt x="2176652" y="3013170"/>
                </a:lnTo>
                <a:lnTo>
                  <a:pt x="2197930" y="3045004"/>
                </a:lnTo>
                <a:cubicBezTo>
                  <a:pt x="2205084" y="3055668"/>
                  <a:pt x="2211878" y="3066332"/>
                  <a:pt x="2219032" y="3076996"/>
                </a:cubicBezTo>
                <a:cubicBezTo>
                  <a:pt x="2220998" y="3087660"/>
                  <a:pt x="2222608" y="3098324"/>
                  <a:pt x="2224396" y="3108989"/>
                </a:cubicBezTo>
                <a:cubicBezTo>
                  <a:pt x="2222608" y="3121403"/>
                  <a:pt x="2220998" y="3133818"/>
                  <a:pt x="2219032" y="3146233"/>
                </a:cubicBezTo>
                <a:cubicBezTo>
                  <a:pt x="2217242" y="3155147"/>
                  <a:pt x="2215634" y="3163901"/>
                  <a:pt x="2213846" y="3172814"/>
                </a:cubicBezTo>
                <a:cubicBezTo>
                  <a:pt x="2211878" y="3181727"/>
                  <a:pt x="2210268" y="3190482"/>
                  <a:pt x="2208480" y="3199395"/>
                </a:cubicBezTo>
                <a:cubicBezTo>
                  <a:pt x="2213846" y="3202897"/>
                  <a:pt x="2219032" y="3206557"/>
                  <a:pt x="2224396" y="3210059"/>
                </a:cubicBezTo>
                <a:lnTo>
                  <a:pt x="2240310" y="3188731"/>
                </a:lnTo>
                <a:lnTo>
                  <a:pt x="2261590" y="3162150"/>
                </a:lnTo>
                <a:cubicBezTo>
                  <a:pt x="2258192" y="3142573"/>
                  <a:pt x="2254436" y="3123154"/>
                  <a:pt x="2251040" y="3103577"/>
                </a:cubicBezTo>
                <a:cubicBezTo>
                  <a:pt x="2247462" y="3089411"/>
                  <a:pt x="2243708" y="3075245"/>
                  <a:pt x="2240310" y="3061079"/>
                </a:cubicBezTo>
                <a:cubicBezTo>
                  <a:pt x="2236912" y="3053917"/>
                  <a:pt x="2233158" y="3046914"/>
                  <a:pt x="2229760" y="3039751"/>
                </a:cubicBezTo>
                <a:cubicBezTo>
                  <a:pt x="2226362" y="3034499"/>
                  <a:pt x="2222608" y="3029087"/>
                  <a:pt x="2219032" y="3023835"/>
                </a:cubicBezTo>
                <a:cubicBezTo>
                  <a:pt x="2217242" y="3016672"/>
                  <a:pt x="2215634" y="3009669"/>
                  <a:pt x="2213846" y="3002506"/>
                </a:cubicBezTo>
                <a:cubicBezTo>
                  <a:pt x="2210268" y="3000755"/>
                  <a:pt x="2206692" y="2998845"/>
                  <a:pt x="2203116" y="2997095"/>
                </a:cubicBezTo>
                <a:cubicBezTo>
                  <a:pt x="2201328" y="2993593"/>
                  <a:pt x="2199718" y="2989932"/>
                  <a:pt x="2197930" y="2986431"/>
                </a:cubicBezTo>
                <a:lnTo>
                  <a:pt x="2187202" y="2981178"/>
                </a:lnTo>
                <a:cubicBezTo>
                  <a:pt x="2185414" y="2986431"/>
                  <a:pt x="2183804" y="2991842"/>
                  <a:pt x="2182016" y="2997095"/>
                </a:cubicBezTo>
                <a:cubicBezTo>
                  <a:pt x="2178440" y="2988181"/>
                  <a:pt x="2174684" y="2979427"/>
                  <a:pt x="2171286" y="2970514"/>
                </a:cubicBezTo>
                <a:lnTo>
                  <a:pt x="2149828" y="2959850"/>
                </a:lnTo>
                <a:cubicBezTo>
                  <a:pt x="2151616" y="2954597"/>
                  <a:pt x="2153226" y="2949186"/>
                  <a:pt x="2155194" y="2943933"/>
                </a:cubicBezTo>
                <a:cubicBezTo>
                  <a:pt x="2147862" y="2942182"/>
                  <a:pt x="2141066" y="2940272"/>
                  <a:pt x="2133914" y="2938522"/>
                </a:cubicBezTo>
                <a:lnTo>
                  <a:pt x="2123184" y="2928017"/>
                </a:lnTo>
                <a:cubicBezTo>
                  <a:pt x="2125152" y="2924515"/>
                  <a:pt x="2126762" y="2920854"/>
                  <a:pt x="2128550" y="2917352"/>
                </a:cubicBezTo>
                <a:lnTo>
                  <a:pt x="2171286" y="2911941"/>
                </a:lnTo>
                <a:lnTo>
                  <a:pt x="2197930" y="2917352"/>
                </a:lnTo>
                <a:lnTo>
                  <a:pt x="2224396" y="2906688"/>
                </a:lnTo>
                <a:cubicBezTo>
                  <a:pt x="2227794" y="2910190"/>
                  <a:pt x="2231548" y="2913851"/>
                  <a:pt x="2234946" y="2917352"/>
                </a:cubicBezTo>
                <a:cubicBezTo>
                  <a:pt x="2242278" y="2913851"/>
                  <a:pt x="2249072" y="2910190"/>
                  <a:pt x="2256224" y="2906688"/>
                </a:cubicBezTo>
                <a:cubicBezTo>
                  <a:pt x="2261590" y="2903187"/>
                  <a:pt x="2266954" y="2899526"/>
                  <a:pt x="2272140" y="2896024"/>
                </a:cubicBezTo>
                <a:cubicBezTo>
                  <a:pt x="2274106" y="2892522"/>
                  <a:pt x="2275716" y="2888862"/>
                  <a:pt x="2277504" y="2885360"/>
                </a:cubicBezTo>
                <a:lnTo>
                  <a:pt x="2277548" y="2885422"/>
                </a:lnTo>
                <a:cubicBezTo>
                  <a:pt x="2284668" y="2878371"/>
                  <a:pt x="2291654" y="2871179"/>
                  <a:pt x="2298774" y="2864129"/>
                </a:cubicBezTo>
                <a:cubicBezTo>
                  <a:pt x="2300620" y="2858768"/>
                  <a:pt x="2302334" y="2853408"/>
                  <a:pt x="2304180" y="2848047"/>
                </a:cubicBezTo>
                <a:lnTo>
                  <a:pt x="2320140" y="2826746"/>
                </a:lnTo>
                <a:lnTo>
                  <a:pt x="2320140" y="2816166"/>
                </a:lnTo>
                <a:lnTo>
                  <a:pt x="2320140" y="2794865"/>
                </a:lnTo>
                <a:lnTo>
                  <a:pt x="2352056" y="2794865"/>
                </a:lnTo>
                <a:cubicBezTo>
                  <a:pt x="2353770" y="2800226"/>
                  <a:pt x="2355616" y="2805445"/>
                  <a:pt x="2357332" y="2810806"/>
                </a:cubicBezTo>
                <a:lnTo>
                  <a:pt x="2399798" y="2821527"/>
                </a:lnTo>
                <a:lnTo>
                  <a:pt x="2426440" y="2816166"/>
                </a:lnTo>
                <a:lnTo>
                  <a:pt x="2453080" y="2816166"/>
                </a:lnTo>
                <a:lnTo>
                  <a:pt x="2479590" y="2821527"/>
                </a:lnTo>
                <a:cubicBezTo>
                  <a:pt x="2481436" y="2823219"/>
                  <a:pt x="2483150" y="2825053"/>
                  <a:pt x="2484996" y="2826746"/>
                </a:cubicBezTo>
                <a:lnTo>
                  <a:pt x="2506230" y="2832107"/>
                </a:lnTo>
                <a:lnTo>
                  <a:pt x="2527464" y="2848047"/>
                </a:lnTo>
                <a:lnTo>
                  <a:pt x="2527464" y="2864129"/>
                </a:lnTo>
                <a:lnTo>
                  <a:pt x="2570064" y="2880069"/>
                </a:lnTo>
                <a:lnTo>
                  <a:pt x="2617938" y="2885430"/>
                </a:lnTo>
                <a:lnTo>
                  <a:pt x="2639172" y="2896010"/>
                </a:lnTo>
                <a:lnTo>
                  <a:pt x="2692322" y="2890649"/>
                </a:lnTo>
                <a:lnTo>
                  <a:pt x="2734920" y="2896010"/>
                </a:lnTo>
                <a:lnTo>
                  <a:pt x="2750878" y="2896010"/>
                </a:lnTo>
                <a:lnTo>
                  <a:pt x="2814712" y="2906590"/>
                </a:lnTo>
                <a:lnTo>
                  <a:pt x="2851904" y="2906590"/>
                </a:lnTo>
                <a:lnTo>
                  <a:pt x="2878412" y="2906590"/>
                </a:lnTo>
                <a:lnTo>
                  <a:pt x="2899778" y="2917311"/>
                </a:lnTo>
                <a:cubicBezTo>
                  <a:pt x="2901492" y="2922672"/>
                  <a:pt x="2903340" y="2927891"/>
                  <a:pt x="2905054" y="2933252"/>
                </a:cubicBezTo>
                <a:lnTo>
                  <a:pt x="2926288" y="2949192"/>
                </a:lnTo>
                <a:cubicBezTo>
                  <a:pt x="2922726" y="2954553"/>
                  <a:pt x="2919298" y="2959913"/>
                  <a:pt x="2915736" y="2965274"/>
                </a:cubicBezTo>
                <a:cubicBezTo>
                  <a:pt x="2912176" y="2966967"/>
                  <a:pt x="2908614" y="2968801"/>
                  <a:pt x="2905054" y="2970493"/>
                </a:cubicBezTo>
                <a:cubicBezTo>
                  <a:pt x="2906768" y="2979381"/>
                  <a:pt x="2908614" y="2988268"/>
                  <a:pt x="2910330" y="2997155"/>
                </a:cubicBezTo>
                <a:lnTo>
                  <a:pt x="2899778" y="3013096"/>
                </a:lnTo>
                <a:lnTo>
                  <a:pt x="2883820" y="3013096"/>
                </a:lnTo>
                <a:lnTo>
                  <a:pt x="2857180" y="3013096"/>
                </a:lnTo>
                <a:lnTo>
                  <a:pt x="2835946" y="3018456"/>
                </a:lnTo>
                <a:lnTo>
                  <a:pt x="2814712" y="3018456"/>
                </a:lnTo>
                <a:cubicBezTo>
                  <a:pt x="2809436" y="3020290"/>
                  <a:pt x="2804028" y="3021983"/>
                  <a:pt x="2798754" y="3023817"/>
                </a:cubicBezTo>
                <a:lnTo>
                  <a:pt x="2782796" y="3029036"/>
                </a:lnTo>
                <a:cubicBezTo>
                  <a:pt x="2786356" y="3032563"/>
                  <a:pt x="2789786" y="3036231"/>
                  <a:pt x="2793346" y="3039757"/>
                </a:cubicBezTo>
                <a:lnTo>
                  <a:pt x="2851904" y="3034397"/>
                </a:lnTo>
                <a:lnTo>
                  <a:pt x="2878412" y="3045118"/>
                </a:lnTo>
                <a:lnTo>
                  <a:pt x="2905054" y="3045118"/>
                </a:lnTo>
                <a:lnTo>
                  <a:pt x="2931694" y="3039757"/>
                </a:lnTo>
                <a:lnTo>
                  <a:pt x="2963612" y="3071638"/>
                </a:lnTo>
                <a:lnTo>
                  <a:pt x="3006078" y="3098300"/>
                </a:lnTo>
                <a:cubicBezTo>
                  <a:pt x="3004364" y="3107187"/>
                  <a:pt x="3002518" y="3116075"/>
                  <a:pt x="3000802" y="3124962"/>
                </a:cubicBezTo>
                <a:cubicBezTo>
                  <a:pt x="3002518" y="3142736"/>
                  <a:pt x="3004364" y="3160370"/>
                  <a:pt x="3006078" y="3178144"/>
                </a:cubicBezTo>
                <a:cubicBezTo>
                  <a:pt x="3009640" y="3185197"/>
                  <a:pt x="3013200" y="3192392"/>
                  <a:pt x="3016762" y="3199445"/>
                </a:cubicBezTo>
                <a:lnTo>
                  <a:pt x="3053952" y="3204806"/>
                </a:lnTo>
                <a:lnTo>
                  <a:pt x="3075186" y="3215386"/>
                </a:lnTo>
                <a:lnTo>
                  <a:pt x="3117786" y="3210025"/>
                </a:lnTo>
                <a:lnTo>
                  <a:pt x="3128468" y="3199445"/>
                </a:lnTo>
                <a:cubicBezTo>
                  <a:pt x="3126622" y="3194085"/>
                  <a:pt x="3124908" y="3188865"/>
                  <a:pt x="3123062" y="3183505"/>
                </a:cubicBezTo>
                <a:cubicBezTo>
                  <a:pt x="3126622" y="3179978"/>
                  <a:pt x="3130184" y="3176310"/>
                  <a:pt x="3133744" y="3172783"/>
                </a:cubicBezTo>
                <a:lnTo>
                  <a:pt x="3144426" y="3172783"/>
                </a:lnTo>
                <a:cubicBezTo>
                  <a:pt x="3147988" y="3176310"/>
                  <a:pt x="3151416" y="3179978"/>
                  <a:pt x="3154978" y="3183505"/>
                </a:cubicBezTo>
                <a:lnTo>
                  <a:pt x="3154978" y="3204806"/>
                </a:lnTo>
                <a:cubicBezTo>
                  <a:pt x="3156824" y="3210166"/>
                  <a:pt x="3158538" y="3215386"/>
                  <a:pt x="3160384" y="3220746"/>
                </a:cubicBezTo>
                <a:cubicBezTo>
                  <a:pt x="3155110" y="3226107"/>
                  <a:pt x="3149702" y="3231326"/>
                  <a:pt x="3144426" y="3236687"/>
                </a:cubicBezTo>
                <a:lnTo>
                  <a:pt x="3144426" y="3284650"/>
                </a:lnTo>
                <a:lnTo>
                  <a:pt x="3170936" y="3289869"/>
                </a:lnTo>
                <a:lnTo>
                  <a:pt x="3186894" y="3305951"/>
                </a:lnTo>
                <a:lnTo>
                  <a:pt x="3186894" y="3321891"/>
                </a:lnTo>
                <a:cubicBezTo>
                  <a:pt x="3183334" y="3325418"/>
                  <a:pt x="3179904" y="3328945"/>
                  <a:pt x="3176344" y="3332471"/>
                </a:cubicBezTo>
                <a:cubicBezTo>
                  <a:pt x="3174496" y="3337832"/>
                  <a:pt x="3172782" y="3343192"/>
                  <a:pt x="3170936" y="3348553"/>
                </a:cubicBezTo>
                <a:cubicBezTo>
                  <a:pt x="3165660" y="3355606"/>
                  <a:pt x="3160252" y="3362660"/>
                  <a:pt x="3154978" y="3369713"/>
                </a:cubicBezTo>
                <a:cubicBezTo>
                  <a:pt x="3158538" y="3373240"/>
                  <a:pt x="3162100" y="3376907"/>
                  <a:pt x="3165660" y="3380434"/>
                </a:cubicBezTo>
                <a:cubicBezTo>
                  <a:pt x="3167374" y="3383961"/>
                  <a:pt x="3169222" y="3387487"/>
                  <a:pt x="3170936" y="3391014"/>
                </a:cubicBezTo>
                <a:cubicBezTo>
                  <a:pt x="3174496" y="3398067"/>
                  <a:pt x="3178058" y="3405262"/>
                  <a:pt x="3181618" y="3412315"/>
                </a:cubicBezTo>
                <a:cubicBezTo>
                  <a:pt x="3178058" y="3419369"/>
                  <a:pt x="3174496" y="3426563"/>
                  <a:pt x="3170936" y="3433616"/>
                </a:cubicBezTo>
                <a:lnTo>
                  <a:pt x="3154978" y="3433616"/>
                </a:lnTo>
                <a:cubicBezTo>
                  <a:pt x="3153264" y="3440670"/>
                  <a:pt x="3151416" y="3447864"/>
                  <a:pt x="3149702" y="3454917"/>
                </a:cubicBezTo>
                <a:cubicBezTo>
                  <a:pt x="3153264" y="3460278"/>
                  <a:pt x="3156824" y="3465497"/>
                  <a:pt x="3160384" y="3470858"/>
                </a:cubicBezTo>
                <a:cubicBezTo>
                  <a:pt x="3163946" y="3474385"/>
                  <a:pt x="3167374" y="3478053"/>
                  <a:pt x="3170936" y="3481579"/>
                </a:cubicBezTo>
                <a:cubicBezTo>
                  <a:pt x="3169222" y="3485106"/>
                  <a:pt x="3167374" y="3488633"/>
                  <a:pt x="3165660" y="3492159"/>
                </a:cubicBezTo>
                <a:cubicBezTo>
                  <a:pt x="3162100" y="3493993"/>
                  <a:pt x="3158538" y="3495686"/>
                  <a:pt x="3154978" y="3497520"/>
                </a:cubicBezTo>
                <a:lnTo>
                  <a:pt x="3154978" y="3518821"/>
                </a:lnTo>
                <a:lnTo>
                  <a:pt x="3170936" y="3529542"/>
                </a:lnTo>
                <a:cubicBezTo>
                  <a:pt x="3174496" y="3526015"/>
                  <a:pt x="3178058" y="3522347"/>
                  <a:pt x="3181618" y="3518821"/>
                </a:cubicBezTo>
                <a:lnTo>
                  <a:pt x="3197576" y="3518821"/>
                </a:lnTo>
                <a:cubicBezTo>
                  <a:pt x="3199292" y="3525874"/>
                  <a:pt x="3201138" y="3533069"/>
                  <a:pt x="3202852" y="3540122"/>
                </a:cubicBezTo>
                <a:cubicBezTo>
                  <a:pt x="3197576" y="3541956"/>
                  <a:pt x="3192170" y="3543649"/>
                  <a:pt x="3186894" y="3545483"/>
                </a:cubicBezTo>
                <a:cubicBezTo>
                  <a:pt x="3185180" y="3550843"/>
                  <a:pt x="3183334" y="3556063"/>
                  <a:pt x="3181618" y="3561423"/>
                </a:cubicBezTo>
                <a:cubicBezTo>
                  <a:pt x="3183334" y="3566784"/>
                  <a:pt x="3185180" y="3572003"/>
                  <a:pt x="3186894" y="3577364"/>
                </a:cubicBezTo>
                <a:cubicBezTo>
                  <a:pt x="3192170" y="3579197"/>
                  <a:pt x="3197576" y="3580890"/>
                  <a:pt x="3202852" y="3582724"/>
                </a:cubicBezTo>
                <a:lnTo>
                  <a:pt x="3186894" y="3604025"/>
                </a:lnTo>
                <a:lnTo>
                  <a:pt x="3218810" y="3609386"/>
                </a:lnTo>
                <a:lnTo>
                  <a:pt x="3229494" y="3619966"/>
                </a:lnTo>
                <a:cubicBezTo>
                  <a:pt x="3234768" y="3628853"/>
                  <a:pt x="3240176" y="3637740"/>
                  <a:pt x="3245452" y="3646628"/>
                </a:cubicBezTo>
                <a:cubicBezTo>
                  <a:pt x="3249012" y="3648320"/>
                  <a:pt x="3252442" y="3650154"/>
                  <a:pt x="3256002" y="3651847"/>
                </a:cubicBezTo>
                <a:lnTo>
                  <a:pt x="3271960" y="3673148"/>
                </a:lnTo>
                <a:lnTo>
                  <a:pt x="3271960" y="3699810"/>
                </a:lnTo>
                <a:cubicBezTo>
                  <a:pt x="3275522" y="3714058"/>
                  <a:pt x="3279082" y="3728164"/>
                  <a:pt x="3282644" y="3742412"/>
                </a:cubicBezTo>
                <a:cubicBezTo>
                  <a:pt x="3284358" y="3751299"/>
                  <a:pt x="3286204" y="3760187"/>
                  <a:pt x="3287918" y="3769074"/>
                </a:cubicBezTo>
                <a:cubicBezTo>
                  <a:pt x="3293194" y="3774434"/>
                  <a:pt x="3298602" y="3779654"/>
                  <a:pt x="3303876" y="3785014"/>
                </a:cubicBezTo>
                <a:cubicBezTo>
                  <a:pt x="3307438" y="3790375"/>
                  <a:pt x="3310998" y="3795594"/>
                  <a:pt x="3314560" y="3800955"/>
                </a:cubicBezTo>
                <a:cubicBezTo>
                  <a:pt x="3319836" y="3806315"/>
                  <a:pt x="3325242" y="3811535"/>
                  <a:pt x="3330518" y="3816895"/>
                </a:cubicBezTo>
                <a:lnTo>
                  <a:pt x="3341200" y="3843557"/>
                </a:lnTo>
                <a:lnTo>
                  <a:pt x="3357026" y="3848918"/>
                </a:lnTo>
                <a:cubicBezTo>
                  <a:pt x="3358874" y="3854278"/>
                  <a:pt x="3360588" y="3859498"/>
                  <a:pt x="3362434" y="3864858"/>
                </a:cubicBezTo>
                <a:lnTo>
                  <a:pt x="3388944" y="3875438"/>
                </a:lnTo>
                <a:cubicBezTo>
                  <a:pt x="3392504" y="3882492"/>
                  <a:pt x="3396066" y="3889686"/>
                  <a:pt x="3399626" y="3896739"/>
                </a:cubicBezTo>
                <a:cubicBezTo>
                  <a:pt x="3403188" y="3903793"/>
                  <a:pt x="3406748" y="3910987"/>
                  <a:pt x="3410308" y="3918041"/>
                </a:cubicBezTo>
                <a:cubicBezTo>
                  <a:pt x="3417430" y="3925094"/>
                  <a:pt x="3424420" y="3932288"/>
                  <a:pt x="3431542" y="3939342"/>
                </a:cubicBezTo>
                <a:cubicBezTo>
                  <a:pt x="3435104" y="3946395"/>
                  <a:pt x="3438664" y="3953589"/>
                  <a:pt x="3442226" y="3960643"/>
                </a:cubicBezTo>
                <a:lnTo>
                  <a:pt x="3463458" y="3976583"/>
                </a:lnTo>
                <a:lnTo>
                  <a:pt x="3474142" y="3966003"/>
                </a:lnTo>
                <a:lnTo>
                  <a:pt x="3506058" y="3976583"/>
                </a:lnTo>
                <a:cubicBezTo>
                  <a:pt x="3497222" y="3987304"/>
                  <a:pt x="3488254" y="3997884"/>
                  <a:pt x="3479418" y="4008605"/>
                </a:cubicBezTo>
                <a:cubicBezTo>
                  <a:pt x="3477702" y="4017493"/>
                  <a:pt x="3475856" y="4026239"/>
                  <a:pt x="3474142" y="4035126"/>
                </a:cubicBezTo>
                <a:cubicBezTo>
                  <a:pt x="3472296" y="4040487"/>
                  <a:pt x="3470580" y="4045847"/>
                  <a:pt x="3468734" y="4051208"/>
                </a:cubicBezTo>
                <a:cubicBezTo>
                  <a:pt x="3472296" y="4058261"/>
                  <a:pt x="3475856" y="4065455"/>
                  <a:pt x="3479418" y="4072509"/>
                </a:cubicBezTo>
                <a:lnTo>
                  <a:pt x="3500650" y="4067148"/>
                </a:lnTo>
                <a:cubicBezTo>
                  <a:pt x="3505926" y="4068982"/>
                  <a:pt x="3511334" y="4070675"/>
                  <a:pt x="3516608" y="4072509"/>
                </a:cubicBezTo>
                <a:lnTo>
                  <a:pt x="3527292" y="4083089"/>
                </a:lnTo>
                <a:lnTo>
                  <a:pt x="3553800" y="4109751"/>
                </a:lnTo>
                <a:lnTo>
                  <a:pt x="3591124" y="4146992"/>
                </a:lnTo>
                <a:cubicBezTo>
                  <a:pt x="3589278" y="4155879"/>
                  <a:pt x="3587564" y="4164767"/>
                  <a:pt x="3585718" y="4173654"/>
                </a:cubicBezTo>
                <a:cubicBezTo>
                  <a:pt x="3589278" y="4184234"/>
                  <a:pt x="3592840" y="4194955"/>
                  <a:pt x="3596400" y="4205535"/>
                </a:cubicBezTo>
                <a:lnTo>
                  <a:pt x="3596298" y="4205516"/>
                </a:lnTo>
                <a:lnTo>
                  <a:pt x="3596434" y="4205615"/>
                </a:lnTo>
                <a:lnTo>
                  <a:pt x="3607062" y="4221428"/>
                </a:lnTo>
                <a:cubicBezTo>
                  <a:pt x="3603564" y="4223278"/>
                  <a:pt x="3599932" y="4224960"/>
                  <a:pt x="3596434" y="4226811"/>
                </a:cubicBezTo>
                <a:lnTo>
                  <a:pt x="3622938" y="4242791"/>
                </a:lnTo>
                <a:lnTo>
                  <a:pt x="3622938" y="4280135"/>
                </a:lnTo>
                <a:cubicBezTo>
                  <a:pt x="3619440" y="4285350"/>
                  <a:pt x="3615942" y="4290733"/>
                  <a:pt x="3612444" y="4295947"/>
                </a:cubicBezTo>
                <a:lnTo>
                  <a:pt x="3628320" y="4295947"/>
                </a:lnTo>
                <a:lnTo>
                  <a:pt x="3633566" y="4333291"/>
                </a:lnTo>
                <a:lnTo>
                  <a:pt x="3654958" y="4333291"/>
                </a:lnTo>
                <a:lnTo>
                  <a:pt x="3654958" y="4311928"/>
                </a:lnTo>
                <a:lnTo>
                  <a:pt x="3681598" y="4327908"/>
                </a:lnTo>
                <a:cubicBezTo>
                  <a:pt x="3683346" y="4329759"/>
                  <a:pt x="3685096" y="4331441"/>
                  <a:pt x="3686844" y="4333291"/>
                </a:cubicBezTo>
                <a:cubicBezTo>
                  <a:pt x="3685096" y="4327908"/>
                  <a:pt x="3683346" y="4322693"/>
                  <a:pt x="3681598" y="4317311"/>
                </a:cubicBezTo>
                <a:cubicBezTo>
                  <a:pt x="3685096" y="4322693"/>
                  <a:pt x="3688594" y="4327908"/>
                  <a:pt x="3692092" y="4333291"/>
                </a:cubicBezTo>
                <a:cubicBezTo>
                  <a:pt x="3690342" y="4340356"/>
                  <a:pt x="3688594" y="4347589"/>
                  <a:pt x="3686844" y="4354655"/>
                </a:cubicBezTo>
                <a:lnTo>
                  <a:pt x="3681598" y="4375850"/>
                </a:lnTo>
                <a:cubicBezTo>
                  <a:pt x="3679714" y="4384765"/>
                  <a:pt x="3677964" y="4393512"/>
                  <a:pt x="3676216" y="4402428"/>
                </a:cubicBezTo>
                <a:cubicBezTo>
                  <a:pt x="3681598" y="4414876"/>
                  <a:pt x="3686710" y="4427324"/>
                  <a:pt x="3692092" y="4439772"/>
                </a:cubicBezTo>
                <a:cubicBezTo>
                  <a:pt x="3697474" y="4446837"/>
                  <a:pt x="3702720" y="4454070"/>
                  <a:pt x="3708102" y="4461135"/>
                </a:cubicBezTo>
                <a:cubicBezTo>
                  <a:pt x="3711600" y="4468200"/>
                  <a:pt x="3715232" y="4475265"/>
                  <a:pt x="3718730" y="4482330"/>
                </a:cubicBezTo>
                <a:cubicBezTo>
                  <a:pt x="3725726" y="4494778"/>
                  <a:pt x="3732992" y="4507226"/>
                  <a:pt x="3739988" y="4519674"/>
                </a:cubicBezTo>
                <a:lnTo>
                  <a:pt x="3739988" y="4556850"/>
                </a:lnTo>
                <a:cubicBezTo>
                  <a:pt x="3736490" y="4562233"/>
                  <a:pt x="3732858" y="4567447"/>
                  <a:pt x="3729360" y="4572830"/>
                </a:cubicBezTo>
                <a:cubicBezTo>
                  <a:pt x="3725726" y="4581746"/>
                  <a:pt x="3722228" y="4590493"/>
                  <a:pt x="3718730" y="4599408"/>
                </a:cubicBezTo>
                <a:cubicBezTo>
                  <a:pt x="3716982" y="4604791"/>
                  <a:pt x="3715232" y="4610006"/>
                  <a:pt x="3713484" y="4615389"/>
                </a:cubicBezTo>
                <a:lnTo>
                  <a:pt x="3713484" y="4636752"/>
                </a:lnTo>
                <a:lnTo>
                  <a:pt x="3713484" y="4668713"/>
                </a:lnTo>
                <a:lnTo>
                  <a:pt x="3713484" y="4689908"/>
                </a:lnTo>
                <a:cubicBezTo>
                  <a:pt x="3709986" y="4705889"/>
                  <a:pt x="3706218" y="4721869"/>
                  <a:pt x="3702720" y="4737850"/>
                </a:cubicBezTo>
                <a:cubicBezTo>
                  <a:pt x="3704604" y="4746765"/>
                  <a:pt x="3706218" y="4755513"/>
                  <a:pt x="3708102" y="4764428"/>
                </a:cubicBezTo>
                <a:cubicBezTo>
                  <a:pt x="3704604" y="4773343"/>
                  <a:pt x="3700972" y="4782259"/>
                  <a:pt x="3697338" y="4791174"/>
                </a:cubicBezTo>
                <a:lnTo>
                  <a:pt x="3692092" y="4801772"/>
                </a:lnTo>
                <a:cubicBezTo>
                  <a:pt x="3695590" y="4819435"/>
                  <a:pt x="3699222" y="4837265"/>
                  <a:pt x="3702720" y="4854928"/>
                </a:cubicBezTo>
                <a:cubicBezTo>
                  <a:pt x="3704604" y="4872759"/>
                  <a:pt x="3706218" y="4890421"/>
                  <a:pt x="3708102" y="4908252"/>
                </a:cubicBezTo>
                <a:lnTo>
                  <a:pt x="3708102" y="4956194"/>
                </a:lnTo>
                <a:cubicBezTo>
                  <a:pt x="3713348" y="4965109"/>
                  <a:pt x="3718730" y="4973857"/>
                  <a:pt x="3723978" y="4982772"/>
                </a:cubicBezTo>
                <a:lnTo>
                  <a:pt x="3723978" y="5009350"/>
                </a:lnTo>
                <a:lnTo>
                  <a:pt x="3719246" y="5007497"/>
                </a:lnTo>
                <a:lnTo>
                  <a:pt x="3720018" y="5009664"/>
                </a:lnTo>
                <a:lnTo>
                  <a:pt x="3676934" y="5009664"/>
                </a:lnTo>
                <a:lnTo>
                  <a:pt x="3623280" y="4977407"/>
                </a:lnTo>
                <a:lnTo>
                  <a:pt x="3588600" y="4913004"/>
                </a:lnTo>
                <a:lnTo>
                  <a:pt x="3538004" y="4848602"/>
                </a:lnTo>
                <a:cubicBezTo>
                  <a:pt x="3530624" y="4824999"/>
                  <a:pt x="3523352" y="4801396"/>
                  <a:pt x="3515972" y="4777793"/>
                </a:cubicBezTo>
                <a:cubicBezTo>
                  <a:pt x="3512810" y="4765991"/>
                  <a:pt x="3509648" y="4754077"/>
                  <a:pt x="3506486" y="4742276"/>
                </a:cubicBezTo>
                <a:lnTo>
                  <a:pt x="3443344" y="4690799"/>
                </a:lnTo>
                <a:lnTo>
                  <a:pt x="3364498" y="4652135"/>
                </a:lnTo>
                <a:lnTo>
                  <a:pt x="3295032" y="4616731"/>
                </a:lnTo>
                <a:lnTo>
                  <a:pt x="3247704" y="4597399"/>
                </a:lnTo>
                <a:lnTo>
                  <a:pt x="3165694" y="4619990"/>
                </a:lnTo>
                <a:lnTo>
                  <a:pt x="3108878" y="4652135"/>
                </a:lnTo>
                <a:lnTo>
                  <a:pt x="3077256" y="4677874"/>
                </a:lnTo>
                <a:cubicBezTo>
                  <a:pt x="3074094" y="4696082"/>
                  <a:pt x="3070932" y="4714402"/>
                  <a:pt x="3067768" y="4732610"/>
                </a:cubicBezTo>
                <a:lnTo>
                  <a:pt x="3086742" y="4774533"/>
                </a:lnTo>
                <a:lnTo>
                  <a:pt x="3118260" y="4819604"/>
                </a:lnTo>
                <a:lnTo>
                  <a:pt x="3175076" y="4855008"/>
                </a:lnTo>
                <a:lnTo>
                  <a:pt x="3244542" y="4880747"/>
                </a:lnTo>
                <a:lnTo>
                  <a:pt x="3291870" y="4896932"/>
                </a:lnTo>
                <a:lnTo>
                  <a:pt x="3358174" y="4948409"/>
                </a:lnTo>
                <a:lnTo>
                  <a:pt x="3405502" y="4983813"/>
                </a:lnTo>
                <a:lnTo>
                  <a:pt x="3440182" y="5028996"/>
                </a:lnTo>
                <a:lnTo>
                  <a:pt x="3471806" y="5045069"/>
                </a:lnTo>
                <a:lnTo>
                  <a:pt x="3496998" y="5061141"/>
                </a:lnTo>
                <a:cubicBezTo>
                  <a:pt x="3493836" y="5074067"/>
                  <a:pt x="3490674" y="5086880"/>
                  <a:pt x="3487512" y="5099805"/>
                </a:cubicBezTo>
                <a:lnTo>
                  <a:pt x="3459156" y="5112731"/>
                </a:lnTo>
                <a:lnTo>
                  <a:pt x="3430802" y="5141616"/>
                </a:lnTo>
                <a:lnTo>
                  <a:pt x="3408664" y="5154542"/>
                </a:lnTo>
                <a:lnTo>
                  <a:pt x="3373986" y="5177133"/>
                </a:lnTo>
                <a:lnTo>
                  <a:pt x="3317170" y="5206019"/>
                </a:lnTo>
                <a:lnTo>
                  <a:pt x="3295032" y="5254349"/>
                </a:lnTo>
                <a:lnTo>
                  <a:pt x="3263516" y="5264015"/>
                </a:lnTo>
                <a:lnTo>
                  <a:pt x="3200374" y="5289753"/>
                </a:lnTo>
                <a:lnTo>
                  <a:pt x="3137234" y="5354268"/>
                </a:lnTo>
                <a:lnTo>
                  <a:pt x="3064606" y="5386413"/>
                </a:lnTo>
                <a:lnTo>
                  <a:pt x="2973110" y="5434743"/>
                </a:lnTo>
                <a:lnTo>
                  <a:pt x="2884778" y="5454075"/>
                </a:lnTo>
                <a:lnTo>
                  <a:pt x="2853154" y="5502405"/>
                </a:lnTo>
                <a:cubicBezTo>
                  <a:pt x="2848938" y="5519601"/>
                  <a:pt x="2844826" y="5536686"/>
                  <a:pt x="2840610" y="5553882"/>
                </a:cubicBezTo>
                <a:cubicBezTo>
                  <a:pt x="2842718" y="5569955"/>
                  <a:pt x="2844826" y="5586139"/>
                  <a:pt x="2846934" y="5602212"/>
                </a:cubicBezTo>
                <a:lnTo>
                  <a:pt x="2862640" y="5640876"/>
                </a:lnTo>
                <a:lnTo>
                  <a:pt x="2815312" y="5656949"/>
                </a:lnTo>
                <a:lnTo>
                  <a:pt x="2752172" y="5689093"/>
                </a:lnTo>
                <a:lnTo>
                  <a:pt x="2659832" y="5721351"/>
                </a:lnTo>
                <a:lnTo>
                  <a:pt x="2660430" y="5717328"/>
                </a:lnTo>
                <a:cubicBezTo>
                  <a:pt x="2658146" y="5711417"/>
                  <a:pt x="2655810" y="5705464"/>
                  <a:pt x="2653592" y="5699555"/>
                </a:cubicBezTo>
                <a:lnTo>
                  <a:pt x="2637570" y="5688909"/>
                </a:lnTo>
                <a:cubicBezTo>
                  <a:pt x="2641120" y="5680069"/>
                  <a:pt x="2644608" y="5671181"/>
                  <a:pt x="2648220" y="5662341"/>
                </a:cubicBezTo>
                <a:lnTo>
                  <a:pt x="2637570" y="5635820"/>
                </a:lnTo>
                <a:lnTo>
                  <a:pt x="2616330" y="5614527"/>
                </a:lnTo>
                <a:cubicBezTo>
                  <a:pt x="2614602" y="5610962"/>
                  <a:pt x="2612780" y="5607445"/>
                  <a:pt x="2610990" y="5603880"/>
                </a:cubicBezTo>
                <a:lnTo>
                  <a:pt x="2610990" y="5571989"/>
                </a:lnTo>
                <a:lnTo>
                  <a:pt x="2621610" y="5540145"/>
                </a:lnTo>
                <a:lnTo>
                  <a:pt x="2653592" y="5524175"/>
                </a:lnTo>
                <a:lnTo>
                  <a:pt x="2669522" y="5492331"/>
                </a:lnTo>
                <a:lnTo>
                  <a:pt x="2669522" y="5460439"/>
                </a:lnTo>
                <a:cubicBezTo>
                  <a:pt x="2667794" y="5451599"/>
                  <a:pt x="2665942" y="5442711"/>
                  <a:pt x="2664244" y="5433871"/>
                </a:cubicBezTo>
                <a:cubicBezTo>
                  <a:pt x="2660600" y="5425030"/>
                  <a:pt x="2657142" y="5416142"/>
                  <a:pt x="2653592" y="5407302"/>
                </a:cubicBezTo>
                <a:lnTo>
                  <a:pt x="2642880" y="5386057"/>
                </a:lnTo>
                <a:lnTo>
                  <a:pt x="2621610" y="5380686"/>
                </a:lnTo>
                <a:lnTo>
                  <a:pt x="2610990" y="5370135"/>
                </a:lnTo>
                <a:lnTo>
                  <a:pt x="2595030" y="5359488"/>
                </a:lnTo>
                <a:lnTo>
                  <a:pt x="2584318" y="5359488"/>
                </a:lnTo>
                <a:lnTo>
                  <a:pt x="2563078" y="5354165"/>
                </a:lnTo>
                <a:cubicBezTo>
                  <a:pt x="2561318" y="5334678"/>
                  <a:pt x="2559466" y="5315192"/>
                  <a:pt x="2557676" y="5295705"/>
                </a:cubicBezTo>
                <a:cubicBezTo>
                  <a:pt x="2555978" y="5285106"/>
                  <a:pt x="2554186" y="5274460"/>
                  <a:pt x="2552426" y="5263813"/>
                </a:cubicBezTo>
                <a:lnTo>
                  <a:pt x="2536404" y="5247843"/>
                </a:lnTo>
                <a:lnTo>
                  <a:pt x="2520536" y="5242568"/>
                </a:lnTo>
                <a:lnTo>
                  <a:pt x="2493894" y="5242568"/>
                </a:lnTo>
                <a:lnTo>
                  <a:pt x="2477872" y="5253214"/>
                </a:lnTo>
                <a:lnTo>
                  <a:pt x="2456602" y="5253214"/>
                </a:lnTo>
                <a:lnTo>
                  <a:pt x="2430052" y="5263813"/>
                </a:lnTo>
                <a:lnTo>
                  <a:pt x="2408782" y="5290382"/>
                </a:lnTo>
                <a:cubicBezTo>
                  <a:pt x="2406930" y="5295657"/>
                  <a:pt x="2405140" y="5301028"/>
                  <a:pt x="2403442" y="5306304"/>
                </a:cubicBezTo>
                <a:lnTo>
                  <a:pt x="2392698" y="5316950"/>
                </a:lnTo>
                <a:lnTo>
                  <a:pt x="2382078" y="5301028"/>
                </a:lnTo>
                <a:lnTo>
                  <a:pt x="2382078" y="5322273"/>
                </a:lnTo>
                <a:lnTo>
                  <a:pt x="2360808" y="5327597"/>
                </a:lnTo>
                <a:lnTo>
                  <a:pt x="2359080" y="5325284"/>
                </a:lnTo>
                <a:cubicBezTo>
                  <a:pt x="2358002" y="5328674"/>
                  <a:pt x="2356924" y="5332066"/>
                  <a:pt x="2355848" y="5335457"/>
                </a:cubicBezTo>
                <a:lnTo>
                  <a:pt x="2320952" y="5301529"/>
                </a:lnTo>
                <a:lnTo>
                  <a:pt x="2270096" y="5335457"/>
                </a:lnTo>
                <a:lnTo>
                  <a:pt x="2197058" y="5372462"/>
                </a:lnTo>
                <a:lnTo>
                  <a:pt x="2136734" y="5384800"/>
                </a:lnTo>
                <a:lnTo>
                  <a:pt x="2044672" y="5372462"/>
                </a:lnTo>
                <a:lnTo>
                  <a:pt x="1978036" y="5347785"/>
                </a:lnTo>
                <a:lnTo>
                  <a:pt x="1936738" y="5326195"/>
                </a:lnTo>
                <a:lnTo>
                  <a:pt x="1904998" y="5326195"/>
                </a:lnTo>
                <a:lnTo>
                  <a:pt x="1854232" y="5304605"/>
                </a:lnTo>
                <a:lnTo>
                  <a:pt x="1806532" y="5292278"/>
                </a:lnTo>
                <a:lnTo>
                  <a:pt x="1746208" y="5283016"/>
                </a:lnTo>
                <a:lnTo>
                  <a:pt x="1666860" y="5283016"/>
                </a:lnTo>
                <a:lnTo>
                  <a:pt x="1603380" y="5292278"/>
                </a:lnTo>
                <a:lnTo>
                  <a:pt x="1558926" y="5298442"/>
                </a:lnTo>
                <a:lnTo>
                  <a:pt x="1517628" y="5298442"/>
                </a:lnTo>
                <a:lnTo>
                  <a:pt x="1492290" y="5298442"/>
                </a:lnTo>
                <a:lnTo>
                  <a:pt x="1470018" y="5292278"/>
                </a:lnTo>
                <a:cubicBezTo>
                  <a:pt x="1464698" y="5287139"/>
                  <a:pt x="1459468" y="5281990"/>
                  <a:pt x="1454148" y="5276852"/>
                </a:cubicBezTo>
                <a:lnTo>
                  <a:pt x="1454598" y="5276413"/>
                </a:lnTo>
                <a:lnTo>
                  <a:pt x="1451454" y="5276853"/>
                </a:lnTo>
                <a:lnTo>
                  <a:pt x="1409484" y="5241422"/>
                </a:lnTo>
                <a:lnTo>
                  <a:pt x="1344876" y="5193119"/>
                </a:lnTo>
                <a:lnTo>
                  <a:pt x="1312620" y="5177327"/>
                </a:lnTo>
                <a:lnTo>
                  <a:pt x="1283570" y="5145213"/>
                </a:lnTo>
                <a:lnTo>
                  <a:pt x="1238394" y="5129024"/>
                </a:lnTo>
                <a:lnTo>
                  <a:pt x="1215756" y="5122654"/>
                </a:lnTo>
                <a:lnTo>
                  <a:pt x="1183502" y="5119337"/>
                </a:lnTo>
                <a:cubicBezTo>
                  <a:pt x="1182432" y="5106465"/>
                  <a:pt x="1181364" y="5093725"/>
                  <a:pt x="1180294" y="5080721"/>
                </a:cubicBezTo>
                <a:lnTo>
                  <a:pt x="1138324" y="5042237"/>
                </a:lnTo>
                <a:lnTo>
                  <a:pt x="1096352" y="5006939"/>
                </a:lnTo>
                <a:lnTo>
                  <a:pt x="1080226" y="4974958"/>
                </a:lnTo>
                <a:cubicBezTo>
                  <a:pt x="1073812" y="4963015"/>
                  <a:pt x="1067304" y="4951337"/>
                  <a:pt x="1060892" y="4939527"/>
                </a:cubicBezTo>
                <a:lnTo>
                  <a:pt x="1035048" y="4913650"/>
                </a:lnTo>
                <a:cubicBezTo>
                  <a:pt x="1037186" y="4895470"/>
                  <a:pt x="1039322" y="4877157"/>
                  <a:pt x="1041460" y="4858977"/>
                </a:cubicBezTo>
                <a:cubicBezTo>
                  <a:pt x="1040392" y="4836550"/>
                  <a:pt x="1039322" y="4814257"/>
                  <a:pt x="1038254" y="4791697"/>
                </a:cubicBezTo>
                <a:cubicBezTo>
                  <a:pt x="1039322" y="4776702"/>
                  <a:pt x="1040392" y="4761574"/>
                  <a:pt x="1041460" y="4746579"/>
                </a:cubicBezTo>
                <a:lnTo>
                  <a:pt x="1099560" y="4685669"/>
                </a:lnTo>
                <a:cubicBezTo>
                  <a:pt x="1100628" y="4670674"/>
                  <a:pt x="1101794" y="4655679"/>
                  <a:pt x="1102862" y="4640683"/>
                </a:cubicBezTo>
                <a:lnTo>
                  <a:pt x="1125402" y="4598883"/>
                </a:lnTo>
                <a:lnTo>
                  <a:pt x="1160962" y="4560267"/>
                </a:lnTo>
                <a:lnTo>
                  <a:pt x="1209344" y="4502541"/>
                </a:lnTo>
                <a:lnTo>
                  <a:pt x="1270650" y="4505726"/>
                </a:lnTo>
                <a:lnTo>
                  <a:pt x="1315826" y="4489669"/>
                </a:lnTo>
                <a:lnTo>
                  <a:pt x="1380434" y="4447869"/>
                </a:lnTo>
                <a:lnTo>
                  <a:pt x="1448152" y="4418940"/>
                </a:lnTo>
                <a:lnTo>
                  <a:pt x="1503044" y="4373954"/>
                </a:lnTo>
                <a:lnTo>
                  <a:pt x="1532094" y="4325916"/>
                </a:lnTo>
                <a:lnTo>
                  <a:pt x="1567652" y="4306409"/>
                </a:lnTo>
                <a:lnTo>
                  <a:pt x="1622546" y="4264741"/>
                </a:lnTo>
                <a:lnTo>
                  <a:pt x="1603114" y="4242182"/>
                </a:lnTo>
                <a:cubicBezTo>
                  <a:pt x="1596702" y="4232494"/>
                  <a:pt x="1590192" y="4222940"/>
                  <a:pt x="1583780" y="4213253"/>
                </a:cubicBezTo>
                <a:cubicBezTo>
                  <a:pt x="1579506" y="4200513"/>
                  <a:pt x="1575134" y="4187641"/>
                  <a:pt x="1570858" y="4174769"/>
                </a:cubicBezTo>
                <a:cubicBezTo>
                  <a:pt x="1567652" y="4158713"/>
                  <a:pt x="1564350" y="4142656"/>
                  <a:pt x="1561144" y="4126599"/>
                </a:cubicBezTo>
                <a:cubicBezTo>
                  <a:pt x="1564350" y="4110542"/>
                  <a:pt x="1567652" y="4094485"/>
                  <a:pt x="1570858" y="4078296"/>
                </a:cubicBezTo>
                <a:lnTo>
                  <a:pt x="1625752" y="4078296"/>
                </a:lnTo>
                <a:lnTo>
                  <a:pt x="1699978" y="4062239"/>
                </a:lnTo>
                <a:lnTo>
                  <a:pt x="1738742" y="4036627"/>
                </a:lnTo>
                <a:lnTo>
                  <a:pt x="1812970" y="4049499"/>
                </a:lnTo>
                <a:lnTo>
                  <a:pt x="1864558" y="4042997"/>
                </a:lnTo>
                <a:lnTo>
                  <a:pt x="1961422" y="4014201"/>
                </a:lnTo>
                <a:lnTo>
                  <a:pt x="2006600" y="4004514"/>
                </a:lnTo>
                <a:lnTo>
                  <a:pt x="1996884" y="3978902"/>
                </a:lnTo>
                <a:lnTo>
                  <a:pt x="1971138" y="3962713"/>
                </a:lnTo>
                <a:lnTo>
                  <a:pt x="1926414" y="3951637"/>
                </a:lnTo>
                <a:cubicBezTo>
                  <a:pt x="1930360" y="3950095"/>
                  <a:pt x="1935200" y="3946798"/>
                  <a:pt x="1941022" y="3942304"/>
                </a:cubicBezTo>
                <a:lnTo>
                  <a:pt x="1917700" y="3946385"/>
                </a:lnTo>
                <a:lnTo>
                  <a:pt x="1872754" y="3901352"/>
                </a:lnTo>
                <a:cubicBezTo>
                  <a:pt x="1863190" y="3891686"/>
                  <a:pt x="1853468" y="3882095"/>
                  <a:pt x="1843906" y="3872429"/>
                </a:cubicBezTo>
                <a:cubicBezTo>
                  <a:pt x="1842790" y="3864936"/>
                  <a:pt x="1841834" y="3857443"/>
                  <a:pt x="1840718" y="3849950"/>
                </a:cubicBezTo>
                <a:cubicBezTo>
                  <a:pt x="1841834" y="3839235"/>
                  <a:pt x="1842790" y="3828520"/>
                  <a:pt x="1843906" y="3817805"/>
                </a:cubicBezTo>
                <a:lnTo>
                  <a:pt x="1872754" y="3798473"/>
                </a:lnTo>
                <a:cubicBezTo>
                  <a:pt x="1879130" y="3789931"/>
                  <a:pt x="1885664" y="3781314"/>
                  <a:pt x="1892040" y="3772772"/>
                </a:cubicBezTo>
                <a:cubicBezTo>
                  <a:pt x="1886620" y="3759884"/>
                  <a:pt x="1881360" y="3747071"/>
                  <a:pt x="1875942" y="3734183"/>
                </a:cubicBezTo>
                <a:lnTo>
                  <a:pt x="1840718" y="3708407"/>
                </a:lnTo>
                <a:lnTo>
                  <a:pt x="1789396" y="3673040"/>
                </a:lnTo>
                <a:lnTo>
                  <a:pt x="1750984" y="3653783"/>
                </a:lnTo>
                <a:lnTo>
                  <a:pt x="1699662" y="3640895"/>
                </a:lnTo>
                <a:lnTo>
                  <a:pt x="1645152" y="3644117"/>
                </a:lnTo>
                <a:lnTo>
                  <a:pt x="1603392" y="3666596"/>
                </a:lnTo>
                <a:lnTo>
                  <a:pt x="1564980" y="3695594"/>
                </a:lnTo>
                <a:lnTo>
                  <a:pt x="1520034" y="3743774"/>
                </a:lnTo>
                <a:lnTo>
                  <a:pt x="1478276" y="3788807"/>
                </a:lnTo>
                <a:lnTo>
                  <a:pt x="1427112" y="3824174"/>
                </a:lnTo>
                <a:lnTo>
                  <a:pt x="1353318" y="3875651"/>
                </a:lnTo>
                <a:lnTo>
                  <a:pt x="1295620" y="3888539"/>
                </a:lnTo>
                <a:lnTo>
                  <a:pt x="1215450" y="3907796"/>
                </a:lnTo>
                <a:lnTo>
                  <a:pt x="1141654" y="3923906"/>
                </a:lnTo>
                <a:lnTo>
                  <a:pt x="1083956" y="3927128"/>
                </a:lnTo>
                <a:lnTo>
                  <a:pt x="1032634" y="3949607"/>
                </a:lnTo>
                <a:lnTo>
                  <a:pt x="990876" y="3956051"/>
                </a:lnTo>
                <a:lnTo>
                  <a:pt x="955652" y="3956051"/>
                </a:lnTo>
                <a:lnTo>
                  <a:pt x="910704" y="3939941"/>
                </a:lnTo>
                <a:lnTo>
                  <a:pt x="875480" y="3923906"/>
                </a:lnTo>
                <a:lnTo>
                  <a:pt x="833722" y="3911018"/>
                </a:lnTo>
                <a:lnTo>
                  <a:pt x="779212" y="3923906"/>
                </a:lnTo>
                <a:lnTo>
                  <a:pt x="734266" y="3930350"/>
                </a:lnTo>
                <a:lnTo>
                  <a:pt x="686290" y="3930350"/>
                </a:lnTo>
                <a:lnTo>
                  <a:pt x="663816" y="3898130"/>
                </a:lnTo>
                <a:lnTo>
                  <a:pt x="663816" y="3849950"/>
                </a:lnTo>
                <a:lnTo>
                  <a:pt x="663816" y="3804917"/>
                </a:lnTo>
                <a:cubicBezTo>
                  <a:pt x="670192" y="3795251"/>
                  <a:pt x="676726" y="3785660"/>
                  <a:pt x="683102" y="3775994"/>
                </a:cubicBezTo>
                <a:cubicBezTo>
                  <a:pt x="692666" y="3767377"/>
                  <a:pt x="702388" y="3758835"/>
                  <a:pt x="711952" y="3750218"/>
                </a:cubicBezTo>
                <a:lnTo>
                  <a:pt x="711952" y="3698816"/>
                </a:lnTo>
                <a:lnTo>
                  <a:pt x="721514" y="3647339"/>
                </a:lnTo>
                <a:lnTo>
                  <a:pt x="756738" y="3640895"/>
                </a:lnTo>
                <a:cubicBezTo>
                  <a:pt x="766302" y="3628007"/>
                  <a:pt x="776024" y="3615194"/>
                  <a:pt x="785588" y="3602306"/>
                </a:cubicBezTo>
                <a:cubicBezTo>
                  <a:pt x="789890" y="3592640"/>
                  <a:pt x="794194" y="3583049"/>
                  <a:pt x="798498" y="3573383"/>
                </a:cubicBezTo>
                <a:lnTo>
                  <a:pt x="820970" y="3547607"/>
                </a:lnTo>
                <a:lnTo>
                  <a:pt x="846632" y="3538016"/>
                </a:lnTo>
                <a:cubicBezTo>
                  <a:pt x="851892" y="3524079"/>
                  <a:pt x="857310" y="3510143"/>
                  <a:pt x="862570" y="3496205"/>
                </a:cubicBezTo>
                <a:lnTo>
                  <a:pt x="913892" y="3473652"/>
                </a:lnTo>
                <a:lnTo>
                  <a:pt x="913892" y="3409362"/>
                </a:lnTo>
                <a:cubicBezTo>
                  <a:pt x="922500" y="3398647"/>
                  <a:pt x="930946" y="3387932"/>
                  <a:pt x="939554" y="3377217"/>
                </a:cubicBezTo>
                <a:cubicBezTo>
                  <a:pt x="948160" y="3367551"/>
                  <a:pt x="956608" y="3357885"/>
                  <a:pt x="965214" y="3348219"/>
                </a:cubicBezTo>
                <a:cubicBezTo>
                  <a:pt x="966330" y="3325740"/>
                  <a:pt x="967286" y="3303186"/>
                  <a:pt x="968402" y="3280707"/>
                </a:cubicBezTo>
                <a:cubicBezTo>
                  <a:pt x="963142" y="3269992"/>
                  <a:pt x="957724" y="3259277"/>
                  <a:pt x="952464" y="3248562"/>
                </a:cubicBezTo>
                <a:lnTo>
                  <a:pt x="901142" y="3219639"/>
                </a:lnTo>
                <a:lnTo>
                  <a:pt x="859382" y="3213195"/>
                </a:lnTo>
                <a:lnTo>
                  <a:pt x="808060" y="3209973"/>
                </a:lnTo>
                <a:lnTo>
                  <a:pt x="785588" y="3206751"/>
                </a:lnTo>
                <a:lnTo>
                  <a:pt x="766460" y="3242118"/>
                </a:lnTo>
                <a:lnTo>
                  <a:pt x="727890" y="3264672"/>
                </a:lnTo>
                <a:lnTo>
                  <a:pt x="692666" y="3277485"/>
                </a:lnTo>
                <a:cubicBezTo>
                  <a:pt x="689478" y="3284978"/>
                  <a:pt x="686290" y="3292546"/>
                  <a:pt x="683102" y="3300039"/>
                </a:cubicBezTo>
                <a:lnTo>
                  <a:pt x="654094" y="3312852"/>
                </a:lnTo>
                <a:lnTo>
                  <a:pt x="622058" y="3325740"/>
                </a:lnTo>
                <a:lnTo>
                  <a:pt x="586834" y="3357885"/>
                </a:lnTo>
                <a:cubicBezTo>
                  <a:pt x="577270" y="3363280"/>
                  <a:pt x="567548" y="3368600"/>
                  <a:pt x="557984" y="3373995"/>
                </a:cubicBezTo>
                <a:lnTo>
                  <a:pt x="532324" y="3373995"/>
                </a:lnTo>
                <a:lnTo>
                  <a:pt x="487378" y="3351441"/>
                </a:lnTo>
                <a:lnTo>
                  <a:pt x="445778" y="3332184"/>
                </a:lnTo>
                <a:lnTo>
                  <a:pt x="410394" y="3312852"/>
                </a:lnTo>
                <a:lnTo>
                  <a:pt x="365606" y="3296817"/>
                </a:lnTo>
                <a:lnTo>
                  <a:pt x="343134" y="3287151"/>
                </a:lnTo>
                <a:cubicBezTo>
                  <a:pt x="336758" y="3284978"/>
                  <a:pt x="330224" y="3282880"/>
                  <a:pt x="323848" y="3280707"/>
                </a:cubicBezTo>
                <a:lnTo>
                  <a:pt x="328842" y="3278041"/>
                </a:lnTo>
                <a:lnTo>
                  <a:pt x="323848" y="3276601"/>
                </a:lnTo>
                <a:lnTo>
                  <a:pt x="292500" y="3218152"/>
                </a:lnTo>
                <a:lnTo>
                  <a:pt x="261184" y="3175585"/>
                </a:lnTo>
                <a:lnTo>
                  <a:pt x="250724" y="3127811"/>
                </a:lnTo>
                <a:lnTo>
                  <a:pt x="255938" y="3101255"/>
                </a:lnTo>
                <a:cubicBezTo>
                  <a:pt x="254188" y="3088889"/>
                  <a:pt x="252472" y="3076392"/>
                  <a:pt x="250724" y="3064025"/>
                </a:cubicBezTo>
                <a:lnTo>
                  <a:pt x="229836" y="3048144"/>
                </a:lnTo>
                <a:lnTo>
                  <a:pt x="229836" y="3005577"/>
                </a:lnTo>
                <a:lnTo>
                  <a:pt x="235050" y="2989695"/>
                </a:lnTo>
                <a:lnTo>
                  <a:pt x="266398" y="2989695"/>
                </a:lnTo>
                <a:cubicBezTo>
                  <a:pt x="268146" y="2977329"/>
                  <a:pt x="269862" y="2964832"/>
                  <a:pt x="271612" y="2952465"/>
                </a:cubicBezTo>
                <a:lnTo>
                  <a:pt x="292500" y="2947128"/>
                </a:lnTo>
                <a:lnTo>
                  <a:pt x="318634" y="2947128"/>
                </a:lnTo>
                <a:lnTo>
                  <a:pt x="318634" y="2910029"/>
                </a:lnTo>
                <a:lnTo>
                  <a:pt x="308174" y="2867461"/>
                </a:lnTo>
                <a:lnTo>
                  <a:pt x="297746" y="2846243"/>
                </a:lnTo>
                <a:lnTo>
                  <a:pt x="271612" y="2830231"/>
                </a:lnTo>
                <a:lnTo>
                  <a:pt x="245510" y="2819687"/>
                </a:lnTo>
                <a:lnTo>
                  <a:pt x="203700" y="2809013"/>
                </a:lnTo>
                <a:lnTo>
                  <a:pt x="177598" y="2798469"/>
                </a:lnTo>
                <a:lnTo>
                  <a:pt x="146250" y="2787794"/>
                </a:lnTo>
                <a:lnTo>
                  <a:pt x="94014" y="2787794"/>
                </a:lnTo>
                <a:lnTo>
                  <a:pt x="83586" y="2771783"/>
                </a:lnTo>
                <a:lnTo>
                  <a:pt x="83586" y="2740020"/>
                </a:lnTo>
                <a:lnTo>
                  <a:pt x="99260" y="2718672"/>
                </a:lnTo>
                <a:lnTo>
                  <a:pt x="125362" y="2724009"/>
                </a:lnTo>
                <a:lnTo>
                  <a:pt x="161924" y="2708127"/>
                </a:lnTo>
                <a:lnTo>
                  <a:pt x="141036" y="2654886"/>
                </a:lnTo>
                <a:lnTo>
                  <a:pt x="135822" y="2612449"/>
                </a:lnTo>
                <a:cubicBezTo>
                  <a:pt x="137570" y="2600082"/>
                  <a:pt x="139288" y="2587586"/>
                  <a:pt x="141036" y="2575219"/>
                </a:cubicBezTo>
                <a:lnTo>
                  <a:pt x="167138" y="2564675"/>
                </a:lnTo>
                <a:lnTo>
                  <a:pt x="182812" y="2548663"/>
                </a:lnTo>
                <a:lnTo>
                  <a:pt x="167138" y="2527445"/>
                </a:lnTo>
                <a:lnTo>
                  <a:pt x="125362" y="2511433"/>
                </a:lnTo>
                <a:lnTo>
                  <a:pt x="99260" y="2495552"/>
                </a:lnTo>
                <a:lnTo>
                  <a:pt x="83586" y="2474334"/>
                </a:lnTo>
                <a:lnTo>
                  <a:pt x="36562" y="2458322"/>
                </a:lnTo>
                <a:lnTo>
                  <a:pt x="0" y="2437104"/>
                </a:lnTo>
                <a:lnTo>
                  <a:pt x="10460" y="2410548"/>
                </a:lnTo>
                <a:lnTo>
                  <a:pt x="41776" y="2399874"/>
                </a:lnTo>
                <a:lnTo>
                  <a:pt x="73124" y="2399874"/>
                </a:lnTo>
                <a:lnTo>
                  <a:pt x="109688" y="2410548"/>
                </a:lnTo>
                <a:lnTo>
                  <a:pt x="109688" y="2394537"/>
                </a:lnTo>
                <a:lnTo>
                  <a:pt x="94014" y="2362774"/>
                </a:lnTo>
                <a:lnTo>
                  <a:pt x="104474" y="2341425"/>
                </a:lnTo>
                <a:lnTo>
                  <a:pt x="83586" y="2309532"/>
                </a:lnTo>
                <a:lnTo>
                  <a:pt x="62664" y="2288314"/>
                </a:lnTo>
                <a:lnTo>
                  <a:pt x="47022" y="2267095"/>
                </a:lnTo>
                <a:lnTo>
                  <a:pt x="62664" y="2256421"/>
                </a:lnTo>
                <a:lnTo>
                  <a:pt x="83586" y="2251084"/>
                </a:lnTo>
                <a:lnTo>
                  <a:pt x="83586" y="2229865"/>
                </a:lnTo>
                <a:lnTo>
                  <a:pt x="78338" y="2182091"/>
                </a:lnTo>
                <a:lnTo>
                  <a:pt x="67910" y="2155536"/>
                </a:lnTo>
                <a:lnTo>
                  <a:pt x="57450" y="2123643"/>
                </a:lnTo>
                <a:lnTo>
                  <a:pt x="62664" y="2097087"/>
                </a:lnTo>
                <a:lnTo>
                  <a:pt x="78338" y="2097087"/>
                </a:lnTo>
                <a:lnTo>
                  <a:pt x="88800" y="2081076"/>
                </a:lnTo>
                <a:lnTo>
                  <a:pt x="78338" y="2049183"/>
                </a:lnTo>
                <a:lnTo>
                  <a:pt x="67910" y="2027964"/>
                </a:lnTo>
                <a:lnTo>
                  <a:pt x="83586" y="2001409"/>
                </a:lnTo>
                <a:cubicBezTo>
                  <a:pt x="86910" y="1992914"/>
                  <a:pt x="81496" y="1984419"/>
                  <a:pt x="84452" y="1976027"/>
                </a:cubicBezTo>
                <a:lnTo>
                  <a:pt x="82548" y="1974852"/>
                </a:lnTo>
                <a:lnTo>
                  <a:pt x="93178" y="1953717"/>
                </a:lnTo>
                <a:lnTo>
                  <a:pt x="114438" y="1927197"/>
                </a:lnTo>
                <a:lnTo>
                  <a:pt x="183650" y="1900676"/>
                </a:lnTo>
                <a:lnTo>
                  <a:pt x="252784" y="1879406"/>
                </a:lnTo>
                <a:lnTo>
                  <a:pt x="332626" y="1858271"/>
                </a:lnTo>
                <a:lnTo>
                  <a:pt x="369870" y="1837001"/>
                </a:lnTo>
                <a:lnTo>
                  <a:pt x="423020" y="1831751"/>
                </a:lnTo>
                <a:lnTo>
                  <a:pt x="460264" y="1831751"/>
                </a:lnTo>
                <a:lnTo>
                  <a:pt x="476248" y="1810615"/>
                </a:lnTo>
                <a:lnTo>
                  <a:pt x="465618" y="1789346"/>
                </a:lnTo>
                <a:lnTo>
                  <a:pt x="449634" y="1762825"/>
                </a:lnTo>
                <a:lnTo>
                  <a:pt x="465618" y="1725805"/>
                </a:lnTo>
                <a:lnTo>
                  <a:pt x="465618" y="1678015"/>
                </a:lnTo>
                <a:lnTo>
                  <a:pt x="476248" y="1651495"/>
                </a:lnTo>
                <a:lnTo>
                  <a:pt x="497508" y="1640994"/>
                </a:lnTo>
                <a:lnTo>
                  <a:pt x="540106" y="1646245"/>
                </a:lnTo>
                <a:lnTo>
                  <a:pt x="609240" y="1640994"/>
                </a:lnTo>
                <a:lnTo>
                  <a:pt x="657114" y="1635609"/>
                </a:lnTo>
                <a:lnTo>
                  <a:pt x="678452" y="1614474"/>
                </a:lnTo>
                <a:cubicBezTo>
                  <a:pt x="680184" y="1602089"/>
                  <a:pt x="681996" y="1589704"/>
                  <a:pt x="683728" y="1577319"/>
                </a:cubicBezTo>
                <a:lnTo>
                  <a:pt x="710342" y="1556184"/>
                </a:lnTo>
                <a:lnTo>
                  <a:pt x="731602" y="1534914"/>
                </a:lnTo>
                <a:lnTo>
                  <a:pt x="747586" y="1487258"/>
                </a:lnTo>
                <a:lnTo>
                  <a:pt x="758216" y="1471373"/>
                </a:lnTo>
                <a:lnTo>
                  <a:pt x="731602" y="1444853"/>
                </a:lnTo>
                <a:lnTo>
                  <a:pt x="742232" y="1397197"/>
                </a:lnTo>
                <a:lnTo>
                  <a:pt x="768846" y="1375927"/>
                </a:lnTo>
                <a:lnTo>
                  <a:pt x="795460" y="1365293"/>
                </a:lnTo>
                <a:lnTo>
                  <a:pt x="816720" y="1365293"/>
                </a:lnTo>
                <a:lnTo>
                  <a:pt x="832704" y="1375927"/>
                </a:lnTo>
                <a:lnTo>
                  <a:pt x="859318" y="1375927"/>
                </a:lnTo>
                <a:lnTo>
                  <a:pt x="869948" y="1360042"/>
                </a:lnTo>
                <a:lnTo>
                  <a:pt x="853964" y="1344157"/>
                </a:lnTo>
                <a:lnTo>
                  <a:pt x="832704" y="1322887"/>
                </a:lnTo>
                <a:cubicBezTo>
                  <a:pt x="834516" y="1314137"/>
                  <a:pt x="836248" y="1305252"/>
                  <a:pt x="838058" y="1296502"/>
                </a:cubicBezTo>
                <a:lnTo>
                  <a:pt x="822074" y="1280617"/>
                </a:lnTo>
                <a:lnTo>
                  <a:pt x="800814" y="1275232"/>
                </a:lnTo>
                <a:lnTo>
                  <a:pt x="779476" y="1264597"/>
                </a:lnTo>
                <a:lnTo>
                  <a:pt x="763570" y="1238211"/>
                </a:lnTo>
                <a:lnTo>
                  <a:pt x="752940" y="1201056"/>
                </a:lnTo>
                <a:cubicBezTo>
                  <a:pt x="754672" y="1188671"/>
                  <a:pt x="756484" y="1176286"/>
                  <a:pt x="758216" y="1163901"/>
                </a:cubicBezTo>
                <a:lnTo>
                  <a:pt x="742232" y="1142766"/>
                </a:lnTo>
                <a:lnTo>
                  <a:pt x="710342" y="1110995"/>
                </a:lnTo>
                <a:lnTo>
                  <a:pt x="699712" y="1079090"/>
                </a:lnTo>
                <a:cubicBezTo>
                  <a:pt x="697902" y="1068455"/>
                  <a:pt x="696170" y="1057955"/>
                  <a:pt x="694358" y="1047320"/>
                </a:cubicBezTo>
                <a:lnTo>
                  <a:pt x="667744" y="1031435"/>
                </a:lnTo>
                <a:lnTo>
                  <a:pt x="646484" y="1026185"/>
                </a:lnTo>
                <a:lnTo>
                  <a:pt x="619870" y="1015550"/>
                </a:lnTo>
                <a:lnTo>
                  <a:pt x="587980" y="989030"/>
                </a:lnTo>
                <a:cubicBezTo>
                  <a:pt x="586170" y="974894"/>
                  <a:pt x="584436" y="960759"/>
                  <a:pt x="582626" y="946624"/>
                </a:cubicBezTo>
                <a:lnTo>
                  <a:pt x="571996" y="925489"/>
                </a:lnTo>
                <a:lnTo>
                  <a:pt x="587980" y="888334"/>
                </a:lnTo>
                <a:lnTo>
                  <a:pt x="598610" y="861814"/>
                </a:lnTo>
                <a:lnTo>
                  <a:pt x="587980" y="830043"/>
                </a:lnTo>
                <a:lnTo>
                  <a:pt x="587980" y="814158"/>
                </a:lnTo>
                <a:lnTo>
                  <a:pt x="603964" y="798273"/>
                </a:lnTo>
                <a:lnTo>
                  <a:pt x="619870" y="787638"/>
                </a:lnTo>
                <a:lnTo>
                  <a:pt x="619870" y="766503"/>
                </a:lnTo>
                <a:cubicBezTo>
                  <a:pt x="621680" y="759368"/>
                  <a:pt x="623414" y="752368"/>
                  <a:pt x="625224" y="745233"/>
                </a:cubicBezTo>
                <a:lnTo>
                  <a:pt x="651838" y="718713"/>
                </a:lnTo>
                <a:cubicBezTo>
                  <a:pt x="657114" y="706327"/>
                  <a:pt x="662468" y="694077"/>
                  <a:pt x="667744" y="681692"/>
                </a:cubicBezTo>
                <a:cubicBezTo>
                  <a:pt x="669554" y="671057"/>
                  <a:pt x="671288" y="660422"/>
                  <a:pt x="673098" y="649787"/>
                </a:cubicBezTo>
                <a:cubicBezTo>
                  <a:pt x="671288" y="642787"/>
                  <a:pt x="669554" y="635652"/>
                  <a:pt x="667744" y="628652"/>
                </a:cubicBezTo>
                <a:lnTo>
                  <a:pt x="671846" y="628119"/>
                </a:lnTo>
                <a:lnTo>
                  <a:pt x="666750" y="602265"/>
                </a:lnTo>
                <a:lnTo>
                  <a:pt x="666750" y="570623"/>
                </a:lnTo>
                <a:lnTo>
                  <a:pt x="661550" y="544200"/>
                </a:lnTo>
                <a:lnTo>
                  <a:pt x="656360" y="523106"/>
                </a:lnTo>
                <a:lnTo>
                  <a:pt x="645970" y="517814"/>
                </a:lnTo>
                <a:lnTo>
                  <a:pt x="630380" y="517814"/>
                </a:lnTo>
                <a:lnTo>
                  <a:pt x="645970" y="491465"/>
                </a:lnTo>
                <a:lnTo>
                  <a:pt x="661550" y="475589"/>
                </a:lnTo>
                <a:lnTo>
                  <a:pt x="666750" y="449239"/>
                </a:lnTo>
                <a:lnTo>
                  <a:pt x="661550" y="417561"/>
                </a:lnTo>
                <a:lnTo>
                  <a:pt x="640770" y="401759"/>
                </a:lnTo>
                <a:lnTo>
                  <a:pt x="614800" y="385920"/>
                </a:lnTo>
                <a:lnTo>
                  <a:pt x="609600" y="359534"/>
                </a:lnTo>
                <a:lnTo>
                  <a:pt x="614800" y="333147"/>
                </a:lnTo>
                <a:lnTo>
                  <a:pt x="635580" y="322600"/>
                </a:lnTo>
                <a:lnTo>
                  <a:pt x="640770" y="290922"/>
                </a:lnTo>
                <a:lnTo>
                  <a:pt x="635580" y="269865"/>
                </a:lnTo>
                <a:lnTo>
                  <a:pt x="661550" y="264573"/>
                </a:lnTo>
                <a:lnTo>
                  <a:pt x="687530" y="264573"/>
                </a:lnTo>
                <a:lnTo>
                  <a:pt x="697920" y="275083"/>
                </a:lnTo>
                <a:lnTo>
                  <a:pt x="713510" y="264573"/>
                </a:lnTo>
                <a:cubicBezTo>
                  <a:pt x="716974" y="261045"/>
                  <a:pt x="720436" y="264683"/>
                  <a:pt x="723900" y="261155"/>
                </a:cubicBezTo>
                <a:lnTo>
                  <a:pt x="730592" y="267504"/>
                </a:lnTo>
                <a:lnTo>
                  <a:pt x="728172" y="261440"/>
                </a:lnTo>
                <a:lnTo>
                  <a:pt x="749494" y="257813"/>
                </a:lnTo>
                <a:lnTo>
                  <a:pt x="797452" y="273815"/>
                </a:lnTo>
                <a:lnTo>
                  <a:pt x="856042" y="305819"/>
                </a:lnTo>
                <a:lnTo>
                  <a:pt x="898686" y="311153"/>
                </a:lnTo>
                <a:lnTo>
                  <a:pt x="925322" y="295151"/>
                </a:lnTo>
                <a:cubicBezTo>
                  <a:pt x="927054" y="289817"/>
                  <a:pt x="928908" y="284483"/>
                  <a:pt x="930638" y="279149"/>
                </a:cubicBezTo>
                <a:lnTo>
                  <a:pt x="957336" y="284483"/>
                </a:lnTo>
                <a:lnTo>
                  <a:pt x="973282" y="279149"/>
                </a:lnTo>
                <a:lnTo>
                  <a:pt x="1010548" y="300485"/>
                </a:lnTo>
                <a:lnTo>
                  <a:pt x="1037248" y="284483"/>
                </a:lnTo>
                <a:cubicBezTo>
                  <a:pt x="1040708" y="273815"/>
                  <a:pt x="1044294" y="263147"/>
                  <a:pt x="1047816" y="252479"/>
                </a:cubicBezTo>
                <a:lnTo>
                  <a:pt x="1090460" y="247145"/>
                </a:lnTo>
                <a:cubicBezTo>
                  <a:pt x="1094044" y="241811"/>
                  <a:pt x="1097568" y="236477"/>
                  <a:pt x="1101152" y="231143"/>
                </a:cubicBezTo>
                <a:lnTo>
                  <a:pt x="1101152" y="199139"/>
                </a:lnTo>
                <a:lnTo>
                  <a:pt x="1085144" y="188471"/>
                </a:lnTo>
                <a:cubicBezTo>
                  <a:pt x="1086876" y="181350"/>
                  <a:pt x="1088730" y="174256"/>
                  <a:pt x="1090460" y="167135"/>
                </a:cubicBezTo>
                <a:lnTo>
                  <a:pt x="1090460" y="156467"/>
                </a:lnTo>
                <a:lnTo>
                  <a:pt x="1117098" y="161801"/>
                </a:lnTo>
                <a:lnTo>
                  <a:pt x="1143796" y="172469"/>
                </a:lnTo>
                <a:cubicBezTo>
                  <a:pt x="1145526" y="165348"/>
                  <a:pt x="1147318" y="158254"/>
                  <a:pt x="1149050" y="151133"/>
                </a:cubicBezTo>
                <a:lnTo>
                  <a:pt x="1181062" y="145799"/>
                </a:lnTo>
                <a:cubicBezTo>
                  <a:pt x="1184586" y="152920"/>
                  <a:pt x="1188170" y="160014"/>
                  <a:pt x="1191694" y="167135"/>
                </a:cubicBezTo>
                <a:lnTo>
                  <a:pt x="1218330" y="167135"/>
                </a:lnTo>
                <a:cubicBezTo>
                  <a:pt x="1221914" y="161801"/>
                  <a:pt x="1225438" y="156467"/>
                  <a:pt x="1229022" y="151133"/>
                </a:cubicBezTo>
                <a:lnTo>
                  <a:pt x="1229022" y="135131"/>
                </a:lnTo>
                <a:lnTo>
                  <a:pt x="1244968" y="124463"/>
                </a:lnTo>
                <a:lnTo>
                  <a:pt x="1266288" y="151133"/>
                </a:lnTo>
                <a:cubicBezTo>
                  <a:pt x="1271604" y="158254"/>
                  <a:pt x="1276980" y="165348"/>
                  <a:pt x="1282296" y="172469"/>
                </a:cubicBezTo>
                <a:lnTo>
                  <a:pt x="1308932" y="167135"/>
                </a:lnTo>
                <a:lnTo>
                  <a:pt x="1324878" y="145799"/>
                </a:lnTo>
                <a:lnTo>
                  <a:pt x="1324878" y="129797"/>
                </a:lnTo>
                <a:lnTo>
                  <a:pt x="1346200" y="103127"/>
                </a:lnTo>
                <a:cubicBezTo>
                  <a:pt x="1344470" y="96006"/>
                  <a:pt x="1342616" y="88912"/>
                  <a:pt x="1340884" y="81791"/>
                </a:cubicBezTo>
                <a:lnTo>
                  <a:pt x="1340884" y="55121"/>
                </a:lnTo>
                <a:cubicBezTo>
                  <a:pt x="1339092" y="51574"/>
                  <a:pt x="1342122" y="48000"/>
                  <a:pt x="1340328" y="44453"/>
                </a:cubicBezTo>
                <a:lnTo>
                  <a:pt x="1360248" y="64543"/>
                </a:lnTo>
                <a:lnTo>
                  <a:pt x="1346200" y="42748"/>
                </a:lnTo>
                <a:lnTo>
                  <a:pt x="1388400" y="48092"/>
                </a:lnTo>
                <a:lnTo>
                  <a:pt x="1483258" y="42748"/>
                </a:lnTo>
                <a:lnTo>
                  <a:pt x="1557108" y="37405"/>
                </a:lnTo>
                <a:lnTo>
                  <a:pt x="1615086" y="42748"/>
                </a:lnTo>
                <a:lnTo>
                  <a:pt x="1646736" y="42748"/>
                </a:lnTo>
                <a:cubicBezTo>
                  <a:pt x="1652056" y="33842"/>
                  <a:pt x="1657286" y="24937"/>
                  <a:pt x="1662606" y="16031"/>
                </a:cubicBezTo>
                <a:close/>
              </a:path>
            </a:pathLst>
          </a:custGeom>
          <a:solidFill>
            <a:srgbClr val="70B0DF"/>
          </a:solidFill>
          <a:ln w="3175" cap="flat" cmpd="sng">
            <a:noFill/>
            <a:prstDash val="solid"/>
            <a:round/>
            <a:headEnd type="none" w="med" len="med"/>
            <a:tailEnd type="none" w="med" len="med"/>
          </a:ln>
        </p:spPr>
        <p:txBody>
          <a:bodyPr wrap="none" lIns="32632" tIns="32632" rIns="32632" bIns="32632" anchor="ctr"/>
          <a:lstStyle/>
          <a:p>
            <a:pPr defTabSz="891045"/>
            <a:endParaRPr lang="en-US" sz="1700" dirty="0">
              <a:solidFill>
                <a:srgbClr val="003149"/>
              </a:solidFill>
              <a:cs typeface="Arial" panose="020B0604020202020204" pitchFamily="34" charset="0"/>
            </a:endParaRPr>
          </a:p>
        </p:txBody>
      </p:sp>
      <p:sp>
        <p:nvSpPr>
          <p:cNvPr id="18" name="Freeform 300"/>
          <p:cNvSpPr>
            <a:spLocks noChangeAspect="1"/>
          </p:cNvSpPr>
          <p:nvPr/>
        </p:nvSpPr>
        <p:spPr bwMode="gray">
          <a:xfrm>
            <a:off x="6433317" y="2352825"/>
            <a:ext cx="575777" cy="946991"/>
          </a:xfrm>
          <a:custGeom>
            <a:avLst/>
            <a:gdLst>
              <a:gd name="T0" fmla="*/ 0 w 3323916"/>
              <a:gd name="T1" fmla="*/ 0 h 4847645"/>
              <a:gd name="T2" fmla="*/ 0 w 3323916"/>
              <a:gd name="T3" fmla="*/ 0 h 4847645"/>
              <a:gd name="T4" fmla="*/ 0 w 3323916"/>
              <a:gd name="T5" fmla="*/ 0 h 4847645"/>
              <a:gd name="T6" fmla="*/ 0 w 3323916"/>
              <a:gd name="T7" fmla="*/ 0 h 4847645"/>
              <a:gd name="T8" fmla="*/ 0 w 3323916"/>
              <a:gd name="T9" fmla="*/ 0 h 4847645"/>
              <a:gd name="T10" fmla="*/ 0 w 3323916"/>
              <a:gd name="T11" fmla="*/ 0 h 4847645"/>
              <a:gd name="T12" fmla="*/ 0 w 3323916"/>
              <a:gd name="T13" fmla="*/ 0 h 4847645"/>
              <a:gd name="T14" fmla="*/ 0 w 3323916"/>
              <a:gd name="T15" fmla="*/ 0 h 4847645"/>
              <a:gd name="T16" fmla="*/ 0 w 3323916"/>
              <a:gd name="T17" fmla="*/ 0 h 4847645"/>
              <a:gd name="T18" fmla="*/ 0 w 3323916"/>
              <a:gd name="T19" fmla="*/ 0 h 4847645"/>
              <a:gd name="T20" fmla="*/ 0 w 3323916"/>
              <a:gd name="T21" fmla="*/ 0 h 4847645"/>
              <a:gd name="T22" fmla="*/ 0 w 3323916"/>
              <a:gd name="T23" fmla="*/ 0 h 4847645"/>
              <a:gd name="T24" fmla="*/ 0 w 3323916"/>
              <a:gd name="T25" fmla="*/ 0 h 4847645"/>
              <a:gd name="T26" fmla="*/ 0 w 3323916"/>
              <a:gd name="T27" fmla="*/ 0 h 4847645"/>
              <a:gd name="T28" fmla="*/ 0 w 3323916"/>
              <a:gd name="T29" fmla="*/ 0 h 4847645"/>
              <a:gd name="T30" fmla="*/ 0 w 3323916"/>
              <a:gd name="T31" fmla="*/ 0 h 4847645"/>
              <a:gd name="T32" fmla="*/ 0 w 3323916"/>
              <a:gd name="T33" fmla="*/ 0 h 4847645"/>
              <a:gd name="T34" fmla="*/ 0 w 3323916"/>
              <a:gd name="T35" fmla="*/ 0 h 4847645"/>
              <a:gd name="T36" fmla="*/ 0 w 3323916"/>
              <a:gd name="T37" fmla="*/ 0 h 4847645"/>
              <a:gd name="T38" fmla="*/ 0 w 3323916"/>
              <a:gd name="T39" fmla="*/ 0 h 4847645"/>
              <a:gd name="T40" fmla="*/ 0 w 3323916"/>
              <a:gd name="T41" fmla="*/ 0 h 4847645"/>
              <a:gd name="T42" fmla="*/ 0 w 3323916"/>
              <a:gd name="T43" fmla="*/ 0 h 4847645"/>
              <a:gd name="T44" fmla="*/ 0 w 3323916"/>
              <a:gd name="T45" fmla="*/ 0 h 4847645"/>
              <a:gd name="T46" fmla="*/ 0 w 3323916"/>
              <a:gd name="T47" fmla="*/ 0 h 4847645"/>
              <a:gd name="T48" fmla="*/ 0 w 3323916"/>
              <a:gd name="T49" fmla="*/ 0 h 4847645"/>
              <a:gd name="T50" fmla="*/ 0 w 3323916"/>
              <a:gd name="T51" fmla="*/ 0 h 4847645"/>
              <a:gd name="T52" fmla="*/ 0 w 3323916"/>
              <a:gd name="T53" fmla="*/ 0 h 4847645"/>
              <a:gd name="T54" fmla="*/ 0 w 3323916"/>
              <a:gd name="T55" fmla="*/ 0 h 4847645"/>
              <a:gd name="T56" fmla="*/ 0 w 3323916"/>
              <a:gd name="T57" fmla="*/ 0 h 4847645"/>
              <a:gd name="T58" fmla="*/ 0 w 3323916"/>
              <a:gd name="T59" fmla="*/ 0 h 4847645"/>
              <a:gd name="T60" fmla="*/ 0 w 3323916"/>
              <a:gd name="T61" fmla="*/ 0 h 4847645"/>
              <a:gd name="T62" fmla="*/ 0 w 3323916"/>
              <a:gd name="T63" fmla="*/ 0 h 4847645"/>
              <a:gd name="T64" fmla="*/ 0 w 3323916"/>
              <a:gd name="T65" fmla="*/ 0 h 4847645"/>
              <a:gd name="T66" fmla="*/ 0 w 3323916"/>
              <a:gd name="T67" fmla="*/ 0 h 4847645"/>
              <a:gd name="T68" fmla="*/ 0 w 3323916"/>
              <a:gd name="T69" fmla="*/ 0 h 4847645"/>
              <a:gd name="T70" fmla="*/ 0 w 3323916"/>
              <a:gd name="T71" fmla="*/ 0 h 4847645"/>
              <a:gd name="T72" fmla="*/ 0 w 3323916"/>
              <a:gd name="T73" fmla="*/ 0 h 4847645"/>
              <a:gd name="T74" fmla="*/ 0 w 3323916"/>
              <a:gd name="T75" fmla="*/ 0 h 4847645"/>
              <a:gd name="T76" fmla="*/ 0 w 3323916"/>
              <a:gd name="T77" fmla="*/ 0 h 4847645"/>
              <a:gd name="T78" fmla="*/ 0 w 3323916"/>
              <a:gd name="T79" fmla="*/ 0 h 4847645"/>
              <a:gd name="T80" fmla="*/ 0 w 3323916"/>
              <a:gd name="T81" fmla="*/ 0 h 4847645"/>
              <a:gd name="T82" fmla="*/ 0 w 3323916"/>
              <a:gd name="T83" fmla="*/ 0 h 4847645"/>
              <a:gd name="T84" fmla="*/ 0 w 3323916"/>
              <a:gd name="T85" fmla="*/ 0 h 4847645"/>
              <a:gd name="T86" fmla="*/ 0 w 3323916"/>
              <a:gd name="T87" fmla="*/ 0 h 4847645"/>
              <a:gd name="T88" fmla="*/ 0 w 3323916"/>
              <a:gd name="T89" fmla="*/ 0 h 4847645"/>
              <a:gd name="T90" fmla="*/ 0 w 3323916"/>
              <a:gd name="T91" fmla="*/ 0 h 4847645"/>
              <a:gd name="T92" fmla="*/ 0 w 3323916"/>
              <a:gd name="T93" fmla="*/ 0 h 4847645"/>
              <a:gd name="T94" fmla="*/ 0 w 3323916"/>
              <a:gd name="T95" fmla="*/ 0 h 4847645"/>
              <a:gd name="T96" fmla="*/ 0 w 3323916"/>
              <a:gd name="T97" fmla="*/ 0 h 4847645"/>
              <a:gd name="T98" fmla="*/ 0 w 3323916"/>
              <a:gd name="T99" fmla="*/ 0 h 4847645"/>
              <a:gd name="T100" fmla="*/ 0 w 3323916"/>
              <a:gd name="T101" fmla="*/ 0 h 4847645"/>
              <a:gd name="T102" fmla="*/ 0 w 3323916"/>
              <a:gd name="T103" fmla="*/ 0 h 4847645"/>
              <a:gd name="T104" fmla="*/ 0 w 3323916"/>
              <a:gd name="T105" fmla="*/ 0 h 4847645"/>
              <a:gd name="T106" fmla="*/ 0 w 3323916"/>
              <a:gd name="T107" fmla="*/ 0 h 4847645"/>
              <a:gd name="T108" fmla="*/ 0 w 3323916"/>
              <a:gd name="T109" fmla="*/ 0 h 4847645"/>
              <a:gd name="T110" fmla="*/ 0 w 3323916"/>
              <a:gd name="T111" fmla="*/ 0 h 4847645"/>
              <a:gd name="T112" fmla="*/ 0 w 3323916"/>
              <a:gd name="T113" fmla="*/ 0 h 4847645"/>
              <a:gd name="T114" fmla="*/ 0 w 3323916"/>
              <a:gd name="T115" fmla="*/ 0 h 4847645"/>
              <a:gd name="T116" fmla="*/ 0 w 3323916"/>
              <a:gd name="T117" fmla="*/ 0 h 4847645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w 3323916"/>
              <a:gd name="T178" fmla="*/ 0 h 4847645"/>
              <a:gd name="T179" fmla="*/ 3323916 w 3323916"/>
              <a:gd name="T180" fmla="*/ 4847645 h 4847645"/>
            </a:gdLst>
            <a:ahLst/>
            <a:cxnLst>
              <a:cxn ang="T118">
                <a:pos x="T0" y="T1"/>
              </a:cxn>
              <a:cxn ang="T119">
                <a:pos x="T2" y="T3"/>
              </a:cxn>
              <a:cxn ang="T120">
                <a:pos x="T4" y="T5"/>
              </a:cxn>
              <a:cxn ang="T121">
                <a:pos x="T6" y="T7"/>
              </a:cxn>
              <a:cxn ang="T122">
                <a:pos x="T8" y="T9"/>
              </a:cxn>
              <a:cxn ang="T123">
                <a:pos x="T10" y="T11"/>
              </a:cxn>
              <a:cxn ang="T124">
                <a:pos x="T12" y="T13"/>
              </a:cxn>
              <a:cxn ang="T125">
                <a:pos x="T14" y="T15"/>
              </a:cxn>
              <a:cxn ang="T126">
                <a:pos x="T16" y="T17"/>
              </a:cxn>
              <a:cxn ang="T127">
                <a:pos x="T18" y="T19"/>
              </a:cxn>
              <a:cxn ang="T128">
                <a:pos x="T20" y="T21"/>
              </a:cxn>
              <a:cxn ang="T129">
                <a:pos x="T22" y="T23"/>
              </a:cxn>
              <a:cxn ang="T130">
                <a:pos x="T24" y="T25"/>
              </a:cxn>
              <a:cxn ang="T131">
                <a:pos x="T26" y="T27"/>
              </a:cxn>
              <a:cxn ang="T132">
                <a:pos x="T28" y="T29"/>
              </a:cxn>
              <a:cxn ang="T133">
                <a:pos x="T30" y="T31"/>
              </a:cxn>
              <a:cxn ang="T134">
                <a:pos x="T32" y="T33"/>
              </a:cxn>
              <a:cxn ang="T135">
                <a:pos x="T34" y="T35"/>
              </a:cxn>
              <a:cxn ang="T136">
                <a:pos x="T36" y="T37"/>
              </a:cxn>
              <a:cxn ang="T137">
                <a:pos x="T38" y="T39"/>
              </a:cxn>
              <a:cxn ang="T138">
                <a:pos x="T40" y="T41"/>
              </a:cxn>
              <a:cxn ang="T139">
                <a:pos x="T42" y="T43"/>
              </a:cxn>
              <a:cxn ang="T140">
                <a:pos x="T44" y="T45"/>
              </a:cxn>
              <a:cxn ang="T141">
                <a:pos x="T46" y="T47"/>
              </a:cxn>
              <a:cxn ang="T142">
                <a:pos x="T48" y="T49"/>
              </a:cxn>
              <a:cxn ang="T143">
                <a:pos x="T50" y="T51"/>
              </a:cxn>
              <a:cxn ang="T144">
                <a:pos x="T52" y="T53"/>
              </a:cxn>
              <a:cxn ang="T145">
                <a:pos x="T54" y="T55"/>
              </a:cxn>
              <a:cxn ang="T146">
                <a:pos x="T56" y="T57"/>
              </a:cxn>
              <a:cxn ang="T147">
                <a:pos x="T58" y="T59"/>
              </a:cxn>
              <a:cxn ang="T148">
                <a:pos x="T60" y="T61"/>
              </a:cxn>
              <a:cxn ang="T149">
                <a:pos x="T62" y="T63"/>
              </a:cxn>
              <a:cxn ang="T150">
                <a:pos x="T64" y="T65"/>
              </a:cxn>
              <a:cxn ang="T151">
                <a:pos x="T66" y="T67"/>
              </a:cxn>
              <a:cxn ang="T152">
                <a:pos x="T68" y="T69"/>
              </a:cxn>
              <a:cxn ang="T153">
                <a:pos x="T70" y="T71"/>
              </a:cxn>
              <a:cxn ang="T154">
                <a:pos x="T72" y="T73"/>
              </a:cxn>
              <a:cxn ang="T155">
                <a:pos x="T74" y="T75"/>
              </a:cxn>
              <a:cxn ang="T156">
                <a:pos x="T76" y="T77"/>
              </a:cxn>
              <a:cxn ang="T157">
                <a:pos x="T78" y="T79"/>
              </a:cxn>
              <a:cxn ang="T158">
                <a:pos x="T80" y="T81"/>
              </a:cxn>
              <a:cxn ang="T159">
                <a:pos x="T82" y="T83"/>
              </a:cxn>
              <a:cxn ang="T160">
                <a:pos x="T84" y="T85"/>
              </a:cxn>
              <a:cxn ang="T161">
                <a:pos x="T86" y="T87"/>
              </a:cxn>
              <a:cxn ang="T162">
                <a:pos x="T88" y="T89"/>
              </a:cxn>
              <a:cxn ang="T163">
                <a:pos x="T90" y="T91"/>
              </a:cxn>
              <a:cxn ang="T164">
                <a:pos x="T92" y="T93"/>
              </a:cxn>
              <a:cxn ang="T165">
                <a:pos x="T94" y="T95"/>
              </a:cxn>
              <a:cxn ang="T166">
                <a:pos x="T96" y="T97"/>
              </a:cxn>
              <a:cxn ang="T167">
                <a:pos x="T98" y="T99"/>
              </a:cxn>
              <a:cxn ang="T168">
                <a:pos x="T100" y="T101"/>
              </a:cxn>
              <a:cxn ang="T169">
                <a:pos x="T102" y="T103"/>
              </a:cxn>
              <a:cxn ang="T170">
                <a:pos x="T104" y="T105"/>
              </a:cxn>
              <a:cxn ang="T171">
                <a:pos x="T106" y="T107"/>
              </a:cxn>
              <a:cxn ang="T172">
                <a:pos x="T108" y="T109"/>
              </a:cxn>
              <a:cxn ang="T173">
                <a:pos x="T110" y="T111"/>
              </a:cxn>
              <a:cxn ang="T174">
                <a:pos x="T112" y="T113"/>
              </a:cxn>
              <a:cxn ang="T175">
                <a:pos x="T114" y="T115"/>
              </a:cxn>
              <a:cxn ang="T176">
                <a:pos x="T116" y="T117"/>
              </a:cxn>
            </a:cxnLst>
            <a:rect l="T177" t="T178" r="T179" b="T180"/>
            <a:pathLst>
              <a:path w="3323916" h="4847645">
                <a:moveTo>
                  <a:pt x="1682824" y="0"/>
                </a:moveTo>
                <a:lnTo>
                  <a:pt x="1753392" y="4232"/>
                </a:lnTo>
                <a:lnTo>
                  <a:pt x="1830496" y="6397"/>
                </a:lnTo>
                <a:lnTo>
                  <a:pt x="1866900" y="8563"/>
                </a:lnTo>
                <a:lnTo>
                  <a:pt x="1862718" y="14376"/>
                </a:lnTo>
                <a:lnTo>
                  <a:pt x="1887966" y="19399"/>
                </a:lnTo>
                <a:cubicBezTo>
                  <a:pt x="1889656" y="21187"/>
                  <a:pt x="1891612" y="22975"/>
                  <a:pt x="1893304" y="24763"/>
                </a:cubicBezTo>
                <a:cubicBezTo>
                  <a:pt x="1896898" y="31915"/>
                  <a:pt x="1900280" y="38982"/>
                  <a:pt x="1903926" y="46048"/>
                </a:cubicBezTo>
                <a:lnTo>
                  <a:pt x="1903926" y="67333"/>
                </a:lnTo>
                <a:lnTo>
                  <a:pt x="1887966" y="83339"/>
                </a:lnTo>
                <a:lnTo>
                  <a:pt x="1866720" y="83339"/>
                </a:lnTo>
                <a:lnTo>
                  <a:pt x="1850812" y="99345"/>
                </a:lnTo>
                <a:cubicBezTo>
                  <a:pt x="1849120" y="108115"/>
                  <a:pt x="1847166" y="117055"/>
                  <a:pt x="1845474" y="125824"/>
                </a:cubicBezTo>
                <a:lnTo>
                  <a:pt x="1872058" y="109988"/>
                </a:lnTo>
                <a:lnTo>
                  <a:pt x="1887966" y="104624"/>
                </a:lnTo>
                <a:lnTo>
                  <a:pt x="1909212" y="104624"/>
                </a:lnTo>
                <a:cubicBezTo>
                  <a:pt x="1910902" y="109988"/>
                  <a:pt x="1912858" y="115181"/>
                  <a:pt x="1914550" y="120545"/>
                </a:cubicBezTo>
                <a:cubicBezTo>
                  <a:pt x="1910902" y="124121"/>
                  <a:pt x="1907520" y="127612"/>
                  <a:pt x="1903926" y="131188"/>
                </a:cubicBezTo>
                <a:cubicBezTo>
                  <a:pt x="1902236" y="138339"/>
                  <a:pt x="1900280" y="145406"/>
                  <a:pt x="1898588" y="152473"/>
                </a:cubicBezTo>
                <a:lnTo>
                  <a:pt x="1919834" y="152473"/>
                </a:lnTo>
                <a:lnTo>
                  <a:pt x="1930722" y="168479"/>
                </a:lnTo>
                <a:lnTo>
                  <a:pt x="1930722" y="195042"/>
                </a:lnTo>
                <a:lnTo>
                  <a:pt x="1909212" y="205770"/>
                </a:lnTo>
                <a:lnTo>
                  <a:pt x="1893304" y="221691"/>
                </a:lnTo>
                <a:cubicBezTo>
                  <a:pt x="1896898" y="227055"/>
                  <a:pt x="1900280" y="232419"/>
                  <a:pt x="1903926" y="237697"/>
                </a:cubicBezTo>
                <a:lnTo>
                  <a:pt x="1919834" y="232419"/>
                </a:lnTo>
                <a:lnTo>
                  <a:pt x="1936006" y="227055"/>
                </a:lnTo>
                <a:lnTo>
                  <a:pt x="1957252" y="227055"/>
                </a:lnTo>
                <a:cubicBezTo>
                  <a:pt x="1960900" y="232419"/>
                  <a:pt x="1964282" y="237697"/>
                  <a:pt x="1967876" y="242976"/>
                </a:cubicBezTo>
                <a:cubicBezTo>
                  <a:pt x="1969566" y="248340"/>
                  <a:pt x="1971522" y="253704"/>
                  <a:pt x="1973214" y="258982"/>
                </a:cubicBezTo>
                <a:lnTo>
                  <a:pt x="1951968" y="269625"/>
                </a:lnTo>
                <a:cubicBezTo>
                  <a:pt x="1948320" y="273201"/>
                  <a:pt x="1944938" y="276691"/>
                  <a:pt x="1941344" y="280267"/>
                </a:cubicBezTo>
                <a:lnTo>
                  <a:pt x="1962590" y="290910"/>
                </a:lnTo>
                <a:lnTo>
                  <a:pt x="1978498" y="301552"/>
                </a:lnTo>
                <a:lnTo>
                  <a:pt x="1999744" y="317558"/>
                </a:lnTo>
                <a:cubicBezTo>
                  <a:pt x="2001436" y="321134"/>
                  <a:pt x="2003390" y="324625"/>
                  <a:pt x="2005082" y="328201"/>
                </a:cubicBezTo>
                <a:lnTo>
                  <a:pt x="1978498" y="328201"/>
                </a:lnTo>
                <a:lnTo>
                  <a:pt x="1957252" y="328201"/>
                </a:lnTo>
                <a:lnTo>
                  <a:pt x="1989122" y="344122"/>
                </a:lnTo>
                <a:lnTo>
                  <a:pt x="1989122" y="360128"/>
                </a:lnTo>
                <a:lnTo>
                  <a:pt x="1973214" y="360128"/>
                </a:lnTo>
                <a:cubicBezTo>
                  <a:pt x="1971522" y="365407"/>
                  <a:pt x="1969566" y="370771"/>
                  <a:pt x="1967876" y="376049"/>
                </a:cubicBezTo>
                <a:cubicBezTo>
                  <a:pt x="1971522" y="381413"/>
                  <a:pt x="1974904" y="386777"/>
                  <a:pt x="1978498" y="392055"/>
                </a:cubicBezTo>
                <a:lnTo>
                  <a:pt x="1994460" y="402698"/>
                </a:lnTo>
                <a:cubicBezTo>
                  <a:pt x="1996150" y="408062"/>
                  <a:pt x="1998106" y="413340"/>
                  <a:pt x="1999744" y="418619"/>
                </a:cubicBezTo>
                <a:lnTo>
                  <a:pt x="1999744" y="429347"/>
                </a:lnTo>
                <a:cubicBezTo>
                  <a:pt x="2003390" y="438201"/>
                  <a:pt x="2006774" y="447056"/>
                  <a:pt x="2010368" y="455995"/>
                </a:cubicBezTo>
                <a:cubicBezTo>
                  <a:pt x="2014014" y="461274"/>
                  <a:pt x="2017396" y="466553"/>
                  <a:pt x="2020990" y="471916"/>
                </a:cubicBezTo>
                <a:cubicBezTo>
                  <a:pt x="2022682" y="478983"/>
                  <a:pt x="2024636" y="486050"/>
                  <a:pt x="2026328" y="493201"/>
                </a:cubicBezTo>
                <a:cubicBezTo>
                  <a:pt x="2024636" y="496777"/>
                  <a:pt x="2022682" y="500268"/>
                  <a:pt x="2020990" y="503844"/>
                </a:cubicBezTo>
                <a:cubicBezTo>
                  <a:pt x="2019352" y="512698"/>
                  <a:pt x="2017396" y="521553"/>
                  <a:pt x="2015706" y="530492"/>
                </a:cubicBezTo>
                <a:lnTo>
                  <a:pt x="2015342" y="530727"/>
                </a:lnTo>
                <a:lnTo>
                  <a:pt x="2021022" y="530486"/>
                </a:lnTo>
                <a:cubicBezTo>
                  <a:pt x="2017478" y="533999"/>
                  <a:pt x="2013932" y="537600"/>
                  <a:pt x="2010388" y="541026"/>
                </a:cubicBezTo>
                <a:cubicBezTo>
                  <a:pt x="2005070" y="542870"/>
                  <a:pt x="1999752" y="544627"/>
                  <a:pt x="1994436" y="546471"/>
                </a:cubicBezTo>
                <a:cubicBezTo>
                  <a:pt x="1997980" y="555342"/>
                  <a:pt x="2001526" y="564125"/>
                  <a:pt x="2005070" y="572996"/>
                </a:cubicBezTo>
                <a:cubicBezTo>
                  <a:pt x="2010388" y="574841"/>
                  <a:pt x="2015706" y="576597"/>
                  <a:pt x="2021022" y="578442"/>
                </a:cubicBezTo>
                <a:cubicBezTo>
                  <a:pt x="2024568" y="576597"/>
                  <a:pt x="2028112" y="574841"/>
                  <a:pt x="2031658" y="572996"/>
                </a:cubicBezTo>
                <a:lnTo>
                  <a:pt x="2031658" y="588982"/>
                </a:lnTo>
                <a:lnTo>
                  <a:pt x="2031658" y="604967"/>
                </a:lnTo>
                <a:lnTo>
                  <a:pt x="2021022" y="604967"/>
                </a:lnTo>
                <a:cubicBezTo>
                  <a:pt x="2019250" y="610237"/>
                  <a:pt x="2017478" y="615595"/>
                  <a:pt x="2015706" y="620953"/>
                </a:cubicBezTo>
                <a:lnTo>
                  <a:pt x="2058244" y="626310"/>
                </a:lnTo>
                <a:lnTo>
                  <a:pt x="2058244" y="647566"/>
                </a:lnTo>
                <a:lnTo>
                  <a:pt x="2100784" y="674266"/>
                </a:lnTo>
                <a:lnTo>
                  <a:pt x="2132690" y="706062"/>
                </a:lnTo>
                <a:lnTo>
                  <a:pt x="2153960" y="732762"/>
                </a:lnTo>
                <a:lnTo>
                  <a:pt x="2153960" y="764645"/>
                </a:lnTo>
                <a:cubicBezTo>
                  <a:pt x="2150414" y="770003"/>
                  <a:pt x="2146870" y="775361"/>
                  <a:pt x="2143324" y="780631"/>
                </a:cubicBezTo>
                <a:lnTo>
                  <a:pt x="2116736" y="780631"/>
                </a:lnTo>
                <a:cubicBezTo>
                  <a:pt x="2113192" y="775361"/>
                  <a:pt x="2109646" y="770003"/>
                  <a:pt x="2106102" y="764645"/>
                </a:cubicBezTo>
                <a:lnTo>
                  <a:pt x="2074198" y="780631"/>
                </a:lnTo>
                <a:cubicBezTo>
                  <a:pt x="2072424" y="785901"/>
                  <a:pt x="2070652" y="791346"/>
                  <a:pt x="2068880" y="796616"/>
                </a:cubicBezTo>
                <a:lnTo>
                  <a:pt x="2026340" y="780631"/>
                </a:lnTo>
                <a:lnTo>
                  <a:pt x="2010388" y="780631"/>
                </a:lnTo>
                <a:cubicBezTo>
                  <a:pt x="2006842" y="773516"/>
                  <a:pt x="2003298" y="766490"/>
                  <a:pt x="1999752" y="759375"/>
                </a:cubicBezTo>
                <a:cubicBezTo>
                  <a:pt x="1994436" y="762889"/>
                  <a:pt x="1989118" y="766490"/>
                  <a:pt x="1983800" y="770003"/>
                </a:cubicBezTo>
                <a:lnTo>
                  <a:pt x="1957214" y="764645"/>
                </a:lnTo>
                <a:lnTo>
                  <a:pt x="1914674" y="775361"/>
                </a:lnTo>
                <a:lnTo>
                  <a:pt x="1882768" y="780631"/>
                </a:lnTo>
                <a:lnTo>
                  <a:pt x="1861500" y="801886"/>
                </a:lnTo>
                <a:lnTo>
                  <a:pt x="1834912" y="807332"/>
                </a:lnTo>
                <a:cubicBezTo>
                  <a:pt x="1836684" y="800217"/>
                  <a:pt x="1838456" y="793015"/>
                  <a:pt x="1840230" y="785901"/>
                </a:cubicBezTo>
                <a:lnTo>
                  <a:pt x="1829594" y="785901"/>
                </a:lnTo>
                <a:cubicBezTo>
                  <a:pt x="1826050" y="787745"/>
                  <a:pt x="1822504" y="789502"/>
                  <a:pt x="1818960" y="791346"/>
                </a:cubicBezTo>
                <a:cubicBezTo>
                  <a:pt x="1820732" y="794859"/>
                  <a:pt x="1822504" y="798461"/>
                  <a:pt x="1824276" y="801886"/>
                </a:cubicBezTo>
                <a:cubicBezTo>
                  <a:pt x="1827822" y="809000"/>
                  <a:pt x="1831368" y="816203"/>
                  <a:pt x="1834912" y="823317"/>
                </a:cubicBezTo>
                <a:cubicBezTo>
                  <a:pt x="1829594" y="833857"/>
                  <a:pt x="1824276" y="844572"/>
                  <a:pt x="1818960" y="855112"/>
                </a:cubicBezTo>
                <a:cubicBezTo>
                  <a:pt x="1815414" y="863983"/>
                  <a:pt x="1811870" y="872942"/>
                  <a:pt x="1808324" y="881813"/>
                </a:cubicBezTo>
                <a:lnTo>
                  <a:pt x="1787054" y="897798"/>
                </a:lnTo>
                <a:lnTo>
                  <a:pt x="1760468" y="919054"/>
                </a:lnTo>
                <a:lnTo>
                  <a:pt x="1739198" y="940397"/>
                </a:lnTo>
                <a:cubicBezTo>
                  <a:pt x="1737426" y="951112"/>
                  <a:pt x="1735652" y="961652"/>
                  <a:pt x="1733880" y="972368"/>
                </a:cubicBezTo>
                <a:cubicBezTo>
                  <a:pt x="1730336" y="981239"/>
                  <a:pt x="1726790" y="990022"/>
                  <a:pt x="1723246" y="998893"/>
                </a:cubicBezTo>
                <a:lnTo>
                  <a:pt x="1723246" y="1020148"/>
                </a:lnTo>
                <a:cubicBezTo>
                  <a:pt x="1719700" y="1025418"/>
                  <a:pt x="1716156" y="1030864"/>
                  <a:pt x="1712610" y="1036133"/>
                </a:cubicBezTo>
                <a:cubicBezTo>
                  <a:pt x="1717928" y="1041403"/>
                  <a:pt x="1723246" y="1046849"/>
                  <a:pt x="1728562" y="1052119"/>
                </a:cubicBezTo>
                <a:cubicBezTo>
                  <a:pt x="1723246" y="1059145"/>
                  <a:pt x="1717928" y="1066348"/>
                  <a:pt x="1712610" y="1073462"/>
                </a:cubicBezTo>
                <a:cubicBezTo>
                  <a:pt x="1709066" y="1078732"/>
                  <a:pt x="1705520" y="1084177"/>
                  <a:pt x="1701976" y="1089447"/>
                </a:cubicBezTo>
                <a:cubicBezTo>
                  <a:pt x="1700204" y="1092961"/>
                  <a:pt x="1698430" y="1096562"/>
                  <a:pt x="1696658" y="1099987"/>
                </a:cubicBezTo>
                <a:cubicBezTo>
                  <a:pt x="1701976" y="1105257"/>
                  <a:pt x="1707294" y="1110703"/>
                  <a:pt x="1712610" y="1115973"/>
                </a:cubicBezTo>
                <a:cubicBezTo>
                  <a:pt x="1710838" y="1121242"/>
                  <a:pt x="1709066" y="1126688"/>
                  <a:pt x="1707294" y="1131958"/>
                </a:cubicBezTo>
                <a:cubicBezTo>
                  <a:pt x="1703748" y="1139072"/>
                  <a:pt x="1700204" y="1146275"/>
                  <a:pt x="1696658" y="1153389"/>
                </a:cubicBezTo>
                <a:lnTo>
                  <a:pt x="1664754" y="1153389"/>
                </a:lnTo>
                <a:lnTo>
                  <a:pt x="1696658" y="1163929"/>
                </a:lnTo>
                <a:lnTo>
                  <a:pt x="1696658" y="1190542"/>
                </a:lnTo>
                <a:cubicBezTo>
                  <a:pt x="1693114" y="1192386"/>
                  <a:pt x="1689568" y="1194055"/>
                  <a:pt x="1686024" y="1195900"/>
                </a:cubicBezTo>
                <a:lnTo>
                  <a:pt x="1712610" y="1211797"/>
                </a:lnTo>
                <a:cubicBezTo>
                  <a:pt x="1716156" y="1217155"/>
                  <a:pt x="1719700" y="1222513"/>
                  <a:pt x="1723246" y="1227782"/>
                </a:cubicBezTo>
                <a:cubicBezTo>
                  <a:pt x="1728562" y="1234897"/>
                  <a:pt x="1733880" y="1241923"/>
                  <a:pt x="1739198" y="1249038"/>
                </a:cubicBezTo>
                <a:cubicBezTo>
                  <a:pt x="1744516" y="1257909"/>
                  <a:pt x="1749832" y="1266868"/>
                  <a:pt x="1755150" y="1275739"/>
                </a:cubicBezTo>
                <a:cubicBezTo>
                  <a:pt x="1758696" y="1286454"/>
                  <a:pt x="1762240" y="1296994"/>
                  <a:pt x="1765784" y="1307709"/>
                </a:cubicBezTo>
                <a:lnTo>
                  <a:pt x="1765784" y="1334235"/>
                </a:lnTo>
                <a:cubicBezTo>
                  <a:pt x="1767558" y="1339505"/>
                  <a:pt x="1769330" y="1344950"/>
                  <a:pt x="1771102" y="1350220"/>
                </a:cubicBezTo>
                <a:cubicBezTo>
                  <a:pt x="1776420" y="1353821"/>
                  <a:pt x="1781738" y="1357247"/>
                  <a:pt x="1787054" y="1360848"/>
                </a:cubicBezTo>
                <a:cubicBezTo>
                  <a:pt x="1788828" y="1367962"/>
                  <a:pt x="1790600" y="1374989"/>
                  <a:pt x="1792372" y="1382103"/>
                </a:cubicBezTo>
                <a:lnTo>
                  <a:pt x="1765784" y="1408804"/>
                </a:lnTo>
                <a:lnTo>
                  <a:pt x="1733880" y="1398088"/>
                </a:lnTo>
                <a:lnTo>
                  <a:pt x="1701976" y="1376833"/>
                </a:lnTo>
                <a:lnTo>
                  <a:pt x="1680706" y="1360848"/>
                </a:lnTo>
                <a:cubicBezTo>
                  <a:pt x="1675388" y="1353733"/>
                  <a:pt x="1670070" y="1346707"/>
                  <a:pt x="1664754" y="1339592"/>
                </a:cubicBezTo>
                <a:cubicBezTo>
                  <a:pt x="1659436" y="1334322"/>
                  <a:pt x="1654118" y="1328965"/>
                  <a:pt x="1648802" y="1323695"/>
                </a:cubicBezTo>
                <a:cubicBezTo>
                  <a:pt x="1643484" y="1321850"/>
                  <a:pt x="1638166" y="1320182"/>
                  <a:pt x="1632848" y="1318337"/>
                </a:cubicBezTo>
                <a:lnTo>
                  <a:pt x="1611580" y="1307709"/>
                </a:lnTo>
                <a:lnTo>
                  <a:pt x="1590310" y="1296994"/>
                </a:lnTo>
                <a:cubicBezTo>
                  <a:pt x="1586764" y="1289880"/>
                  <a:pt x="1583220" y="1282853"/>
                  <a:pt x="1579674" y="1275739"/>
                </a:cubicBezTo>
                <a:lnTo>
                  <a:pt x="1579674" y="1259753"/>
                </a:lnTo>
                <a:cubicBezTo>
                  <a:pt x="1576130" y="1257909"/>
                  <a:pt x="1572584" y="1256240"/>
                  <a:pt x="1569040" y="1254483"/>
                </a:cubicBezTo>
                <a:lnTo>
                  <a:pt x="1553088" y="1254483"/>
                </a:lnTo>
                <a:lnTo>
                  <a:pt x="1553088" y="1281009"/>
                </a:lnTo>
                <a:cubicBezTo>
                  <a:pt x="1558404" y="1286278"/>
                  <a:pt x="1563722" y="1291724"/>
                  <a:pt x="1569040" y="1296994"/>
                </a:cubicBezTo>
                <a:cubicBezTo>
                  <a:pt x="1574356" y="1300595"/>
                  <a:pt x="1579674" y="1304108"/>
                  <a:pt x="1584992" y="1307709"/>
                </a:cubicBezTo>
                <a:cubicBezTo>
                  <a:pt x="1579674" y="1309466"/>
                  <a:pt x="1574356" y="1311135"/>
                  <a:pt x="1569040" y="1312979"/>
                </a:cubicBezTo>
                <a:cubicBezTo>
                  <a:pt x="1565494" y="1314736"/>
                  <a:pt x="1561950" y="1316580"/>
                  <a:pt x="1558404" y="1318337"/>
                </a:cubicBezTo>
                <a:cubicBezTo>
                  <a:pt x="1554860" y="1321850"/>
                  <a:pt x="1551314" y="1325451"/>
                  <a:pt x="1547770" y="1328965"/>
                </a:cubicBezTo>
                <a:cubicBezTo>
                  <a:pt x="1553088" y="1336079"/>
                  <a:pt x="1558404" y="1343106"/>
                  <a:pt x="1563722" y="1350220"/>
                </a:cubicBezTo>
                <a:cubicBezTo>
                  <a:pt x="1565494" y="1362692"/>
                  <a:pt x="1567266" y="1375076"/>
                  <a:pt x="1569040" y="1387549"/>
                </a:cubicBezTo>
                <a:lnTo>
                  <a:pt x="1545986" y="1372602"/>
                </a:lnTo>
                <a:lnTo>
                  <a:pt x="1563654" y="1387554"/>
                </a:lnTo>
                <a:cubicBezTo>
                  <a:pt x="1565408" y="1396470"/>
                  <a:pt x="1567280" y="1405208"/>
                  <a:pt x="1569036" y="1414125"/>
                </a:cubicBezTo>
                <a:lnTo>
                  <a:pt x="1558390" y="1408775"/>
                </a:lnTo>
                <a:cubicBezTo>
                  <a:pt x="1554880" y="1415908"/>
                  <a:pt x="1551252" y="1423041"/>
                  <a:pt x="1547742" y="1430174"/>
                </a:cubicBezTo>
                <a:cubicBezTo>
                  <a:pt x="1551252" y="1435524"/>
                  <a:pt x="1554880" y="1440696"/>
                  <a:pt x="1558390" y="1446046"/>
                </a:cubicBezTo>
                <a:cubicBezTo>
                  <a:pt x="1560144" y="1456746"/>
                  <a:pt x="1561900" y="1467267"/>
                  <a:pt x="1563654" y="1477967"/>
                </a:cubicBezTo>
                <a:cubicBezTo>
                  <a:pt x="1561900" y="1486883"/>
                  <a:pt x="1560144" y="1495622"/>
                  <a:pt x="1558390" y="1504538"/>
                </a:cubicBezTo>
                <a:lnTo>
                  <a:pt x="1574300" y="1515238"/>
                </a:lnTo>
                <a:lnTo>
                  <a:pt x="1590212" y="1515238"/>
                </a:lnTo>
                <a:cubicBezTo>
                  <a:pt x="1591968" y="1520588"/>
                  <a:pt x="1593838" y="1525938"/>
                  <a:pt x="1595594" y="1531288"/>
                </a:cubicBezTo>
                <a:lnTo>
                  <a:pt x="1606240" y="1531288"/>
                </a:lnTo>
                <a:cubicBezTo>
                  <a:pt x="1609750" y="1536638"/>
                  <a:pt x="1613378" y="1541809"/>
                  <a:pt x="1616888" y="1547159"/>
                </a:cubicBezTo>
                <a:lnTo>
                  <a:pt x="1616888" y="1563209"/>
                </a:lnTo>
                <a:lnTo>
                  <a:pt x="1627534" y="1573908"/>
                </a:lnTo>
                <a:cubicBezTo>
                  <a:pt x="1624024" y="1577475"/>
                  <a:pt x="1620396" y="1580863"/>
                  <a:pt x="1616888" y="1584430"/>
                </a:cubicBezTo>
                <a:lnTo>
                  <a:pt x="1627534" y="1595130"/>
                </a:lnTo>
                <a:lnTo>
                  <a:pt x="1611506" y="1611001"/>
                </a:lnTo>
                <a:lnTo>
                  <a:pt x="1595594" y="1611001"/>
                </a:lnTo>
                <a:cubicBezTo>
                  <a:pt x="1592084" y="1607435"/>
                  <a:pt x="1588458" y="1604046"/>
                  <a:pt x="1584948" y="1600480"/>
                </a:cubicBezTo>
                <a:lnTo>
                  <a:pt x="1563654" y="1600480"/>
                </a:lnTo>
                <a:lnTo>
                  <a:pt x="1537096" y="1595130"/>
                </a:lnTo>
                <a:lnTo>
                  <a:pt x="1510538" y="1595130"/>
                </a:lnTo>
                <a:lnTo>
                  <a:pt x="1483862" y="1595130"/>
                </a:lnTo>
                <a:lnTo>
                  <a:pt x="1467952" y="1605830"/>
                </a:lnTo>
                <a:cubicBezTo>
                  <a:pt x="1464442" y="1611179"/>
                  <a:pt x="1460814" y="1616351"/>
                  <a:pt x="1457304" y="1621701"/>
                </a:cubicBezTo>
                <a:lnTo>
                  <a:pt x="1478598" y="1632401"/>
                </a:lnTo>
                <a:lnTo>
                  <a:pt x="1489244" y="1632401"/>
                </a:lnTo>
                <a:lnTo>
                  <a:pt x="1505156" y="1621701"/>
                </a:lnTo>
                <a:lnTo>
                  <a:pt x="1505156" y="1643101"/>
                </a:lnTo>
                <a:lnTo>
                  <a:pt x="1483862" y="1653622"/>
                </a:lnTo>
                <a:lnTo>
                  <a:pt x="1515802" y="1669672"/>
                </a:lnTo>
                <a:cubicBezTo>
                  <a:pt x="1514048" y="1676805"/>
                  <a:pt x="1512292" y="1683760"/>
                  <a:pt x="1510538" y="1690893"/>
                </a:cubicBezTo>
                <a:lnTo>
                  <a:pt x="1489244" y="1690893"/>
                </a:lnTo>
                <a:lnTo>
                  <a:pt x="1473216" y="1680371"/>
                </a:lnTo>
                <a:cubicBezTo>
                  <a:pt x="1469706" y="1683938"/>
                  <a:pt x="1466080" y="1687326"/>
                  <a:pt x="1462570" y="1690893"/>
                </a:cubicBezTo>
                <a:lnTo>
                  <a:pt x="1457304" y="1685543"/>
                </a:lnTo>
                <a:cubicBezTo>
                  <a:pt x="1453796" y="1690893"/>
                  <a:pt x="1450168" y="1696243"/>
                  <a:pt x="1446658" y="1701593"/>
                </a:cubicBezTo>
                <a:lnTo>
                  <a:pt x="1436012" y="1701593"/>
                </a:lnTo>
                <a:cubicBezTo>
                  <a:pt x="1432502" y="1706943"/>
                  <a:pt x="1428876" y="1712293"/>
                  <a:pt x="1425366" y="1717642"/>
                </a:cubicBezTo>
                <a:cubicBezTo>
                  <a:pt x="1421856" y="1722992"/>
                  <a:pt x="1418228" y="1728164"/>
                  <a:pt x="1414718" y="1733514"/>
                </a:cubicBezTo>
                <a:lnTo>
                  <a:pt x="1441394" y="1733514"/>
                </a:lnTo>
                <a:lnTo>
                  <a:pt x="1462570" y="1744214"/>
                </a:lnTo>
                <a:cubicBezTo>
                  <a:pt x="1460814" y="1751347"/>
                  <a:pt x="1459060" y="1758302"/>
                  <a:pt x="1457304" y="1765435"/>
                </a:cubicBezTo>
                <a:cubicBezTo>
                  <a:pt x="1459060" y="1774351"/>
                  <a:pt x="1460814" y="1783090"/>
                  <a:pt x="1462570" y="1792006"/>
                </a:cubicBezTo>
                <a:cubicBezTo>
                  <a:pt x="1466080" y="1800923"/>
                  <a:pt x="1469706" y="1809839"/>
                  <a:pt x="1473216" y="1818756"/>
                </a:cubicBezTo>
                <a:lnTo>
                  <a:pt x="1489244" y="1818756"/>
                </a:lnTo>
                <a:cubicBezTo>
                  <a:pt x="1492754" y="1824105"/>
                  <a:pt x="1496382" y="1829277"/>
                  <a:pt x="1499892" y="1834627"/>
                </a:cubicBezTo>
                <a:cubicBezTo>
                  <a:pt x="1503402" y="1839977"/>
                  <a:pt x="1507028" y="1845327"/>
                  <a:pt x="1510538" y="1850677"/>
                </a:cubicBezTo>
                <a:cubicBezTo>
                  <a:pt x="1514048" y="1861376"/>
                  <a:pt x="1517558" y="1871898"/>
                  <a:pt x="1521068" y="1882598"/>
                </a:cubicBezTo>
                <a:cubicBezTo>
                  <a:pt x="1522822" y="1886164"/>
                  <a:pt x="1524694" y="1889731"/>
                  <a:pt x="1526450" y="1893298"/>
                </a:cubicBezTo>
                <a:lnTo>
                  <a:pt x="1542360" y="1887948"/>
                </a:lnTo>
                <a:cubicBezTo>
                  <a:pt x="1544116" y="1891514"/>
                  <a:pt x="1545988" y="1894902"/>
                  <a:pt x="1547742" y="1898469"/>
                </a:cubicBezTo>
                <a:cubicBezTo>
                  <a:pt x="1551252" y="1894902"/>
                  <a:pt x="1554880" y="1891514"/>
                  <a:pt x="1558390" y="1887948"/>
                </a:cubicBezTo>
                <a:lnTo>
                  <a:pt x="1590212" y="1898469"/>
                </a:lnTo>
                <a:lnTo>
                  <a:pt x="1590212" y="1909169"/>
                </a:lnTo>
                <a:lnTo>
                  <a:pt x="1600858" y="1903819"/>
                </a:lnTo>
                <a:cubicBezTo>
                  <a:pt x="1604368" y="1909169"/>
                  <a:pt x="1607996" y="1914519"/>
                  <a:pt x="1611506" y="1919869"/>
                </a:cubicBezTo>
                <a:cubicBezTo>
                  <a:pt x="1609750" y="1927002"/>
                  <a:pt x="1607996" y="1933957"/>
                  <a:pt x="1606240" y="1941090"/>
                </a:cubicBezTo>
                <a:cubicBezTo>
                  <a:pt x="1607996" y="1950006"/>
                  <a:pt x="1609750" y="1958745"/>
                  <a:pt x="1611506" y="1967661"/>
                </a:cubicBezTo>
                <a:lnTo>
                  <a:pt x="1632798" y="1967661"/>
                </a:lnTo>
                <a:lnTo>
                  <a:pt x="1659356" y="1973011"/>
                </a:lnTo>
                <a:cubicBezTo>
                  <a:pt x="1661112" y="1978361"/>
                  <a:pt x="1662984" y="1983711"/>
                  <a:pt x="1664738" y="1989061"/>
                </a:cubicBezTo>
                <a:lnTo>
                  <a:pt x="1680650" y="1978361"/>
                </a:lnTo>
                <a:lnTo>
                  <a:pt x="1696562" y="1989061"/>
                </a:lnTo>
                <a:cubicBezTo>
                  <a:pt x="1691296" y="1996194"/>
                  <a:pt x="1685914" y="2003149"/>
                  <a:pt x="1680650" y="2010282"/>
                </a:cubicBezTo>
                <a:lnTo>
                  <a:pt x="1659356" y="1999761"/>
                </a:lnTo>
                <a:lnTo>
                  <a:pt x="1638064" y="1999761"/>
                </a:lnTo>
                <a:lnTo>
                  <a:pt x="1622152" y="1999761"/>
                </a:lnTo>
                <a:cubicBezTo>
                  <a:pt x="1616888" y="2003327"/>
                  <a:pt x="1611506" y="2006715"/>
                  <a:pt x="1606240" y="2010282"/>
                </a:cubicBezTo>
                <a:cubicBezTo>
                  <a:pt x="1609750" y="2015632"/>
                  <a:pt x="1613378" y="2020982"/>
                  <a:pt x="1616888" y="2026332"/>
                </a:cubicBezTo>
                <a:lnTo>
                  <a:pt x="1643446" y="2031682"/>
                </a:lnTo>
                <a:lnTo>
                  <a:pt x="1654092" y="2020982"/>
                </a:lnTo>
                <a:lnTo>
                  <a:pt x="1686032" y="2020982"/>
                </a:lnTo>
                <a:lnTo>
                  <a:pt x="1686032" y="2052903"/>
                </a:lnTo>
                <a:lnTo>
                  <a:pt x="1686032" y="2074302"/>
                </a:lnTo>
                <a:lnTo>
                  <a:pt x="1670004" y="2074302"/>
                </a:lnTo>
                <a:cubicBezTo>
                  <a:pt x="1673512" y="2077869"/>
                  <a:pt x="1677140" y="2081257"/>
                  <a:pt x="1680650" y="2084824"/>
                </a:cubicBezTo>
                <a:cubicBezTo>
                  <a:pt x="1677140" y="2090174"/>
                  <a:pt x="1673512" y="2095524"/>
                  <a:pt x="1670004" y="2100874"/>
                </a:cubicBezTo>
                <a:lnTo>
                  <a:pt x="1686032" y="2106224"/>
                </a:lnTo>
                <a:lnTo>
                  <a:pt x="1696562" y="2095524"/>
                </a:lnTo>
                <a:cubicBezTo>
                  <a:pt x="1698316" y="2102657"/>
                  <a:pt x="1700188" y="2109612"/>
                  <a:pt x="1701942" y="2116745"/>
                </a:cubicBezTo>
                <a:cubicBezTo>
                  <a:pt x="1705452" y="2127445"/>
                  <a:pt x="1709080" y="2137966"/>
                  <a:pt x="1712590" y="2148666"/>
                </a:cubicBezTo>
                <a:cubicBezTo>
                  <a:pt x="1717854" y="2161149"/>
                  <a:pt x="1723236" y="2173454"/>
                  <a:pt x="1728500" y="2185937"/>
                </a:cubicBezTo>
                <a:lnTo>
                  <a:pt x="1728500" y="2207337"/>
                </a:lnTo>
                <a:lnTo>
                  <a:pt x="1744530" y="2223208"/>
                </a:lnTo>
                <a:cubicBezTo>
                  <a:pt x="1751550" y="2237474"/>
                  <a:pt x="1758686" y="2251563"/>
                  <a:pt x="1765706" y="2265829"/>
                </a:cubicBezTo>
                <a:cubicBezTo>
                  <a:pt x="1763950" y="2274745"/>
                  <a:pt x="1762196" y="2283484"/>
                  <a:pt x="1760440" y="2292400"/>
                </a:cubicBezTo>
                <a:lnTo>
                  <a:pt x="1781734" y="2297750"/>
                </a:lnTo>
                <a:lnTo>
                  <a:pt x="1786998" y="2313800"/>
                </a:lnTo>
                <a:cubicBezTo>
                  <a:pt x="1785244" y="2317366"/>
                  <a:pt x="1783488" y="2320755"/>
                  <a:pt x="1781734" y="2324321"/>
                </a:cubicBezTo>
                <a:lnTo>
                  <a:pt x="1797646" y="2324321"/>
                </a:lnTo>
                <a:lnTo>
                  <a:pt x="1813556" y="2345721"/>
                </a:lnTo>
                <a:lnTo>
                  <a:pt x="1813556" y="2356421"/>
                </a:lnTo>
                <a:lnTo>
                  <a:pt x="1824204" y="2356421"/>
                </a:lnTo>
                <a:lnTo>
                  <a:pt x="1840232" y="2382992"/>
                </a:lnTo>
                <a:lnTo>
                  <a:pt x="1850878" y="2388342"/>
                </a:lnTo>
                <a:lnTo>
                  <a:pt x="1872054" y="2404213"/>
                </a:lnTo>
                <a:lnTo>
                  <a:pt x="1893348" y="2404213"/>
                </a:lnTo>
                <a:lnTo>
                  <a:pt x="1920022" y="2388342"/>
                </a:lnTo>
                <a:lnTo>
                  <a:pt x="1951846" y="2388342"/>
                </a:lnTo>
                <a:lnTo>
                  <a:pt x="1978520" y="2382992"/>
                </a:lnTo>
                <a:lnTo>
                  <a:pt x="1999696" y="2398863"/>
                </a:lnTo>
                <a:lnTo>
                  <a:pt x="2015726" y="2409563"/>
                </a:lnTo>
                <a:lnTo>
                  <a:pt x="2015726" y="2388342"/>
                </a:lnTo>
                <a:cubicBezTo>
                  <a:pt x="2013970" y="2382992"/>
                  <a:pt x="2012098" y="2377642"/>
                  <a:pt x="2010344" y="2372292"/>
                </a:cubicBezTo>
                <a:lnTo>
                  <a:pt x="2010344" y="2361592"/>
                </a:lnTo>
                <a:lnTo>
                  <a:pt x="1994432" y="2366942"/>
                </a:lnTo>
                <a:lnTo>
                  <a:pt x="1973138" y="2361592"/>
                </a:lnTo>
                <a:lnTo>
                  <a:pt x="1951846" y="2340371"/>
                </a:lnTo>
                <a:cubicBezTo>
                  <a:pt x="1955356" y="2331454"/>
                  <a:pt x="1958982" y="2322716"/>
                  <a:pt x="1962492" y="2313800"/>
                </a:cubicBezTo>
                <a:lnTo>
                  <a:pt x="2010344" y="2297750"/>
                </a:lnTo>
                <a:lnTo>
                  <a:pt x="2052930" y="2292400"/>
                </a:lnTo>
                <a:cubicBezTo>
                  <a:pt x="2056440" y="2281700"/>
                  <a:pt x="2060066" y="2271179"/>
                  <a:pt x="2063576" y="2260479"/>
                </a:cubicBezTo>
                <a:lnTo>
                  <a:pt x="2084870" y="2244608"/>
                </a:lnTo>
                <a:lnTo>
                  <a:pt x="2127340" y="2260479"/>
                </a:lnTo>
                <a:lnTo>
                  <a:pt x="2154014" y="2292400"/>
                </a:lnTo>
                <a:lnTo>
                  <a:pt x="2159280" y="2319150"/>
                </a:lnTo>
                <a:cubicBezTo>
                  <a:pt x="2162788" y="2326283"/>
                  <a:pt x="2166416" y="2333238"/>
                  <a:pt x="2169926" y="2340371"/>
                </a:cubicBezTo>
                <a:cubicBezTo>
                  <a:pt x="2166416" y="2345721"/>
                  <a:pt x="2162788" y="2351071"/>
                  <a:pt x="2159280" y="2356421"/>
                </a:cubicBezTo>
                <a:lnTo>
                  <a:pt x="2159280" y="2372292"/>
                </a:lnTo>
                <a:lnTo>
                  <a:pt x="2164544" y="2393692"/>
                </a:lnTo>
                <a:cubicBezTo>
                  <a:pt x="2166298" y="2402608"/>
                  <a:pt x="2168170" y="2411346"/>
                  <a:pt x="2169926" y="2420263"/>
                </a:cubicBezTo>
                <a:lnTo>
                  <a:pt x="2196484" y="2430962"/>
                </a:lnTo>
                <a:lnTo>
                  <a:pt x="2217766" y="2452174"/>
                </a:lnTo>
                <a:lnTo>
                  <a:pt x="2217834" y="2452168"/>
                </a:lnTo>
                <a:lnTo>
                  <a:pt x="2260350" y="2468122"/>
                </a:lnTo>
                <a:lnTo>
                  <a:pt x="2313462" y="2505446"/>
                </a:lnTo>
                <a:lnTo>
                  <a:pt x="2345382" y="2526718"/>
                </a:lnTo>
                <a:lnTo>
                  <a:pt x="2372002" y="2537354"/>
                </a:lnTo>
                <a:lnTo>
                  <a:pt x="2403922" y="2526718"/>
                </a:lnTo>
                <a:cubicBezTo>
                  <a:pt x="2407412" y="2516082"/>
                  <a:pt x="2411030" y="2505347"/>
                  <a:pt x="2414518" y="2494711"/>
                </a:cubicBezTo>
                <a:cubicBezTo>
                  <a:pt x="2419816" y="2487621"/>
                  <a:pt x="2425244" y="2480530"/>
                  <a:pt x="2430542" y="2473440"/>
                </a:cubicBezTo>
                <a:lnTo>
                  <a:pt x="2451736" y="2473440"/>
                </a:lnTo>
                <a:lnTo>
                  <a:pt x="2483654" y="2489393"/>
                </a:lnTo>
                <a:lnTo>
                  <a:pt x="2510276" y="2510764"/>
                </a:lnTo>
                <a:cubicBezTo>
                  <a:pt x="2506786" y="2519627"/>
                  <a:pt x="2503168" y="2528490"/>
                  <a:pt x="2499680" y="2537354"/>
                </a:cubicBezTo>
                <a:cubicBezTo>
                  <a:pt x="2494380" y="2542672"/>
                  <a:pt x="2488954" y="2547989"/>
                  <a:pt x="2483654" y="2553307"/>
                </a:cubicBezTo>
                <a:cubicBezTo>
                  <a:pt x="2481846" y="2558625"/>
                  <a:pt x="2480166" y="2563943"/>
                  <a:pt x="2478356" y="2569261"/>
                </a:cubicBezTo>
                <a:lnTo>
                  <a:pt x="2494252" y="2574579"/>
                </a:lnTo>
                <a:lnTo>
                  <a:pt x="2478356" y="2585215"/>
                </a:lnTo>
                <a:cubicBezTo>
                  <a:pt x="2476548" y="2588760"/>
                  <a:pt x="2474868" y="2592306"/>
                  <a:pt x="2473058" y="2595851"/>
                </a:cubicBezTo>
                <a:cubicBezTo>
                  <a:pt x="2469570" y="2592306"/>
                  <a:pt x="2465950" y="2588760"/>
                  <a:pt x="2462462" y="2585215"/>
                </a:cubicBezTo>
                <a:cubicBezTo>
                  <a:pt x="2460652" y="2595851"/>
                  <a:pt x="2458844" y="2606585"/>
                  <a:pt x="2457034" y="2617221"/>
                </a:cubicBezTo>
                <a:cubicBezTo>
                  <a:pt x="2453544" y="2622539"/>
                  <a:pt x="2449926" y="2627857"/>
                  <a:pt x="2446438" y="2633175"/>
                </a:cubicBezTo>
                <a:lnTo>
                  <a:pt x="2446438" y="2659765"/>
                </a:lnTo>
                <a:lnTo>
                  <a:pt x="2446438" y="2681037"/>
                </a:lnTo>
                <a:lnTo>
                  <a:pt x="2478356" y="2675719"/>
                </a:lnTo>
                <a:lnTo>
                  <a:pt x="2494252" y="2675719"/>
                </a:lnTo>
                <a:cubicBezTo>
                  <a:pt x="2499550" y="2681037"/>
                  <a:pt x="2504978" y="2686355"/>
                  <a:pt x="2510276" y="2691673"/>
                </a:cubicBezTo>
                <a:cubicBezTo>
                  <a:pt x="2508466" y="2705854"/>
                  <a:pt x="2506786" y="2720134"/>
                  <a:pt x="2504978" y="2734315"/>
                </a:cubicBezTo>
                <a:cubicBezTo>
                  <a:pt x="2503168" y="2750269"/>
                  <a:pt x="2501488" y="2766223"/>
                  <a:pt x="2499680" y="2782177"/>
                </a:cubicBezTo>
                <a:lnTo>
                  <a:pt x="2499680" y="2803547"/>
                </a:lnTo>
                <a:lnTo>
                  <a:pt x="2536896" y="2851409"/>
                </a:lnTo>
                <a:lnTo>
                  <a:pt x="2563388" y="2883316"/>
                </a:lnTo>
                <a:lnTo>
                  <a:pt x="2600606" y="2925958"/>
                </a:lnTo>
                <a:lnTo>
                  <a:pt x="2627226" y="2963184"/>
                </a:lnTo>
                <a:lnTo>
                  <a:pt x="2669742" y="3000508"/>
                </a:lnTo>
                <a:lnTo>
                  <a:pt x="2717684" y="3021780"/>
                </a:lnTo>
                <a:lnTo>
                  <a:pt x="2749604" y="3037734"/>
                </a:lnTo>
                <a:lnTo>
                  <a:pt x="2813442" y="3037734"/>
                </a:lnTo>
                <a:lnTo>
                  <a:pt x="2845232" y="3037734"/>
                </a:lnTo>
                <a:lnTo>
                  <a:pt x="2898474" y="3043052"/>
                </a:lnTo>
                <a:lnTo>
                  <a:pt x="2919796" y="3064324"/>
                </a:lnTo>
                <a:cubicBezTo>
                  <a:pt x="2926904" y="3074960"/>
                  <a:pt x="2933882" y="3085694"/>
                  <a:pt x="2940990" y="3096330"/>
                </a:cubicBezTo>
                <a:cubicBezTo>
                  <a:pt x="2942798" y="3106966"/>
                  <a:pt x="2944478" y="3117602"/>
                  <a:pt x="2946288" y="3128238"/>
                </a:cubicBezTo>
                <a:cubicBezTo>
                  <a:pt x="2951586" y="3140647"/>
                  <a:pt x="2957014" y="3153055"/>
                  <a:pt x="2962312" y="3165464"/>
                </a:cubicBezTo>
                <a:cubicBezTo>
                  <a:pt x="2964120" y="3179645"/>
                  <a:pt x="2965800" y="3193925"/>
                  <a:pt x="2967610" y="3208106"/>
                </a:cubicBezTo>
                <a:lnTo>
                  <a:pt x="2951716" y="3208106"/>
                </a:lnTo>
                <a:cubicBezTo>
                  <a:pt x="2946416" y="3213424"/>
                  <a:pt x="2940990" y="3218742"/>
                  <a:pt x="2935692" y="3224060"/>
                </a:cubicBezTo>
                <a:cubicBezTo>
                  <a:pt x="2932202" y="3229378"/>
                  <a:pt x="2928584" y="3234696"/>
                  <a:pt x="2925094" y="3240014"/>
                </a:cubicBezTo>
                <a:cubicBezTo>
                  <a:pt x="2921476" y="3245332"/>
                  <a:pt x="2917986" y="3250649"/>
                  <a:pt x="2914368" y="3255967"/>
                </a:cubicBezTo>
                <a:lnTo>
                  <a:pt x="2919796" y="3277239"/>
                </a:lnTo>
                <a:lnTo>
                  <a:pt x="2893176" y="3282557"/>
                </a:lnTo>
                <a:lnTo>
                  <a:pt x="2871852" y="3266603"/>
                </a:lnTo>
                <a:lnTo>
                  <a:pt x="2850660" y="3277239"/>
                </a:lnTo>
                <a:lnTo>
                  <a:pt x="2834636" y="3303928"/>
                </a:lnTo>
                <a:cubicBezTo>
                  <a:pt x="2832826" y="3311018"/>
                  <a:pt x="2831146" y="3318109"/>
                  <a:pt x="2829338" y="3325199"/>
                </a:cubicBezTo>
                <a:lnTo>
                  <a:pt x="2829338" y="3373061"/>
                </a:lnTo>
                <a:lnTo>
                  <a:pt x="2829338" y="3436895"/>
                </a:lnTo>
                <a:lnTo>
                  <a:pt x="2829388" y="3436913"/>
                </a:lnTo>
                <a:cubicBezTo>
                  <a:pt x="2827670" y="3456477"/>
                  <a:pt x="2825782" y="3476040"/>
                  <a:pt x="2824064" y="3495603"/>
                </a:cubicBezTo>
                <a:cubicBezTo>
                  <a:pt x="2825782" y="3511566"/>
                  <a:pt x="2827670" y="3527530"/>
                  <a:pt x="2829388" y="3543493"/>
                </a:cubicBezTo>
                <a:cubicBezTo>
                  <a:pt x="2831106" y="3554135"/>
                  <a:pt x="2832996" y="3564778"/>
                  <a:pt x="2834714" y="3575420"/>
                </a:cubicBezTo>
                <a:lnTo>
                  <a:pt x="2866492" y="3602026"/>
                </a:lnTo>
                <a:lnTo>
                  <a:pt x="2882466" y="3633953"/>
                </a:lnTo>
                <a:lnTo>
                  <a:pt x="2919740" y="3665880"/>
                </a:lnTo>
                <a:cubicBezTo>
                  <a:pt x="2926782" y="3676522"/>
                  <a:pt x="2933998" y="3687164"/>
                  <a:pt x="2941040" y="3697806"/>
                </a:cubicBezTo>
                <a:cubicBezTo>
                  <a:pt x="2948082" y="3694207"/>
                  <a:pt x="2955296" y="3690764"/>
                  <a:pt x="2962340" y="3687164"/>
                </a:cubicBezTo>
                <a:cubicBezTo>
                  <a:pt x="2967664" y="3683565"/>
                  <a:pt x="2972990" y="3680121"/>
                  <a:pt x="2978314" y="3676522"/>
                </a:cubicBezTo>
                <a:lnTo>
                  <a:pt x="3010092" y="3697806"/>
                </a:lnTo>
                <a:cubicBezTo>
                  <a:pt x="3015416" y="3706727"/>
                  <a:pt x="3020742" y="3715491"/>
                  <a:pt x="3026066" y="3724412"/>
                </a:cubicBezTo>
                <a:lnTo>
                  <a:pt x="2999442" y="3729733"/>
                </a:lnTo>
                <a:cubicBezTo>
                  <a:pt x="2997724" y="3733333"/>
                  <a:pt x="2995834" y="3736776"/>
                  <a:pt x="2994116" y="3740376"/>
                </a:cubicBezTo>
                <a:cubicBezTo>
                  <a:pt x="2997724" y="3742097"/>
                  <a:pt x="3001160" y="3743975"/>
                  <a:pt x="3004766" y="3745697"/>
                </a:cubicBezTo>
                <a:lnTo>
                  <a:pt x="3058016" y="3740376"/>
                </a:lnTo>
                <a:lnTo>
                  <a:pt x="3084640" y="3751018"/>
                </a:lnTo>
                <a:lnTo>
                  <a:pt x="3084640" y="3777624"/>
                </a:lnTo>
                <a:cubicBezTo>
                  <a:pt x="3081032" y="3788266"/>
                  <a:pt x="3077598" y="3798908"/>
                  <a:pt x="3073990" y="3809551"/>
                </a:cubicBezTo>
                <a:cubicBezTo>
                  <a:pt x="3068666" y="3813150"/>
                  <a:pt x="3063340" y="3816593"/>
                  <a:pt x="3058016" y="3820193"/>
                </a:cubicBezTo>
                <a:lnTo>
                  <a:pt x="3042040" y="3836156"/>
                </a:lnTo>
                <a:cubicBezTo>
                  <a:pt x="3040324" y="3843199"/>
                  <a:pt x="3038434" y="3850398"/>
                  <a:pt x="3036716" y="3857441"/>
                </a:cubicBezTo>
                <a:cubicBezTo>
                  <a:pt x="3040324" y="3866362"/>
                  <a:pt x="3043758" y="3875283"/>
                  <a:pt x="3047366" y="3884203"/>
                </a:cubicBezTo>
                <a:cubicBezTo>
                  <a:pt x="3040324" y="3887803"/>
                  <a:pt x="3033108" y="3891246"/>
                  <a:pt x="3026066" y="3894846"/>
                </a:cubicBezTo>
                <a:cubicBezTo>
                  <a:pt x="3024348" y="3901888"/>
                  <a:pt x="3022460" y="3909087"/>
                  <a:pt x="3020742" y="3916130"/>
                </a:cubicBezTo>
                <a:lnTo>
                  <a:pt x="3010092" y="3916130"/>
                </a:lnTo>
                <a:cubicBezTo>
                  <a:pt x="3011810" y="3921451"/>
                  <a:pt x="3013698" y="3926773"/>
                  <a:pt x="3015416" y="3932094"/>
                </a:cubicBezTo>
                <a:cubicBezTo>
                  <a:pt x="3011810" y="3933815"/>
                  <a:pt x="3008374" y="3935693"/>
                  <a:pt x="3004766" y="3937415"/>
                </a:cubicBezTo>
                <a:cubicBezTo>
                  <a:pt x="3008374" y="3948057"/>
                  <a:pt x="3011810" y="3958699"/>
                  <a:pt x="3015416" y="3969342"/>
                </a:cubicBezTo>
                <a:lnTo>
                  <a:pt x="3015416" y="4017232"/>
                </a:lnTo>
                <a:cubicBezTo>
                  <a:pt x="3017134" y="4031474"/>
                  <a:pt x="3019024" y="4045559"/>
                  <a:pt x="3020742" y="4059801"/>
                </a:cubicBezTo>
                <a:cubicBezTo>
                  <a:pt x="3017134" y="4061523"/>
                  <a:pt x="3013698" y="4063401"/>
                  <a:pt x="3010092" y="4065123"/>
                </a:cubicBezTo>
                <a:cubicBezTo>
                  <a:pt x="3004766" y="4061523"/>
                  <a:pt x="2999442" y="4058080"/>
                  <a:pt x="2994116" y="4054480"/>
                </a:cubicBezTo>
                <a:cubicBezTo>
                  <a:pt x="2988792" y="4047437"/>
                  <a:pt x="2983638" y="4040238"/>
                  <a:pt x="2978314" y="4033196"/>
                </a:cubicBezTo>
                <a:lnTo>
                  <a:pt x="2962340" y="4033196"/>
                </a:lnTo>
                <a:cubicBezTo>
                  <a:pt x="2957014" y="4034917"/>
                  <a:pt x="2951690" y="4036795"/>
                  <a:pt x="2946364" y="4038517"/>
                </a:cubicBezTo>
                <a:cubicBezTo>
                  <a:pt x="2944646" y="4042116"/>
                  <a:pt x="2942758" y="4045559"/>
                  <a:pt x="2941040" y="4049159"/>
                </a:cubicBezTo>
                <a:cubicBezTo>
                  <a:pt x="2942758" y="4056202"/>
                  <a:pt x="2944646" y="4063401"/>
                  <a:pt x="2946364" y="4070444"/>
                </a:cubicBezTo>
                <a:cubicBezTo>
                  <a:pt x="2953408" y="4074043"/>
                  <a:pt x="2960622" y="4077486"/>
                  <a:pt x="2967664" y="4081086"/>
                </a:cubicBezTo>
                <a:cubicBezTo>
                  <a:pt x="2972990" y="4084686"/>
                  <a:pt x="2978314" y="4088129"/>
                  <a:pt x="2983638" y="4091728"/>
                </a:cubicBezTo>
                <a:lnTo>
                  <a:pt x="3004766" y="4081086"/>
                </a:lnTo>
                <a:cubicBezTo>
                  <a:pt x="3006484" y="4077486"/>
                  <a:pt x="3008374" y="4074043"/>
                  <a:pt x="3010092" y="4070444"/>
                </a:cubicBezTo>
                <a:lnTo>
                  <a:pt x="3031392" y="4075765"/>
                </a:lnTo>
                <a:cubicBezTo>
                  <a:pt x="3033108" y="4088129"/>
                  <a:pt x="3034998" y="4100649"/>
                  <a:pt x="3036716" y="4113013"/>
                </a:cubicBezTo>
                <a:cubicBezTo>
                  <a:pt x="3038434" y="4118334"/>
                  <a:pt x="3040324" y="4123655"/>
                  <a:pt x="3042040" y="4128976"/>
                </a:cubicBezTo>
                <a:lnTo>
                  <a:pt x="3063340" y="4123655"/>
                </a:lnTo>
                <a:lnTo>
                  <a:pt x="3073990" y="4134297"/>
                </a:lnTo>
                <a:cubicBezTo>
                  <a:pt x="3075708" y="4141340"/>
                  <a:pt x="3077598" y="4148539"/>
                  <a:pt x="3079316" y="4155582"/>
                </a:cubicBezTo>
                <a:cubicBezTo>
                  <a:pt x="3073990" y="4159182"/>
                  <a:pt x="3068666" y="4162625"/>
                  <a:pt x="3063340" y="4166224"/>
                </a:cubicBezTo>
                <a:cubicBezTo>
                  <a:pt x="3065058" y="4171546"/>
                  <a:pt x="3066948" y="4176867"/>
                  <a:pt x="3068666" y="4182188"/>
                </a:cubicBezTo>
                <a:lnTo>
                  <a:pt x="3089966" y="4176867"/>
                </a:lnTo>
                <a:cubicBezTo>
                  <a:pt x="3095290" y="4178588"/>
                  <a:pt x="3100614" y="4180466"/>
                  <a:pt x="3105940" y="4182188"/>
                </a:cubicBezTo>
                <a:cubicBezTo>
                  <a:pt x="3111264" y="4191109"/>
                  <a:pt x="3116590" y="4199873"/>
                  <a:pt x="3121914" y="4208794"/>
                </a:cubicBezTo>
                <a:cubicBezTo>
                  <a:pt x="3123632" y="4201751"/>
                  <a:pt x="3125350" y="4194552"/>
                  <a:pt x="3127068" y="4187509"/>
                </a:cubicBezTo>
                <a:lnTo>
                  <a:pt x="3148368" y="4187509"/>
                </a:lnTo>
                <a:lnTo>
                  <a:pt x="3159016" y="4198151"/>
                </a:lnTo>
                <a:cubicBezTo>
                  <a:pt x="3164342" y="4199873"/>
                  <a:pt x="3169666" y="4201751"/>
                  <a:pt x="3174992" y="4203473"/>
                </a:cubicBezTo>
                <a:lnTo>
                  <a:pt x="3174992" y="4214115"/>
                </a:lnTo>
                <a:lnTo>
                  <a:pt x="3201616" y="4230078"/>
                </a:lnTo>
                <a:cubicBezTo>
                  <a:pt x="3199898" y="4235399"/>
                  <a:pt x="3198008" y="4240721"/>
                  <a:pt x="3196292" y="4246042"/>
                </a:cubicBezTo>
                <a:cubicBezTo>
                  <a:pt x="3198008" y="4260284"/>
                  <a:pt x="3199898" y="4274525"/>
                  <a:pt x="3201616" y="4288767"/>
                </a:cubicBezTo>
                <a:cubicBezTo>
                  <a:pt x="3203334" y="4295810"/>
                  <a:pt x="3205224" y="4303009"/>
                  <a:pt x="3206940" y="4310052"/>
                </a:cubicBezTo>
                <a:lnTo>
                  <a:pt x="3222916" y="4310052"/>
                </a:lnTo>
                <a:cubicBezTo>
                  <a:pt x="3226524" y="4317095"/>
                  <a:pt x="3229958" y="4324294"/>
                  <a:pt x="3233566" y="4331337"/>
                </a:cubicBezTo>
                <a:lnTo>
                  <a:pt x="3254866" y="4336658"/>
                </a:lnTo>
                <a:cubicBezTo>
                  <a:pt x="3258300" y="4345579"/>
                  <a:pt x="3261908" y="4354343"/>
                  <a:pt x="3265344" y="4363264"/>
                </a:cubicBezTo>
                <a:cubicBezTo>
                  <a:pt x="3261908" y="4370306"/>
                  <a:pt x="3258300" y="4377505"/>
                  <a:pt x="3254866" y="4384548"/>
                </a:cubicBezTo>
                <a:cubicBezTo>
                  <a:pt x="3260190" y="4386270"/>
                  <a:pt x="3265344" y="4388148"/>
                  <a:pt x="3270668" y="4389869"/>
                </a:cubicBezTo>
                <a:cubicBezTo>
                  <a:pt x="3274276" y="4400512"/>
                  <a:pt x="3277710" y="4411154"/>
                  <a:pt x="3281318" y="4421796"/>
                </a:cubicBezTo>
                <a:cubicBezTo>
                  <a:pt x="3284924" y="4432439"/>
                  <a:pt x="3288360" y="4443081"/>
                  <a:pt x="3291968" y="4453723"/>
                </a:cubicBezTo>
                <a:lnTo>
                  <a:pt x="3291968" y="4480329"/>
                </a:lnTo>
                <a:cubicBezTo>
                  <a:pt x="3293686" y="4487372"/>
                  <a:pt x="3295574" y="4494571"/>
                  <a:pt x="3297292" y="4501613"/>
                </a:cubicBezTo>
                <a:lnTo>
                  <a:pt x="3297292" y="4522898"/>
                </a:lnTo>
                <a:lnTo>
                  <a:pt x="3286642" y="4533541"/>
                </a:lnTo>
                <a:lnTo>
                  <a:pt x="3275992" y="4544183"/>
                </a:lnTo>
                <a:cubicBezTo>
                  <a:pt x="3279600" y="4549504"/>
                  <a:pt x="3283036" y="4554825"/>
                  <a:pt x="3286642" y="4560146"/>
                </a:cubicBezTo>
                <a:lnTo>
                  <a:pt x="3286642" y="4581431"/>
                </a:lnTo>
                <a:cubicBezTo>
                  <a:pt x="3293686" y="4585031"/>
                  <a:pt x="3300900" y="4588473"/>
                  <a:pt x="3307942" y="4592073"/>
                </a:cubicBezTo>
                <a:cubicBezTo>
                  <a:pt x="3309660" y="4606315"/>
                  <a:pt x="3311550" y="4620401"/>
                  <a:pt x="3313268" y="4634642"/>
                </a:cubicBezTo>
                <a:lnTo>
                  <a:pt x="3313268" y="4682689"/>
                </a:lnTo>
                <a:cubicBezTo>
                  <a:pt x="3314984" y="4698653"/>
                  <a:pt x="3316874" y="4714616"/>
                  <a:pt x="3318592" y="4730580"/>
                </a:cubicBezTo>
                <a:lnTo>
                  <a:pt x="3318592" y="4773149"/>
                </a:lnTo>
                <a:cubicBezTo>
                  <a:pt x="3320310" y="4787391"/>
                  <a:pt x="3322200" y="4801476"/>
                  <a:pt x="3323916" y="4815718"/>
                </a:cubicBezTo>
                <a:lnTo>
                  <a:pt x="3323916" y="4847645"/>
                </a:lnTo>
                <a:lnTo>
                  <a:pt x="3297292" y="4837003"/>
                </a:lnTo>
                <a:cubicBezTo>
                  <a:pt x="3291968" y="4829960"/>
                  <a:pt x="3286642" y="4822761"/>
                  <a:pt x="3281318" y="4815718"/>
                </a:cubicBezTo>
                <a:lnTo>
                  <a:pt x="3265344" y="4815718"/>
                </a:lnTo>
                <a:cubicBezTo>
                  <a:pt x="3263626" y="4810397"/>
                  <a:pt x="3261736" y="4805076"/>
                  <a:pt x="3260018" y="4799755"/>
                </a:cubicBezTo>
                <a:lnTo>
                  <a:pt x="3238890" y="4799755"/>
                </a:lnTo>
                <a:cubicBezTo>
                  <a:pt x="3231848" y="4796155"/>
                  <a:pt x="3224634" y="4792712"/>
                  <a:pt x="3217590" y="4789112"/>
                </a:cubicBezTo>
                <a:lnTo>
                  <a:pt x="3185642" y="4789112"/>
                </a:lnTo>
                <a:lnTo>
                  <a:pt x="3132392" y="4783791"/>
                </a:lnTo>
                <a:lnTo>
                  <a:pt x="3095290" y="4762507"/>
                </a:lnTo>
                <a:lnTo>
                  <a:pt x="3052690" y="4725259"/>
                </a:lnTo>
                <a:lnTo>
                  <a:pt x="3015416" y="4693332"/>
                </a:lnTo>
                <a:lnTo>
                  <a:pt x="2967664" y="4656083"/>
                </a:lnTo>
                <a:lnTo>
                  <a:pt x="2914416" y="4624000"/>
                </a:lnTo>
                <a:lnTo>
                  <a:pt x="2871816" y="4592073"/>
                </a:lnTo>
                <a:lnTo>
                  <a:pt x="2824064" y="4565467"/>
                </a:lnTo>
                <a:lnTo>
                  <a:pt x="2792114" y="4554825"/>
                </a:lnTo>
                <a:cubicBezTo>
                  <a:pt x="2785072" y="4551225"/>
                  <a:pt x="2777858" y="4547782"/>
                  <a:pt x="2770814" y="4544183"/>
                </a:cubicBezTo>
                <a:cubicBezTo>
                  <a:pt x="2767208" y="4542461"/>
                  <a:pt x="2763772" y="4540583"/>
                  <a:pt x="2760164" y="4538862"/>
                </a:cubicBezTo>
                <a:cubicBezTo>
                  <a:pt x="2765490" y="4535262"/>
                  <a:pt x="2770814" y="4531819"/>
                  <a:pt x="2776140" y="4528219"/>
                </a:cubicBezTo>
                <a:cubicBezTo>
                  <a:pt x="2779746" y="4522898"/>
                  <a:pt x="2783182" y="4517577"/>
                  <a:pt x="2786790" y="4512256"/>
                </a:cubicBezTo>
                <a:lnTo>
                  <a:pt x="2770814" y="4512256"/>
                </a:lnTo>
                <a:cubicBezTo>
                  <a:pt x="2765490" y="4515855"/>
                  <a:pt x="2760164" y="4519299"/>
                  <a:pt x="2754840" y="4522898"/>
                </a:cubicBezTo>
                <a:lnTo>
                  <a:pt x="2733540" y="4528219"/>
                </a:lnTo>
                <a:lnTo>
                  <a:pt x="2707088" y="4517577"/>
                </a:lnTo>
                <a:lnTo>
                  <a:pt x="2637864" y="4480329"/>
                </a:lnTo>
                <a:lnTo>
                  <a:pt x="2552838" y="4421796"/>
                </a:lnTo>
                <a:lnTo>
                  <a:pt x="2430536" y="4363264"/>
                </a:lnTo>
                <a:lnTo>
                  <a:pt x="2281612" y="4283446"/>
                </a:lnTo>
                <a:lnTo>
                  <a:pt x="2153986" y="4230078"/>
                </a:lnTo>
                <a:lnTo>
                  <a:pt x="2090086" y="4192830"/>
                </a:lnTo>
                <a:cubicBezTo>
                  <a:pt x="2084762" y="4185787"/>
                  <a:pt x="2079436" y="4178588"/>
                  <a:pt x="2074112" y="4171546"/>
                </a:cubicBezTo>
                <a:cubicBezTo>
                  <a:pt x="2068788" y="4169824"/>
                  <a:pt x="2063634" y="4167946"/>
                  <a:pt x="2058310" y="4166224"/>
                </a:cubicBezTo>
                <a:cubicBezTo>
                  <a:pt x="2054702" y="4160903"/>
                  <a:pt x="2051266" y="4155582"/>
                  <a:pt x="2047660" y="4150261"/>
                </a:cubicBezTo>
                <a:cubicBezTo>
                  <a:pt x="2042334" y="4146661"/>
                  <a:pt x="2037010" y="4143218"/>
                  <a:pt x="2031684" y="4139619"/>
                </a:cubicBezTo>
                <a:cubicBezTo>
                  <a:pt x="2024642" y="4136019"/>
                  <a:pt x="2017428" y="4132576"/>
                  <a:pt x="2010384" y="4128976"/>
                </a:cubicBezTo>
                <a:lnTo>
                  <a:pt x="1973110" y="4097049"/>
                </a:lnTo>
                <a:lnTo>
                  <a:pt x="1904058" y="4065123"/>
                </a:lnTo>
                <a:lnTo>
                  <a:pt x="1824186" y="4011911"/>
                </a:lnTo>
                <a:lnTo>
                  <a:pt x="1776432" y="3969342"/>
                </a:lnTo>
                <a:lnTo>
                  <a:pt x="1712534" y="3910809"/>
                </a:lnTo>
                <a:lnTo>
                  <a:pt x="1664782" y="3873561"/>
                </a:lnTo>
                <a:lnTo>
                  <a:pt x="1622182" y="3820193"/>
                </a:lnTo>
                <a:cubicBezTo>
                  <a:pt x="1616858" y="3813150"/>
                  <a:pt x="1611532" y="3805951"/>
                  <a:pt x="1606208" y="3798908"/>
                </a:cubicBezTo>
                <a:lnTo>
                  <a:pt x="1606208" y="3777624"/>
                </a:lnTo>
                <a:cubicBezTo>
                  <a:pt x="1607926" y="3774024"/>
                  <a:pt x="1609816" y="3770581"/>
                  <a:pt x="1611532" y="3766981"/>
                </a:cubicBezTo>
                <a:lnTo>
                  <a:pt x="1612218" y="3765730"/>
                </a:lnTo>
                <a:lnTo>
                  <a:pt x="1606164" y="3767019"/>
                </a:lnTo>
                <a:lnTo>
                  <a:pt x="1569006" y="3740377"/>
                </a:lnTo>
                <a:lnTo>
                  <a:pt x="1526452" y="3692451"/>
                </a:lnTo>
                <a:lnTo>
                  <a:pt x="1489208" y="3649881"/>
                </a:lnTo>
                <a:lnTo>
                  <a:pt x="1467974" y="3607312"/>
                </a:lnTo>
                <a:cubicBezTo>
                  <a:pt x="1464378" y="3603837"/>
                  <a:pt x="1460868" y="3600217"/>
                  <a:pt x="1457272" y="3596742"/>
                </a:cubicBezTo>
                <a:cubicBezTo>
                  <a:pt x="1453762" y="3584290"/>
                  <a:pt x="1450166" y="3571838"/>
                  <a:pt x="1446656" y="3559385"/>
                </a:cubicBezTo>
                <a:cubicBezTo>
                  <a:pt x="1443146" y="3543458"/>
                  <a:pt x="1439550" y="3527386"/>
                  <a:pt x="1436038" y="3511459"/>
                </a:cubicBezTo>
                <a:cubicBezTo>
                  <a:pt x="1437836" y="3506101"/>
                  <a:pt x="1439550" y="3500889"/>
                  <a:pt x="1441348" y="3495532"/>
                </a:cubicBezTo>
                <a:lnTo>
                  <a:pt x="1457272" y="3490174"/>
                </a:lnTo>
                <a:lnTo>
                  <a:pt x="1457272" y="3474247"/>
                </a:lnTo>
                <a:cubicBezTo>
                  <a:pt x="1455474" y="3465415"/>
                  <a:pt x="1453762" y="3456437"/>
                  <a:pt x="1451964" y="3447605"/>
                </a:cubicBezTo>
                <a:lnTo>
                  <a:pt x="1436038" y="3431678"/>
                </a:lnTo>
                <a:cubicBezTo>
                  <a:pt x="1432528" y="3426320"/>
                  <a:pt x="1428932" y="3421108"/>
                  <a:pt x="1425422" y="3415751"/>
                </a:cubicBezTo>
                <a:cubicBezTo>
                  <a:pt x="1428932" y="3412131"/>
                  <a:pt x="1432528" y="3408656"/>
                  <a:pt x="1436038" y="3405036"/>
                </a:cubicBezTo>
                <a:lnTo>
                  <a:pt x="1451964" y="3405036"/>
                </a:lnTo>
                <a:cubicBezTo>
                  <a:pt x="1448454" y="3385489"/>
                  <a:pt x="1444858" y="3366086"/>
                  <a:pt x="1441348" y="3346539"/>
                </a:cubicBezTo>
                <a:lnTo>
                  <a:pt x="1420114" y="3314540"/>
                </a:lnTo>
                <a:lnTo>
                  <a:pt x="1404102" y="3266613"/>
                </a:lnTo>
                <a:lnTo>
                  <a:pt x="1388178" y="3261256"/>
                </a:lnTo>
                <a:lnTo>
                  <a:pt x="1361550" y="3250686"/>
                </a:lnTo>
                <a:lnTo>
                  <a:pt x="1340316" y="3234759"/>
                </a:lnTo>
                <a:lnTo>
                  <a:pt x="1329700" y="3234759"/>
                </a:lnTo>
                <a:lnTo>
                  <a:pt x="1308380" y="3218687"/>
                </a:lnTo>
                <a:lnTo>
                  <a:pt x="1292454" y="3224044"/>
                </a:lnTo>
                <a:lnTo>
                  <a:pt x="1271136" y="3229401"/>
                </a:lnTo>
                <a:cubicBezTo>
                  <a:pt x="1269338" y="3222307"/>
                  <a:pt x="1267626" y="3215212"/>
                  <a:pt x="1265828" y="3208117"/>
                </a:cubicBezTo>
                <a:cubicBezTo>
                  <a:pt x="1264030" y="3197402"/>
                  <a:pt x="1262316" y="3186832"/>
                  <a:pt x="1260518" y="3176118"/>
                </a:cubicBezTo>
                <a:lnTo>
                  <a:pt x="1260518" y="3160190"/>
                </a:lnTo>
                <a:lnTo>
                  <a:pt x="1303072" y="3160190"/>
                </a:lnTo>
                <a:lnTo>
                  <a:pt x="1340316" y="3160190"/>
                </a:lnTo>
                <a:lnTo>
                  <a:pt x="1356242" y="3138906"/>
                </a:lnTo>
                <a:lnTo>
                  <a:pt x="1356242" y="3106906"/>
                </a:lnTo>
                <a:lnTo>
                  <a:pt x="1345624" y="3080264"/>
                </a:lnTo>
                <a:lnTo>
                  <a:pt x="1324390" y="3075052"/>
                </a:lnTo>
                <a:lnTo>
                  <a:pt x="1318996" y="3037695"/>
                </a:lnTo>
                <a:lnTo>
                  <a:pt x="1340316" y="3021768"/>
                </a:lnTo>
                <a:lnTo>
                  <a:pt x="1350934" y="3021768"/>
                </a:lnTo>
                <a:lnTo>
                  <a:pt x="1372252" y="2995126"/>
                </a:lnTo>
                <a:cubicBezTo>
                  <a:pt x="1374050" y="2984556"/>
                  <a:pt x="1375762" y="2973841"/>
                  <a:pt x="1377560" y="2963271"/>
                </a:cubicBezTo>
                <a:lnTo>
                  <a:pt x="1388178" y="2947199"/>
                </a:lnTo>
                <a:lnTo>
                  <a:pt x="1377560" y="2925915"/>
                </a:lnTo>
                <a:cubicBezTo>
                  <a:pt x="1375762" y="2911725"/>
                  <a:pt x="1374050" y="2897535"/>
                  <a:pt x="1372252" y="2883345"/>
                </a:cubicBezTo>
                <a:cubicBezTo>
                  <a:pt x="1370454" y="2856703"/>
                  <a:pt x="1368656" y="2830206"/>
                  <a:pt x="1366858" y="2803564"/>
                </a:cubicBezTo>
                <a:cubicBezTo>
                  <a:pt x="1368656" y="2794732"/>
                  <a:pt x="1370454" y="2785755"/>
                  <a:pt x="1372252" y="2776922"/>
                </a:cubicBezTo>
                <a:lnTo>
                  <a:pt x="1372252" y="2744923"/>
                </a:lnTo>
                <a:lnTo>
                  <a:pt x="1372252" y="2718281"/>
                </a:lnTo>
                <a:lnTo>
                  <a:pt x="1372252" y="2696996"/>
                </a:lnTo>
                <a:lnTo>
                  <a:pt x="1356242" y="2681069"/>
                </a:lnTo>
                <a:cubicBezTo>
                  <a:pt x="1352732" y="2670354"/>
                  <a:pt x="1349136" y="2659784"/>
                  <a:pt x="1345624" y="2649070"/>
                </a:cubicBezTo>
                <a:cubicBezTo>
                  <a:pt x="1343826" y="2634880"/>
                  <a:pt x="1342114" y="2620690"/>
                  <a:pt x="1340316" y="2606500"/>
                </a:cubicBezTo>
                <a:lnTo>
                  <a:pt x="1340316" y="2579858"/>
                </a:lnTo>
                <a:lnTo>
                  <a:pt x="1329700" y="2569289"/>
                </a:lnTo>
                <a:lnTo>
                  <a:pt x="1313688" y="2563931"/>
                </a:lnTo>
                <a:lnTo>
                  <a:pt x="1329700" y="2542647"/>
                </a:lnTo>
                <a:cubicBezTo>
                  <a:pt x="1327902" y="2539172"/>
                  <a:pt x="1326188" y="2535552"/>
                  <a:pt x="1324390" y="2532077"/>
                </a:cubicBezTo>
                <a:lnTo>
                  <a:pt x="1303072" y="2532077"/>
                </a:lnTo>
                <a:lnTo>
                  <a:pt x="1287146" y="2516005"/>
                </a:lnTo>
                <a:lnTo>
                  <a:pt x="1276530" y="2505435"/>
                </a:lnTo>
                <a:lnTo>
                  <a:pt x="1276530" y="2484150"/>
                </a:lnTo>
                <a:cubicBezTo>
                  <a:pt x="1272934" y="2475318"/>
                  <a:pt x="1269424" y="2466341"/>
                  <a:pt x="1265828" y="2457508"/>
                </a:cubicBezTo>
                <a:lnTo>
                  <a:pt x="1255210" y="2430866"/>
                </a:lnTo>
                <a:cubicBezTo>
                  <a:pt x="1253412" y="2425509"/>
                  <a:pt x="1251700" y="2420296"/>
                  <a:pt x="1249902" y="2414939"/>
                </a:cubicBezTo>
                <a:lnTo>
                  <a:pt x="1250060" y="2414894"/>
                </a:lnTo>
                <a:lnTo>
                  <a:pt x="1249722" y="2414905"/>
                </a:lnTo>
                <a:cubicBezTo>
                  <a:pt x="1246088" y="2391908"/>
                  <a:pt x="1242756" y="2368682"/>
                  <a:pt x="1239272" y="2345685"/>
                </a:cubicBezTo>
                <a:cubicBezTo>
                  <a:pt x="1232002" y="2338556"/>
                  <a:pt x="1224884" y="2331427"/>
                  <a:pt x="1218068" y="2324298"/>
                </a:cubicBezTo>
                <a:cubicBezTo>
                  <a:pt x="1219584" y="2310040"/>
                  <a:pt x="1221552" y="2296013"/>
                  <a:pt x="1223066" y="2281755"/>
                </a:cubicBezTo>
                <a:cubicBezTo>
                  <a:pt x="1224884" y="2265887"/>
                  <a:pt x="1227004" y="2249789"/>
                  <a:pt x="1228520" y="2233922"/>
                </a:cubicBezTo>
                <a:cubicBezTo>
                  <a:pt x="1224884" y="2216214"/>
                  <a:pt x="1221552" y="2198277"/>
                  <a:pt x="1218068" y="2180570"/>
                </a:cubicBezTo>
                <a:cubicBezTo>
                  <a:pt x="1216252" y="2162862"/>
                  <a:pt x="1214132" y="2145155"/>
                  <a:pt x="1212616" y="2127448"/>
                </a:cubicBezTo>
                <a:cubicBezTo>
                  <a:pt x="1207316" y="2115029"/>
                  <a:pt x="1202166" y="2102611"/>
                  <a:pt x="1196866" y="2090193"/>
                </a:cubicBezTo>
                <a:lnTo>
                  <a:pt x="1175360" y="2052939"/>
                </a:lnTo>
                <a:cubicBezTo>
                  <a:pt x="1173846" y="2026263"/>
                  <a:pt x="1171876" y="1999817"/>
                  <a:pt x="1170362" y="1973141"/>
                </a:cubicBezTo>
                <a:cubicBezTo>
                  <a:pt x="1168544" y="1960722"/>
                  <a:pt x="1166424" y="1948304"/>
                  <a:pt x="1164910" y="1935886"/>
                </a:cubicBezTo>
                <a:cubicBezTo>
                  <a:pt x="1163092" y="1926917"/>
                  <a:pt x="1161426" y="1918179"/>
                  <a:pt x="1159610" y="1909210"/>
                </a:cubicBezTo>
                <a:lnTo>
                  <a:pt x="1127350" y="1903921"/>
                </a:lnTo>
                <a:cubicBezTo>
                  <a:pt x="1122352" y="1893342"/>
                  <a:pt x="1116900" y="1882534"/>
                  <a:pt x="1111600" y="1871956"/>
                </a:cubicBezTo>
                <a:cubicBezTo>
                  <a:pt x="1107964" y="1861377"/>
                  <a:pt x="1104632" y="1850569"/>
                  <a:pt x="1100846" y="1839990"/>
                </a:cubicBezTo>
                <a:cubicBezTo>
                  <a:pt x="1102664" y="1827572"/>
                  <a:pt x="1104632" y="1815154"/>
                  <a:pt x="1106148" y="1802736"/>
                </a:cubicBezTo>
                <a:lnTo>
                  <a:pt x="1122352" y="1781349"/>
                </a:lnTo>
                <a:lnTo>
                  <a:pt x="1106148" y="1776060"/>
                </a:lnTo>
                <a:cubicBezTo>
                  <a:pt x="1104632" y="1770771"/>
                  <a:pt x="1102664" y="1765481"/>
                  <a:pt x="1100846" y="1760192"/>
                </a:cubicBezTo>
                <a:cubicBezTo>
                  <a:pt x="1106148" y="1756513"/>
                  <a:pt x="1111600" y="1753063"/>
                  <a:pt x="1116900" y="1749384"/>
                </a:cubicBezTo>
                <a:cubicBezTo>
                  <a:pt x="1118414" y="1744095"/>
                  <a:pt x="1120536" y="1738805"/>
                  <a:pt x="1122352" y="1733516"/>
                </a:cubicBezTo>
                <a:lnTo>
                  <a:pt x="1132802" y="1733516"/>
                </a:lnTo>
                <a:lnTo>
                  <a:pt x="1154156" y="1728227"/>
                </a:lnTo>
                <a:cubicBezTo>
                  <a:pt x="1149160" y="1721098"/>
                  <a:pt x="1143556" y="1713969"/>
                  <a:pt x="1138104" y="1706840"/>
                </a:cubicBezTo>
                <a:cubicBezTo>
                  <a:pt x="1132802" y="1710520"/>
                  <a:pt x="1127350" y="1713969"/>
                  <a:pt x="1122352" y="1717649"/>
                </a:cubicBezTo>
                <a:cubicBezTo>
                  <a:pt x="1118414" y="1712359"/>
                  <a:pt x="1115082" y="1706840"/>
                  <a:pt x="1111600" y="1701551"/>
                </a:cubicBezTo>
                <a:lnTo>
                  <a:pt x="1100846" y="1701551"/>
                </a:lnTo>
                <a:cubicBezTo>
                  <a:pt x="1097212" y="1696262"/>
                  <a:pt x="1094032" y="1690972"/>
                  <a:pt x="1090396" y="1685683"/>
                </a:cubicBezTo>
                <a:cubicBezTo>
                  <a:pt x="1094032" y="1678554"/>
                  <a:pt x="1097212" y="1671425"/>
                  <a:pt x="1100846" y="1664296"/>
                </a:cubicBezTo>
                <a:lnTo>
                  <a:pt x="1122352" y="1659007"/>
                </a:lnTo>
                <a:cubicBezTo>
                  <a:pt x="1118414" y="1653718"/>
                  <a:pt x="1115082" y="1648429"/>
                  <a:pt x="1111600" y="1643140"/>
                </a:cubicBezTo>
                <a:cubicBezTo>
                  <a:pt x="1115082" y="1636011"/>
                  <a:pt x="1118414" y="1628882"/>
                  <a:pt x="1122352" y="1621753"/>
                </a:cubicBezTo>
                <a:lnTo>
                  <a:pt x="1138104" y="1621753"/>
                </a:lnTo>
                <a:cubicBezTo>
                  <a:pt x="1143556" y="1619913"/>
                  <a:pt x="1149160" y="1618303"/>
                  <a:pt x="1154156" y="1616464"/>
                </a:cubicBezTo>
                <a:cubicBezTo>
                  <a:pt x="1150674" y="1611174"/>
                  <a:pt x="1147342" y="1605655"/>
                  <a:pt x="1143706" y="1600366"/>
                </a:cubicBezTo>
                <a:lnTo>
                  <a:pt x="1143706" y="1589788"/>
                </a:lnTo>
                <a:cubicBezTo>
                  <a:pt x="1147342" y="1580819"/>
                  <a:pt x="1150674" y="1572080"/>
                  <a:pt x="1154156" y="1563111"/>
                </a:cubicBezTo>
                <a:cubicBezTo>
                  <a:pt x="1158094" y="1557822"/>
                  <a:pt x="1161426" y="1552533"/>
                  <a:pt x="1164910" y="1547244"/>
                </a:cubicBezTo>
                <a:cubicBezTo>
                  <a:pt x="1159610" y="1541955"/>
                  <a:pt x="1154156" y="1536435"/>
                  <a:pt x="1149160" y="1531146"/>
                </a:cubicBezTo>
                <a:lnTo>
                  <a:pt x="1116900" y="1541955"/>
                </a:lnTo>
                <a:lnTo>
                  <a:pt x="1095698" y="1541955"/>
                </a:lnTo>
                <a:cubicBezTo>
                  <a:pt x="1090396" y="1538275"/>
                  <a:pt x="1085096" y="1534826"/>
                  <a:pt x="1079644" y="1531146"/>
                </a:cubicBezTo>
                <a:cubicBezTo>
                  <a:pt x="1078130" y="1525857"/>
                  <a:pt x="1076160" y="1520568"/>
                  <a:pt x="1074342" y="1515279"/>
                </a:cubicBezTo>
                <a:cubicBezTo>
                  <a:pt x="1069194" y="1513439"/>
                  <a:pt x="1063892" y="1511829"/>
                  <a:pt x="1058440" y="1509989"/>
                </a:cubicBezTo>
                <a:lnTo>
                  <a:pt x="1058440" y="1467446"/>
                </a:lnTo>
                <a:cubicBezTo>
                  <a:pt x="1060258" y="1456867"/>
                  <a:pt x="1062076" y="1446059"/>
                  <a:pt x="1063892" y="1435480"/>
                </a:cubicBezTo>
                <a:cubicBezTo>
                  <a:pt x="1058440" y="1430191"/>
                  <a:pt x="1053140" y="1424672"/>
                  <a:pt x="1047990" y="1419383"/>
                </a:cubicBezTo>
                <a:lnTo>
                  <a:pt x="1047990" y="1398226"/>
                </a:lnTo>
                <a:lnTo>
                  <a:pt x="1026334" y="1392937"/>
                </a:lnTo>
                <a:lnTo>
                  <a:pt x="999830" y="1398226"/>
                </a:lnTo>
                <a:cubicBezTo>
                  <a:pt x="996194" y="1401675"/>
                  <a:pt x="992862" y="1405355"/>
                  <a:pt x="989380" y="1408804"/>
                </a:cubicBezTo>
                <a:cubicBezTo>
                  <a:pt x="990894" y="1414094"/>
                  <a:pt x="992862" y="1419383"/>
                  <a:pt x="994680" y="1424672"/>
                </a:cubicBezTo>
                <a:lnTo>
                  <a:pt x="973478" y="1414094"/>
                </a:lnTo>
                <a:lnTo>
                  <a:pt x="951972" y="1403515"/>
                </a:lnTo>
                <a:lnTo>
                  <a:pt x="936220" y="1382128"/>
                </a:lnTo>
                <a:cubicBezTo>
                  <a:pt x="934706" y="1374999"/>
                  <a:pt x="932586" y="1368100"/>
                  <a:pt x="930920" y="1360972"/>
                </a:cubicBezTo>
                <a:cubicBezTo>
                  <a:pt x="925468" y="1355682"/>
                  <a:pt x="920166" y="1350163"/>
                  <a:pt x="914714" y="1344874"/>
                </a:cubicBezTo>
                <a:cubicBezTo>
                  <a:pt x="916834" y="1337745"/>
                  <a:pt x="918350" y="1330846"/>
                  <a:pt x="920318" y="1323717"/>
                </a:cubicBezTo>
                <a:cubicBezTo>
                  <a:pt x="918350" y="1318428"/>
                  <a:pt x="916834" y="1312909"/>
                  <a:pt x="914714" y="1307619"/>
                </a:cubicBezTo>
                <a:cubicBezTo>
                  <a:pt x="909414" y="1304170"/>
                  <a:pt x="904112" y="1300491"/>
                  <a:pt x="898964" y="1297041"/>
                </a:cubicBezTo>
                <a:cubicBezTo>
                  <a:pt x="893512" y="1293592"/>
                  <a:pt x="888210" y="1289912"/>
                  <a:pt x="882910" y="1286463"/>
                </a:cubicBezTo>
                <a:lnTo>
                  <a:pt x="850954" y="1265076"/>
                </a:lnTo>
                <a:lnTo>
                  <a:pt x="824602" y="1249208"/>
                </a:lnTo>
                <a:lnTo>
                  <a:pt x="787194" y="1233111"/>
                </a:lnTo>
                <a:lnTo>
                  <a:pt x="760538" y="1217243"/>
                </a:lnTo>
                <a:cubicBezTo>
                  <a:pt x="753722" y="1210114"/>
                  <a:pt x="746302" y="1202985"/>
                  <a:pt x="739336" y="1195856"/>
                </a:cubicBezTo>
                <a:cubicBezTo>
                  <a:pt x="737670" y="1186887"/>
                  <a:pt x="735852" y="1178149"/>
                  <a:pt x="734034" y="1169180"/>
                </a:cubicBezTo>
                <a:cubicBezTo>
                  <a:pt x="737670" y="1160441"/>
                  <a:pt x="741152" y="1151473"/>
                  <a:pt x="744788" y="1142734"/>
                </a:cubicBezTo>
                <a:cubicBezTo>
                  <a:pt x="741152" y="1135605"/>
                  <a:pt x="737670" y="1128476"/>
                  <a:pt x="734034" y="1121347"/>
                </a:cubicBezTo>
                <a:cubicBezTo>
                  <a:pt x="732520" y="1110769"/>
                  <a:pt x="730400" y="1099960"/>
                  <a:pt x="728734" y="1089382"/>
                </a:cubicBezTo>
                <a:cubicBezTo>
                  <a:pt x="732520" y="1084093"/>
                  <a:pt x="735852" y="1078803"/>
                  <a:pt x="739336" y="1073514"/>
                </a:cubicBezTo>
                <a:lnTo>
                  <a:pt x="771292" y="1057417"/>
                </a:lnTo>
                <a:lnTo>
                  <a:pt x="797794" y="1041549"/>
                </a:lnTo>
                <a:lnTo>
                  <a:pt x="829750" y="1036260"/>
                </a:lnTo>
                <a:lnTo>
                  <a:pt x="850954" y="1036260"/>
                </a:lnTo>
                <a:cubicBezTo>
                  <a:pt x="852772" y="1032580"/>
                  <a:pt x="854740" y="1029131"/>
                  <a:pt x="856254" y="1025451"/>
                </a:cubicBezTo>
                <a:lnTo>
                  <a:pt x="840504" y="1020162"/>
                </a:lnTo>
                <a:lnTo>
                  <a:pt x="808548" y="1020162"/>
                </a:lnTo>
                <a:lnTo>
                  <a:pt x="797794" y="1020162"/>
                </a:lnTo>
                <a:cubicBezTo>
                  <a:pt x="799460" y="1014873"/>
                  <a:pt x="801430" y="1009584"/>
                  <a:pt x="802944" y="1004295"/>
                </a:cubicBezTo>
                <a:cubicBezTo>
                  <a:pt x="806730" y="999005"/>
                  <a:pt x="810366" y="993486"/>
                  <a:pt x="814000" y="988197"/>
                </a:cubicBezTo>
                <a:cubicBezTo>
                  <a:pt x="817484" y="984747"/>
                  <a:pt x="820816" y="981068"/>
                  <a:pt x="824602" y="977619"/>
                </a:cubicBezTo>
                <a:cubicBezTo>
                  <a:pt x="819300" y="979458"/>
                  <a:pt x="814000" y="981068"/>
                  <a:pt x="808548" y="982908"/>
                </a:cubicBezTo>
                <a:lnTo>
                  <a:pt x="787194" y="993486"/>
                </a:lnTo>
                <a:cubicBezTo>
                  <a:pt x="780226" y="1002455"/>
                  <a:pt x="772806" y="1011194"/>
                  <a:pt x="765990" y="1020162"/>
                </a:cubicBezTo>
                <a:lnTo>
                  <a:pt x="739336" y="1030741"/>
                </a:lnTo>
                <a:cubicBezTo>
                  <a:pt x="735852" y="1034420"/>
                  <a:pt x="732218" y="1037870"/>
                  <a:pt x="728734" y="1041549"/>
                </a:cubicBezTo>
                <a:cubicBezTo>
                  <a:pt x="723584" y="1044998"/>
                  <a:pt x="718284" y="1048678"/>
                  <a:pt x="712832" y="1052127"/>
                </a:cubicBezTo>
                <a:lnTo>
                  <a:pt x="691476" y="1041549"/>
                </a:lnTo>
                <a:cubicBezTo>
                  <a:pt x="687842" y="1044998"/>
                  <a:pt x="684510" y="1048678"/>
                  <a:pt x="680724" y="1052127"/>
                </a:cubicBezTo>
                <a:lnTo>
                  <a:pt x="664822" y="1052127"/>
                </a:lnTo>
                <a:cubicBezTo>
                  <a:pt x="659520" y="1055577"/>
                  <a:pt x="654068" y="1059256"/>
                  <a:pt x="649070" y="1062706"/>
                </a:cubicBezTo>
                <a:cubicBezTo>
                  <a:pt x="645134" y="1064546"/>
                  <a:pt x="641952" y="1066385"/>
                  <a:pt x="638318" y="1068225"/>
                </a:cubicBezTo>
                <a:cubicBezTo>
                  <a:pt x="640136" y="1073514"/>
                  <a:pt x="641802" y="1078803"/>
                  <a:pt x="643618" y="1084093"/>
                </a:cubicBezTo>
                <a:lnTo>
                  <a:pt x="643618" y="1099960"/>
                </a:lnTo>
                <a:lnTo>
                  <a:pt x="627868" y="1110769"/>
                </a:lnTo>
                <a:lnTo>
                  <a:pt x="627868" y="1131926"/>
                </a:lnTo>
                <a:cubicBezTo>
                  <a:pt x="629382" y="1133765"/>
                  <a:pt x="631352" y="1135375"/>
                  <a:pt x="633018" y="1137215"/>
                </a:cubicBezTo>
                <a:cubicBezTo>
                  <a:pt x="636500" y="1140894"/>
                  <a:pt x="640136" y="1144344"/>
                  <a:pt x="643618" y="1148023"/>
                </a:cubicBezTo>
                <a:cubicBezTo>
                  <a:pt x="638318" y="1155152"/>
                  <a:pt x="633018" y="1162051"/>
                  <a:pt x="627868" y="1169180"/>
                </a:cubicBezTo>
                <a:lnTo>
                  <a:pt x="617114" y="1179988"/>
                </a:lnTo>
                <a:cubicBezTo>
                  <a:pt x="611814" y="1187117"/>
                  <a:pt x="606362" y="1194016"/>
                  <a:pt x="601364" y="1201145"/>
                </a:cubicBezTo>
                <a:lnTo>
                  <a:pt x="601364" y="1217243"/>
                </a:lnTo>
                <a:lnTo>
                  <a:pt x="601364" y="1238400"/>
                </a:lnTo>
                <a:lnTo>
                  <a:pt x="601364" y="1259787"/>
                </a:lnTo>
                <a:cubicBezTo>
                  <a:pt x="604848" y="1268755"/>
                  <a:pt x="608180" y="1277494"/>
                  <a:pt x="611814" y="1286463"/>
                </a:cubicBezTo>
                <a:cubicBezTo>
                  <a:pt x="615298" y="1282783"/>
                  <a:pt x="618932" y="1279334"/>
                  <a:pt x="622416" y="1275654"/>
                </a:cubicBezTo>
                <a:lnTo>
                  <a:pt x="633018" y="1270365"/>
                </a:lnTo>
                <a:cubicBezTo>
                  <a:pt x="636804" y="1266916"/>
                  <a:pt x="640136" y="1263236"/>
                  <a:pt x="643618" y="1259787"/>
                </a:cubicBezTo>
                <a:cubicBezTo>
                  <a:pt x="645134" y="1266916"/>
                  <a:pt x="647254" y="1273814"/>
                  <a:pt x="649070" y="1280943"/>
                </a:cubicBezTo>
                <a:cubicBezTo>
                  <a:pt x="650586" y="1289912"/>
                  <a:pt x="652554" y="1298651"/>
                  <a:pt x="654068" y="1307619"/>
                </a:cubicBezTo>
                <a:lnTo>
                  <a:pt x="680724" y="1334295"/>
                </a:lnTo>
                <a:lnTo>
                  <a:pt x="680724" y="1350163"/>
                </a:lnTo>
                <a:lnTo>
                  <a:pt x="697080" y="1355682"/>
                </a:lnTo>
                <a:lnTo>
                  <a:pt x="723584" y="1355682"/>
                </a:lnTo>
                <a:cubicBezTo>
                  <a:pt x="727220" y="1362811"/>
                  <a:pt x="730400" y="1369710"/>
                  <a:pt x="734034" y="1376839"/>
                </a:cubicBezTo>
                <a:cubicBezTo>
                  <a:pt x="737670" y="1383968"/>
                  <a:pt x="741152" y="1391097"/>
                  <a:pt x="744788" y="1398226"/>
                </a:cubicBezTo>
                <a:cubicBezTo>
                  <a:pt x="748270" y="1403515"/>
                  <a:pt x="751602" y="1408804"/>
                  <a:pt x="755238" y="1414094"/>
                </a:cubicBezTo>
                <a:lnTo>
                  <a:pt x="771292" y="1430191"/>
                </a:lnTo>
                <a:cubicBezTo>
                  <a:pt x="774926" y="1433641"/>
                  <a:pt x="778258" y="1437320"/>
                  <a:pt x="781742" y="1440770"/>
                </a:cubicBezTo>
                <a:cubicBezTo>
                  <a:pt x="787194" y="1435480"/>
                  <a:pt x="792494" y="1429961"/>
                  <a:pt x="797794" y="1424672"/>
                </a:cubicBezTo>
                <a:cubicBezTo>
                  <a:pt x="803248" y="1421223"/>
                  <a:pt x="808548" y="1417543"/>
                  <a:pt x="814000" y="1414094"/>
                </a:cubicBezTo>
                <a:cubicBezTo>
                  <a:pt x="817484" y="1412254"/>
                  <a:pt x="820816" y="1410644"/>
                  <a:pt x="824602" y="1408804"/>
                </a:cubicBezTo>
                <a:lnTo>
                  <a:pt x="840504" y="1419383"/>
                </a:lnTo>
                <a:cubicBezTo>
                  <a:pt x="843988" y="1415933"/>
                  <a:pt x="847320" y="1412254"/>
                  <a:pt x="850954" y="1408804"/>
                </a:cubicBezTo>
                <a:cubicBezTo>
                  <a:pt x="854740" y="1414094"/>
                  <a:pt x="858072" y="1419383"/>
                  <a:pt x="861706" y="1424672"/>
                </a:cubicBezTo>
                <a:cubicBezTo>
                  <a:pt x="865190" y="1429961"/>
                  <a:pt x="868522" y="1435480"/>
                  <a:pt x="872460" y="1440770"/>
                </a:cubicBezTo>
                <a:cubicBezTo>
                  <a:pt x="870642" y="1446059"/>
                  <a:pt x="868522" y="1451348"/>
                  <a:pt x="867008" y="1456637"/>
                </a:cubicBezTo>
                <a:cubicBezTo>
                  <a:pt x="863524" y="1460317"/>
                  <a:pt x="859890" y="1463766"/>
                  <a:pt x="856254" y="1467446"/>
                </a:cubicBezTo>
                <a:cubicBezTo>
                  <a:pt x="858072" y="1474575"/>
                  <a:pt x="859890" y="1481474"/>
                  <a:pt x="861706" y="1488603"/>
                </a:cubicBezTo>
                <a:cubicBezTo>
                  <a:pt x="868522" y="1490442"/>
                  <a:pt x="875944" y="1492052"/>
                  <a:pt x="882910" y="1493892"/>
                </a:cubicBezTo>
                <a:cubicBezTo>
                  <a:pt x="881396" y="1501021"/>
                  <a:pt x="879276" y="1508150"/>
                  <a:pt x="877458" y="1515279"/>
                </a:cubicBezTo>
                <a:lnTo>
                  <a:pt x="845804" y="1515279"/>
                </a:lnTo>
                <a:lnTo>
                  <a:pt x="824602" y="1525857"/>
                </a:lnTo>
                <a:cubicBezTo>
                  <a:pt x="820816" y="1522408"/>
                  <a:pt x="817484" y="1518728"/>
                  <a:pt x="814000" y="1515279"/>
                </a:cubicBezTo>
                <a:lnTo>
                  <a:pt x="814000" y="1493892"/>
                </a:lnTo>
                <a:cubicBezTo>
                  <a:pt x="810366" y="1492052"/>
                  <a:pt x="806730" y="1490442"/>
                  <a:pt x="802944" y="1488603"/>
                </a:cubicBezTo>
                <a:lnTo>
                  <a:pt x="776440" y="1488603"/>
                </a:lnTo>
                <a:lnTo>
                  <a:pt x="776440" y="1515279"/>
                </a:lnTo>
                <a:lnTo>
                  <a:pt x="797794" y="1520568"/>
                </a:lnTo>
                <a:cubicBezTo>
                  <a:pt x="805064" y="1524017"/>
                  <a:pt x="811880" y="1527697"/>
                  <a:pt x="819300" y="1531146"/>
                </a:cubicBezTo>
                <a:cubicBezTo>
                  <a:pt x="815666" y="1536435"/>
                  <a:pt x="812182" y="1541955"/>
                  <a:pt x="808548" y="1547244"/>
                </a:cubicBezTo>
                <a:lnTo>
                  <a:pt x="797794" y="1547244"/>
                </a:lnTo>
                <a:cubicBezTo>
                  <a:pt x="792494" y="1549084"/>
                  <a:pt x="787194" y="1550693"/>
                  <a:pt x="781742" y="1552533"/>
                </a:cubicBezTo>
                <a:cubicBezTo>
                  <a:pt x="778258" y="1559662"/>
                  <a:pt x="774926" y="1566791"/>
                  <a:pt x="771292" y="1573920"/>
                </a:cubicBezTo>
                <a:cubicBezTo>
                  <a:pt x="769474" y="1581049"/>
                  <a:pt x="767504" y="1587948"/>
                  <a:pt x="765990" y="1595077"/>
                </a:cubicBezTo>
                <a:cubicBezTo>
                  <a:pt x="767504" y="1602206"/>
                  <a:pt x="769474" y="1609335"/>
                  <a:pt x="771292" y="1616464"/>
                </a:cubicBezTo>
                <a:lnTo>
                  <a:pt x="751940" y="1594699"/>
                </a:lnTo>
                <a:cubicBezTo>
                  <a:pt x="749366" y="1595213"/>
                  <a:pt x="746360" y="1594373"/>
                  <a:pt x="741186" y="1590670"/>
                </a:cubicBezTo>
                <a:lnTo>
                  <a:pt x="687510" y="1559995"/>
                </a:lnTo>
                <a:lnTo>
                  <a:pt x="615430" y="1533570"/>
                </a:lnTo>
                <a:lnTo>
                  <a:pt x="551864" y="1496489"/>
                </a:lnTo>
                <a:lnTo>
                  <a:pt x="505626" y="1473205"/>
                </a:lnTo>
                <a:lnTo>
                  <a:pt x="473420" y="1425591"/>
                </a:lnTo>
                <a:lnTo>
                  <a:pt x="426032" y="1419185"/>
                </a:lnTo>
                <a:lnTo>
                  <a:pt x="400190" y="1371632"/>
                </a:lnTo>
                <a:lnTo>
                  <a:pt x="370056" y="1318720"/>
                </a:lnTo>
                <a:lnTo>
                  <a:pt x="329186" y="1289031"/>
                </a:lnTo>
                <a:lnTo>
                  <a:pt x="280724" y="1271106"/>
                </a:lnTo>
                <a:lnTo>
                  <a:pt x="242078" y="1231869"/>
                </a:lnTo>
                <a:lnTo>
                  <a:pt x="206574" y="1171565"/>
                </a:lnTo>
                <a:lnTo>
                  <a:pt x="145308" y="1130295"/>
                </a:lnTo>
                <a:lnTo>
                  <a:pt x="96846" y="1099620"/>
                </a:lnTo>
                <a:cubicBezTo>
                  <a:pt x="95466" y="1087670"/>
                  <a:pt x="94010" y="1075659"/>
                  <a:pt x="92552" y="1063648"/>
                </a:cubicBezTo>
                <a:cubicBezTo>
                  <a:pt x="86418" y="1055517"/>
                  <a:pt x="80284" y="1047448"/>
                  <a:pt x="74226" y="1039317"/>
                </a:cubicBezTo>
                <a:lnTo>
                  <a:pt x="24768" y="1010736"/>
                </a:lnTo>
                <a:lnTo>
                  <a:pt x="4" y="984254"/>
                </a:lnTo>
                <a:lnTo>
                  <a:pt x="0" y="984252"/>
                </a:lnTo>
                <a:lnTo>
                  <a:pt x="0" y="984250"/>
                </a:lnTo>
                <a:lnTo>
                  <a:pt x="0" y="984249"/>
                </a:lnTo>
                <a:lnTo>
                  <a:pt x="2" y="984249"/>
                </a:lnTo>
                <a:cubicBezTo>
                  <a:pt x="5790" y="974998"/>
                  <a:pt x="11388" y="965649"/>
                  <a:pt x="17176" y="956398"/>
                </a:cubicBezTo>
                <a:lnTo>
                  <a:pt x="64222" y="928642"/>
                </a:lnTo>
                <a:lnTo>
                  <a:pt x="109214" y="907185"/>
                </a:lnTo>
                <a:lnTo>
                  <a:pt x="147672" y="857972"/>
                </a:lnTo>
                <a:lnTo>
                  <a:pt x="220480" y="753150"/>
                </a:lnTo>
                <a:lnTo>
                  <a:pt x="269768" y="680413"/>
                </a:lnTo>
                <a:lnTo>
                  <a:pt x="306172" y="618405"/>
                </a:lnTo>
                <a:lnTo>
                  <a:pt x="357512" y="577756"/>
                </a:lnTo>
                <a:lnTo>
                  <a:pt x="415386" y="507087"/>
                </a:lnTo>
                <a:lnTo>
                  <a:pt x="477366" y="434350"/>
                </a:lnTo>
                <a:lnTo>
                  <a:pt x="516012" y="387303"/>
                </a:lnTo>
                <a:lnTo>
                  <a:pt x="590874" y="323130"/>
                </a:lnTo>
                <a:lnTo>
                  <a:pt x="672270" y="293110"/>
                </a:lnTo>
                <a:lnTo>
                  <a:pt x="708676" y="299508"/>
                </a:lnTo>
                <a:lnTo>
                  <a:pt x="783538" y="342323"/>
                </a:lnTo>
                <a:lnTo>
                  <a:pt x="877816" y="400098"/>
                </a:lnTo>
                <a:lnTo>
                  <a:pt x="956972" y="449311"/>
                </a:lnTo>
                <a:lnTo>
                  <a:pt x="1049012" y="483563"/>
                </a:lnTo>
                <a:lnTo>
                  <a:pt x="1128354" y="481398"/>
                </a:lnTo>
                <a:lnTo>
                  <a:pt x="1222446" y="451476"/>
                </a:lnTo>
                <a:lnTo>
                  <a:pt x="1303844" y="404429"/>
                </a:lnTo>
                <a:lnTo>
                  <a:pt x="1408762" y="365846"/>
                </a:lnTo>
                <a:lnTo>
                  <a:pt x="1550088" y="325197"/>
                </a:lnTo>
                <a:lnTo>
                  <a:pt x="1633538" y="286712"/>
                </a:lnTo>
                <a:lnTo>
                  <a:pt x="1678530" y="213976"/>
                </a:lnTo>
                <a:cubicBezTo>
                  <a:pt x="1680584" y="189764"/>
                  <a:pt x="1682824" y="165453"/>
                  <a:pt x="1684878" y="141240"/>
                </a:cubicBezTo>
                <a:cubicBezTo>
                  <a:pt x="1682076" y="122736"/>
                  <a:pt x="1679090" y="104134"/>
                  <a:pt x="1676290" y="85630"/>
                </a:cubicBezTo>
                <a:cubicBezTo>
                  <a:pt x="1671248" y="78445"/>
                  <a:pt x="1666396" y="71358"/>
                  <a:pt x="1661354" y="64173"/>
                </a:cubicBezTo>
                <a:lnTo>
                  <a:pt x="1624950" y="34252"/>
                </a:lnTo>
                <a:cubicBezTo>
                  <a:pt x="1620656" y="29921"/>
                  <a:pt x="1616362" y="25689"/>
                  <a:pt x="1612068" y="21358"/>
                </a:cubicBezTo>
                <a:lnTo>
                  <a:pt x="1614308" y="2165"/>
                </a:lnTo>
                <a:close/>
              </a:path>
            </a:pathLst>
          </a:custGeom>
          <a:solidFill>
            <a:srgbClr val="70B0DF"/>
          </a:solidFill>
          <a:ln w="9525">
            <a:noFill/>
            <a:round/>
            <a:headEnd/>
            <a:tailEnd/>
          </a:ln>
        </p:spPr>
        <p:txBody>
          <a:bodyPr wrap="none" lIns="82878" tIns="41438" rIns="82878" bIns="41438"/>
          <a:lstStyle/>
          <a:p>
            <a:pPr defTabSz="891045"/>
            <a:endParaRPr lang="en-US" sz="1700" dirty="0">
              <a:solidFill>
                <a:srgbClr val="003149"/>
              </a:solidFill>
              <a:cs typeface="Arial" panose="020B0604020202020204" pitchFamily="34" charset="0"/>
            </a:endParaRPr>
          </a:p>
        </p:txBody>
      </p:sp>
      <p:sp>
        <p:nvSpPr>
          <p:cNvPr id="19" name="Freeform 834"/>
          <p:cNvSpPr>
            <a:spLocks noChangeAspect="1"/>
          </p:cNvSpPr>
          <p:nvPr>
            <p:custDataLst>
              <p:tags r:id="rId5"/>
            </p:custDataLst>
          </p:nvPr>
        </p:nvSpPr>
        <p:spPr bwMode="gray">
          <a:xfrm>
            <a:off x="6099236" y="2543682"/>
            <a:ext cx="487633" cy="606935"/>
          </a:xfrm>
          <a:custGeom>
            <a:avLst/>
            <a:gdLst>
              <a:gd name="T0" fmla="*/ 0 w 2827092"/>
              <a:gd name="T1" fmla="*/ 0 h 3104215"/>
              <a:gd name="T2" fmla="*/ 0 w 2827092"/>
              <a:gd name="T3" fmla="*/ 0 h 3104215"/>
              <a:gd name="T4" fmla="*/ 0 w 2827092"/>
              <a:gd name="T5" fmla="*/ 0 h 3104215"/>
              <a:gd name="T6" fmla="*/ 0 w 2827092"/>
              <a:gd name="T7" fmla="*/ 0 h 3104215"/>
              <a:gd name="T8" fmla="*/ 0 w 2827092"/>
              <a:gd name="T9" fmla="*/ 0 h 3104215"/>
              <a:gd name="T10" fmla="*/ 0 w 2827092"/>
              <a:gd name="T11" fmla="*/ 0 h 3104215"/>
              <a:gd name="T12" fmla="*/ 0 w 2827092"/>
              <a:gd name="T13" fmla="*/ 0 h 3104215"/>
              <a:gd name="T14" fmla="*/ 0 w 2827092"/>
              <a:gd name="T15" fmla="*/ 0 h 3104215"/>
              <a:gd name="T16" fmla="*/ 0 w 2827092"/>
              <a:gd name="T17" fmla="*/ 0 h 3104215"/>
              <a:gd name="T18" fmla="*/ 0 w 2827092"/>
              <a:gd name="T19" fmla="*/ 0 h 3104215"/>
              <a:gd name="T20" fmla="*/ 0 w 2827092"/>
              <a:gd name="T21" fmla="*/ 0 h 3104215"/>
              <a:gd name="T22" fmla="*/ 0 w 2827092"/>
              <a:gd name="T23" fmla="*/ 0 h 3104215"/>
              <a:gd name="T24" fmla="*/ 0 w 2827092"/>
              <a:gd name="T25" fmla="*/ 0 h 3104215"/>
              <a:gd name="T26" fmla="*/ 0 w 2827092"/>
              <a:gd name="T27" fmla="*/ 0 h 3104215"/>
              <a:gd name="T28" fmla="*/ 0 w 2827092"/>
              <a:gd name="T29" fmla="*/ 0 h 3104215"/>
              <a:gd name="T30" fmla="*/ 0 w 2827092"/>
              <a:gd name="T31" fmla="*/ 0 h 3104215"/>
              <a:gd name="T32" fmla="*/ 0 w 2827092"/>
              <a:gd name="T33" fmla="*/ 0 h 3104215"/>
              <a:gd name="T34" fmla="*/ 0 w 2827092"/>
              <a:gd name="T35" fmla="*/ 0 h 3104215"/>
              <a:gd name="T36" fmla="*/ 0 w 2827092"/>
              <a:gd name="T37" fmla="*/ 0 h 3104215"/>
              <a:gd name="T38" fmla="*/ 0 w 2827092"/>
              <a:gd name="T39" fmla="*/ 0 h 3104215"/>
              <a:gd name="T40" fmla="*/ 0 w 2827092"/>
              <a:gd name="T41" fmla="*/ 0 h 3104215"/>
              <a:gd name="T42" fmla="*/ 0 w 2827092"/>
              <a:gd name="T43" fmla="*/ 0 h 3104215"/>
              <a:gd name="T44" fmla="*/ 0 w 2827092"/>
              <a:gd name="T45" fmla="*/ 0 h 3104215"/>
              <a:gd name="T46" fmla="*/ 0 w 2827092"/>
              <a:gd name="T47" fmla="*/ 0 h 3104215"/>
              <a:gd name="T48" fmla="*/ 0 w 2827092"/>
              <a:gd name="T49" fmla="*/ 0 h 3104215"/>
              <a:gd name="T50" fmla="*/ 0 w 2827092"/>
              <a:gd name="T51" fmla="*/ 0 h 3104215"/>
              <a:gd name="T52" fmla="*/ 0 w 2827092"/>
              <a:gd name="T53" fmla="*/ 0 h 3104215"/>
              <a:gd name="T54" fmla="*/ 0 w 2827092"/>
              <a:gd name="T55" fmla="*/ 0 h 3104215"/>
              <a:gd name="T56" fmla="*/ 0 w 2827092"/>
              <a:gd name="T57" fmla="*/ 0 h 3104215"/>
              <a:gd name="T58" fmla="*/ 0 w 2827092"/>
              <a:gd name="T59" fmla="*/ 0 h 3104215"/>
              <a:gd name="T60" fmla="*/ 0 w 2827092"/>
              <a:gd name="T61" fmla="*/ 0 h 3104215"/>
              <a:gd name="T62" fmla="*/ 0 w 2827092"/>
              <a:gd name="T63" fmla="*/ 0 h 3104215"/>
              <a:gd name="T64" fmla="*/ 0 w 2827092"/>
              <a:gd name="T65" fmla="*/ 0 h 3104215"/>
              <a:gd name="T66" fmla="*/ 0 w 2827092"/>
              <a:gd name="T67" fmla="*/ 0 h 3104215"/>
              <a:gd name="T68" fmla="*/ 0 w 2827092"/>
              <a:gd name="T69" fmla="*/ 0 h 3104215"/>
              <a:gd name="T70" fmla="*/ 0 w 2827092"/>
              <a:gd name="T71" fmla="*/ 0 h 3104215"/>
              <a:gd name="T72" fmla="*/ 0 w 2827092"/>
              <a:gd name="T73" fmla="*/ 0 h 3104215"/>
              <a:gd name="T74" fmla="*/ 0 w 2827092"/>
              <a:gd name="T75" fmla="*/ 0 h 3104215"/>
              <a:gd name="T76" fmla="*/ 0 w 2827092"/>
              <a:gd name="T77" fmla="*/ 0 h 3104215"/>
              <a:gd name="T78" fmla="*/ 0 w 2827092"/>
              <a:gd name="T79" fmla="*/ 0 h 3104215"/>
              <a:gd name="T80" fmla="*/ 0 w 2827092"/>
              <a:gd name="T81" fmla="*/ 0 h 3104215"/>
              <a:gd name="T82" fmla="*/ 0 w 2827092"/>
              <a:gd name="T83" fmla="*/ 0 h 3104215"/>
              <a:gd name="T84" fmla="*/ 0 w 2827092"/>
              <a:gd name="T85" fmla="*/ 0 h 3104215"/>
              <a:gd name="T86" fmla="*/ 0 w 2827092"/>
              <a:gd name="T87" fmla="*/ 0 h 3104215"/>
              <a:gd name="T88" fmla="*/ 0 w 2827092"/>
              <a:gd name="T89" fmla="*/ 0 h 3104215"/>
              <a:gd name="T90" fmla="*/ 0 w 2827092"/>
              <a:gd name="T91" fmla="*/ 0 h 3104215"/>
              <a:gd name="T92" fmla="*/ 0 w 2827092"/>
              <a:gd name="T93" fmla="*/ 0 h 3104215"/>
              <a:gd name="T94" fmla="*/ 0 w 2827092"/>
              <a:gd name="T95" fmla="*/ 0 h 3104215"/>
              <a:gd name="T96" fmla="*/ 0 w 2827092"/>
              <a:gd name="T97" fmla="*/ 0 h 3104215"/>
              <a:gd name="T98" fmla="*/ 0 w 2827092"/>
              <a:gd name="T99" fmla="*/ 0 h 3104215"/>
              <a:gd name="T100" fmla="*/ 0 w 2827092"/>
              <a:gd name="T101" fmla="*/ 0 h 3104215"/>
              <a:gd name="T102" fmla="*/ 0 w 2827092"/>
              <a:gd name="T103" fmla="*/ 0 h 3104215"/>
              <a:gd name="T104" fmla="*/ 0 w 2827092"/>
              <a:gd name="T105" fmla="*/ 0 h 3104215"/>
              <a:gd name="T106" fmla="*/ 0 w 2827092"/>
              <a:gd name="T107" fmla="*/ 0 h 3104215"/>
              <a:gd name="T108" fmla="*/ 0 w 2827092"/>
              <a:gd name="T109" fmla="*/ 0 h 3104215"/>
              <a:gd name="T110" fmla="*/ 0 w 2827092"/>
              <a:gd name="T111" fmla="*/ 0 h 3104215"/>
              <a:gd name="T112" fmla="*/ 0 w 2827092"/>
              <a:gd name="T113" fmla="*/ 0 h 3104215"/>
              <a:gd name="T114" fmla="*/ 0 w 2827092"/>
              <a:gd name="T115" fmla="*/ 0 h 3104215"/>
              <a:gd name="T116" fmla="*/ 0 w 2827092"/>
              <a:gd name="T117" fmla="*/ 0 h 3104215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w 2827092"/>
              <a:gd name="T178" fmla="*/ 0 h 3104215"/>
              <a:gd name="T179" fmla="*/ 2827092 w 2827092"/>
              <a:gd name="T180" fmla="*/ 3104215 h 3104215"/>
            </a:gdLst>
            <a:ahLst/>
            <a:cxnLst>
              <a:cxn ang="T118">
                <a:pos x="T0" y="T1"/>
              </a:cxn>
              <a:cxn ang="T119">
                <a:pos x="T2" y="T3"/>
              </a:cxn>
              <a:cxn ang="T120">
                <a:pos x="T4" y="T5"/>
              </a:cxn>
              <a:cxn ang="T121">
                <a:pos x="T6" y="T7"/>
              </a:cxn>
              <a:cxn ang="T122">
                <a:pos x="T8" y="T9"/>
              </a:cxn>
              <a:cxn ang="T123">
                <a:pos x="T10" y="T11"/>
              </a:cxn>
              <a:cxn ang="T124">
                <a:pos x="T12" y="T13"/>
              </a:cxn>
              <a:cxn ang="T125">
                <a:pos x="T14" y="T15"/>
              </a:cxn>
              <a:cxn ang="T126">
                <a:pos x="T16" y="T17"/>
              </a:cxn>
              <a:cxn ang="T127">
                <a:pos x="T18" y="T19"/>
              </a:cxn>
              <a:cxn ang="T128">
                <a:pos x="T20" y="T21"/>
              </a:cxn>
              <a:cxn ang="T129">
                <a:pos x="T22" y="T23"/>
              </a:cxn>
              <a:cxn ang="T130">
                <a:pos x="T24" y="T25"/>
              </a:cxn>
              <a:cxn ang="T131">
                <a:pos x="T26" y="T27"/>
              </a:cxn>
              <a:cxn ang="T132">
                <a:pos x="T28" y="T29"/>
              </a:cxn>
              <a:cxn ang="T133">
                <a:pos x="T30" y="T31"/>
              </a:cxn>
              <a:cxn ang="T134">
                <a:pos x="T32" y="T33"/>
              </a:cxn>
              <a:cxn ang="T135">
                <a:pos x="T34" y="T35"/>
              </a:cxn>
              <a:cxn ang="T136">
                <a:pos x="T36" y="T37"/>
              </a:cxn>
              <a:cxn ang="T137">
                <a:pos x="T38" y="T39"/>
              </a:cxn>
              <a:cxn ang="T138">
                <a:pos x="T40" y="T41"/>
              </a:cxn>
              <a:cxn ang="T139">
                <a:pos x="T42" y="T43"/>
              </a:cxn>
              <a:cxn ang="T140">
                <a:pos x="T44" y="T45"/>
              </a:cxn>
              <a:cxn ang="T141">
                <a:pos x="T46" y="T47"/>
              </a:cxn>
              <a:cxn ang="T142">
                <a:pos x="T48" y="T49"/>
              </a:cxn>
              <a:cxn ang="T143">
                <a:pos x="T50" y="T51"/>
              </a:cxn>
              <a:cxn ang="T144">
                <a:pos x="T52" y="T53"/>
              </a:cxn>
              <a:cxn ang="T145">
                <a:pos x="T54" y="T55"/>
              </a:cxn>
              <a:cxn ang="T146">
                <a:pos x="T56" y="T57"/>
              </a:cxn>
              <a:cxn ang="T147">
                <a:pos x="T58" y="T59"/>
              </a:cxn>
              <a:cxn ang="T148">
                <a:pos x="T60" y="T61"/>
              </a:cxn>
              <a:cxn ang="T149">
                <a:pos x="T62" y="T63"/>
              </a:cxn>
              <a:cxn ang="T150">
                <a:pos x="T64" y="T65"/>
              </a:cxn>
              <a:cxn ang="T151">
                <a:pos x="T66" y="T67"/>
              </a:cxn>
              <a:cxn ang="T152">
                <a:pos x="T68" y="T69"/>
              </a:cxn>
              <a:cxn ang="T153">
                <a:pos x="T70" y="T71"/>
              </a:cxn>
              <a:cxn ang="T154">
                <a:pos x="T72" y="T73"/>
              </a:cxn>
              <a:cxn ang="T155">
                <a:pos x="T74" y="T75"/>
              </a:cxn>
              <a:cxn ang="T156">
                <a:pos x="T76" y="T77"/>
              </a:cxn>
              <a:cxn ang="T157">
                <a:pos x="T78" y="T79"/>
              </a:cxn>
              <a:cxn ang="T158">
                <a:pos x="T80" y="T81"/>
              </a:cxn>
              <a:cxn ang="T159">
                <a:pos x="T82" y="T83"/>
              </a:cxn>
              <a:cxn ang="T160">
                <a:pos x="T84" y="T85"/>
              </a:cxn>
              <a:cxn ang="T161">
                <a:pos x="T86" y="T87"/>
              </a:cxn>
              <a:cxn ang="T162">
                <a:pos x="T88" y="T89"/>
              </a:cxn>
              <a:cxn ang="T163">
                <a:pos x="T90" y="T91"/>
              </a:cxn>
              <a:cxn ang="T164">
                <a:pos x="T92" y="T93"/>
              </a:cxn>
              <a:cxn ang="T165">
                <a:pos x="T94" y="T95"/>
              </a:cxn>
              <a:cxn ang="T166">
                <a:pos x="T96" y="T97"/>
              </a:cxn>
              <a:cxn ang="T167">
                <a:pos x="T98" y="T99"/>
              </a:cxn>
              <a:cxn ang="T168">
                <a:pos x="T100" y="T101"/>
              </a:cxn>
              <a:cxn ang="T169">
                <a:pos x="T102" y="T103"/>
              </a:cxn>
              <a:cxn ang="T170">
                <a:pos x="T104" y="T105"/>
              </a:cxn>
              <a:cxn ang="T171">
                <a:pos x="T106" y="T107"/>
              </a:cxn>
              <a:cxn ang="T172">
                <a:pos x="T108" y="T109"/>
              </a:cxn>
              <a:cxn ang="T173">
                <a:pos x="T110" y="T111"/>
              </a:cxn>
              <a:cxn ang="T174">
                <a:pos x="T112" y="T113"/>
              </a:cxn>
              <a:cxn ang="T175">
                <a:pos x="T114" y="T115"/>
              </a:cxn>
              <a:cxn ang="T176">
                <a:pos x="T116" y="T117"/>
              </a:cxn>
            </a:cxnLst>
            <a:rect l="T177" t="T178" r="T179" b="T180"/>
            <a:pathLst>
              <a:path w="2827092" h="3104215">
                <a:moveTo>
                  <a:pt x="1943998" y="0"/>
                </a:moveTo>
                <a:lnTo>
                  <a:pt x="1949444" y="2050"/>
                </a:lnTo>
                <a:lnTo>
                  <a:pt x="1949444" y="2051"/>
                </a:lnTo>
                <a:lnTo>
                  <a:pt x="1949448" y="2052"/>
                </a:lnTo>
                <a:lnTo>
                  <a:pt x="1949446" y="2052"/>
                </a:lnTo>
                <a:lnTo>
                  <a:pt x="1974212" y="28536"/>
                </a:lnTo>
                <a:lnTo>
                  <a:pt x="2023670" y="57118"/>
                </a:lnTo>
                <a:cubicBezTo>
                  <a:pt x="2029728" y="65249"/>
                  <a:pt x="2035862" y="73318"/>
                  <a:pt x="2041998" y="81449"/>
                </a:cubicBezTo>
                <a:cubicBezTo>
                  <a:pt x="2043454" y="93460"/>
                  <a:pt x="2044910" y="105471"/>
                  <a:pt x="2046292" y="117421"/>
                </a:cubicBezTo>
                <a:lnTo>
                  <a:pt x="2094752" y="148096"/>
                </a:lnTo>
                <a:lnTo>
                  <a:pt x="2156020" y="189366"/>
                </a:lnTo>
                <a:lnTo>
                  <a:pt x="2191522" y="249670"/>
                </a:lnTo>
                <a:lnTo>
                  <a:pt x="2230168" y="288907"/>
                </a:lnTo>
                <a:lnTo>
                  <a:pt x="2278630" y="306831"/>
                </a:lnTo>
                <a:lnTo>
                  <a:pt x="2319500" y="336521"/>
                </a:lnTo>
                <a:lnTo>
                  <a:pt x="2349636" y="389433"/>
                </a:lnTo>
                <a:lnTo>
                  <a:pt x="2375476" y="436985"/>
                </a:lnTo>
                <a:lnTo>
                  <a:pt x="2422864" y="443392"/>
                </a:lnTo>
                <a:lnTo>
                  <a:pt x="2455070" y="491006"/>
                </a:lnTo>
                <a:lnTo>
                  <a:pt x="2501308" y="514289"/>
                </a:lnTo>
                <a:lnTo>
                  <a:pt x="2564876" y="551371"/>
                </a:lnTo>
                <a:lnTo>
                  <a:pt x="2636954" y="577796"/>
                </a:lnTo>
                <a:lnTo>
                  <a:pt x="2690630" y="608471"/>
                </a:lnTo>
                <a:cubicBezTo>
                  <a:pt x="2703972" y="618019"/>
                  <a:pt x="2702898" y="608533"/>
                  <a:pt x="2716240" y="618019"/>
                </a:cubicBezTo>
                <a:lnTo>
                  <a:pt x="2707338" y="631667"/>
                </a:lnTo>
                <a:lnTo>
                  <a:pt x="2720818" y="634185"/>
                </a:lnTo>
                <a:cubicBezTo>
                  <a:pt x="2726152" y="644787"/>
                  <a:pt x="2731280" y="655593"/>
                  <a:pt x="2736616" y="666196"/>
                </a:cubicBezTo>
                <a:cubicBezTo>
                  <a:pt x="2738462" y="682303"/>
                  <a:pt x="2740512" y="698002"/>
                  <a:pt x="2742154" y="714110"/>
                </a:cubicBezTo>
                <a:cubicBezTo>
                  <a:pt x="2745436" y="726547"/>
                  <a:pt x="2749336" y="738984"/>
                  <a:pt x="2752618" y="751421"/>
                </a:cubicBezTo>
                <a:lnTo>
                  <a:pt x="2752618" y="793830"/>
                </a:lnTo>
                <a:cubicBezTo>
                  <a:pt x="2761440" y="800966"/>
                  <a:pt x="2770672" y="808103"/>
                  <a:pt x="2779288" y="815239"/>
                </a:cubicBezTo>
                <a:cubicBezTo>
                  <a:pt x="2781134" y="834812"/>
                  <a:pt x="2782776" y="854182"/>
                  <a:pt x="2784418" y="873755"/>
                </a:cubicBezTo>
                <a:lnTo>
                  <a:pt x="2784418" y="916572"/>
                </a:lnTo>
                <a:cubicBezTo>
                  <a:pt x="2788110" y="926970"/>
                  <a:pt x="2791598" y="937776"/>
                  <a:pt x="2795292" y="948378"/>
                </a:cubicBezTo>
                <a:lnTo>
                  <a:pt x="2811088" y="969379"/>
                </a:lnTo>
                <a:cubicBezTo>
                  <a:pt x="2816628" y="976515"/>
                  <a:pt x="2821552" y="983651"/>
                  <a:pt x="2827092" y="990787"/>
                </a:cubicBezTo>
                <a:cubicBezTo>
                  <a:pt x="2823808" y="994254"/>
                  <a:pt x="2819910" y="997924"/>
                  <a:pt x="2816628" y="1001390"/>
                </a:cubicBezTo>
                <a:lnTo>
                  <a:pt x="2800214" y="1001390"/>
                </a:lnTo>
                <a:cubicBezTo>
                  <a:pt x="2804112" y="1010361"/>
                  <a:pt x="2807396" y="1019128"/>
                  <a:pt x="2811088" y="1028099"/>
                </a:cubicBezTo>
                <a:cubicBezTo>
                  <a:pt x="2807396" y="1031769"/>
                  <a:pt x="2804112" y="1035235"/>
                  <a:pt x="2800214" y="1038905"/>
                </a:cubicBezTo>
                <a:lnTo>
                  <a:pt x="2784418" y="1044206"/>
                </a:lnTo>
                <a:lnTo>
                  <a:pt x="2768416" y="1044206"/>
                </a:lnTo>
                <a:cubicBezTo>
                  <a:pt x="2775596" y="1054605"/>
                  <a:pt x="2782776" y="1065411"/>
                  <a:pt x="2789752" y="1076013"/>
                </a:cubicBezTo>
                <a:cubicBezTo>
                  <a:pt x="2793240" y="1086615"/>
                  <a:pt x="2796932" y="1097421"/>
                  <a:pt x="2800214" y="1108024"/>
                </a:cubicBezTo>
                <a:cubicBezTo>
                  <a:pt x="2794880" y="1109859"/>
                  <a:pt x="2789752" y="1111286"/>
                  <a:pt x="2784418" y="1113121"/>
                </a:cubicBezTo>
                <a:cubicBezTo>
                  <a:pt x="2777236" y="1111286"/>
                  <a:pt x="2770672" y="1109859"/>
                  <a:pt x="2763492" y="1108024"/>
                </a:cubicBezTo>
                <a:cubicBezTo>
                  <a:pt x="2759798" y="1102723"/>
                  <a:pt x="2756310" y="1097421"/>
                  <a:pt x="2752618" y="1092120"/>
                </a:cubicBezTo>
                <a:lnTo>
                  <a:pt x="2752618" y="1059906"/>
                </a:lnTo>
                <a:cubicBezTo>
                  <a:pt x="2747078" y="1056440"/>
                  <a:pt x="2742154" y="1052770"/>
                  <a:pt x="2736616" y="1049304"/>
                </a:cubicBezTo>
                <a:cubicBezTo>
                  <a:pt x="2729640" y="1047469"/>
                  <a:pt x="2722458" y="1046041"/>
                  <a:pt x="2715278" y="1044206"/>
                </a:cubicBezTo>
                <a:lnTo>
                  <a:pt x="2715278" y="1012196"/>
                </a:lnTo>
                <a:lnTo>
                  <a:pt x="2715278" y="996089"/>
                </a:lnTo>
                <a:cubicBezTo>
                  <a:pt x="2709944" y="992622"/>
                  <a:pt x="2704816" y="988952"/>
                  <a:pt x="2699480" y="985486"/>
                </a:cubicBezTo>
                <a:cubicBezTo>
                  <a:pt x="2695994" y="982224"/>
                  <a:pt x="2692300" y="978350"/>
                  <a:pt x="2689018" y="975088"/>
                </a:cubicBezTo>
                <a:lnTo>
                  <a:pt x="2678144" y="975088"/>
                </a:lnTo>
                <a:lnTo>
                  <a:pt x="2678144" y="990787"/>
                </a:lnTo>
                <a:cubicBezTo>
                  <a:pt x="2672810" y="992622"/>
                  <a:pt x="2667476" y="994254"/>
                  <a:pt x="2662142" y="996089"/>
                </a:cubicBezTo>
                <a:lnTo>
                  <a:pt x="2662142" y="1033604"/>
                </a:lnTo>
                <a:cubicBezTo>
                  <a:pt x="2666040" y="1046041"/>
                  <a:pt x="2669322" y="1058479"/>
                  <a:pt x="2673016" y="1070712"/>
                </a:cubicBezTo>
                <a:cubicBezTo>
                  <a:pt x="2669322" y="1074178"/>
                  <a:pt x="2666040" y="1077848"/>
                  <a:pt x="2662142" y="1081314"/>
                </a:cubicBezTo>
                <a:lnTo>
                  <a:pt x="2646344" y="1081314"/>
                </a:lnTo>
                <a:lnTo>
                  <a:pt x="2625008" y="1065411"/>
                </a:lnTo>
                <a:cubicBezTo>
                  <a:pt x="2621520" y="1058479"/>
                  <a:pt x="2617826" y="1051343"/>
                  <a:pt x="2614544" y="1044206"/>
                </a:cubicBezTo>
                <a:cubicBezTo>
                  <a:pt x="2610646" y="1037070"/>
                  <a:pt x="2607364" y="1029934"/>
                  <a:pt x="2603670" y="1022798"/>
                </a:cubicBezTo>
                <a:cubicBezTo>
                  <a:pt x="2600182" y="1020963"/>
                  <a:pt x="2596490" y="1019332"/>
                  <a:pt x="2593208" y="1017497"/>
                </a:cubicBezTo>
                <a:cubicBezTo>
                  <a:pt x="2589720" y="1015662"/>
                  <a:pt x="2586026" y="1014031"/>
                  <a:pt x="2582744" y="1012196"/>
                </a:cubicBezTo>
                <a:cubicBezTo>
                  <a:pt x="2578846" y="1008526"/>
                  <a:pt x="2575564" y="1005060"/>
                  <a:pt x="2571870" y="1001390"/>
                </a:cubicBezTo>
                <a:lnTo>
                  <a:pt x="2561408" y="1001390"/>
                </a:lnTo>
                <a:cubicBezTo>
                  <a:pt x="2555868" y="1005060"/>
                  <a:pt x="2550944" y="1008526"/>
                  <a:pt x="2545404" y="1012196"/>
                </a:cubicBezTo>
                <a:lnTo>
                  <a:pt x="2534532" y="1001390"/>
                </a:lnTo>
                <a:lnTo>
                  <a:pt x="2534532" y="985486"/>
                </a:lnTo>
                <a:cubicBezTo>
                  <a:pt x="2536172" y="982224"/>
                  <a:pt x="2538224" y="978350"/>
                  <a:pt x="2540070" y="975088"/>
                </a:cubicBezTo>
                <a:lnTo>
                  <a:pt x="2540070" y="958981"/>
                </a:lnTo>
                <a:cubicBezTo>
                  <a:pt x="2538224" y="955515"/>
                  <a:pt x="2536172" y="951845"/>
                  <a:pt x="2534532" y="948378"/>
                </a:cubicBezTo>
                <a:cubicBezTo>
                  <a:pt x="2531248" y="944708"/>
                  <a:pt x="2527350" y="941242"/>
                  <a:pt x="2524068" y="937572"/>
                </a:cubicBezTo>
                <a:lnTo>
                  <a:pt x="2502732" y="916572"/>
                </a:lnTo>
                <a:lnTo>
                  <a:pt x="2502732" y="895163"/>
                </a:lnTo>
                <a:lnTo>
                  <a:pt x="2502732" y="879056"/>
                </a:lnTo>
                <a:cubicBezTo>
                  <a:pt x="2499038" y="873755"/>
                  <a:pt x="2495550" y="868454"/>
                  <a:pt x="2491858" y="863153"/>
                </a:cubicBezTo>
                <a:cubicBezTo>
                  <a:pt x="2486318" y="859483"/>
                  <a:pt x="2481394" y="856017"/>
                  <a:pt x="2475856" y="852347"/>
                </a:cubicBezTo>
                <a:cubicBezTo>
                  <a:pt x="2474214" y="847045"/>
                  <a:pt x="2472572" y="841948"/>
                  <a:pt x="2470932" y="836647"/>
                </a:cubicBezTo>
                <a:cubicBezTo>
                  <a:pt x="2469290" y="832773"/>
                  <a:pt x="2467238" y="829511"/>
                  <a:pt x="2465392" y="825637"/>
                </a:cubicBezTo>
                <a:cubicBezTo>
                  <a:pt x="2462110" y="823802"/>
                  <a:pt x="2458416" y="822375"/>
                  <a:pt x="2454928" y="820540"/>
                </a:cubicBezTo>
                <a:cubicBezTo>
                  <a:pt x="2453288" y="815239"/>
                  <a:pt x="2451236" y="809938"/>
                  <a:pt x="2449594" y="804636"/>
                </a:cubicBezTo>
                <a:cubicBezTo>
                  <a:pt x="2444260" y="802801"/>
                  <a:pt x="2438926" y="801170"/>
                  <a:pt x="2433592" y="799335"/>
                </a:cubicBezTo>
                <a:cubicBezTo>
                  <a:pt x="2429900" y="795665"/>
                  <a:pt x="2426616" y="792199"/>
                  <a:pt x="2422718" y="788529"/>
                </a:cubicBezTo>
                <a:cubicBezTo>
                  <a:pt x="2419436" y="786694"/>
                  <a:pt x="2415744" y="785063"/>
                  <a:pt x="2412256" y="783228"/>
                </a:cubicBezTo>
                <a:cubicBezTo>
                  <a:pt x="2408562" y="790364"/>
                  <a:pt x="2405280" y="797500"/>
                  <a:pt x="2401382" y="804636"/>
                </a:cubicBezTo>
                <a:lnTo>
                  <a:pt x="2401382" y="831346"/>
                </a:lnTo>
                <a:lnTo>
                  <a:pt x="2417794" y="847045"/>
                </a:lnTo>
                <a:cubicBezTo>
                  <a:pt x="2421078" y="852347"/>
                  <a:pt x="2424976" y="857852"/>
                  <a:pt x="2428258" y="863153"/>
                </a:cubicBezTo>
                <a:cubicBezTo>
                  <a:pt x="2429900" y="870289"/>
                  <a:pt x="2431950" y="877221"/>
                  <a:pt x="2433592" y="884357"/>
                </a:cubicBezTo>
                <a:cubicBezTo>
                  <a:pt x="2431950" y="889454"/>
                  <a:pt x="2429900" y="895163"/>
                  <a:pt x="2428258" y="900464"/>
                </a:cubicBezTo>
                <a:lnTo>
                  <a:pt x="2406922" y="900464"/>
                </a:lnTo>
                <a:lnTo>
                  <a:pt x="2406922" y="916572"/>
                </a:lnTo>
                <a:cubicBezTo>
                  <a:pt x="2405280" y="919834"/>
                  <a:pt x="2403024" y="923708"/>
                  <a:pt x="2401382" y="926970"/>
                </a:cubicBezTo>
                <a:lnTo>
                  <a:pt x="2417794" y="932271"/>
                </a:lnTo>
                <a:cubicBezTo>
                  <a:pt x="2414102" y="935737"/>
                  <a:pt x="2410614" y="939407"/>
                  <a:pt x="2406922" y="942873"/>
                </a:cubicBezTo>
                <a:cubicBezTo>
                  <a:pt x="2399740" y="939407"/>
                  <a:pt x="2392560" y="935737"/>
                  <a:pt x="2385584" y="932271"/>
                </a:cubicBezTo>
                <a:cubicBezTo>
                  <a:pt x="2383944" y="928805"/>
                  <a:pt x="2382096" y="925135"/>
                  <a:pt x="2380456" y="921669"/>
                </a:cubicBezTo>
                <a:lnTo>
                  <a:pt x="2369582" y="921669"/>
                </a:lnTo>
                <a:cubicBezTo>
                  <a:pt x="2366300" y="916572"/>
                  <a:pt x="2362606" y="910863"/>
                  <a:pt x="2359118" y="905562"/>
                </a:cubicBezTo>
                <a:cubicBezTo>
                  <a:pt x="2357478" y="910863"/>
                  <a:pt x="2355426" y="916572"/>
                  <a:pt x="2353784" y="921669"/>
                </a:cubicBezTo>
                <a:cubicBezTo>
                  <a:pt x="2348244" y="919834"/>
                  <a:pt x="2343322" y="918407"/>
                  <a:pt x="2337782" y="916572"/>
                </a:cubicBezTo>
                <a:lnTo>
                  <a:pt x="2321984" y="916572"/>
                </a:lnTo>
                <a:lnTo>
                  <a:pt x="2305982" y="916572"/>
                </a:lnTo>
                <a:lnTo>
                  <a:pt x="2279310" y="926970"/>
                </a:lnTo>
                <a:cubicBezTo>
                  <a:pt x="2275824" y="930436"/>
                  <a:pt x="2272130" y="934106"/>
                  <a:pt x="2268848" y="937572"/>
                </a:cubicBezTo>
                <a:cubicBezTo>
                  <a:pt x="2267206" y="941242"/>
                  <a:pt x="2264950" y="944708"/>
                  <a:pt x="2263308" y="948378"/>
                </a:cubicBezTo>
                <a:cubicBezTo>
                  <a:pt x="2268848" y="953680"/>
                  <a:pt x="2273772" y="958981"/>
                  <a:pt x="2279310" y="964282"/>
                </a:cubicBezTo>
                <a:lnTo>
                  <a:pt x="2279310" y="980389"/>
                </a:lnTo>
                <a:cubicBezTo>
                  <a:pt x="2275824" y="982224"/>
                  <a:pt x="2272130" y="983651"/>
                  <a:pt x="2268848" y="985486"/>
                </a:cubicBezTo>
                <a:cubicBezTo>
                  <a:pt x="2263308" y="988952"/>
                  <a:pt x="2258384" y="992622"/>
                  <a:pt x="2252846" y="996089"/>
                </a:cubicBezTo>
                <a:lnTo>
                  <a:pt x="2237048" y="1001390"/>
                </a:lnTo>
                <a:lnTo>
                  <a:pt x="2237048" y="1017497"/>
                </a:lnTo>
                <a:cubicBezTo>
                  <a:pt x="2233150" y="1024633"/>
                  <a:pt x="2229868" y="1031769"/>
                  <a:pt x="2226174" y="1038905"/>
                </a:cubicBezTo>
                <a:cubicBezTo>
                  <a:pt x="2222686" y="1040740"/>
                  <a:pt x="2218994" y="1042371"/>
                  <a:pt x="2215712" y="1044206"/>
                </a:cubicBezTo>
                <a:cubicBezTo>
                  <a:pt x="2210172" y="1058479"/>
                  <a:pt x="2205248" y="1072343"/>
                  <a:pt x="2199708" y="1086615"/>
                </a:cubicBezTo>
                <a:cubicBezTo>
                  <a:pt x="2198068" y="1095586"/>
                  <a:pt x="2196016" y="1104150"/>
                  <a:pt x="2194374" y="1113121"/>
                </a:cubicBezTo>
                <a:cubicBezTo>
                  <a:pt x="2187194" y="1116995"/>
                  <a:pt x="2180012" y="1120257"/>
                  <a:pt x="2173038" y="1124131"/>
                </a:cubicBezTo>
                <a:lnTo>
                  <a:pt x="2157034" y="1124131"/>
                </a:lnTo>
                <a:lnTo>
                  <a:pt x="2146572" y="1134529"/>
                </a:lnTo>
                <a:cubicBezTo>
                  <a:pt x="2142878" y="1137995"/>
                  <a:pt x="2139392" y="1141665"/>
                  <a:pt x="2135698" y="1145132"/>
                </a:cubicBezTo>
                <a:cubicBezTo>
                  <a:pt x="2130158" y="1148802"/>
                  <a:pt x="2125234" y="1152268"/>
                  <a:pt x="2119696" y="1155938"/>
                </a:cubicBezTo>
                <a:lnTo>
                  <a:pt x="2103898" y="1155938"/>
                </a:lnTo>
                <a:cubicBezTo>
                  <a:pt x="2102256" y="1161239"/>
                  <a:pt x="2100206" y="1166540"/>
                  <a:pt x="2098358" y="1171841"/>
                </a:cubicBezTo>
                <a:cubicBezTo>
                  <a:pt x="2102256" y="1175511"/>
                  <a:pt x="2105540" y="1178977"/>
                  <a:pt x="2109232" y="1182647"/>
                </a:cubicBezTo>
                <a:cubicBezTo>
                  <a:pt x="2114772" y="1187948"/>
                  <a:pt x="2119696" y="1193249"/>
                  <a:pt x="2125234" y="1198347"/>
                </a:cubicBezTo>
                <a:cubicBezTo>
                  <a:pt x="2119696" y="1203648"/>
                  <a:pt x="2114772" y="1209357"/>
                  <a:pt x="2109232" y="1214454"/>
                </a:cubicBezTo>
                <a:lnTo>
                  <a:pt x="2109232" y="1241163"/>
                </a:lnTo>
                <a:cubicBezTo>
                  <a:pt x="2105540" y="1248300"/>
                  <a:pt x="2102256" y="1255028"/>
                  <a:pt x="2098358" y="1262164"/>
                </a:cubicBezTo>
                <a:cubicBezTo>
                  <a:pt x="2103898" y="1267465"/>
                  <a:pt x="2108822" y="1273174"/>
                  <a:pt x="2114362" y="1278271"/>
                </a:cubicBezTo>
                <a:cubicBezTo>
                  <a:pt x="2116002" y="1287242"/>
                  <a:pt x="2118054" y="1296010"/>
                  <a:pt x="2119696" y="1304981"/>
                </a:cubicBezTo>
                <a:lnTo>
                  <a:pt x="2093434" y="1315583"/>
                </a:lnTo>
                <a:cubicBezTo>
                  <a:pt x="2096718" y="1320884"/>
                  <a:pt x="2100616" y="1326389"/>
                  <a:pt x="2103898" y="1331690"/>
                </a:cubicBezTo>
                <a:cubicBezTo>
                  <a:pt x="2107180" y="1336991"/>
                  <a:pt x="2111078" y="1342089"/>
                  <a:pt x="2114362" y="1347390"/>
                </a:cubicBezTo>
                <a:cubicBezTo>
                  <a:pt x="2118054" y="1352691"/>
                  <a:pt x="2121542" y="1358196"/>
                  <a:pt x="2125234" y="1363497"/>
                </a:cubicBezTo>
                <a:lnTo>
                  <a:pt x="2151496" y="1379400"/>
                </a:lnTo>
                <a:cubicBezTo>
                  <a:pt x="2160522" y="1384702"/>
                  <a:pt x="2169344" y="1390207"/>
                  <a:pt x="2178372" y="1395508"/>
                </a:cubicBezTo>
                <a:cubicBezTo>
                  <a:pt x="2176730" y="1402644"/>
                  <a:pt x="2174678" y="1409780"/>
                  <a:pt x="2173038" y="1416916"/>
                </a:cubicBezTo>
                <a:cubicBezTo>
                  <a:pt x="2169550" y="1422013"/>
                  <a:pt x="2165856" y="1427314"/>
                  <a:pt x="2162574" y="1432615"/>
                </a:cubicBezTo>
                <a:lnTo>
                  <a:pt x="2167498" y="1475432"/>
                </a:lnTo>
                <a:lnTo>
                  <a:pt x="2167498" y="1512540"/>
                </a:lnTo>
                <a:cubicBezTo>
                  <a:pt x="2169140" y="1523142"/>
                  <a:pt x="2171192" y="1533948"/>
                  <a:pt x="2173038" y="1544551"/>
                </a:cubicBezTo>
                <a:cubicBezTo>
                  <a:pt x="2174678" y="1549648"/>
                  <a:pt x="2176730" y="1555357"/>
                  <a:pt x="2178372" y="1560658"/>
                </a:cubicBezTo>
                <a:cubicBezTo>
                  <a:pt x="2188834" y="1567794"/>
                  <a:pt x="2199708" y="1574522"/>
                  <a:pt x="2210172" y="1581659"/>
                </a:cubicBezTo>
                <a:lnTo>
                  <a:pt x="2231508" y="1603067"/>
                </a:lnTo>
                <a:lnTo>
                  <a:pt x="2231508" y="1624475"/>
                </a:lnTo>
                <a:cubicBezTo>
                  <a:pt x="2229868" y="1629776"/>
                  <a:pt x="2227816" y="1634874"/>
                  <a:pt x="2226174" y="1640175"/>
                </a:cubicBezTo>
                <a:cubicBezTo>
                  <a:pt x="2227816" y="1650777"/>
                  <a:pt x="2229868" y="1661583"/>
                  <a:pt x="2231508" y="1672185"/>
                </a:cubicBezTo>
                <a:cubicBezTo>
                  <a:pt x="2233150" y="1682992"/>
                  <a:pt x="2235202" y="1693594"/>
                  <a:pt x="2237048" y="1704400"/>
                </a:cubicBezTo>
                <a:cubicBezTo>
                  <a:pt x="2238688" y="1716837"/>
                  <a:pt x="2240330" y="1729071"/>
                  <a:pt x="2241972" y="1741508"/>
                </a:cubicBezTo>
                <a:lnTo>
                  <a:pt x="2226174" y="1746809"/>
                </a:lnTo>
                <a:lnTo>
                  <a:pt x="2226174" y="1783917"/>
                </a:lnTo>
                <a:cubicBezTo>
                  <a:pt x="2224328" y="1789218"/>
                  <a:pt x="2222276" y="1794723"/>
                  <a:pt x="2220634" y="1800024"/>
                </a:cubicBezTo>
                <a:cubicBezTo>
                  <a:pt x="2215300" y="1803490"/>
                  <a:pt x="2210172" y="1807160"/>
                  <a:pt x="2204838" y="1810626"/>
                </a:cubicBezTo>
                <a:cubicBezTo>
                  <a:pt x="2208530" y="1826733"/>
                  <a:pt x="2211812" y="1842433"/>
                  <a:pt x="2215712" y="1858540"/>
                </a:cubicBezTo>
                <a:cubicBezTo>
                  <a:pt x="2217352" y="1874444"/>
                  <a:pt x="2218994" y="1890551"/>
                  <a:pt x="2220634" y="1906250"/>
                </a:cubicBezTo>
                <a:lnTo>
                  <a:pt x="2220634" y="1938056"/>
                </a:lnTo>
                <a:lnTo>
                  <a:pt x="2220904" y="1938392"/>
                </a:lnTo>
                <a:cubicBezTo>
                  <a:pt x="2224380" y="1943704"/>
                  <a:pt x="2227994" y="1949016"/>
                  <a:pt x="2231470" y="1954446"/>
                </a:cubicBezTo>
                <a:lnTo>
                  <a:pt x="2231470" y="1975695"/>
                </a:lnTo>
                <a:lnTo>
                  <a:pt x="2268724" y="1986437"/>
                </a:lnTo>
                <a:cubicBezTo>
                  <a:pt x="2277620" y="1995172"/>
                  <a:pt x="2286378" y="2004026"/>
                  <a:pt x="2295274" y="2012761"/>
                </a:cubicBezTo>
                <a:cubicBezTo>
                  <a:pt x="2293468" y="2021615"/>
                  <a:pt x="2291800" y="2030704"/>
                  <a:pt x="2289992" y="2039558"/>
                </a:cubicBezTo>
                <a:cubicBezTo>
                  <a:pt x="2288186" y="2044870"/>
                  <a:pt x="2286516" y="2050182"/>
                  <a:pt x="2284710" y="2055612"/>
                </a:cubicBezTo>
                <a:cubicBezTo>
                  <a:pt x="2289992" y="2060806"/>
                  <a:pt x="2295136" y="2066236"/>
                  <a:pt x="2300556" y="2071430"/>
                </a:cubicBezTo>
                <a:lnTo>
                  <a:pt x="2348516" y="2087602"/>
                </a:lnTo>
                <a:lnTo>
                  <a:pt x="2369644" y="2098226"/>
                </a:lnTo>
                <a:cubicBezTo>
                  <a:pt x="2366170" y="2103538"/>
                  <a:pt x="2362556" y="2108850"/>
                  <a:pt x="2359080" y="2114162"/>
                </a:cubicBezTo>
                <a:lnTo>
                  <a:pt x="2343094" y="2114162"/>
                </a:lnTo>
                <a:lnTo>
                  <a:pt x="2343094" y="2124551"/>
                </a:lnTo>
                <a:lnTo>
                  <a:pt x="2343094" y="2140723"/>
                </a:lnTo>
                <a:lnTo>
                  <a:pt x="2364362" y="2156777"/>
                </a:lnTo>
                <a:lnTo>
                  <a:pt x="2385630" y="2151347"/>
                </a:lnTo>
                <a:lnTo>
                  <a:pt x="2385630" y="2129981"/>
                </a:lnTo>
                <a:lnTo>
                  <a:pt x="2396334" y="2129981"/>
                </a:lnTo>
                <a:lnTo>
                  <a:pt x="2396334" y="2114162"/>
                </a:lnTo>
                <a:cubicBezTo>
                  <a:pt x="2401756" y="2107080"/>
                  <a:pt x="2406900" y="2099997"/>
                  <a:pt x="2412182" y="2092796"/>
                </a:cubicBezTo>
                <a:lnTo>
                  <a:pt x="2438872" y="2092796"/>
                </a:lnTo>
                <a:lnTo>
                  <a:pt x="2454858" y="2092796"/>
                </a:lnTo>
                <a:cubicBezTo>
                  <a:pt x="2458472" y="2096456"/>
                  <a:pt x="2461808" y="2099997"/>
                  <a:pt x="2465422" y="2103420"/>
                </a:cubicBezTo>
                <a:cubicBezTo>
                  <a:pt x="2467368" y="2096456"/>
                  <a:pt x="2469036" y="2089373"/>
                  <a:pt x="2470844" y="2082172"/>
                </a:cubicBezTo>
                <a:lnTo>
                  <a:pt x="2470844" y="2066236"/>
                </a:lnTo>
                <a:lnTo>
                  <a:pt x="2486830" y="2066236"/>
                </a:lnTo>
                <a:lnTo>
                  <a:pt x="2497394" y="2066236"/>
                </a:lnTo>
                <a:lnTo>
                  <a:pt x="2518662" y="2066236"/>
                </a:lnTo>
                <a:lnTo>
                  <a:pt x="2534648" y="2060806"/>
                </a:lnTo>
                <a:lnTo>
                  <a:pt x="2566482" y="2092796"/>
                </a:lnTo>
                <a:lnTo>
                  <a:pt x="2587750" y="2098226"/>
                </a:lnTo>
                <a:cubicBezTo>
                  <a:pt x="2593032" y="2105309"/>
                  <a:pt x="2598454" y="2112274"/>
                  <a:pt x="2603736" y="2119356"/>
                </a:cubicBezTo>
                <a:lnTo>
                  <a:pt x="2577186" y="2119356"/>
                </a:lnTo>
                <a:lnTo>
                  <a:pt x="2577186" y="2140723"/>
                </a:lnTo>
                <a:cubicBezTo>
                  <a:pt x="2573572" y="2144146"/>
                  <a:pt x="2570096" y="2147924"/>
                  <a:pt x="2566482" y="2151347"/>
                </a:cubicBezTo>
                <a:lnTo>
                  <a:pt x="2566482" y="2183338"/>
                </a:lnTo>
                <a:lnTo>
                  <a:pt x="2534648" y="2193962"/>
                </a:lnTo>
                <a:lnTo>
                  <a:pt x="2513380" y="2199392"/>
                </a:lnTo>
                <a:lnTo>
                  <a:pt x="2486830" y="2210016"/>
                </a:lnTo>
                <a:cubicBezTo>
                  <a:pt x="2481546" y="2211787"/>
                  <a:pt x="2476126" y="2213439"/>
                  <a:pt x="2470844" y="2215210"/>
                </a:cubicBezTo>
                <a:cubicBezTo>
                  <a:pt x="2474180" y="2218869"/>
                  <a:pt x="2477794" y="2222293"/>
                  <a:pt x="2481408" y="2225716"/>
                </a:cubicBezTo>
                <a:lnTo>
                  <a:pt x="2491972" y="2231146"/>
                </a:lnTo>
                <a:cubicBezTo>
                  <a:pt x="2497394" y="2243659"/>
                  <a:pt x="2502816" y="2255936"/>
                  <a:pt x="2508098" y="2268331"/>
                </a:cubicBezTo>
                <a:cubicBezTo>
                  <a:pt x="2502676" y="2277184"/>
                  <a:pt x="2497394" y="2286274"/>
                  <a:pt x="2491972" y="2295127"/>
                </a:cubicBezTo>
                <a:cubicBezTo>
                  <a:pt x="2490166" y="2300557"/>
                  <a:pt x="2488636" y="2305751"/>
                  <a:pt x="2486830" y="2311181"/>
                </a:cubicBezTo>
                <a:lnTo>
                  <a:pt x="2460278" y="2311181"/>
                </a:lnTo>
                <a:lnTo>
                  <a:pt x="2438872" y="2311181"/>
                </a:lnTo>
                <a:cubicBezTo>
                  <a:pt x="2431782" y="2304099"/>
                  <a:pt x="2424832" y="2296898"/>
                  <a:pt x="2417742" y="2289815"/>
                </a:cubicBezTo>
                <a:lnTo>
                  <a:pt x="2406900" y="2289815"/>
                </a:lnTo>
                <a:cubicBezTo>
                  <a:pt x="2403562" y="2291704"/>
                  <a:pt x="2399810" y="2293356"/>
                  <a:pt x="2396334" y="2295127"/>
                </a:cubicBezTo>
                <a:cubicBezTo>
                  <a:pt x="2392720" y="2291704"/>
                  <a:pt x="2389384" y="2287926"/>
                  <a:pt x="2385630" y="2284503"/>
                </a:cubicBezTo>
                <a:cubicBezTo>
                  <a:pt x="2383824" y="2291704"/>
                  <a:pt x="2382156" y="2298550"/>
                  <a:pt x="2380348" y="2305751"/>
                </a:cubicBezTo>
                <a:lnTo>
                  <a:pt x="2359080" y="2311181"/>
                </a:lnTo>
                <a:lnTo>
                  <a:pt x="2337812" y="2321806"/>
                </a:lnTo>
                <a:lnTo>
                  <a:pt x="2337812" y="2337624"/>
                </a:lnTo>
                <a:lnTo>
                  <a:pt x="2359080" y="2348248"/>
                </a:lnTo>
                <a:cubicBezTo>
                  <a:pt x="2364502" y="2350018"/>
                  <a:pt x="2369784" y="2351907"/>
                  <a:pt x="2375204" y="2353678"/>
                </a:cubicBezTo>
                <a:lnTo>
                  <a:pt x="2375204" y="2369496"/>
                </a:lnTo>
                <a:cubicBezTo>
                  <a:pt x="2369784" y="2373038"/>
                  <a:pt x="2364502" y="2376697"/>
                  <a:pt x="2359080" y="2380238"/>
                </a:cubicBezTo>
                <a:cubicBezTo>
                  <a:pt x="2353798" y="2392869"/>
                  <a:pt x="2348516" y="2405146"/>
                  <a:pt x="2343094" y="2417541"/>
                </a:cubicBezTo>
                <a:cubicBezTo>
                  <a:pt x="2346708" y="2431706"/>
                  <a:pt x="2350184" y="2445990"/>
                  <a:pt x="2353798" y="2460038"/>
                </a:cubicBezTo>
                <a:cubicBezTo>
                  <a:pt x="2351990" y="2472550"/>
                  <a:pt x="2350184" y="2484945"/>
                  <a:pt x="2348516" y="2497458"/>
                </a:cubicBezTo>
                <a:cubicBezTo>
                  <a:pt x="2344900" y="2501000"/>
                  <a:pt x="2341286" y="2504423"/>
                  <a:pt x="2337812" y="2508082"/>
                </a:cubicBezTo>
                <a:lnTo>
                  <a:pt x="2300556" y="2518706"/>
                </a:lnTo>
                <a:lnTo>
                  <a:pt x="2268724" y="2508082"/>
                </a:lnTo>
                <a:lnTo>
                  <a:pt x="2247456" y="2497458"/>
                </a:lnTo>
                <a:cubicBezTo>
                  <a:pt x="2243842" y="2500882"/>
                  <a:pt x="2240366" y="2504423"/>
                  <a:pt x="2236752" y="2508082"/>
                </a:cubicBezTo>
                <a:lnTo>
                  <a:pt x="2220904" y="2502652"/>
                </a:lnTo>
                <a:cubicBezTo>
                  <a:pt x="2224380" y="2520359"/>
                  <a:pt x="2227994" y="2538302"/>
                  <a:pt x="2231470" y="2555773"/>
                </a:cubicBezTo>
                <a:cubicBezTo>
                  <a:pt x="2233276" y="2568404"/>
                  <a:pt x="2234944" y="2580681"/>
                  <a:pt x="2236752" y="2593194"/>
                </a:cubicBezTo>
                <a:cubicBezTo>
                  <a:pt x="2229524" y="2600276"/>
                  <a:pt x="2222572" y="2607477"/>
                  <a:pt x="2215344" y="2614442"/>
                </a:cubicBezTo>
                <a:cubicBezTo>
                  <a:pt x="2211870" y="2618101"/>
                  <a:pt x="2208394" y="2621524"/>
                  <a:pt x="2204918" y="2625184"/>
                </a:cubicBezTo>
                <a:cubicBezTo>
                  <a:pt x="2201444" y="2632149"/>
                  <a:pt x="2197830" y="2639468"/>
                  <a:pt x="2194354" y="2646314"/>
                </a:cubicBezTo>
                <a:lnTo>
                  <a:pt x="2173086" y="2651744"/>
                </a:lnTo>
                <a:cubicBezTo>
                  <a:pt x="2167804" y="2658945"/>
                  <a:pt x="2162242" y="2665792"/>
                  <a:pt x="2157100" y="2672993"/>
                </a:cubicBezTo>
                <a:cubicBezTo>
                  <a:pt x="2153486" y="2678305"/>
                  <a:pt x="2149872" y="2683735"/>
                  <a:pt x="2146256" y="2688929"/>
                </a:cubicBezTo>
                <a:cubicBezTo>
                  <a:pt x="2142782" y="2692588"/>
                  <a:pt x="2139168" y="2696130"/>
                  <a:pt x="2135692" y="2699789"/>
                </a:cubicBezTo>
                <a:lnTo>
                  <a:pt x="2098438" y="2678305"/>
                </a:lnTo>
                <a:lnTo>
                  <a:pt x="2071886" y="2678305"/>
                </a:lnTo>
                <a:lnTo>
                  <a:pt x="2040054" y="2667562"/>
                </a:lnTo>
                <a:lnTo>
                  <a:pt x="2018786" y="2662368"/>
                </a:lnTo>
                <a:cubicBezTo>
                  <a:pt x="2016978" y="2656938"/>
                  <a:pt x="2015172" y="2651744"/>
                  <a:pt x="2013364" y="2646314"/>
                </a:cubicBezTo>
                <a:lnTo>
                  <a:pt x="2034772" y="2635690"/>
                </a:lnTo>
                <a:lnTo>
                  <a:pt x="2034772" y="2603818"/>
                </a:lnTo>
                <a:lnTo>
                  <a:pt x="2055900" y="2577257"/>
                </a:lnTo>
                <a:cubicBezTo>
                  <a:pt x="2061322" y="2575250"/>
                  <a:pt x="2066604" y="2573716"/>
                  <a:pt x="2071886" y="2571827"/>
                </a:cubicBezTo>
                <a:lnTo>
                  <a:pt x="2098438" y="2571827"/>
                </a:lnTo>
                <a:cubicBezTo>
                  <a:pt x="2102190" y="2566633"/>
                  <a:pt x="2105528" y="2561203"/>
                  <a:pt x="2109142" y="2555773"/>
                </a:cubicBezTo>
                <a:lnTo>
                  <a:pt x="2130548" y="2545149"/>
                </a:lnTo>
                <a:lnTo>
                  <a:pt x="2151818" y="2534525"/>
                </a:lnTo>
                <a:cubicBezTo>
                  <a:pt x="2148064" y="2522130"/>
                  <a:pt x="2144728" y="2509735"/>
                  <a:pt x="2141114" y="2497458"/>
                </a:cubicBezTo>
                <a:cubicBezTo>
                  <a:pt x="2144728" y="2490257"/>
                  <a:pt x="2148064" y="2483174"/>
                  <a:pt x="2151818" y="2476092"/>
                </a:cubicBezTo>
                <a:cubicBezTo>
                  <a:pt x="2157100" y="2472550"/>
                  <a:pt x="2162242" y="2468891"/>
                  <a:pt x="2167664" y="2465468"/>
                </a:cubicBezTo>
                <a:lnTo>
                  <a:pt x="2146256" y="2465468"/>
                </a:lnTo>
                <a:lnTo>
                  <a:pt x="2124988" y="2470662"/>
                </a:lnTo>
                <a:cubicBezTo>
                  <a:pt x="2123182" y="2476092"/>
                  <a:pt x="2121514" y="2481404"/>
                  <a:pt x="2119706" y="2486716"/>
                </a:cubicBezTo>
                <a:cubicBezTo>
                  <a:pt x="2114424" y="2490375"/>
                  <a:pt x="2109002" y="2493799"/>
                  <a:pt x="2103720" y="2497458"/>
                </a:cubicBezTo>
                <a:cubicBezTo>
                  <a:pt x="2102052" y="2499229"/>
                  <a:pt x="2100244" y="2500882"/>
                  <a:pt x="2098438" y="2502652"/>
                </a:cubicBezTo>
                <a:lnTo>
                  <a:pt x="2082590" y="2518706"/>
                </a:lnTo>
                <a:lnTo>
                  <a:pt x="2061462" y="2524018"/>
                </a:lnTo>
                <a:cubicBezTo>
                  <a:pt x="2056040" y="2525907"/>
                  <a:pt x="2050618" y="2527560"/>
                  <a:pt x="2045336" y="2529449"/>
                </a:cubicBezTo>
                <a:cubicBezTo>
                  <a:pt x="2041722" y="2520595"/>
                  <a:pt x="2038246" y="2511506"/>
                  <a:pt x="2034772" y="2502652"/>
                </a:cubicBezTo>
                <a:lnTo>
                  <a:pt x="2008220" y="2497458"/>
                </a:lnTo>
                <a:lnTo>
                  <a:pt x="1986814" y="2486716"/>
                </a:lnTo>
                <a:lnTo>
                  <a:pt x="1965544" y="2492028"/>
                </a:lnTo>
                <a:lnTo>
                  <a:pt x="1944276" y="2502652"/>
                </a:lnTo>
                <a:cubicBezTo>
                  <a:pt x="1940802" y="2508082"/>
                  <a:pt x="1937186" y="2513276"/>
                  <a:pt x="1933712" y="2518706"/>
                </a:cubicBezTo>
                <a:lnTo>
                  <a:pt x="1923008" y="2518706"/>
                </a:lnTo>
                <a:lnTo>
                  <a:pt x="1907160" y="2534525"/>
                </a:lnTo>
                <a:lnTo>
                  <a:pt x="1907160" y="2545149"/>
                </a:lnTo>
                <a:lnTo>
                  <a:pt x="1880472" y="2550579"/>
                </a:lnTo>
                <a:lnTo>
                  <a:pt x="1907160" y="2561203"/>
                </a:lnTo>
                <a:cubicBezTo>
                  <a:pt x="1910636" y="2566633"/>
                  <a:pt x="1914250" y="2571827"/>
                  <a:pt x="1917726" y="2577257"/>
                </a:cubicBezTo>
                <a:cubicBezTo>
                  <a:pt x="1915918" y="2584340"/>
                  <a:pt x="1914250" y="2591423"/>
                  <a:pt x="1912444" y="2598624"/>
                </a:cubicBezTo>
                <a:lnTo>
                  <a:pt x="1891174" y="2614442"/>
                </a:lnTo>
                <a:cubicBezTo>
                  <a:pt x="1889506" y="2616330"/>
                  <a:pt x="1887560" y="2618101"/>
                  <a:pt x="1885892" y="2619872"/>
                </a:cubicBezTo>
                <a:lnTo>
                  <a:pt x="1869906" y="2614442"/>
                </a:lnTo>
                <a:lnTo>
                  <a:pt x="1853920" y="2619872"/>
                </a:lnTo>
                <a:lnTo>
                  <a:pt x="1837934" y="2619872"/>
                </a:lnTo>
                <a:cubicBezTo>
                  <a:pt x="1835988" y="2616330"/>
                  <a:pt x="1834320" y="2612671"/>
                  <a:pt x="1832512" y="2609248"/>
                </a:cubicBezTo>
                <a:cubicBezTo>
                  <a:pt x="1830706" y="2605588"/>
                  <a:pt x="1829176" y="2602047"/>
                  <a:pt x="1827370" y="2598624"/>
                </a:cubicBezTo>
                <a:lnTo>
                  <a:pt x="1805962" y="2603818"/>
                </a:lnTo>
                <a:lnTo>
                  <a:pt x="1779412" y="2619872"/>
                </a:lnTo>
                <a:lnTo>
                  <a:pt x="1742156" y="2625184"/>
                </a:lnTo>
                <a:lnTo>
                  <a:pt x="1710324" y="2630614"/>
                </a:lnTo>
                <a:lnTo>
                  <a:pt x="1683774" y="2641002"/>
                </a:lnTo>
                <a:lnTo>
                  <a:pt x="1662504" y="2651744"/>
                </a:lnTo>
                <a:lnTo>
                  <a:pt x="1635814" y="2672993"/>
                </a:lnTo>
                <a:lnTo>
                  <a:pt x="1614546" y="2683735"/>
                </a:lnTo>
                <a:lnTo>
                  <a:pt x="1614546" y="2710413"/>
                </a:lnTo>
                <a:cubicBezTo>
                  <a:pt x="1616354" y="2715607"/>
                  <a:pt x="1618160" y="2721037"/>
                  <a:pt x="1619968" y="2726350"/>
                </a:cubicBezTo>
                <a:lnTo>
                  <a:pt x="1619968" y="2747480"/>
                </a:lnTo>
                <a:lnTo>
                  <a:pt x="1603982" y="2752910"/>
                </a:lnTo>
                <a:cubicBezTo>
                  <a:pt x="1609264" y="2754680"/>
                  <a:pt x="1614686" y="2756333"/>
                  <a:pt x="1619968" y="2758104"/>
                </a:cubicBezTo>
                <a:cubicBezTo>
                  <a:pt x="1623444" y="2761763"/>
                  <a:pt x="1627058" y="2765187"/>
                  <a:pt x="1630532" y="2768728"/>
                </a:cubicBezTo>
                <a:cubicBezTo>
                  <a:pt x="1634146" y="2766957"/>
                  <a:pt x="1637762" y="2765305"/>
                  <a:pt x="1641376" y="2763534"/>
                </a:cubicBezTo>
                <a:lnTo>
                  <a:pt x="1662504" y="2768728"/>
                </a:lnTo>
                <a:lnTo>
                  <a:pt x="1678352" y="2774158"/>
                </a:lnTo>
                <a:cubicBezTo>
                  <a:pt x="1676544" y="2779470"/>
                  <a:pt x="1674876" y="2784782"/>
                  <a:pt x="1673070" y="2790094"/>
                </a:cubicBezTo>
                <a:cubicBezTo>
                  <a:pt x="1667926" y="2792101"/>
                  <a:pt x="1662366" y="2793636"/>
                  <a:pt x="1657084" y="2795524"/>
                </a:cubicBezTo>
                <a:cubicBezTo>
                  <a:pt x="1653608" y="2799066"/>
                  <a:pt x="1649994" y="2802489"/>
                  <a:pt x="1646518" y="2806149"/>
                </a:cubicBezTo>
                <a:cubicBezTo>
                  <a:pt x="1642904" y="2809572"/>
                  <a:pt x="1639430" y="2813349"/>
                  <a:pt x="1635814" y="2816773"/>
                </a:cubicBezTo>
                <a:lnTo>
                  <a:pt x="1619968" y="2822085"/>
                </a:lnTo>
                <a:cubicBezTo>
                  <a:pt x="1614686" y="2818425"/>
                  <a:pt x="1609264" y="2815002"/>
                  <a:pt x="1603982" y="2811343"/>
                </a:cubicBezTo>
                <a:cubicBezTo>
                  <a:pt x="1600368" y="2809572"/>
                  <a:pt x="1596754" y="2807919"/>
                  <a:pt x="1593278" y="2806149"/>
                </a:cubicBezTo>
                <a:cubicBezTo>
                  <a:pt x="1591472" y="2811343"/>
                  <a:pt x="1589802" y="2816773"/>
                  <a:pt x="1587996" y="2822085"/>
                </a:cubicBezTo>
                <a:cubicBezTo>
                  <a:pt x="1591610" y="2823856"/>
                  <a:pt x="1595086" y="2825744"/>
                  <a:pt x="1598700" y="2827515"/>
                </a:cubicBezTo>
                <a:cubicBezTo>
                  <a:pt x="1602174" y="2836368"/>
                  <a:pt x="1605788" y="2845222"/>
                  <a:pt x="1609264" y="2854075"/>
                </a:cubicBezTo>
                <a:cubicBezTo>
                  <a:pt x="1611072" y="2857499"/>
                  <a:pt x="1612600" y="2861040"/>
                  <a:pt x="1614546" y="2864700"/>
                </a:cubicBezTo>
                <a:cubicBezTo>
                  <a:pt x="1619828" y="2861040"/>
                  <a:pt x="1625250" y="2857617"/>
                  <a:pt x="1630532" y="2854075"/>
                </a:cubicBezTo>
                <a:cubicBezTo>
                  <a:pt x="1628726" y="2848645"/>
                  <a:pt x="1627196" y="2843569"/>
                  <a:pt x="1625250" y="2838139"/>
                </a:cubicBezTo>
                <a:lnTo>
                  <a:pt x="1641376" y="2827515"/>
                </a:lnTo>
                <a:lnTo>
                  <a:pt x="1667926" y="2838139"/>
                </a:lnTo>
                <a:cubicBezTo>
                  <a:pt x="1671262" y="2843569"/>
                  <a:pt x="1674876" y="2848645"/>
                  <a:pt x="1678352" y="2854075"/>
                </a:cubicBezTo>
                <a:cubicBezTo>
                  <a:pt x="1680298" y="2857499"/>
                  <a:pt x="1681966" y="2861040"/>
                  <a:pt x="1683774" y="2864700"/>
                </a:cubicBezTo>
                <a:cubicBezTo>
                  <a:pt x="1687248" y="2868241"/>
                  <a:pt x="1690862" y="2871782"/>
                  <a:pt x="1694476" y="2875324"/>
                </a:cubicBezTo>
                <a:lnTo>
                  <a:pt x="1667926" y="2880636"/>
                </a:lnTo>
                <a:cubicBezTo>
                  <a:pt x="1665980" y="2887836"/>
                  <a:pt x="1664312" y="2894801"/>
                  <a:pt x="1662504" y="2901884"/>
                </a:cubicBezTo>
                <a:cubicBezTo>
                  <a:pt x="1658890" y="2903655"/>
                  <a:pt x="1655416" y="2905543"/>
                  <a:pt x="1651800" y="2907314"/>
                </a:cubicBezTo>
                <a:lnTo>
                  <a:pt x="1641376" y="2907314"/>
                </a:lnTo>
                <a:cubicBezTo>
                  <a:pt x="1639430" y="2912508"/>
                  <a:pt x="1637622" y="2917938"/>
                  <a:pt x="1635814" y="2923250"/>
                </a:cubicBezTo>
                <a:lnTo>
                  <a:pt x="1619968" y="2933874"/>
                </a:lnTo>
                <a:lnTo>
                  <a:pt x="1603982" y="2933874"/>
                </a:lnTo>
                <a:cubicBezTo>
                  <a:pt x="1600368" y="2935645"/>
                  <a:pt x="1596892" y="2937534"/>
                  <a:pt x="1593278" y="2939305"/>
                </a:cubicBezTo>
                <a:cubicBezTo>
                  <a:pt x="1589802" y="2933874"/>
                  <a:pt x="1586050" y="2928680"/>
                  <a:pt x="1582714" y="2923250"/>
                </a:cubicBezTo>
                <a:cubicBezTo>
                  <a:pt x="1579100" y="2917938"/>
                  <a:pt x="1575624" y="2912508"/>
                  <a:pt x="1571870" y="2907314"/>
                </a:cubicBezTo>
                <a:lnTo>
                  <a:pt x="1561446" y="2907314"/>
                </a:lnTo>
                <a:lnTo>
                  <a:pt x="1540176" y="2917938"/>
                </a:lnTo>
                <a:cubicBezTo>
                  <a:pt x="1534894" y="2921598"/>
                  <a:pt x="1529472" y="2925021"/>
                  <a:pt x="1524190" y="2928680"/>
                </a:cubicBezTo>
                <a:cubicBezTo>
                  <a:pt x="1520576" y="2932222"/>
                  <a:pt x="1517102" y="2935645"/>
                  <a:pt x="1513626" y="2939305"/>
                </a:cubicBezTo>
                <a:cubicBezTo>
                  <a:pt x="1506536" y="2942846"/>
                  <a:pt x="1499308" y="2946269"/>
                  <a:pt x="1492218" y="2949811"/>
                </a:cubicBezTo>
                <a:cubicBezTo>
                  <a:pt x="1490412" y="2955005"/>
                  <a:pt x="1488882" y="2960435"/>
                  <a:pt x="1487076" y="2965629"/>
                </a:cubicBezTo>
                <a:cubicBezTo>
                  <a:pt x="1490550" y="2969288"/>
                  <a:pt x="1494164" y="2972948"/>
                  <a:pt x="1497640" y="2976489"/>
                </a:cubicBezTo>
                <a:cubicBezTo>
                  <a:pt x="1502922" y="2980148"/>
                  <a:pt x="1508344" y="2983572"/>
                  <a:pt x="1513626" y="2987113"/>
                </a:cubicBezTo>
                <a:cubicBezTo>
                  <a:pt x="1510012" y="2994196"/>
                  <a:pt x="1506398" y="3001279"/>
                  <a:pt x="1502784" y="3008480"/>
                </a:cubicBezTo>
                <a:lnTo>
                  <a:pt x="1481514" y="3013674"/>
                </a:lnTo>
                <a:cubicBezTo>
                  <a:pt x="1476232" y="3017333"/>
                  <a:pt x="1471090" y="3020874"/>
                  <a:pt x="1465668" y="3024416"/>
                </a:cubicBezTo>
                <a:cubicBezTo>
                  <a:pt x="1467474" y="3027957"/>
                  <a:pt x="1469142" y="3031617"/>
                  <a:pt x="1471090" y="3035040"/>
                </a:cubicBezTo>
                <a:cubicBezTo>
                  <a:pt x="1467336" y="3038581"/>
                  <a:pt x="1463860" y="3042241"/>
                  <a:pt x="1460246" y="3045664"/>
                </a:cubicBezTo>
                <a:lnTo>
                  <a:pt x="1438978" y="3051094"/>
                </a:lnTo>
                <a:lnTo>
                  <a:pt x="1423130" y="3051094"/>
                </a:lnTo>
                <a:lnTo>
                  <a:pt x="1407144" y="3051094"/>
                </a:lnTo>
                <a:cubicBezTo>
                  <a:pt x="1401862" y="3056288"/>
                  <a:pt x="1396442" y="3061600"/>
                  <a:pt x="1391298" y="3066794"/>
                </a:cubicBezTo>
                <a:cubicBezTo>
                  <a:pt x="1387684" y="3068801"/>
                  <a:pt x="1384070" y="3070454"/>
                  <a:pt x="1380594" y="3072224"/>
                </a:cubicBezTo>
                <a:cubicBezTo>
                  <a:pt x="1376980" y="3070454"/>
                  <a:pt x="1373504" y="3068565"/>
                  <a:pt x="1369890" y="3066794"/>
                </a:cubicBezTo>
                <a:lnTo>
                  <a:pt x="1343340" y="3072224"/>
                </a:lnTo>
                <a:cubicBezTo>
                  <a:pt x="1338058" y="3073995"/>
                  <a:pt x="1332636" y="3075648"/>
                  <a:pt x="1327354" y="3077536"/>
                </a:cubicBezTo>
                <a:cubicBezTo>
                  <a:pt x="1325546" y="3081078"/>
                  <a:pt x="1323878" y="3084737"/>
                  <a:pt x="1322072" y="3088161"/>
                </a:cubicBezTo>
                <a:cubicBezTo>
                  <a:pt x="1318596" y="3091702"/>
                  <a:pt x="1315120" y="3095244"/>
                  <a:pt x="1311506" y="3098785"/>
                </a:cubicBezTo>
                <a:lnTo>
                  <a:pt x="1300802" y="3098785"/>
                </a:lnTo>
                <a:cubicBezTo>
                  <a:pt x="1297328" y="3097014"/>
                  <a:pt x="1293714" y="3095362"/>
                  <a:pt x="1290238" y="3093591"/>
                </a:cubicBezTo>
                <a:cubicBezTo>
                  <a:pt x="1286624" y="3090168"/>
                  <a:pt x="1283148" y="3086390"/>
                  <a:pt x="1279534" y="3082849"/>
                </a:cubicBezTo>
                <a:cubicBezTo>
                  <a:pt x="1276060" y="3086508"/>
                  <a:pt x="1272444" y="3089931"/>
                  <a:pt x="1268970" y="3093591"/>
                </a:cubicBezTo>
                <a:lnTo>
                  <a:pt x="1252984" y="3093591"/>
                </a:lnTo>
                <a:cubicBezTo>
                  <a:pt x="1251176" y="3097014"/>
                  <a:pt x="1249508" y="3100792"/>
                  <a:pt x="1247702" y="3104215"/>
                </a:cubicBezTo>
                <a:lnTo>
                  <a:pt x="1247490" y="3096893"/>
                </a:lnTo>
                <a:lnTo>
                  <a:pt x="1244600" y="3100850"/>
                </a:lnTo>
                <a:cubicBezTo>
                  <a:pt x="1242886" y="3095506"/>
                  <a:pt x="1241084" y="3090163"/>
                  <a:pt x="1239370" y="3084819"/>
                </a:cubicBezTo>
                <a:lnTo>
                  <a:pt x="1228820" y="3063445"/>
                </a:lnTo>
                <a:cubicBezTo>
                  <a:pt x="1227016" y="3059883"/>
                  <a:pt x="1225304" y="3056320"/>
                  <a:pt x="1223500" y="3052758"/>
                </a:cubicBezTo>
                <a:lnTo>
                  <a:pt x="1207720" y="3036728"/>
                </a:lnTo>
                <a:lnTo>
                  <a:pt x="1191850" y="3020697"/>
                </a:lnTo>
                <a:lnTo>
                  <a:pt x="1165520" y="3015353"/>
                </a:lnTo>
                <a:lnTo>
                  <a:pt x="1133872" y="3015353"/>
                </a:lnTo>
                <a:lnTo>
                  <a:pt x="1107542" y="3031384"/>
                </a:lnTo>
                <a:lnTo>
                  <a:pt x="1075892" y="3036728"/>
                </a:lnTo>
                <a:lnTo>
                  <a:pt x="1007272" y="3036728"/>
                </a:lnTo>
                <a:lnTo>
                  <a:pt x="965164" y="3036728"/>
                </a:lnTo>
                <a:lnTo>
                  <a:pt x="896544" y="3026040"/>
                </a:lnTo>
                <a:cubicBezTo>
                  <a:pt x="891314" y="3018916"/>
                  <a:pt x="885994" y="3011791"/>
                  <a:pt x="880764" y="3004666"/>
                </a:cubicBezTo>
                <a:lnTo>
                  <a:pt x="849114" y="2972605"/>
                </a:lnTo>
                <a:cubicBezTo>
                  <a:pt x="847402" y="2953012"/>
                  <a:pt x="845598" y="2933419"/>
                  <a:pt x="843884" y="2913826"/>
                </a:cubicBezTo>
                <a:lnTo>
                  <a:pt x="843884" y="2876421"/>
                </a:lnTo>
                <a:lnTo>
                  <a:pt x="859664" y="2865734"/>
                </a:lnTo>
                <a:lnTo>
                  <a:pt x="880764" y="2833673"/>
                </a:lnTo>
                <a:lnTo>
                  <a:pt x="917644" y="2822932"/>
                </a:lnTo>
                <a:lnTo>
                  <a:pt x="949294" y="2817588"/>
                </a:lnTo>
                <a:cubicBezTo>
                  <a:pt x="954614" y="2808682"/>
                  <a:pt x="959844" y="2799776"/>
                  <a:pt x="965164" y="2790870"/>
                </a:cubicBezTo>
                <a:cubicBezTo>
                  <a:pt x="970392" y="2783746"/>
                  <a:pt x="975712" y="2776621"/>
                  <a:pt x="980942" y="2769496"/>
                </a:cubicBezTo>
                <a:cubicBezTo>
                  <a:pt x="986172" y="2762372"/>
                  <a:pt x="991492" y="2755247"/>
                  <a:pt x="996722" y="2748122"/>
                </a:cubicBezTo>
                <a:cubicBezTo>
                  <a:pt x="993206" y="2737435"/>
                  <a:pt x="989780" y="2726748"/>
                  <a:pt x="986262" y="2716061"/>
                </a:cubicBezTo>
                <a:cubicBezTo>
                  <a:pt x="984460" y="2705374"/>
                  <a:pt x="982746" y="2694687"/>
                  <a:pt x="980942" y="2684000"/>
                </a:cubicBezTo>
                <a:lnTo>
                  <a:pt x="965164" y="2667969"/>
                </a:lnTo>
                <a:lnTo>
                  <a:pt x="933514" y="2657282"/>
                </a:lnTo>
                <a:lnTo>
                  <a:pt x="912414" y="2630564"/>
                </a:lnTo>
                <a:cubicBezTo>
                  <a:pt x="910610" y="2627002"/>
                  <a:pt x="908896" y="2623439"/>
                  <a:pt x="907094" y="2619877"/>
                </a:cubicBezTo>
                <a:lnTo>
                  <a:pt x="864894" y="2619877"/>
                </a:lnTo>
                <a:lnTo>
                  <a:pt x="817464" y="2619877"/>
                </a:lnTo>
                <a:lnTo>
                  <a:pt x="796364" y="2598503"/>
                </a:lnTo>
                <a:lnTo>
                  <a:pt x="764716" y="2571785"/>
                </a:lnTo>
                <a:lnTo>
                  <a:pt x="722606" y="2561098"/>
                </a:lnTo>
                <a:lnTo>
                  <a:pt x="685636" y="2561098"/>
                </a:lnTo>
                <a:lnTo>
                  <a:pt x="659306" y="2577129"/>
                </a:lnTo>
                <a:cubicBezTo>
                  <a:pt x="653986" y="2586035"/>
                  <a:pt x="648756" y="2594940"/>
                  <a:pt x="643436" y="2603846"/>
                </a:cubicBezTo>
                <a:lnTo>
                  <a:pt x="611786" y="2603846"/>
                </a:lnTo>
                <a:lnTo>
                  <a:pt x="553808" y="2598503"/>
                </a:lnTo>
                <a:lnTo>
                  <a:pt x="479958" y="2603846"/>
                </a:lnTo>
                <a:lnTo>
                  <a:pt x="385100" y="2609190"/>
                </a:lnTo>
                <a:lnTo>
                  <a:pt x="345072" y="2604121"/>
                </a:lnTo>
                <a:lnTo>
                  <a:pt x="338956" y="2605551"/>
                </a:lnTo>
                <a:lnTo>
                  <a:pt x="329162" y="2579973"/>
                </a:lnTo>
                <a:lnTo>
                  <a:pt x="320478" y="2570415"/>
                </a:lnTo>
                <a:lnTo>
                  <a:pt x="312840" y="2559780"/>
                </a:lnTo>
                <a:lnTo>
                  <a:pt x="313948" y="2548068"/>
                </a:lnTo>
                <a:lnTo>
                  <a:pt x="333474" y="2532048"/>
                </a:lnTo>
                <a:cubicBezTo>
                  <a:pt x="336370" y="2519260"/>
                  <a:pt x="339326" y="2506471"/>
                  <a:pt x="342220" y="2493682"/>
                </a:cubicBezTo>
                <a:lnTo>
                  <a:pt x="323742" y="2465008"/>
                </a:lnTo>
                <a:lnTo>
                  <a:pt x="303108" y="2442661"/>
                </a:lnTo>
                <a:lnTo>
                  <a:pt x="286786" y="2420179"/>
                </a:lnTo>
                <a:lnTo>
                  <a:pt x="278100" y="2394736"/>
                </a:lnTo>
                <a:lnTo>
                  <a:pt x="286786" y="2380870"/>
                </a:lnTo>
                <a:lnTo>
                  <a:pt x="303108" y="2371178"/>
                </a:lnTo>
                <a:lnTo>
                  <a:pt x="317214" y="2362696"/>
                </a:lnTo>
                <a:cubicBezTo>
                  <a:pt x="316104" y="2357446"/>
                  <a:pt x="315058" y="2352062"/>
                  <a:pt x="313948" y="2346811"/>
                </a:cubicBezTo>
                <a:lnTo>
                  <a:pt x="286786" y="2329715"/>
                </a:lnTo>
                <a:lnTo>
                  <a:pt x="260730" y="2316926"/>
                </a:lnTo>
                <a:lnTo>
                  <a:pt x="222726" y="2298887"/>
                </a:lnTo>
                <a:lnTo>
                  <a:pt x="198828" y="2275328"/>
                </a:lnTo>
                <a:lnTo>
                  <a:pt x="177086" y="2256212"/>
                </a:lnTo>
                <a:lnTo>
                  <a:pt x="154234" y="2230634"/>
                </a:lnTo>
                <a:lnTo>
                  <a:pt x="120602" y="2211518"/>
                </a:lnTo>
                <a:lnTo>
                  <a:pt x="105388" y="2195498"/>
                </a:lnTo>
                <a:cubicBezTo>
                  <a:pt x="103232" y="2185267"/>
                  <a:pt x="101016" y="2174902"/>
                  <a:pt x="98860" y="2164670"/>
                </a:cubicBezTo>
                <a:cubicBezTo>
                  <a:pt x="95226" y="2156189"/>
                  <a:pt x="91654" y="2147574"/>
                  <a:pt x="88020" y="2139093"/>
                </a:cubicBezTo>
                <a:lnTo>
                  <a:pt x="74960" y="2118765"/>
                </a:lnTo>
                <a:cubicBezTo>
                  <a:pt x="70958" y="2108534"/>
                  <a:pt x="67016" y="2098168"/>
                  <a:pt x="63012" y="2087937"/>
                </a:cubicBezTo>
                <a:lnTo>
                  <a:pt x="45642" y="2064513"/>
                </a:lnTo>
                <a:lnTo>
                  <a:pt x="33692" y="2019820"/>
                </a:lnTo>
                <a:lnTo>
                  <a:pt x="10840" y="1997473"/>
                </a:lnTo>
                <a:lnTo>
                  <a:pt x="0" y="1969741"/>
                </a:lnTo>
                <a:lnTo>
                  <a:pt x="23898" y="1939855"/>
                </a:lnTo>
                <a:lnTo>
                  <a:pt x="40222" y="1907950"/>
                </a:lnTo>
                <a:cubicBezTo>
                  <a:pt x="41268" y="1897315"/>
                  <a:pt x="42378" y="1886680"/>
                  <a:pt x="43424" y="1876045"/>
                </a:cubicBezTo>
                <a:lnTo>
                  <a:pt x="14106" y="1835525"/>
                </a:lnTo>
                <a:lnTo>
                  <a:pt x="1108" y="1803620"/>
                </a:lnTo>
                <a:cubicBezTo>
                  <a:pt x="4374" y="1797966"/>
                  <a:pt x="7576" y="1792177"/>
                  <a:pt x="10840" y="1786523"/>
                </a:cubicBezTo>
                <a:lnTo>
                  <a:pt x="32584" y="1781273"/>
                </a:lnTo>
                <a:lnTo>
                  <a:pt x="78226" y="1774811"/>
                </a:lnTo>
                <a:lnTo>
                  <a:pt x="121650" y="1754618"/>
                </a:lnTo>
                <a:lnTo>
                  <a:pt x="153186" y="1745060"/>
                </a:lnTo>
                <a:lnTo>
                  <a:pt x="167292" y="1739675"/>
                </a:lnTo>
                <a:cubicBezTo>
                  <a:pt x="166182" y="1727963"/>
                  <a:pt x="165136" y="1716251"/>
                  <a:pt x="164028" y="1704540"/>
                </a:cubicBezTo>
                <a:lnTo>
                  <a:pt x="182506" y="1681116"/>
                </a:lnTo>
                <a:lnTo>
                  <a:pt x="206404" y="1688520"/>
                </a:lnTo>
                <a:lnTo>
                  <a:pt x="221618" y="1706693"/>
                </a:lnTo>
                <a:lnTo>
                  <a:pt x="247672" y="1717328"/>
                </a:lnTo>
                <a:lnTo>
                  <a:pt x="274836" y="1698078"/>
                </a:lnTo>
                <a:lnTo>
                  <a:pt x="284630" y="1668327"/>
                </a:lnTo>
                <a:lnTo>
                  <a:pt x="273728" y="1629960"/>
                </a:lnTo>
                <a:cubicBezTo>
                  <a:pt x="270462" y="1622556"/>
                  <a:pt x="267260" y="1615017"/>
                  <a:pt x="263996" y="1607613"/>
                </a:cubicBezTo>
                <a:lnTo>
                  <a:pt x="250938" y="1599132"/>
                </a:lnTo>
                <a:lnTo>
                  <a:pt x="231412" y="1598055"/>
                </a:lnTo>
                <a:lnTo>
                  <a:pt x="203140" y="1601286"/>
                </a:lnTo>
                <a:lnTo>
                  <a:pt x="179240" y="1594824"/>
                </a:lnTo>
                <a:cubicBezTo>
                  <a:pt x="178132" y="1587420"/>
                  <a:pt x="177086" y="1579881"/>
                  <a:pt x="175976" y="1572477"/>
                </a:cubicBezTo>
                <a:cubicBezTo>
                  <a:pt x="174868" y="1559688"/>
                  <a:pt x="173820" y="1546900"/>
                  <a:pt x="172712" y="1534111"/>
                </a:cubicBezTo>
                <a:cubicBezTo>
                  <a:pt x="174190" y="1526707"/>
                  <a:pt x="175606" y="1519168"/>
                  <a:pt x="177086" y="1511764"/>
                </a:cubicBezTo>
                <a:lnTo>
                  <a:pt x="192300" y="1503283"/>
                </a:lnTo>
                <a:lnTo>
                  <a:pt x="252046" y="1506379"/>
                </a:lnTo>
                <a:lnTo>
                  <a:pt x="274836" y="1489417"/>
                </a:lnTo>
                <a:lnTo>
                  <a:pt x="294424" y="1471243"/>
                </a:lnTo>
                <a:lnTo>
                  <a:pt x="312840" y="1470166"/>
                </a:lnTo>
                <a:lnTo>
                  <a:pt x="330272" y="1460608"/>
                </a:lnTo>
                <a:lnTo>
                  <a:pt x="323742" y="1433011"/>
                </a:lnTo>
                <a:lnTo>
                  <a:pt x="338956" y="1423318"/>
                </a:lnTo>
                <a:lnTo>
                  <a:pt x="349796" y="1412683"/>
                </a:lnTo>
                <a:lnTo>
                  <a:pt x="349796" y="1393567"/>
                </a:lnTo>
                <a:cubicBezTo>
                  <a:pt x="348318" y="1383202"/>
                  <a:pt x="346902" y="1372971"/>
                  <a:pt x="345424" y="1362605"/>
                </a:cubicBezTo>
                <a:lnTo>
                  <a:pt x="362856" y="1353047"/>
                </a:lnTo>
                <a:lnTo>
                  <a:pt x="385646" y="1345643"/>
                </a:lnTo>
                <a:lnTo>
                  <a:pt x="418228" y="1348874"/>
                </a:lnTo>
                <a:lnTo>
                  <a:pt x="434552" y="1374317"/>
                </a:lnTo>
                <a:lnTo>
                  <a:pt x="447548" y="1393567"/>
                </a:lnTo>
                <a:lnTo>
                  <a:pt x="475820" y="1404202"/>
                </a:lnTo>
                <a:lnTo>
                  <a:pt x="514932" y="1407433"/>
                </a:lnTo>
                <a:lnTo>
                  <a:pt x="540988" y="1397741"/>
                </a:lnTo>
                <a:lnTo>
                  <a:pt x="563778" y="1381855"/>
                </a:lnTo>
                <a:lnTo>
                  <a:pt x="563778" y="1371220"/>
                </a:lnTo>
                <a:lnTo>
                  <a:pt x="548626" y="1353047"/>
                </a:lnTo>
                <a:lnTo>
                  <a:pt x="537722" y="1336085"/>
                </a:lnTo>
                <a:cubicBezTo>
                  <a:pt x="538092" y="1325719"/>
                  <a:pt x="538462" y="1315488"/>
                  <a:pt x="538832" y="1305122"/>
                </a:cubicBezTo>
                <a:lnTo>
                  <a:pt x="560574" y="1291256"/>
                </a:lnTo>
                <a:lnTo>
                  <a:pt x="606154" y="1265678"/>
                </a:lnTo>
                <a:lnTo>
                  <a:pt x="610822" y="1262663"/>
                </a:lnTo>
                <a:lnTo>
                  <a:pt x="606946" y="1259351"/>
                </a:lnTo>
                <a:lnTo>
                  <a:pt x="613348" y="1247708"/>
                </a:lnTo>
                <a:lnTo>
                  <a:pt x="607998" y="1228545"/>
                </a:lnTo>
                <a:cubicBezTo>
                  <a:pt x="606946" y="1219691"/>
                  <a:pt x="605850" y="1210837"/>
                  <a:pt x="604798" y="1201983"/>
                </a:cubicBezTo>
                <a:lnTo>
                  <a:pt x="616548" y="1182941"/>
                </a:lnTo>
                <a:lnTo>
                  <a:pt x="616548" y="1161595"/>
                </a:lnTo>
                <a:lnTo>
                  <a:pt x="633646" y="1144615"/>
                </a:lnTo>
                <a:lnTo>
                  <a:pt x="665696" y="1147890"/>
                </a:lnTo>
                <a:lnTo>
                  <a:pt x="688100" y="1157350"/>
                </a:lnTo>
                <a:lnTo>
                  <a:pt x="709496" y="1157350"/>
                </a:lnTo>
                <a:lnTo>
                  <a:pt x="720150" y="1145707"/>
                </a:lnTo>
                <a:lnTo>
                  <a:pt x="720150" y="1125573"/>
                </a:lnTo>
                <a:lnTo>
                  <a:pt x="704148" y="1107502"/>
                </a:lnTo>
                <a:lnTo>
                  <a:pt x="687048" y="1104349"/>
                </a:lnTo>
                <a:lnTo>
                  <a:pt x="675298" y="1101074"/>
                </a:lnTo>
                <a:lnTo>
                  <a:pt x="667800" y="1090522"/>
                </a:lnTo>
                <a:cubicBezTo>
                  <a:pt x="669216" y="1084458"/>
                  <a:pt x="670680" y="1078515"/>
                  <a:pt x="672098" y="1072451"/>
                </a:cubicBezTo>
                <a:lnTo>
                  <a:pt x="684898" y="1049043"/>
                </a:lnTo>
                <a:lnTo>
                  <a:pt x="684898" y="1027818"/>
                </a:lnTo>
                <a:lnTo>
                  <a:pt x="678498" y="1010838"/>
                </a:lnTo>
                <a:lnTo>
                  <a:pt x="665696" y="1002348"/>
                </a:lnTo>
                <a:lnTo>
                  <a:pt x="645396" y="988521"/>
                </a:lnTo>
                <a:lnTo>
                  <a:pt x="620800" y="986459"/>
                </a:lnTo>
                <a:lnTo>
                  <a:pt x="600500" y="985368"/>
                </a:lnTo>
                <a:lnTo>
                  <a:pt x="584498" y="973603"/>
                </a:lnTo>
                <a:lnTo>
                  <a:pt x="569548" y="959898"/>
                </a:lnTo>
                <a:lnTo>
                  <a:pt x="553500" y="940735"/>
                </a:lnTo>
                <a:lnTo>
                  <a:pt x="539646" y="925817"/>
                </a:lnTo>
                <a:lnTo>
                  <a:pt x="517198" y="900347"/>
                </a:lnTo>
                <a:cubicBezTo>
                  <a:pt x="518250" y="891493"/>
                  <a:pt x="519346" y="882639"/>
                  <a:pt x="520398" y="873785"/>
                </a:cubicBezTo>
                <a:lnTo>
                  <a:pt x="530000" y="846254"/>
                </a:lnTo>
                <a:lnTo>
                  <a:pt x="553500" y="817509"/>
                </a:lnTo>
                <a:lnTo>
                  <a:pt x="559946" y="792039"/>
                </a:lnTo>
                <a:cubicBezTo>
                  <a:pt x="560632" y="785611"/>
                  <a:pt x="561364" y="779304"/>
                  <a:pt x="562050" y="772876"/>
                </a:cubicBezTo>
                <a:lnTo>
                  <a:pt x="555648" y="749589"/>
                </a:lnTo>
                <a:lnTo>
                  <a:pt x="537498" y="743161"/>
                </a:lnTo>
                <a:lnTo>
                  <a:pt x="523598" y="724120"/>
                </a:lnTo>
                <a:lnTo>
                  <a:pt x="507596" y="701803"/>
                </a:lnTo>
                <a:lnTo>
                  <a:pt x="481948" y="677303"/>
                </a:lnTo>
                <a:lnTo>
                  <a:pt x="463796" y="670997"/>
                </a:lnTo>
                <a:lnTo>
                  <a:pt x="444548" y="664568"/>
                </a:lnTo>
                <a:lnTo>
                  <a:pt x="444548" y="642252"/>
                </a:lnTo>
                <a:lnTo>
                  <a:pt x="454150" y="610475"/>
                </a:lnTo>
                <a:lnTo>
                  <a:pt x="469146" y="594466"/>
                </a:lnTo>
                <a:lnTo>
                  <a:pt x="485148" y="588159"/>
                </a:lnTo>
                <a:lnTo>
                  <a:pt x="501196" y="591312"/>
                </a:lnTo>
                <a:lnTo>
                  <a:pt x="515050" y="580760"/>
                </a:lnTo>
                <a:cubicBezTo>
                  <a:pt x="516100" y="572634"/>
                  <a:pt x="517198" y="564387"/>
                  <a:pt x="518250" y="556261"/>
                </a:cubicBezTo>
                <a:cubicBezTo>
                  <a:pt x="517198" y="548499"/>
                  <a:pt x="516100" y="540736"/>
                  <a:pt x="515050" y="532974"/>
                </a:cubicBezTo>
                <a:lnTo>
                  <a:pt x="504396" y="518056"/>
                </a:lnTo>
                <a:lnTo>
                  <a:pt x="483000" y="508474"/>
                </a:lnTo>
                <a:lnTo>
                  <a:pt x="457396" y="513811"/>
                </a:lnTo>
                <a:lnTo>
                  <a:pt x="446698" y="502168"/>
                </a:lnTo>
                <a:lnTo>
                  <a:pt x="438148" y="483005"/>
                </a:lnTo>
                <a:cubicBezTo>
                  <a:pt x="438880" y="474515"/>
                  <a:pt x="439566" y="466025"/>
                  <a:pt x="440296" y="457535"/>
                </a:cubicBezTo>
                <a:cubicBezTo>
                  <a:pt x="440662" y="450136"/>
                  <a:pt x="440982" y="442617"/>
                  <a:pt x="441348" y="435218"/>
                </a:cubicBezTo>
                <a:lnTo>
                  <a:pt x="456298" y="424545"/>
                </a:lnTo>
                <a:lnTo>
                  <a:pt x="478748" y="428790"/>
                </a:lnTo>
                <a:lnTo>
                  <a:pt x="505448" y="416055"/>
                </a:lnTo>
                <a:lnTo>
                  <a:pt x="505448" y="390585"/>
                </a:lnTo>
                <a:lnTo>
                  <a:pt x="523598" y="376759"/>
                </a:lnTo>
                <a:lnTo>
                  <a:pt x="543898" y="365115"/>
                </a:lnTo>
                <a:lnTo>
                  <a:pt x="571696" y="352380"/>
                </a:lnTo>
                <a:lnTo>
                  <a:pt x="582348" y="323636"/>
                </a:lnTo>
                <a:lnTo>
                  <a:pt x="591950" y="314176"/>
                </a:lnTo>
                <a:lnTo>
                  <a:pt x="613348" y="309931"/>
                </a:lnTo>
                <a:lnTo>
                  <a:pt x="646448" y="314176"/>
                </a:lnTo>
                <a:lnTo>
                  <a:pt x="674246" y="298166"/>
                </a:lnTo>
                <a:lnTo>
                  <a:pt x="691300" y="281186"/>
                </a:lnTo>
                <a:cubicBezTo>
                  <a:pt x="690248" y="276213"/>
                  <a:pt x="689150" y="271362"/>
                  <a:pt x="688100" y="266389"/>
                </a:cubicBezTo>
                <a:lnTo>
                  <a:pt x="677446" y="242981"/>
                </a:lnTo>
                <a:lnTo>
                  <a:pt x="688100" y="217511"/>
                </a:lnTo>
                <a:lnTo>
                  <a:pt x="715898" y="218603"/>
                </a:lnTo>
                <a:lnTo>
                  <a:pt x="742598" y="221756"/>
                </a:lnTo>
                <a:lnTo>
                  <a:pt x="779996" y="237645"/>
                </a:lnTo>
                <a:lnTo>
                  <a:pt x="813098" y="247226"/>
                </a:lnTo>
                <a:lnTo>
                  <a:pt x="840850" y="244073"/>
                </a:lnTo>
                <a:lnTo>
                  <a:pt x="856898" y="224910"/>
                </a:lnTo>
                <a:lnTo>
                  <a:pt x="856898" y="211083"/>
                </a:lnTo>
                <a:lnTo>
                  <a:pt x="845148" y="199440"/>
                </a:lnTo>
                <a:lnTo>
                  <a:pt x="828048" y="185613"/>
                </a:lnTo>
                <a:cubicBezTo>
                  <a:pt x="828414" y="174940"/>
                  <a:pt x="828734" y="164388"/>
                  <a:pt x="829100" y="153715"/>
                </a:cubicBezTo>
                <a:lnTo>
                  <a:pt x="834450" y="118664"/>
                </a:lnTo>
                <a:lnTo>
                  <a:pt x="844096" y="99622"/>
                </a:lnTo>
                <a:lnTo>
                  <a:pt x="866498" y="90041"/>
                </a:lnTo>
                <a:lnTo>
                  <a:pt x="885748" y="75123"/>
                </a:lnTo>
                <a:lnTo>
                  <a:pt x="895348" y="68816"/>
                </a:lnTo>
                <a:lnTo>
                  <a:pt x="895348" y="46499"/>
                </a:lnTo>
                <a:lnTo>
                  <a:pt x="895446" y="46676"/>
                </a:lnTo>
                <a:lnTo>
                  <a:pt x="895348" y="45740"/>
                </a:lnTo>
                <a:lnTo>
                  <a:pt x="915482" y="50820"/>
                </a:lnTo>
                <a:cubicBezTo>
                  <a:pt x="923598" y="62331"/>
                  <a:pt x="931610" y="73853"/>
                  <a:pt x="939726" y="85364"/>
                </a:cubicBezTo>
                <a:lnTo>
                  <a:pt x="978832" y="102636"/>
                </a:lnTo>
                <a:lnTo>
                  <a:pt x="1067694" y="100604"/>
                </a:lnTo>
                <a:lnTo>
                  <a:pt x="1142746" y="99588"/>
                </a:lnTo>
                <a:lnTo>
                  <a:pt x="1172366" y="103652"/>
                </a:lnTo>
                <a:lnTo>
                  <a:pt x="1210418" y="94508"/>
                </a:lnTo>
                <a:cubicBezTo>
                  <a:pt x="1216744" y="89428"/>
                  <a:pt x="1223174" y="84348"/>
                  <a:pt x="1229498" y="79268"/>
                </a:cubicBezTo>
                <a:cubicBezTo>
                  <a:pt x="1234452" y="75885"/>
                  <a:pt x="1239300" y="72491"/>
                  <a:pt x="1244256" y="69108"/>
                </a:cubicBezTo>
                <a:lnTo>
                  <a:pt x="1352090" y="67076"/>
                </a:lnTo>
                <a:lnTo>
                  <a:pt x="1511786" y="54884"/>
                </a:lnTo>
                <a:lnTo>
                  <a:pt x="1596324" y="32532"/>
                </a:lnTo>
                <a:cubicBezTo>
                  <a:pt x="1607920" y="26771"/>
                  <a:pt x="1619620" y="21020"/>
                  <a:pt x="1631216" y="15260"/>
                </a:cubicBezTo>
                <a:lnTo>
                  <a:pt x="1732726" y="12212"/>
                </a:lnTo>
                <a:lnTo>
                  <a:pt x="1822534" y="6116"/>
                </a:lnTo>
                <a:lnTo>
                  <a:pt x="1913504" y="3068"/>
                </a:lnTo>
                <a:lnTo>
                  <a:pt x="1944378" y="2195"/>
                </a:lnTo>
                <a:lnTo>
                  <a:pt x="1945212" y="6043"/>
                </a:lnTo>
                <a:lnTo>
                  <a:pt x="1949442" y="2052"/>
                </a:lnTo>
                <a:lnTo>
                  <a:pt x="1944378" y="2195"/>
                </a:lnTo>
                <a:cubicBezTo>
                  <a:pt x="1943896" y="1321"/>
                  <a:pt x="1943910" y="578"/>
                  <a:pt x="1943998" y="0"/>
                </a:cubicBezTo>
                <a:close/>
              </a:path>
            </a:pathLst>
          </a:custGeom>
          <a:solidFill>
            <a:srgbClr val="70B0DF"/>
          </a:solidFill>
          <a:ln w="3175" cap="flat" cmpd="sng">
            <a:noFill/>
            <a:prstDash val="solid"/>
            <a:round/>
            <a:headEnd type="none" w="med" len="med"/>
            <a:tailEnd type="none" w="med" len="med"/>
          </a:ln>
        </p:spPr>
        <p:txBody>
          <a:bodyPr wrap="none" lIns="32632" tIns="32632" rIns="32632" bIns="32632" anchor="ctr"/>
          <a:lstStyle/>
          <a:p>
            <a:pPr defTabSz="891045"/>
            <a:endParaRPr lang="en-US" sz="1700" dirty="0">
              <a:solidFill>
                <a:srgbClr val="003149"/>
              </a:solidFill>
              <a:cs typeface="Arial" panose="020B0604020202020204" pitchFamily="34" charset="0"/>
            </a:endParaRPr>
          </a:p>
        </p:txBody>
      </p:sp>
      <p:sp>
        <p:nvSpPr>
          <p:cNvPr id="20" name="Freeform 533"/>
          <p:cNvSpPr>
            <a:spLocks noChangeAspect="1"/>
          </p:cNvSpPr>
          <p:nvPr/>
        </p:nvSpPr>
        <p:spPr bwMode="gray">
          <a:xfrm>
            <a:off x="3804623" y="2608252"/>
            <a:ext cx="632644" cy="850857"/>
          </a:xfrm>
          <a:custGeom>
            <a:avLst/>
            <a:gdLst>
              <a:gd name="T0" fmla="*/ 0 w 3676652"/>
              <a:gd name="T1" fmla="*/ 0 h 4339222"/>
              <a:gd name="T2" fmla="*/ 0 w 3676652"/>
              <a:gd name="T3" fmla="*/ 0 h 4339222"/>
              <a:gd name="T4" fmla="*/ 0 w 3676652"/>
              <a:gd name="T5" fmla="*/ 0 h 4339222"/>
              <a:gd name="T6" fmla="*/ 0 w 3676652"/>
              <a:gd name="T7" fmla="*/ 0 h 4339222"/>
              <a:gd name="T8" fmla="*/ 0 w 3676652"/>
              <a:gd name="T9" fmla="*/ 0 h 4339222"/>
              <a:gd name="T10" fmla="*/ 0 w 3676652"/>
              <a:gd name="T11" fmla="*/ 0 h 4339222"/>
              <a:gd name="T12" fmla="*/ 0 w 3676652"/>
              <a:gd name="T13" fmla="*/ 0 h 4339222"/>
              <a:gd name="T14" fmla="*/ 0 w 3676652"/>
              <a:gd name="T15" fmla="*/ 0 h 4339222"/>
              <a:gd name="T16" fmla="*/ 0 w 3676652"/>
              <a:gd name="T17" fmla="*/ 0 h 4339222"/>
              <a:gd name="T18" fmla="*/ 0 w 3676652"/>
              <a:gd name="T19" fmla="*/ 0 h 4339222"/>
              <a:gd name="T20" fmla="*/ 0 w 3676652"/>
              <a:gd name="T21" fmla="*/ 0 h 4339222"/>
              <a:gd name="T22" fmla="*/ 0 w 3676652"/>
              <a:gd name="T23" fmla="*/ 0 h 4339222"/>
              <a:gd name="T24" fmla="*/ 0 w 3676652"/>
              <a:gd name="T25" fmla="*/ 0 h 4339222"/>
              <a:gd name="T26" fmla="*/ 0 w 3676652"/>
              <a:gd name="T27" fmla="*/ 0 h 4339222"/>
              <a:gd name="T28" fmla="*/ 0 w 3676652"/>
              <a:gd name="T29" fmla="*/ 0 h 4339222"/>
              <a:gd name="T30" fmla="*/ 0 w 3676652"/>
              <a:gd name="T31" fmla="*/ 0 h 4339222"/>
              <a:gd name="T32" fmla="*/ 0 w 3676652"/>
              <a:gd name="T33" fmla="*/ 0 h 4339222"/>
              <a:gd name="T34" fmla="*/ 0 w 3676652"/>
              <a:gd name="T35" fmla="*/ 0 h 4339222"/>
              <a:gd name="T36" fmla="*/ 0 w 3676652"/>
              <a:gd name="T37" fmla="*/ 0 h 4339222"/>
              <a:gd name="T38" fmla="*/ 0 w 3676652"/>
              <a:gd name="T39" fmla="*/ 0 h 4339222"/>
              <a:gd name="T40" fmla="*/ 0 w 3676652"/>
              <a:gd name="T41" fmla="*/ 0 h 4339222"/>
              <a:gd name="T42" fmla="*/ 0 w 3676652"/>
              <a:gd name="T43" fmla="*/ 0 h 4339222"/>
              <a:gd name="T44" fmla="*/ 0 w 3676652"/>
              <a:gd name="T45" fmla="*/ 0 h 4339222"/>
              <a:gd name="T46" fmla="*/ 0 w 3676652"/>
              <a:gd name="T47" fmla="*/ 0 h 4339222"/>
              <a:gd name="T48" fmla="*/ 0 w 3676652"/>
              <a:gd name="T49" fmla="*/ 0 h 4339222"/>
              <a:gd name="T50" fmla="*/ 0 w 3676652"/>
              <a:gd name="T51" fmla="*/ 0 h 4339222"/>
              <a:gd name="T52" fmla="*/ 0 w 3676652"/>
              <a:gd name="T53" fmla="*/ 0 h 4339222"/>
              <a:gd name="T54" fmla="*/ 0 w 3676652"/>
              <a:gd name="T55" fmla="*/ 0 h 4339222"/>
              <a:gd name="T56" fmla="*/ 0 w 3676652"/>
              <a:gd name="T57" fmla="*/ 0 h 4339222"/>
              <a:gd name="T58" fmla="*/ 0 w 3676652"/>
              <a:gd name="T59" fmla="*/ 0 h 4339222"/>
              <a:gd name="T60" fmla="*/ 0 w 3676652"/>
              <a:gd name="T61" fmla="*/ 0 h 4339222"/>
              <a:gd name="T62" fmla="*/ 0 w 3676652"/>
              <a:gd name="T63" fmla="*/ 0 h 4339222"/>
              <a:gd name="T64" fmla="*/ 0 w 3676652"/>
              <a:gd name="T65" fmla="*/ 0 h 4339222"/>
              <a:gd name="T66" fmla="*/ 0 w 3676652"/>
              <a:gd name="T67" fmla="*/ 0 h 4339222"/>
              <a:gd name="T68" fmla="*/ 0 w 3676652"/>
              <a:gd name="T69" fmla="*/ 0 h 4339222"/>
              <a:gd name="T70" fmla="*/ 0 w 3676652"/>
              <a:gd name="T71" fmla="*/ 0 h 4339222"/>
              <a:gd name="T72" fmla="*/ 0 w 3676652"/>
              <a:gd name="T73" fmla="*/ 0 h 4339222"/>
              <a:gd name="T74" fmla="*/ 0 w 3676652"/>
              <a:gd name="T75" fmla="*/ 0 h 4339222"/>
              <a:gd name="T76" fmla="*/ 0 w 3676652"/>
              <a:gd name="T77" fmla="*/ 0 h 4339222"/>
              <a:gd name="T78" fmla="*/ 0 w 3676652"/>
              <a:gd name="T79" fmla="*/ 0 h 4339222"/>
              <a:gd name="T80" fmla="*/ 0 w 3676652"/>
              <a:gd name="T81" fmla="*/ 0 h 4339222"/>
              <a:gd name="T82" fmla="*/ 0 w 3676652"/>
              <a:gd name="T83" fmla="*/ 0 h 4339222"/>
              <a:gd name="T84" fmla="*/ 0 w 3676652"/>
              <a:gd name="T85" fmla="*/ 0 h 4339222"/>
              <a:gd name="T86" fmla="*/ 0 w 3676652"/>
              <a:gd name="T87" fmla="*/ 0 h 4339222"/>
              <a:gd name="T88" fmla="*/ 0 w 3676652"/>
              <a:gd name="T89" fmla="*/ 0 h 4339222"/>
              <a:gd name="T90" fmla="*/ 0 w 3676652"/>
              <a:gd name="T91" fmla="*/ 0 h 4339222"/>
              <a:gd name="T92" fmla="*/ 0 w 3676652"/>
              <a:gd name="T93" fmla="*/ 0 h 4339222"/>
              <a:gd name="T94" fmla="*/ 0 w 3676652"/>
              <a:gd name="T95" fmla="*/ 0 h 4339222"/>
              <a:gd name="T96" fmla="*/ 0 w 3676652"/>
              <a:gd name="T97" fmla="*/ 0 h 4339222"/>
              <a:gd name="T98" fmla="*/ 0 w 3676652"/>
              <a:gd name="T99" fmla="*/ 0 h 4339222"/>
              <a:gd name="T100" fmla="*/ 0 w 3676652"/>
              <a:gd name="T101" fmla="*/ 0 h 4339222"/>
              <a:gd name="T102" fmla="*/ 0 w 3676652"/>
              <a:gd name="T103" fmla="*/ 0 h 4339222"/>
              <a:gd name="T104" fmla="*/ 0 w 3676652"/>
              <a:gd name="T105" fmla="*/ 0 h 4339222"/>
              <a:gd name="T106" fmla="*/ 0 w 3676652"/>
              <a:gd name="T107" fmla="*/ 0 h 4339222"/>
              <a:gd name="T108" fmla="*/ 0 w 3676652"/>
              <a:gd name="T109" fmla="*/ 0 h 4339222"/>
              <a:gd name="T110" fmla="*/ 0 w 3676652"/>
              <a:gd name="T111" fmla="*/ 0 h 4339222"/>
              <a:gd name="T112" fmla="*/ 0 w 3676652"/>
              <a:gd name="T113" fmla="*/ 0 h 4339222"/>
              <a:gd name="T114" fmla="*/ 0 w 3676652"/>
              <a:gd name="T115" fmla="*/ 0 h 4339222"/>
              <a:gd name="T116" fmla="*/ 0 w 3676652"/>
              <a:gd name="T117" fmla="*/ 0 h 4339222"/>
              <a:gd name="T118" fmla="*/ 0 w 3676652"/>
              <a:gd name="T119" fmla="*/ 0 h 4339222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w 3676652"/>
              <a:gd name="T181" fmla="*/ 0 h 4339222"/>
              <a:gd name="T182" fmla="*/ 3676652 w 3676652"/>
              <a:gd name="T183" fmla="*/ 4339222 h 4339222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T180" t="T181" r="T182" b="T183"/>
            <a:pathLst>
              <a:path w="3676652" h="4339222">
                <a:moveTo>
                  <a:pt x="3045800" y="2047464"/>
                </a:moveTo>
                <a:lnTo>
                  <a:pt x="3045638" y="2049408"/>
                </a:lnTo>
                <a:lnTo>
                  <a:pt x="3047725" y="2048514"/>
                </a:lnTo>
                <a:close/>
                <a:moveTo>
                  <a:pt x="2439956" y="0"/>
                </a:moveTo>
                <a:lnTo>
                  <a:pt x="2477208" y="10639"/>
                </a:lnTo>
                <a:lnTo>
                  <a:pt x="2498495" y="21279"/>
                </a:lnTo>
                <a:lnTo>
                  <a:pt x="2503817" y="42558"/>
                </a:lnTo>
                <a:lnTo>
                  <a:pt x="2477208" y="47878"/>
                </a:lnTo>
                <a:lnTo>
                  <a:pt x="2530425" y="79797"/>
                </a:lnTo>
                <a:lnTo>
                  <a:pt x="2615573" y="101076"/>
                </a:lnTo>
                <a:lnTo>
                  <a:pt x="2674111" y="127675"/>
                </a:lnTo>
                <a:lnTo>
                  <a:pt x="2695398" y="159594"/>
                </a:lnTo>
                <a:lnTo>
                  <a:pt x="2727329" y="180873"/>
                </a:lnTo>
                <a:lnTo>
                  <a:pt x="2769902" y="218112"/>
                </a:lnTo>
                <a:lnTo>
                  <a:pt x="2791189" y="244711"/>
                </a:lnTo>
                <a:lnTo>
                  <a:pt x="2769902" y="281950"/>
                </a:lnTo>
                <a:lnTo>
                  <a:pt x="2769902" y="319189"/>
                </a:lnTo>
                <a:lnTo>
                  <a:pt x="2753937" y="345788"/>
                </a:lnTo>
                <a:lnTo>
                  <a:pt x="2727329" y="383026"/>
                </a:lnTo>
                <a:lnTo>
                  <a:pt x="2711363" y="414945"/>
                </a:lnTo>
                <a:lnTo>
                  <a:pt x="2684755" y="441544"/>
                </a:lnTo>
                <a:lnTo>
                  <a:pt x="2642181" y="468143"/>
                </a:lnTo>
                <a:lnTo>
                  <a:pt x="2620894" y="494743"/>
                </a:lnTo>
                <a:lnTo>
                  <a:pt x="2594286" y="516022"/>
                </a:lnTo>
                <a:lnTo>
                  <a:pt x="2594286" y="537301"/>
                </a:lnTo>
                <a:lnTo>
                  <a:pt x="2535747" y="585179"/>
                </a:lnTo>
                <a:lnTo>
                  <a:pt x="2503817" y="590500"/>
                </a:lnTo>
                <a:lnTo>
                  <a:pt x="2487851" y="617099"/>
                </a:lnTo>
                <a:lnTo>
                  <a:pt x="2493173" y="686256"/>
                </a:lnTo>
                <a:lnTo>
                  <a:pt x="2503817" y="712855"/>
                </a:lnTo>
                <a:lnTo>
                  <a:pt x="2530425" y="782013"/>
                </a:lnTo>
                <a:lnTo>
                  <a:pt x="2503817" y="771373"/>
                </a:lnTo>
                <a:lnTo>
                  <a:pt x="2509138" y="840531"/>
                </a:lnTo>
                <a:lnTo>
                  <a:pt x="2477208" y="904369"/>
                </a:lnTo>
                <a:lnTo>
                  <a:pt x="2461243" y="946927"/>
                </a:lnTo>
                <a:lnTo>
                  <a:pt x="2445278" y="984166"/>
                </a:lnTo>
                <a:lnTo>
                  <a:pt x="2413347" y="1032044"/>
                </a:lnTo>
                <a:lnTo>
                  <a:pt x="2392061" y="1010765"/>
                </a:lnTo>
                <a:lnTo>
                  <a:pt x="2360130" y="1037364"/>
                </a:lnTo>
                <a:lnTo>
                  <a:pt x="2360130" y="1069283"/>
                </a:lnTo>
                <a:lnTo>
                  <a:pt x="2328200" y="1101202"/>
                </a:lnTo>
                <a:lnTo>
                  <a:pt x="2317556" y="1165040"/>
                </a:lnTo>
                <a:lnTo>
                  <a:pt x="2317556" y="1191639"/>
                </a:lnTo>
                <a:lnTo>
                  <a:pt x="2306913" y="1212918"/>
                </a:lnTo>
                <a:lnTo>
                  <a:pt x="2269661" y="1244837"/>
                </a:lnTo>
                <a:lnTo>
                  <a:pt x="2269661" y="1282076"/>
                </a:lnTo>
                <a:lnTo>
                  <a:pt x="2232409" y="1313994"/>
                </a:lnTo>
                <a:lnTo>
                  <a:pt x="2232409" y="1345913"/>
                </a:lnTo>
                <a:lnTo>
                  <a:pt x="2200479" y="1383152"/>
                </a:lnTo>
                <a:lnTo>
                  <a:pt x="2173870" y="1468269"/>
                </a:lnTo>
                <a:lnTo>
                  <a:pt x="2173870" y="1526787"/>
                </a:lnTo>
                <a:lnTo>
                  <a:pt x="2200479" y="1574665"/>
                </a:lnTo>
                <a:lnTo>
                  <a:pt x="2211122" y="1617224"/>
                </a:lnTo>
                <a:lnTo>
                  <a:pt x="2200479" y="1675742"/>
                </a:lnTo>
                <a:lnTo>
                  <a:pt x="2152583" y="1723620"/>
                </a:lnTo>
                <a:lnTo>
                  <a:pt x="2110009" y="1782138"/>
                </a:lnTo>
                <a:lnTo>
                  <a:pt x="2104688" y="1867255"/>
                </a:lnTo>
                <a:lnTo>
                  <a:pt x="2035505" y="1920453"/>
                </a:lnTo>
                <a:lnTo>
                  <a:pt x="1966323" y="1941733"/>
                </a:lnTo>
                <a:lnTo>
                  <a:pt x="1929071" y="1963012"/>
                </a:lnTo>
                <a:lnTo>
                  <a:pt x="1913106" y="2000250"/>
                </a:lnTo>
                <a:lnTo>
                  <a:pt x="1886497" y="2010890"/>
                </a:lnTo>
                <a:lnTo>
                  <a:pt x="1865210" y="1989611"/>
                </a:lnTo>
                <a:lnTo>
                  <a:pt x="1870532" y="2032169"/>
                </a:lnTo>
                <a:lnTo>
                  <a:pt x="1859889" y="2074728"/>
                </a:lnTo>
                <a:lnTo>
                  <a:pt x="1838602" y="2053449"/>
                </a:lnTo>
                <a:lnTo>
                  <a:pt x="1827958" y="2037489"/>
                </a:lnTo>
                <a:lnTo>
                  <a:pt x="1806671" y="2042809"/>
                </a:lnTo>
                <a:lnTo>
                  <a:pt x="1806671" y="2074728"/>
                </a:lnTo>
                <a:lnTo>
                  <a:pt x="1780063" y="2080048"/>
                </a:lnTo>
                <a:lnTo>
                  <a:pt x="1753454" y="2101327"/>
                </a:lnTo>
                <a:lnTo>
                  <a:pt x="1732167" y="2090687"/>
                </a:lnTo>
                <a:lnTo>
                  <a:pt x="1710881" y="2090687"/>
                </a:lnTo>
                <a:lnTo>
                  <a:pt x="1689594" y="2080048"/>
                </a:lnTo>
                <a:lnTo>
                  <a:pt x="1700237" y="2127926"/>
                </a:lnTo>
                <a:lnTo>
                  <a:pt x="1689594" y="2165165"/>
                </a:lnTo>
                <a:lnTo>
                  <a:pt x="1662985" y="2191764"/>
                </a:lnTo>
                <a:lnTo>
                  <a:pt x="1652342" y="2165165"/>
                </a:lnTo>
                <a:lnTo>
                  <a:pt x="1620411" y="2165165"/>
                </a:lnTo>
                <a:lnTo>
                  <a:pt x="1588481" y="2175804"/>
                </a:lnTo>
                <a:lnTo>
                  <a:pt x="1572516" y="2202403"/>
                </a:lnTo>
                <a:lnTo>
                  <a:pt x="1513977" y="2186444"/>
                </a:lnTo>
                <a:lnTo>
                  <a:pt x="1498012" y="2175804"/>
                </a:lnTo>
                <a:lnTo>
                  <a:pt x="1492690" y="2154525"/>
                </a:lnTo>
                <a:lnTo>
                  <a:pt x="1482047" y="2138565"/>
                </a:lnTo>
                <a:lnTo>
                  <a:pt x="1476725" y="2122606"/>
                </a:lnTo>
                <a:lnTo>
                  <a:pt x="1487368" y="2101327"/>
                </a:lnTo>
                <a:lnTo>
                  <a:pt x="1513977" y="2117286"/>
                </a:lnTo>
                <a:lnTo>
                  <a:pt x="1529942" y="2111967"/>
                </a:lnTo>
                <a:lnTo>
                  <a:pt x="1556551" y="2101327"/>
                </a:lnTo>
                <a:lnTo>
                  <a:pt x="1545907" y="2074728"/>
                </a:lnTo>
                <a:lnTo>
                  <a:pt x="1519299" y="2074728"/>
                </a:lnTo>
                <a:lnTo>
                  <a:pt x="1498012" y="2058768"/>
                </a:lnTo>
                <a:lnTo>
                  <a:pt x="1487368" y="2042809"/>
                </a:lnTo>
                <a:lnTo>
                  <a:pt x="1476725" y="2016210"/>
                </a:lnTo>
                <a:lnTo>
                  <a:pt x="1455438" y="2021530"/>
                </a:lnTo>
                <a:lnTo>
                  <a:pt x="1423508" y="2010890"/>
                </a:lnTo>
                <a:lnTo>
                  <a:pt x="1386256" y="2010890"/>
                </a:lnTo>
                <a:lnTo>
                  <a:pt x="1375612" y="1989611"/>
                </a:lnTo>
                <a:lnTo>
                  <a:pt x="1375612" y="1973651"/>
                </a:lnTo>
                <a:lnTo>
                  <a:pt x="1343682" y="1978971"/>
                </a:lnTo>
                <a:lnTo>
                  <a:pt x="1322395" y="1968331"/>
                </a:lnTo>
                <a:lnTo>
                  <a:pt x="1290465" y="1963012"/>
                </a:lnTo>
                <a:lnTo>
                  <a:pt x="1258534" y="1952372"/>
                </a:lnTo>
                <a:lnTo>
                  <a:pt x="1221282" y="1973651"/>
                </a:lnTo>
                <a:lnTo>
                  <a:pt x="1263856" y="1989611"/>
                </a:lnTo>
                <a:lnTo>
                  <a:pt x="1290465" y="1984291"/>
                </a:lnTo>
                <a:lnTo>
                  <a:pt x="1322395" y="1984291"/>
                </a:lnTo>
                <a:lnTo>
                  <a:pt x="1338360" y="2005570"/>
                </a:lnTo>
                <a:lnTo>
                  <a:pt x="1338360" y="2032169"/>
                </a:lnTo>
                <a:lnTo>
                  <a:pt x="1333039" y="2069408"/>
                </a:lnTo>
                <a:lnTo>
                  <a:pt x="1364969" y="2096007"/>
                </a:lnTo>
                <a:lnTo>
                  <a:pt x="1386256" y="2127926"/>
                </a:lnTo>
                <a:lnTo>
                  <a:pt x="1412864" y="2175804"/>
                </a:lnTo>
                <a:lnTo>
                  <a:pt x="1450116" y="2197083"/>
                </a:lnTo>
                <a:lnTo>
                  <a:pt x="1492690" y="2229003"/>
                </a:lnTo>
                <a:lnTo>
                  <a:pt x="1556551" y="2255601"/>
                </a:lnTo>
                <a:lnTo>
                  <a:pt x="1593803" y="2276881"/>
                </a:lnTo>
                <a:lnTo>
                  <a:pt x="1625733" y="2292840"/>
                </a:lnTo>
                <a:lnTo>
                  <a:pt x="1631055" y="2319439"/>
                </a:lnTo>
                <a:lnTo>
                  <a:pt x="1641698" y="2330079"/>
                </a:lnTo>
                <a:lnTo>
                  <a:pt x="1657663" y="2351358"/>
                </a:lnTo>
                <a:lnTo>
                  <a:pt x="1689594" y="2351358"/>
                </a:lnTo>
                <a:lnTo>
                  <a:pt x="1732167" y="2346039"/>
                </a:lnTo>
                <a:lnTo>
                  <a:pt x="1753454" y="2308800"/>
                </a:lnTo>
                <a:lnTo>
                  <a:pt x="1753454" y="2276881"/>
                </a:lnTo>
                <a:lnTo>
                  <a:pt x="1785385" y="2255601"/>
                </a:lnTo>
                <a:lnTo>
                  <a:pt x="1833280" y="2250282"/>
                </a:lnTo>
                <a:lnTo>
                  <a:pt x="1865210" y="2250282"/>
                </a:lnTo>
                <a:lnTo>
                  <a:pt x="1886497" y="2244962"/>
                </a:lnTo>
                <a:lnTo>
                  <a:pt x="1923749" y="2239642"/>
                </a:lnTo>
                <a:lnTo>
                  <a:pt x="1976966" y="2229003"/>
                </a:lnTo>
                <a:lnTo>
                  <a:pt x="2035505" y="2191764"/>
                </a:lnTo>
                <a:lnTo>
                  <a:pt x="2062114" y="2165165"/>
                </a:lnTo>
                <a:lnTo>
                  <a:pt x="2094044" y="2154525"/>
                </a:lnTo>
                <a:lnTo>
                  <a:pt x="2094044" y="2127926"/>
                </a:lnTo>
                <a:lnTo>
                  <a:pt x="2110009" y="2090687"/>
                </a:lnTo>
                <a:lnTo>
                  <a:pt x="2163227" y="2042809"/>
                </a:lnTo>
                <a:lnTo>
                  <a:pt x="2195157" y="2042809"/>
                </a:lnTo>
                <a:lnTo>
                  <a:pt x="2243052" y="2032169"/>
                </a:lnTo>
                <a:lnTo>
                  <a:pt x="2285626" y="1994931"/>
                </a:lnTo>
                <a:lnTo>
                  <a:pt x="2301591" y="1952372"/>
                </a:lnTo>
                <a:lnTo>
                  <a:pt x="2333521" y="1867255"/>
                </a:lnTo>
                <a:lnTo>
                  <a:pt x="2317556" y="1798097"/>
                </a:lnTo>
                <a:lnTo>
                  <a:pt x="2301591" y="1771498"/>
                </a:lnTo>
                <a:lnTo>
                  <a:pt x="2328200" y="1750219"/>
                </a:lnTo>
                <a:lnTo>
                  <a:pt x="2349487" y="1712981"/>
                </a:lnTo>
                <a:lnTo>
                  <a:pt x="2376095" y="1675742"/>
                </a:lnTo>
                <a:lnTo>
                  <a:pt x="2434634" y="1649143"/>
                </a:lnTo>
                <a:lnTo>
                  <a:pt x="2487851" y="1649143"/>
                </a:lnTo>
                <a:lnTo>
                  <a:pt x="2530425" y="1649143"/>
                </a:lnTo>
                <a:lnTo>
                  <a:pt x="2583642" y="1659782"/>
                </a:lnTo>
                <a:lnTo>
                  <a:pt x="2620894" y="1649143"/>
                </a:lnTo>
                <a:lnTo>
                  <a:pt x="2658146" y="1665102"/>
                </a:lnTo>
                <a:lnTo>
                  <a:pt x="2695398" y="1665102"/>
                </a:lnTo>
                <a:lnTo>
                  <a:pt x="2706042" y="1702341"/>
                </a:lnTo>
                <a:lnTo>
                  <a:pt x="2690077" y="1744899"/>
                </a:lnTo>
                <a:lnTo>
                  <a:pt x="2695398" y="1782138"/>
                </a:lnTo>
                <a:lnTo>
                  <a:pt x="2716685" y="1803417"/>
                </a:lnTo>
                <a:lnTo>
                  <a:pt x="2716685" y="1840656"/>
                </a:lnTo>
                <a:lnTo>
                  <a:pt x="2748615" y="1824697"/>
                </a:lnTo>
                <a:lnTo>
                  <a:pt x="2748615" y="1845976"/>
                </a:lnTo>
                <a:lnTo>
                  <a:pt x="2727329" y="1856615"/>
                </a:lnTo>
                <a:lnTo>
                  <a:pt x="2737972" y="1877895"/>
                </a:lnTo>
                <a:lnTo>
                  <a:pt x="2716685" y="1909814"/>
                </a:lnTo>
                <a:lnTo>
                  <a:pt x="2706042" y="1931093"/>
                </a:lnTo>
                <a:lnTo>
                  <a:pt x="2727329" y="1952372"/>
                </a:lnTo>
                <a:lnTo>
                  <a:pt x="2700720" y="1963012"/>
                </a:lnTo>
                <a:lnTo>
                  <a:pt x="2684755" y="1984291"/>
                </a:lnTo>
                <a:lnTo>
                  <a:pt x="2674111" y="2016210"/>
                </a:lnTo>
                <a:lnTo>
                  <a:pt x="2674111" y="2048129"/>
                </a:lnTo>
                <a:lnTo>
                  <a:pt x="2652825" y="2074728"/>
                </a:lnTo>
                <a:lnTo>
                  <a:pt x="2636859" y="2101327"/>
                </a:lnTo>
                <a:lnTo>
                  <a:pt x="2658146" y="2133246"/>
                </a:lnTo>
                <a:lnTo>
                  <a:pt x="2679433" y="2197083"/>
                </a:lnTo>
                <a:lnTo>
                  <a:pt x="2737972" y="2218363"/>
                </a:lnTo>
                <a:lnTo>
                  <a:pt x="2791189" y="2255601"/>
                </a:lnTo>
                <a:lnTo>
                  <a:pt x="2844407" y="2255601"/>
                </a:lnTo>
                <a:lnTo>
                  <a:pt x="2865693" y="2255601"/>
                </a:lnTo>
                <a:lnTo>
                  <a:pt x="2855050" y="2218363"/>
                </a:lnTo>
                <a:lnTo>
                  <a:pt x="2817798" y="2229003"/>
                </a:lnTo>
                <a:lnTo>
                  <a:pt x="2812476" y="2175804"/>
                </a:lnTo>
                <a:lnTo>
                  <a:pt x="2796511" y="2218363"/>
                </a:lnTo>
                <a:lnTo>
                  <a:pt x="2791189" y="2197083"/>
                </a:lnTo>
                <a:lnTo>
                  <a:pt x="2759259" y="2197083"/>
                </a:lnTo>
                <a:lnTo>
                  <a:pt x="2727329" y="2165165"/>
                </a:lnTo>
                <a:lnTo>
                  <a:pt x="2732650" y="2143885"/>
                </a:lnTo>
                <a:lnTo>
                  <a:pt x="2711363" y="2133246"/>
                </a:lnTo>
                <a:lnTo>
                  <a:pt x="2674111" y="2122606"/>
                </a:lnTo>
                <a:lnTo>
                  <a:pt x="2684755" y="2080048"/>
                </a:lnTo>
                <a:lnTo>
                  <a:pt x="2706042" y="2058768"/>
                </a:lnTo>
                <a:lnTo>
                  <a:pt x="2706042" y="2032169"/>
                </a:lnTo>
                <a:lnTo>
                  <a:pt x="2706042" y="2005570"/>
                </a:lnTo>
                <a:lnTo>
                  <a:pt x="2727329" y="1989611"/>
                </a:lnTo>
                <a:lnTo>
                  <a:pt x="2748615" y="1973651"/>
                </a:lnTo>
                <a:lnTo>
                  <a:pt x="2791189" y="1968331"/>
                </a:lnTo>
                <a:lnTo>
                  <a:pt x="2833763" y="1963012"/>
                </a:lnTo>
                <a:lnTo>
                  <a:pt x="2817798" y="1941733"/>
                </a:lnTo>
                <a:lnTo>
                  <a:pt x="2807155" y="1909814"/>
                </a:lnTo>
                <a:lnTo>
                  <a:pt x="2833763" y="1899174"/>
                </a:lnTo>
                <a:lnTo>
                  <a:pt x="2812476" y="1867255"/>
                </a:lnTo>
                <a:lnTo>
                  <a:pt x="2823120" y="1830016"/>
                </a:lnTo>
                <a:lnTo>
                  <a:pt x="2833763" y="1798097"/>
                </a:lnTo>
                <a:lnTo>
                  <a:pt x="2844407" y="1755539"/>
                </a:lnTo>
                <a:lnTo>
                  <a:pt x="2801833" y="1718300"/>
                </a:lnTo>
                <a:lnTo>
                  <a:pt x="2759259" y="1691701"/>
                </a:lnTo>
                <a:lnTo>
                  <a:pt x="2737972" y="1649143"/>
                </a:lnTo>
                <a:lnTo>
                  <a:pt x="2706042" y="1601264"/>
                </a:lnTo>
                <a:lnTo>
                  <a:pt x="2663468" y="1564026"/>
                </a:lnTo>
                <a:lnTo>
                  <a:pt x="2615573" y="1537427"/>
                </a:lnTo>
                <a:lnTo>
                  <a:pt x="2546390" y="1542747"/>
                </a:lnTo>
                <a:lnTo>
                  <a:pt x="2551712" y="1574665"/>
                </a:lnTo>
                <a:lnTo>
                  <a:pt x="2487851" y="1553386"/>
                </a:lnTo>
                <a:lnTo>
                  <a:pt x="2455921" y="1526787"/>
                </a:lnTo>
                <a:lnTo>
                  <a:pt x="2402704" y="1510828"/>
                </a:lnTo>
                <a:lnTo>
                  <a:pt x="2376095" y="1516147"/>
                </a:lnTo>
                <a:lnTo>
                  <a:pt x="2349487" y="1473589"/>
                </a:lnTo>
                <a:lnTo>
                  <a:pt x="2386739" y="1457629"/>
                </a:lnTo>
                <a:lnTo>
                  <a:pt x="2402704" y="1420391"/>
                </a:lnTo>
                <a:lnTo>
                  <a:pt x="2408026" y="1388472"/>
                </a:lnTo>
                <a:lnTo>
                  <a:pt x="2423991" y="1351233"/>
                </a:lnTo>
                <a:lnTo>
                  <a:pt x="2408026" y="1324634"/>
                </a:lnTo>
                <a:lnTo>
                  <a:pt x="2413347" y="1276756"/>
                </a:lnTo>
                <a:lnTo>
                  <a:pt x="2439956" y="1234197"/>
                </a:lnTo>
                <a:lnTo>
                  <a:pt x="2477208" y="1207598"/>
                </a:lnTo>
                <a:lnTo>
                  <a:pt x="2498495" y="1170359"/>
                </a:lnTo>
                <a:lnTo>
                  <a:pt x="2503817" y="1133121"/>
                </a:lnTo>
                <a:lnTo>
                  <a:pt x="2551712" y="1101202"/>
                </a:lnTo>
                <a:lnTo>
                  <a:pt x="2594286" y="1090562"/>
                </a:lnTo>
                <a:lnTo>
                  <a:pt x="2636859" y="1048004"/>
                </a:lnTo>
                <a:lnTo>
                  <a:pt x="2642181" y="1010765"/>
                </a:lnTo>
                <a:lnTo>
                  <a:pt x="2636859" y="957567"/>
                </a:lnTo>
                <a:lnTo>
                  <a:pt x="2647503" y="915008"/>
                </a:lnTo>
                <a:lnTo>
                  <a:pt x="2652825" y="867130"/>
                </a:lnTo>
                <a:lnTo>
                  <a:pt x="2652825" y="824572"/>
                </a:lnTo>
                <a:lnTo>
                  <a:pt x="2652825" y="776693"/>
                </a:lnTo>
                <a:lnTo>
                  <a:pt x="2636859" y="734135"/>
                </a:lnTo>
                <a:lnTo>
                  <a:pt x="2626216" y="686256"/>
                </a:lnTo>
                <a:lnTo>
                  <a:pt x="2626216" y="659657"/>
                </a:lnTo>
                <a:lnTo>
                  <a:pt x="2674111" y="638378"/>
                </a:lnTo>
                <a:lnTo>
                  <a:pt x="2706042" y="601139"/>
                </a:lnTo>
                <a:lnTo>
                  <a:pt x="2727329" y="574540"/>
                </a:lnTo>
                <a:lnTo>
                  <a:pt x="2769902" y="569220"/>
                </a:lnTo>
                <a:lnTo>
                  <a:pt x="2812476" y="558580"/>
                </a:lnTo>
                <a:lnTo>
                  <a:pt x="2849728" y="569220"/>
                </a:lnTo>
                <a:lnTo>
                  <a:pt x="2886980" y="547941"/>
                </a:lnTo>
                <a:lnTo>
                  <a:pt x="2924232" y="537301"/>
                </a:lnTo>
                <a:lnTo>
                  <a:pt x="2940197" y="516022"/>
                </a:lnTo>
                <a:lnTo>
                  <a:pt x="2961484" y="484103"/>
                </a:lnTo>
                <a:lnTo>
                  <a:pt x="2982771" y="446864"/>
                </a:lnTo>
                <a:lnTo>
                  <a:pt x="3004058" y="414945"/>
                </a:lnTo>
                <a:lnTo>
                  <a:pt x="3004058" y="377707"/>
                </a:lnTo>
                <a:lnTo>
                  <a:pt x="3009380" y="351108"/>
                </a:lnTo>
                <a:lnTo>
                  <a:pt x="2993415" y="313869"/>
                </a:lnTo>
                <a:lnTo>
                  <a:pt x="3004058" y="292590"/>
                </a:lnTo>
                <a:lnTo>
                  <a:pt x="3046632" y="292590"/>
                </a:lnTo>
                <a:lnTo>
                  <a:pt x="3073240" y="303229"/>
                </a:lnTo>
                <a:lnTo>
                  <a:pt x="3094527" y="324508"/>
                </a:lnTo>
                <a:lnTo>
                  <a:pt x="3105171" y="356427"/>
                </a:lnTo>
                <a:lnTo>
                  <a:pt x="3073240" y="361747"/>
                </a:lnTo>
                <a:lnTo>
                  <a:pt x="3073240" y="383026"/>
                </a:lnTo>
                <a:lnTo>
                  <a:pt x="3089205" y="425585"/>
                </a:lnTo>
                <a:lnTo>
                  <a:pt x="3057275" y="430905"/>
                </a:lnTo>
                <a:lnTo>
                  <a:pt x="3046632" y="452184"/>
                </a:lnTo>
                <a:lnTo>
                  <a:pt x="3046632" y="494743"/>
                </a:lnTo>
                <a:lnTo>
                  <a:pt x="3025345" y="516022"/>
                </a:lnTo>
                <a:lnTo>
                  <a:pt x="3014701" y="547941"/>
                </a:lnTo>
                <a:lnTo>
                  <a:pt x="2982771" y="579860"/>
                </a:lnTo>
                <a:lnTo>
                  <a:pt x="2956163" y="601139"/>
                </a:lnTo>
                <a:lnTo>
                  <a:pt x="2940197" y="627738"/>
                </a:lnTo>
                <a:lnTo>
                  <a:pt x="2924232" y="649018"/>
                </a:lnTo>
                <a:lnTo>
                  <a:pt x="2934876" y="691576"/>
                </a:lnTo>
                <a:lnTo>
                  <a:pt x="2918911" y="728815"/>
                </a:lnTo>
                <a:lnTo>
                  <a:pt x="2913589" y="771373"/>
                </a:lnTo>
                <a:lnTo>
                  <a:pt x="2865693" y="776693"/>
                </a:lnTo>
                <a:lnTo>
                  <a:pt x="2871015" y="792653"/>
                </a:lnTo>
                <a:lnTo>
                  <a:pt x="2881659" y="824572"/>
                </a:lnTo>
                <a:lnTo>
                  <a:pt x="2918911" y="861810"/>
                </a:lnTo>
                <a:lnTo>
                  <a:pt x="2950841" y="888409"/>
                </a:lnTo>
                <a:lnTo>
                  <a:pt x="2993415" y="904369"/>
                </a:lnTo>
                <a:lnTo>
                  <a:pt x="3035988" y="915008"/>
                </a:lnTo>
                <a:lnTo>
                  <a:pt x="3035988" y="946927"/>
                </a:lnTo>
                <a:lnTo>
                  <a:pt x="3083884" y="946927"/>
                </a:lnTo>
                <a:lnTo>
                  <a:pt x="3121136" y="962887"/>
                </a:lnTo>
                <a:lnTo>
                  <a:pt x="3158388" y="1000125"/>
                </a:lnTo>
                <a:lnTo>
                  <a:pt x="3169031" y="1048004"/>
                </a:lnTo>
                <a:lnTo>
                  <a:pt x="3211605" y="1079923"/>
                </a:lnTo>
                <a:lnTo>
                  <a:pt x="3211605" y="1048004"/>
                </a:lnTo>
                <a:lnTo>
                  <a:pt x="3211605" y="1026725"/>
                </a:lnTo>
                <a:lnTo>
                  <a:pt x="3227570" y="994806"/>
                </a:lnTo>
                <a:lnTo>
                  <a:pt x="3232892" y="962887"/>
                </a:lnTo>
                <a:lnTo>
                  <a:pt x="3195640" y="962887"/>
                </a:lnTo>
                <a:lnTo>
                  <a:pt x="3163709" y="962887"/>
                </a:lnTo>
                <a:lnTo>
                  <a:pt x="3169031" y="941607"/>
                </a:lnTo>
                <a:lnTo>
                  <a:pt x="3147745" y="920328"/>
                </a:lnTo>
                <a:lnTo>
                  <a:pt x="3115814" y="920328"/>
                </a:lnTo>
                <a:lnTo>
                  <a:pt x="3115814" y="883089"/>
                </a:lnTo>
                <a:lnTo>
                  <a:pt x="3073240" y="840531"/>
                </a:lnTo>
                <a:lnTo>
                  <a:pt x="3025345" y="803292"/>
                </a:lnTo>
                <a:lnTo>
                  <a:pt x="3014701" y="760734"/>
                </a:lnTo>
                <a:lnTo>
                  <a:pt x="3009380" y="723495"/>
                </a:lnTo>
                <a:lnTo>
                  <a:pt x="3014701" y="680937"/>
                </a:lnTo>
                <a:lnTo>
                  <a:pt x="3035988" y="649018"/>
                </a:lnTo>
                <a:lnTo>
                  <a:pt x="3014701" y="633058"/>
                </a:lnTo>
                <a:lnTo>
                  <a:pt x="3046632" y="627738"/>
                </a:lnTo>
                <a:lnTo>
                  <a:pt x="3083884" y="627738"/>
                </a:lnTo>
                <a:lnTo>
                  <a:pt x="3137101" y="627738"/>
                </a:lnTo>
                <a:lnTo>
                  <a:pt x="3174353" y="627738"/>
                </a:lnTo>
                <a:lnTo>
                  <a:pt x="3190318" y="649018"/>
                </a:lnTo>
                <a:lnTo>
                  <a:pt x="3200961" y="686256"/>
                </a:lnTo>
                <a:lnTo>
                  <a:pt x="3222249" y="723495"/>
                </a:lnTo>
                <a:lnTo>
                  <a:pt x="3254179" y="734135"/>
                </a:lnTo>
                <a:lnTo>
                  <a:pt x="3291431" y="723495"/>
                </a:lnTo>
                <a:lnTo>
                  <a:pt x="3318039" y="702216"/>
                </a:lnTo>
                <a:lnTo>
                  <a:pt x="3318039" y="670297"/>
                </a:lnTo>
                <a:lnTo>
                  <a:pt x="3291431" y="649018"/>
                </a:lnTo>
                <a:lnTo>
                  <a:pt x="3238214" y="654337"/>
                </a:lnTo>
                <a:lnTo>
                  <a:pt x="3227570" y="633058"/>
                </a:lnTo>
                <a:lnTo>
                  <a:pt x="3243535" y="611779"/>
                </a:lnTo>
                <a:lnTo>
                  <a:pt x="3270144" y="601139"/>
                </a:lnTo>
                <a:lnTo>
                  <a:pt x="3302074" y="595819"/>
                </a:lnTo>
                <a:lnTo>
                  <a:pt x="3302074" y="579860"/>
                </a:lnTo>
                <a:lnTo>
                  <a:pt x="3323361" y="569220"/>
                </a:lnTo>
                <a:lnTo>
                  <a:pt x="3371257" y="569220"/>
                </a:lnTo>
                <a:lnTo>
                  <a:pt x="3410331" y="586581"/>
                </a:lnTo>
                <a:lnTo>
                  <a:pt x="3413415" y="585680"/>
                </a:lnTo>
                <a:lnTo>
                  <a:pt x="3413793" y="588119"/>
                </a:lnTo>
                <a:lnTo>
                  <a:pt x="3419152" y="590500"/>
                </a:lnTo>
                <a:lnTo>
                  <a:pt x="3414520" y="592815"/>
                </a:lnTo>
                <a:cubicBezTo>
                  <a:pt x="3415794" y="601116"/>
                  <a:pt x="3417024" y="609373"/>
                  <a:pt x="3418332" y="617428"/>
                </a:cubicBezTo>
                <a:lnTo>
                  <a:pt x="3408154" y="617428"/>
                </a:lnTo>
                <a:cubicBezTo>
                  <a:pt x="3406041" y="626451"/>
                  <a:pt x="3404402" y="635307"/>
                  <a:pt x="3402548" y="644163"/>
                </a:cubicBezTo>
                <a:cubicBezTo>
                  <a:pt x="3406041" y="648006"/>
                  <a:pt x="3409793" y="651348"/>
                  <a:pt x="3413415" y="654857"/>
                </a:cubicBezTo>
                <a:cubicBezTo>
                  <a:pt x="3416822" y="662042"/>
                  <a:pt x="3420445" y="669060"/>
                  <a:pt x="3424068" y="676078"/>
                </a:cubicBezTo>
                <a:lnTo>
                  <a:pt x="3455808" y="670898"/>
                </a:lnTo>
                <a:cubicBezTo>
                  <a:pt x="3459258" y="683430"/>
                  <a:pt x="3463183" y="695627"/>
                  <a:pt x="3466503" y="707992"/>
                </a:cubicBezTo>
                <a:lnTo>
                  <a:pt x="3493112" y="724033"/>
                </a:lnTo>
                <a:lnTo>
                  <a:pt x="3509198" y="724033"/>
                </a:lnTo>
                <a:cubicBezTo>
                  <a:pt x="3512648" y="727542"/>
                  <a:pt x="3516271" y="731218"/>
                  <a:pt x="3519979" y="734560"/>
                </a:cubicBezTo>
                <a:lnTo>
                  <a:pt x="3546459" y="750434"/>
                </a:lnTo>
                <a:lnTo>
                  <a:pt x="3546459" y="766475"/>
                </a:lnTo>
                <a:lnTo>
                  <a:pt x="3567763" y="782349"/>
                </a:lnTo>
                <a:cubicBezTo>
                  <a:pt x="3569833" y="789701"/>
                  <a:pt x="3571429" y="796551"/>
                  <a:pt x="3573067" y="803904"/>
                </a:cubicBezTo>
                <a:lnTo>
                  <a:pt x="3551677" y="798724"/>
                </a:lnTo>
                <a:cubicBezTo>
                  <a:pt x="3548054" y="809251"/>
                  <a:pt x="3544691" y="819944"/>
                  <a:pt x="3541025" y="830304"/>
                </a:cubicBezTo>
                <a:lnTo>
                  <a:pt x="3525198" y="862720"/>
                </a:lnTo>
                <a:lnTo>
                  <a:pt x="3498373" y="883607"/>
                </a:lnTo>
                <a:lnTo>
                  <a:pt x="3466503" y="862720"/>
                </a:lnTo>
                <a:lnTo>
                  <a:pt x="3429329" y="872913"/>
                </a:lnTo>
                <a:cubicBezTo>
                  <a:pt x="3425793" y="880098"/>
                  <a:pt x="3422343" y="887283"/>
                  <a:pt x="3418332" y="893967"/>
                </a:cubicBezTo>
                <a:cubicBezTo>
                  <a:pt x="3413415" y="908504"/>
                  <a:pt x="3408154" y="922540"/>
                  <a:pt x="3402548" y="936910"/>
                </a:cubicBezTo>
                <a:lnTo>
                  <a:pt x="3402548" y="958297"/>
                </a:lnTo>
                <a:cubicBezTo>
                  <a:pt x="3406041" y="968824"/>
                  <a:pt x="3409793" y="979184"/>
                  <a:pt x="3413415" y="990045"/>
                </a:cubicBezTo>
                <a:lnTo>
                  <a:pt x="3429329" y="1011266"/>
                </a:lnTo>
                <a:cubicBezTo>
                  <a:pt x="3431097" y="1020289"/>
                  <a:pt x="3432822" y="1029145"/>
                  <a:pt x="3434806" y="1038001"/>
                </a:cubicBezTo>
                <a:lnTo>
                  <a:pt x="3455808" y="1064568"/>
                </a:lnTo>
                <a:lnTo>
                  <a:pt x="3487937" y="1085956"/>
                </a:lnTo>
                <a:lnTo>
                  <a:pt x="3514287" y="1102164"/>
                </a:lnTo>
                <a:lnTo>
                  <a:pt x="3530588" y="1112357"/>
                </a:lnTo>
                <a:cubicBezTo>
                  <a:pt x="3526837" y="1117871"/>
                  <a:pt x="3523214" y="1123051"/>
                  <a:pt x="3519979" y="1128398"/>
                </a:cubicBezTo>
                <a:lnTo>
                  <a:pt x="3519979" y="1144272"/>
                </a:lnTo>
                <a:cubicBezTo>
                  <a:pt x="3517866" y="1147781"/>
                  <a:pt x="3516141" y="1151457"/>
                  <a:pt x="3514287" y="1155133"/>
                </a:cubicBezTo>
                <a:cubicBezTo>
                  <a:pt x="3512562" y="1161984"/>
                  <a:pt x="3510837" y="1169336"/>
                  <a:pt x="3509198" y="1176521"/>
                </a:cubicBezTo>
                <a:lnTo>
                  <a:pt x="3509198" y="1197407"/>
                </a:lnTo>
                <a:lnTo>
                  <a:pt x="3503893" y="1208268"/>
                </a:lnTo>
                <a:cubicBezTo>
                  <a:pt x="3502039" y="1216957"/>
                  <a:pt x="3500228" y="1225980"/>
                  <a:pt x="3498373" y="1234836"/>
                </a:cubicBezTo>
                <a:cubicBezTo>
                  <a:pt x="3496691" y="1240016"/>
                  <a:pt x="3495053" y="1245363"/>
                  <a:pt x="3493112" y="1250877"/>
                </a:cubicBezTo>
                <a:lnTo>
                  <a:pt x="3472024" y="1277612"/>
                </a:lnTo>
                <a:cubicBezTo>
                  <a:pt x="3473964" y="1285967"/>
                  <a:pt x="3475646" y="1294990"/>
                  <a:pt x="3477285" y="1303845"/>
                </a:cubicBezTo>
                <a:lnTo>
                  <a:pt x="3461199" y="1309360"/>
                </a:lnTo>
                <a:lnTo>
                  <a:pt x="3450676" y="1298666"/>
                </a:lnTo>
                <a:lnTo>
                  <a:pt x="3424068" y="1288306"/>
                </a:lnTo>
                <a:lnTo>
                  <a:pt x="3397330" y="1309360"/>
                </a:lnTo>
                <a:lnTo>
                  <a:pt x="3376327" y="1330915"/>
                </a:lnTo>
                <a:lnTo>
                  <a:pt x="3344242" y="1341107"/>
                </a:lnTo>
                <a:lnTo>
                  <a:pt x="3317374" y="1341107"/>
                </a:lnTo>
                <a:lnTo>
                  <a:pt x="3290938" y="1378202"/>
                </a:lnTo>
                <a:lnTo>
                  <a:pt x="3275283" y="1362495"/>
                </a:lnTo>
                <a:lnTo>
                  <a:pt x="3253634" y="1373356"/>
                </a:lnTo>
                <a:cubicBezTo>
                  <a:pt x="3255489" y="1382212"/>
                  <a:pt x="3257300" y="1390901"/>
                  <a:pt x="3259284" y="1399757"/>
                </a:cubicBezTo>
                <a:lnTo>
                  <a:pt x="3237893" y="1405104"/>
                </a:lnTo>
                <a:lnTo>
                  <a:pt x="3216503" y="1426492"/>
                </a:lnTo>
                <a:lnTo>
                  <a:pt x="3189937" y="1426492"/>
                </a:lnTo>
                <a:lnTo>
                  <a:pt x="3163199" y="1442198"/>
                </a:lnTo>
                <a:cubicBezTo>
                  <a:pt x="3166606" y="1453059"/>
                  <a:pt x="3170358" y="1463753"/>
                  <a:pt x="3174024" y="1474447"/>
                </a:cubicBezTo>
                <a:cubicBezTo>
                  <a:pt x="3166606" y="1483136"/>
                  <a:pt x="3159835" y="1492493"/>
                  <a:pt x="3152633" y="1500848"/>
                </a:cubicBezTo>
                <a:lnTo>
                  <a:pt x="3189937" y="1543457"/>
                </a:lnTo>
                <a:lnTo>
                  <a:pt x="3211112" y="1559331"/>
                </a:lnTo>
                <a:cubicBezTo>
                  <a:pt x="3214476" y="1571695"/>
                  <a:pt x="3218271" y="1584394"/>
                  <a:pt x="3221678" y="1596592"/>
                </a:cubicBezTo>
                <a:lnTo>
                  <a:pt x="3205678" y="1601939"/>
                </a:lnTo>
                <a:lnTo>
                  <a:pt x="3216503" y="1639201"/>
                </a:lnTo>
                <a:cubicBezTo>
                  <a:pt x="3220125" y="1653404"/>
                  <a:pt x="3223489" y="1667774"/>
                  <a:pt x="3227284" y="1681810"/>
                </a:cubicBezTo>
                <a:lnTo>
                  <a:pt x="3243111" y="1681810"/>
                </a:lnTo>
                <a:lnTo>
                  <a:pt x="3280329" y="1687157"/>
                </a:lnTo>
                <a:lnTo>
                  <a:pt x="3323024" y="1708712"/>
                </a:lnTo>
                <a:lnTo>
                  <a:pt x="3344242" y="1729598"/>
                </a:lnTo>
                <a:cubicBezTo>
                  <a:pt x="3346096" y="1742130"/>
                  <a:pt x="3347649" y="1754328"/>
                  <a:pt x="3349546" y="1767027"/>
                </a:cubicBezTo>
                <a:lnTo>
                  <a:pt x="3376327" y="1767027"/>
                </a:lnTo>
                <a:lnTo>
                  <a:pt x="3413415" y="1751153"/>
                </a:lnTo>
                <a:lnTo>
                  <a:pt x="3450676" y="1777554"/>
                </a:lnTo>
                <a:lnTo>
                  <a:pt x="3466503" y="1767027"/>
                </a:lnTo>
                <a:lnTo>
                  <a:pt x="3487937" y="1745639"/>
                </a:lnTo>
                <a:lnTo>
                  <a:pt x="3493112" y="1713724"/>
                </a:lnTo>
                <a:lnTo>
                  <a:pt x="3519979" y="1724418"/>
                </a:lnTo>
                <a:cubicBezTo>
                  <a:pt x="3516271" y="1736783"/>
                  <a:pt x="3512648" y="1749315"/>
                  <a:pt x="3509198" y="1762014"/>
                </a:cubicBezTo>
                <a:lnTo>
                  <a:pt x="3493112" y="1777554"/>
                </a:lnTo>
                <a:lnTo>
                  <a:pt x="3493112" y="1799109"/>
                </a:lnTo>
                <a:lnTo>
                  <a:pt x="3525198" y="1820329"/>
                </a:lnTo>
                <a:lnTo>
                  <a:pt x="3546459" y="1820329"/>
                </a:lnTo>
                <a:lnTo>
                  <a:pt x="3567763" y="1825676"/>
                </a:lnTo>
                <a:cubicBezTo>
                  <a:pt x="3569833" y="1830689"/>
                  <a:pt x="3571429" y="1836537"/>
                  <a:pt x="3573067" y="1841550"/>
                </a:cubicBezTo>
                <a:lnTo>
                  <a:pt x="3557068" y="1857424"/>
                </a:lnTo>
                <a:lnTo>
                  <a:pt x="3535764" y="1883992"/>
                </a:lnTo>
                <a:lnTo>
                  <a:pt x="3551677" y="1900033"/>
                </a:lnTo>
                <a:cubicBezTo>
                  <a:pt x="3549779" y="1908889"/>
                  <a:pt x="3548097" y="1917912"/>
                  <a:pt x="3546459" y="1926433"/>
                </a:cubicBezTo>
                <a:cubicBezTo>
                  <a:pt x="3549779" y="1933618"/>
                  <a:pt x="3553661" y="1940636"/>
                  <a:pt x="3557068" y="1947988"/>
                </a:cubicBezTo>
                <a:lnTo>
                  <a:pt x="3583892" y="1990263"/>
                </a:lnTo>
                <a:lnTo>
                  <a:pt x="3541025" y="2022512"/>
                </a:lnTo>
                <a:cubicBezTo>
                  <a:pt x="3535764" y="2031033"/>
                  <a:pt x="3530588" y="2040391"/>
                  <a:pt x="3525198" y="2049080"/>
                </a:cubicBezTo>
                <a:cubicBezTo>
                  <a:pt x="3526837" y="2057935"/>
                  <a:pt x="3528863" y="2066791"/>
                  <a:pt x="3530588" y="2075647"/>
                </a:cubicBezTo>
                <a:cubicBezTo>
                  <a:pt x="3526837" y="2086341"/>
                  <a:pt x="3523214" y="2096868"/>
                  <a:pt x="3519979" y="2107729"/>
                </a:cubicBezTo>
                <a:lnTo>
                  <a:pt x="3455808" y="2213833"/>
                </a:lnTo>
                <a:lnTo>
                  <a:pt x="3429329" y="2256609"/>
                </a:lnTo>
                <a:lnTo>
                  <a:pt x="3397231" y="2239106"/>
                </a:lnTo>
                <a:lnTo>
                  <a:pt x="3395059" y="2238388"/>
                </a:lnTo>
                <a:lnTo>
                  <a:pt x="3389734" y="2235017"/>
                </a:lnTo>
                <a:lnTo>
                  <a:pt x="3364324" y="2221161"/>
                </a:lnTo>
                <a:lnTo>
                  <a:pt x="3348318" y="2238388"/>
                </a:lnTo>
                <a:cubicBezTo>
                  <a:pt x="3347032" y="2250667"/>
                  <a:pt x="3345609" y="2261888"/>
                  <a:pt x="3344323" y="2274167"/>
                </a:cubicBezTo>
                <a:lnTo>
                  <a:pt x="3359016" y="2323920"/>
                </a:lnTo>
                <a:lnTo>
                  <a:pt x="3384407" y="2359699"/>
                </a:lnTo>
                <a:cubicBezTo>
                  <a:pt x="3386611" y="2374095"/>
                  <a:pt x="3388769" y="2388703"/>
                  <a:pt x="3391064" y="2402888"/>
                </a:cubicBezTo>
                <a:lnTo>
                  <a:pt x="3369760" y="2450100"/>
                </a:lnTo>
                <a:lnTo>
                  <a:pt x="3344323" y="2475293"/>
                </a:lnTo>
                <a:lnTo>
                  <a:pt x="3337666" y="2500699"/>
                </a:lnTo>
                <a:lnTo>
                  <a:pt x="3365628" y="2539019"/>
                </a:lnTo>
                <a:lnTo>
                  <a:pt x="3409706" y="2597451"/>
                </a:lnTo>
                <a:lnTo>
                  <a:pt x="3437759" y="2665622"/>
                </a:lnTo>
                <a:cubicBezTo>
                  <a:pt x="3439091" y="2677690"/>
                  <a:pt x="3440422" y="2688910"/>
                  <a:pt x="3441754" y="2701190"/>
                </a:cubicBezTo>
                <a:lnTo>
                  <a:pt x="3409706" y="2733582"/>
                </a:lnTo>
                <a:cubicBezTo>
                  <a:pt x="3408420" y="2746496"/>
                  <a:pt x="3407089" y="2760681"/>
                  <a:pt x="3405711" y="2773172"/>
                </a:cubicBezTo>
                <a:cubicBezTo>
                  <a:pt x="3407089" y="2785239"/>
                  <a:pt x="3408374" y="2797519"/>
                  <a:pt x="3409706" y="2809163"/>
                </a:cubicBezTo>
                <a:lnTo>
                  <a:pt x="3427107" y="2856163"/>
                </a:lnTo>
                <a:cubicBezTo>
                  <a:pt x="3426189" y="2869289"/>
                  <a:pt x="3425362" y="2882415"/>
                  <a:pt x="3424444" y="2896176"/>
                </a:cubicBezTo>
                <a:lnTo>
                  <a:pt x="3401717" y="2921370"/>
                </a:lnTo>
                <a:lnTo>
                  <a:pt x="3391064" y="2963712"/>
                </a:lnTo>
                <a:lnTo>
                  <a:pt x="3409706" y="2992505"/>
                </a:lnTo>
                <a:lnTo>
                  <a:pt x="3399053" y="3014523"/>
                </a:lnTo>
                <a:lnTo>
                  <a:pt x="3435096" y="3042257"/>
                </a:lnTo>
                <a:lnTo>
                  <a:pt x="3477843" y="3064699"/>
                </a:lnTo>
                <a:lnTo>
                  <a:pt x="3503141" y="3089681"/>
                </a:lnTo>
                <a:lnTo>
                  <a:pt x="3485786" y="3115298"/>
                </a:lnTo>
                <a:lnTo>
                  <a:pt x="3509845" y="3139433"/>
                </a:lnTo>
                <a:lnTo>
                  <a:pt x="3532527" y="3168649"/>
                </a:lnTo>
                <a:lnTo>
                  <a:pt x="3509845" y="3234068"/>
                </a:lnTo>
                <a:lnTo>
                  <a:pt x="3473756" y="3255239"/>
                </a:lnTo>
                <a:lnTo>
                  <a:pt x="3448457" y="3316635"/>
                </a:lnTo>
                <a:cubicBezTo>
                  <a:pt x="3446208" y="3325104"/>
                  <a:pt x="3443958" y="3333149"/>
                  <a:pt x="3441754" y="3341617"/>
                </a:cubicBezTo>
                <a:lnTo>
                  <a:pt x="3481837" y="3343946"/>
                </a:lnTo>
                <a:lnTo>
                  <a:pt x="3549836" y="3352203"/>
                </a:lnTo>
                <a:lnTo>
                  <a:pt x="3575227" y="3367023"/>
                </a:lnTo>
                <a:lnTo>
                  <a:pt x="3543225" y="3387559"/>
                </a:lnTo>
                <a:lnTo>
                  <a:pt x="3560534" y="3405131"/>
                </a:lnTo>
                <a:lnTo>
                  <a:pt x="3575227" y="3439005"/>
                </a:lnTo>
                <a:lnTo>
                  <a:pt x="3600618" y="3424185"/>
                </a:lnTo>
                <a:lnTo>
                  <a:pt x="3636569" y="3420163"/>
                </a:lnTo>
                <a:lnTo>
                  <a:pt x="3672703" y="3441757"/>
                </a:lnTo>
                <a:cubicBezTo>
                  <a:pt x="3673989" y="3458482"/>
                  <a:pt x="3675366" y="3474784"/>
                  <a:pt x="3676652" y="3491509"/>
                </a:cubicBezTo>
                <a:lnTo>
                  <a:pt x="3651353" y="3599482"/>
                </a:lnTo>
                <a:cubicBezTo>
                  <a:pt x="3647772" y="3632086"/>
                  <a:pt x="3644191" y="3664478"/>
                  <a:pt x="3640655" y="3697081"/>
                </a:cubicBezTo>
                <a:lnTo>
                  <a:pt x="3568569" y="3721640"/>
                </a:lnTo>
                <a:lnTo>
                  <a:pt x="3509845" y="3764406"/>
                </a:lnTo>
                <a:lnTo>
                  <a:pt x="3509845" y="3798279"/>
                </a:lnTo>
                <a:lnTo>
                  <a:pt x="3499193" y="3836599"/>
                </a:lnTo>
                <a:lnTo>
                  <a:pt x="3452406" y="3836599"/>
                </a:lnTo>
                <a:lnTo>
                  <a:pt x="3463058" y="3866451"/>
                </a:lnTo>
                <a:lnTo>
                  <a:pt x="3485786" y="3866451"/>
                </a:lnTo>
                <a:cubicBezTo>
                  <a:pt x="3488036" y="3878095"/>
                  <a:pt x="3490285" y="3889527"/>
                  <a:pt x="3492489" y="3902018"/>
                </a:cubicBezTo>
                <a:lnTo>
                  <a:pt x="3528486" y="3930811"/>
                </a:lnTo>
                <a:lnTo>
                  <a:pt x="3477843" y="3988185"/>
                </a:lnTo>
                <a:lnTo>
                  <a:pt x="3509845" y="4045982"/>
                </a:lnTo>
                <a:lnTo>
                  <a:pt x="3427107" y="4110131"/>
                </a:lnTo>
                <a:lnTo>
                  <a:pt x="3376326" y="4168140"/>
                </a:lnTo>
                <a:lnTo>
                  <a:pt x="3319025" y="4246473"/>
                </a:lnTo>
                <a:lnTo>
                  <a:pt x="3232246" y="4311469"/>
                </a:lnTo>
                <a:lnTo>
                  <a:pt x="3219013" y="4334281"/>
                </a:lnTo>
                <a:lnTo>
                  <a:pt x="3217041" y="4339222"/>
                </a:lnTo>
                <a:cubicBezTo>
                  <a:pt x="3205840" y="4327243"/>
                  <a:pt x="3177677" y="4291305"/>
                  <a:pt x="3166475" y="4279326"/>
                </a:cubicBezTo>
                <a:lnTo>
                  <a:pt x="3118149" y="4234587"/>
                </a:lnTo>
                <a:lnTo>
                  <a:pt x="3044540" y="4204027"/>
                </a:lnTo>
                <a:cubicBezTo>
                  <a:pt x="3034939" y="4193271"/>
                  <a:pt x="3025658" y="4182513"/>
                  <a:pt x="3016057" y="4171757"/>
                </a:cubicBezTo>
                <a:lnTo>
                  <a:pt x="2983733" y="4123595"/>
                </a:lnTo>
                <a:lnTo>
                  <a:pt x="2905003" y="4091325"/>
                </a:lnTo>
                <a:lnTo>
                  <a:pt x="2833314" y="4067855"/>
                </a:lnTo>
                <a:lnTo>
                  <a:pt x="2795869" y="4030206"/>
                </a:lnTo>
                <a:cubicBezTo>
                  <a:pt x="2789148" y="4010403"/>
                  <a:pt x="2782747" y="3990845"/>
                  <a:pt x="2776027" y="3971043"/>
                </a:cubicBezTo>
                <a:lnTo>
                  <a:pt x="2731541" y="3946106"/>
                </a:lnTo>
                <a:lnTo>
                  <a:pt x="2688335" y="3906501"/>
                </a:lnTo>
                <a:lnTo>
                  <a:pt x="2615047" y="3884988"/>
                </a:lnTo>
                <a:cubicBezTo>
                  <a:pt x="2600645" y="3869586"/>
                  <a:pt x="2586563" y="3853939"/>
                  <a:pt x="2572161" y="3838537"/>
                </a:cubicBezTo>
                <a:cubicBezTo>
                  <a:pt x="2566721" y="3823624"/>
                  <a:pt x="2561600" y="3808711"/>
                  <a:pt x="2556159" y="3793799"/>
                </a:cubicBezTo>
                <a:lnTo>
                  <a:pt x="2523835" y="3773996"/>
                </a:lnTo>
                <a:lnTo>
                  <a:pt x="2452146" y="3777663"/>
                </a:lnTo>
                <a:lnTo>
                  <a:pt x="2398379" y="3811645"/>
                </a:lnTo>
                <a:lnTo>
                  <a:pt x="2344933" y="3831448"/>
                </a:lnTo>
                <a:lnTo>
                  <a:pt x="2255321" y="3836826"/>
                </a:lnTo>
                <a:lnTo>
                  <a:pt x="2142667" y="3788420"/>
                </a:lnTo>
                <a:lnTo>
                  <a:pt x="2024573" y="3725590"/>
                </a:lnTo>
                <a:lnTo>
                  <a:pt x="1933041" y="3666427"/>
                </a:lnTo>
                <a:lnTo>
                  <a:pt x="1850791" y="3541011"/>
                </a:lnTo>
                <a:cubicBezTo>
                  <a:pt x="1825828" y="3510452"/>
                  <a:pt x="1800545" y="3480137"/>
                  <a:pt x="1775582" y="3449578"/>
                </a:cubicBezTo>
                <a:lnTo>
                  <a:pt x="1727256" y="3395793"/>
                </a:lnTo>
                <a:lnTo>
                  <a:pt x="1492666" y="3277467"/>
                </a:lnTo>
                <a:lnTo>
                  <a:pt x="1313764" y="3212926"/>
                </a:lnTo>
                <a:lnTo>
                  <a:pt x="1249436" y="3186034"/>
                </a:lnTo>
                <a:lnTo>
                  <a:pt x="1175827" y="3134205"/>
                </a:lnTo>
                <a:cubicBezTo>
                  <a:pt x="1161105" y="3118070"/>
                  <a:pt x="1146063" y="3101934"/>
                  <a:pt x="1131341" y="3085799"/>
                </a:cubicBezTo>
                <a:lnTo>
                  <a:pt x="1088136" y="3051573"/>
                </a:lnTo>
                <a:lnTo>
                  <a:pt x="1025728" y="3069664"/>
                </a:lnTo>
                <a:lnTo>
                  <a:pt x="970041" y="3040816"/>
                </a:lnTo>
                <a:lnTo>
                  <a:pt x="880750" y="2960139"/>
                </a:lnTo>
                <a:lnTo>
                  <a:pt x="837545" y="2917356"/>
                </a:lnTo>
                <a:cubicBezTo>
                  <a:pt x="835944" y="2883374"/>
                  <a:pt x="834024" y="2849147"/>
                  <a:pt x="832424" y="2815165"/>
                </a:cubicBezTo>
                <a:cubicBezTo>
                  <a:pt x="815782" y="2792429"/>
                  <a:pt x="798820" y="2769693"/>
                  <a:pt x="782178" y="2746957"/>
                </a:cubicBezTo>
                <a:lnTo>
                  <a:pt x="674964" y="2756002"/>
                </a:lnTo>
                <a:lnTo>
                  <a:pt x="588873" y="2756002"/>
                </a:lnTo>
                <a:lnTo>
                  <a:pt x="526146" y="2723732"/>
                </a:lnTo>
                <a:cubicBezTo>
                  <a:pt x="507583" y="2700507"/>
                  <a:pt x="489341" y="2677037"/>
                  <a:pt x="470779" y="2653812"/>
                </a:cubicBezTo>
                <a:lnTo>
                  <a:pt x="370606" y="2621541"/>
                </a:lnTo>
                <a:lnTo>
                  <a:pt x="295397" y="2643055"/>
                </a:lnTo>
                <a:lnTo>
                  <a:pt x="230749" y="2648433"/>
                </a:lnTo>
                <a:lnTo>
                  <a:pt x="159380" y="2648433"/>
                </a:lnTo>
                <a:cubicBezTo>
                  <a:pt x="146898" y="2631076"/>
                  <a:pt x="134097" y="2613718"/>
                  <a:pt x="121615" y="2596360"/>
                </a:cubicBezTo>
                <a:cubicBezTo>
                  <a:pt x="112014" y="2583892"/>
                  <a:pt x="102733" y="2571179"/>
                  <a:pt x="93132" y="2558711"/>
                </a:cubicBezTo>
                <a:lnTo>
                  <a:pt x="53767" y="2504927"/>
                </a:lnTo>
                <a:lnTo>
                  <a:pt x="17922" y="2479990"/>
                </a:lnTo>
                <a:cubicBezTo>
                  <a:pt x="11841" y="2464344"/>
                  <a:pt x="6081" y="2448942"/>
                  <a:pt x="0" y="2433295"/>
                </a:cubicBezTo>
                <a:lnTo>
                  <a:pt x="75209" y="2347240"/>
                </a:lnTo>
                <a:cubicBezTo>
                  <a:pt x="77450" y="2328171"/>
                  <a:pt x="80010" y="2309102"/>
                  <a:pt x="82250" y="2290033"/>
                </a:cubicBezTo>
                <a:lnTo>
                  <a:pt x="82250" y="2232581"/>
                </a:lnTo>
                <a:cubicBezTo>
                  <a:pt x="84811" y="2220602"/>
                  <a:pt x="87051" y="2208623"/>
                  <a:pt x="89611" y="2196644"/>
                </a:cubicBezTo>
                <a:cubicBezTo>
                  <a:pt x="99212" y="2188331"/>
                  <a:pt x="108494" y="2180019"/>
                  <a:pt x="118095" y="2171707"/>
                </a:cubicBezTo>
                <a:lnTo>
                  <a:pt x="118095" y="2114256"/>
                </a:lnTo>
                <a:cubicBezTo>
                  <a:pt x="124175" y="2093964"/>
                  <a:pt x="129936" y="2073673"/>
                  <a:pt x="136017" y="2053381"/>
                </a:cubicBezTo>
                <a:lnTo>
                  <a:pt x="93132" y="2017443"/>
                </a:lnTo>
                <a:cubicBezTo>
                  <a:pt x="78730" y="1999597"/>
                  <a:pt x="64648" y="1981506"/>
                  <a:pt x="50246" y="1963659"/>
                </a:cubicBezTo>
                <a:cubicBezTo>
                  <a:pt x="41925" y="1947035"/>
                  <a:pt x="33284" y="1930166"/>
                  <a:pt x="24963" y="1913542"/>
                </a:cubicBezTo>
                <a:cubicBezTo>
                  <a:pt x="23683" y="1899118"/>
                  <a:pt x="27523" y="1877848"/>
                  <a:pt x="26243" y="1863424"/>
                </a:cubicBezTo>
                <a:lnTo>
                  <a:pt x="29311" y="1863391"/>
                </a:lnTo>
                <a:lnTo>
                  <a:pt x="23794" y="1858178"/>
                </a:lnTo>
                <a:lnTo>
                  <a:pt x="91679" y="1847151"/>
                </a:lnTo>
                <a:lnTo>
                  <a:pt x="145764" y="1836495"/>
                </a:lnTo>
                <a:lnTo>
                  <a:pt x="217877" y="1829061"/>
                </a:lnTo>
                <a:lnTo>
                  <a:pt x="285762" y="1825468"/>
                </a:lnTo>
                <a:lnTo>
                  <a:pt x="329164" y="1796847"/>
                </a:lnTo>
                <a:cubicBezTo>
                  <a:pt x="341851" y="1785076"/>
                  <a:pt x="355205" y="1773058"/>
                  <a:pt x="368225" y="1761039"/>
                </a:cubicBezTo>
                <a:lnTo>
                  <a:pt x="404060" y="1732542"/>
                </a:lnTo>
                <a:lnTo>
                  <a:pt x="436110" y="1750322"/>
                </a:lnTo>
                <a:cubicBezTo>
                  <a:pt x="446571" y="1732542"/>
                  <a:pt x="455919" y="1714825"/>
                  <a:pt x="464933" y="1696673"/>
                </a:cubicBezTo>
                <a:lnTo>
                  <a:pt x="522913" y="1689177"/>
                </a:lnTo>
                <a:lnTo>
                  <a:pt x="576776" y="1675238"/>
                </a:lnTo>
                <a:lnTo>
                  <a:pt x="626855" y="1696673"/>
                </a:lnTo>
                <a:lnTo>
                  <a:pt x="712879" y="1685708"/>
                </a:lnTo>
                <a:lnTo>
                  <a:pt x="802910" y="1664087"/>
                </a:lnTo>
                <a:cubicBezTo>
                  <a:pt x="817266" y="1644015"/>
                  <a:pt x="831511" y="1623696"/>
                  <a:pt x="845199" y="1603438"/>
                </a:cubicBezTo>
                <a:lnTo>
                  <a:pt x="884817" y="1603438"/>
                </a:lnTo>
                <a:lnTo>
                  <a:pt x="971509" y="1588570"/>
                </a:lnTo>
                <a:lnTo>
                  <a:pt x="1003671" y="1570976"/>
                </a:lnTo>
                <a:lnTo>
                  <a:pt x="1072223" y="1556604"/>
                </a:lnTo>
                <a:cubicBezTo>
                  <a:pt x="1064767" y="1542045"/>
                  <a:pt x="1058424" y="1528354"/>
                  <a:pt x="1050411" y="1513920"/>
                </a:cubicBezTo>
                <a:cubicBezTo>
                  <a:pt x="1060204" y="1506362"/>
                  <a:pt x="1069441" y="1499114"/>
                  <a:pt x="1079234" y="1492237"/>
                </a:cubicBezTo>
                <a:lnTo>
                  <a:pt x="1122747" y="1485051"/>
                </a:lnTo>
                <a:cubicBezTo>
                  <a:pt x="1125974" y="1470554"/>
                  <a:pt x="1129869" y="1456306"/>
                  <a:pt x="1133653" y="1442305"/>
                </a:cubicBezTo>
                <a:cubicBezTo>
                  <a:pt x="1123637" y="1433756"/>
                  <a:pt x="1114401" y="1425207"/>
                  <a:pt x="1104385" y="1417029"/>
                </a:cubicBezTo>
                <a:lnTo>
                  <a:pt x="1047072" y="1373602"/>
                </a:lnTo>
                <a:cubicBezTo>
                  <a:pt x="1048185" y="1360469"/>
                  <a:pt x="1049409" y="1347459"/>
                  <a:pt x="1050411" y="1334388"/>
                </a:cubicBezTo>
                <a:lnTo>
                  <a:pt x="1090251" y="1312705"/>
                </a:lnTo>
                <a:cubicBezTo>
                  <a:pt x="1091142" y="1297403"/>
                  <a:pt x="1092366" y="1281854"/>
                  <a:pt x="1093590" y="1266118"/>
                </a:cubicBezTo>
                <a:lnTo>
                  <a:pt x="1136658" y="1238674"/>
                </a:lnTo>
                <a:lnTo>
                  <a:pt x="1137114" y="1239121"/>
                </a:lnTo>
                <a:lnTo>
                  <a:pt x="1158061" y="1225172"/>
                </a:lnTo>
                <a:lnTo>
                  <a:pt x="1201486" y="1225172"/>
                </a:lnTo>
                <a:lnTo>
                  <a:pt x="1223199" y="1192689"/>
                </a:lnTo>
                <a:lnTo>
                  <a:pt x="1237674" y="1131256"/>
                </a:lnTo>
                <a:lnTo>
                  <a:pt x="1215961" y="1095142"/>
                </a:lnTo>
                <a:lnTo>
                  <a:pt x="1179773" y="1077085"/>
                </a:lnTo>
                <a:lnTo>
                  <a:pt x="1150823" y="1044553"/>
                </a:lnTo>
                <a:cubicBezTo>
                  <a:pt x="1149611" y="1036130"/>
                  <a:pt x="1148417" y="1027706"/>
                  <a:pt x="1147205" y="1019283"/>
                </a:cubicBezTo>
                <a:lnTo>
                  <a:pt x="1168917" y="979538"/>
                </a:lnTo>
                <a:lnTo>
                  <a:pt x="1205105" y="986751"/>
                </a:lnTo>
                <a:lnTo>
                  <a:pt x="1248530" y="975907"/>
                </a:lnTo>
                <a:lnTo>
                  <a:pt x="1289882" y="981059"/>
                </a:lnTo>
                <a:lnTo>
                  <a:pt x="1290465" y="978846"/>
                </a:lnTo>
                <a:lnTo>
                  <a:pt x="1294120" y="981587"/>
                </a:lnTo>
                <a:lnTo>
                  <a:pt x="1306430" y="983120"/>
                </a:lnTo>
                <a:lnTo>
                  <a:pt x="1306287" y="990708"/>
                </a:lnTo>
                <a:lnTo>
                  <a:pt x="1333039" y="1010765"/>
                </a:lnTo>
                <a:lnTo>
                  <a:pt x="1333039" y="1032044"/>
                </a:lnTo>
                <a:lnTo>
                  <a:pt x="1343682" y="1042684"/>
                </a:lnTo>
                <a:lnTo>
                  <a:pt x="1354325" y="1074603"/>
                </a:lnTo>
                <a:lnTo>
                  <a:pt x="1370291" y="1090562"/>
                </a:lnTo>
                <a:lnTo>
                  <a:pt x="1380934" y="1122481"/>
                </a:lnTo>
                <a:lnTo>
                  <a:pt x="1407543" y="1149080"/>
                </a:lnTo>
                <a:lnTo>
                  <a:pt x="1444795" y="1186319"/>
                </a:lnTo>
                <a:lnTo>
                  <a:pt x="1460760" y="1202278"/>
                </a:lnTo>
                <a:lnTo>
                  <a:pt x="1439473" y="1218238"/>
                </a:lnTo>
                <a:lnTo>
                  <a:pt x="1434151" y="1255477"/>
                </a:lnTo>
                <a:lnTo>
                  <a:pt x="1466081" y="1266116"/>
                </a:lnTo>
                <a:lnTo>
                  <a:pt x="1471403" y="1308675"/>
                </a:lnTo>
                <a:lnTo>
                  <a:pt x="1466081" y="1356553"/>
                </a:lnTo>
                <a:lnTo>
                  <a:pt x="1482047" y="1377832"/>
                </a:lnTo>
                <a:lnTo>
                  <a:pt x="1508655" y="1399112"/>
                </a:lnTo>
                <a:lnTo>
                  <a:pt x="1498012" y="1436350"/>
                </a:lnTo>
                <a:lnTo>
                  <a:pt x="1482047" y="1452310"/>
                </a:lnTo>
                <a:lnTo>
                  <a:pt x="1487368" y="1489548"/>
                </a:lnTo>
                <a:lnTo>
                  <a:pt x="1524620" y="1478909"/>
                </a:lnTo>
                <a:lnTo>
                  <a:pt x="1545907" y="1446990"/>
                </a:lnTo>
                <a:lnTo>
                  <a:pt x="1609768" y="1399112"/>
                </a:lnTo>
                <a:lnTo>
                  <a:pt x="1700237" y="1335274"/>
                </a:lnTo>
                <a:lnTo>
                  <a:pt x="1700237" y="1282076"/>
                </a:lnTo>
                <a:lnTo>
                  <a:pt x="1668307" y="1266116"/>
                </a:lnTo>
                <a:lnTo>
                  <a:pt x="1641698" y="1212918"/>
                </a:lnTo>
                <a:lnTo>
                  <a:pt x="1641698" y="1170359"/>
                </a:lnTo>
                <a:lnTo>
                  <a:pt x="1657663" y="1111842"/>
                </a:lnTo>
                <a:lnTo>
                  <a:pt x="1705559" y="1069283"/>
                </a:lnTo>
                <a:lnTo>
                  <a:pt x="1721524" y="1048004"/>
                </a:lnTo>
                <a:lnTo>
                  <a:pt x="1657663" y="1048004"/>
                </a:lnTo>
                <a:lnTo>
                  <a:pt x="1657663" y="994806"/>
                </a:lnTo>
                <a:lnTo>
                  <a:pt x="1620411" y="978846"/>
                </a:lnTo>
                <a:lnTo>
                  <a:pt x="1593803" y="968207"/>
                </a:lnTo>
                <a:lnTo>
                  <a:pt x="1567194" y="1000125"/>
                </a:lnTo>
                <a:lnTo>
                  <a:pt x="1540586" y="1000125"/>
                </a:lnTo>
                <a:lnTo>
                  <a:pt x="1545907" y="957567"/>
                </a:lnTo>
                <a:lnTo>
                  <a:pt x="1572516" y="909689"/>
                </a:lnTo>
                <a:lnTo>
                  <a:pt x="1609768" y="845851"/>
                </a:lnTo>
                <a:lnTo>
                  <a:pt x="1668307" y="819252"/>
                </a:lnTo>
                <a:lnTo>
                  <a:pt x="1673629" y="851171"/>
                </a:lnTo>
                <a:lnTo>
                  <a:pt x="1694915" y="851171"/>
                </a:lnTo>
                <a:lnTo>
                  <a:pt x="1710881" y="808612"/>
                </a:lnTo>
                <a:lnTo>
                  <a:pt x="1721524" y="771373"/>
                </a:lnTo>
                <a:lnTo>
                  <a:pt x="1732167" y="723495"/>
                </a:lnTo>
                <a:lnTo>
                  <a:pt x="1764098" y="702216"/>
                </a:lnTo>
                <a:lnTo>
                  <a:pt x="1785385" y="664977"/>
                </a:lnTo>
                <a:lnTo>
                  <a:pt x="1822637" y="643698"/>
                </a:lnTo>
                <a:lnTo>
                  <a:pt x="1854567" y="606459"/>
                </a:lnTo>
                <a:lnTo>
                  <a:pt x="1827958" y="579860"/>
                </a:lnTo>
                <a:lnTo>
                  <a:pt x="1753454" y="579860"/>
                </a:lnTo>
                <a:lnTo>
                  <a:pt x="1774741" y="537301"/>
                </a:lnTo>
                <a:lnTo>
                  <a:pt x="1843923" y="494743"/>
                </a:lnTo>
                <a:lnTo>
                  <a:pt x="1838602" y="457504"/>
                </a:lnTo>
                <a:lnTo>
                  <a:pt x="1886497" y="420265"/>
                </a:lnTo>
                <a:lnTo>
                  <a:pt x="1939714" y="414945"/>
                </a:lnTo>
                <a:lnTo>
                  <a:pt x="2008897" y="398986"/>
                </a:lnTo>
                <a:lnTo>
                  <a:pt x="2046149" y="393666"/>
                </a:lnTo>
                <a:lnTo>
                  <a:pt x="2083401" y="377707"/>
                </a:lnTo>
                <a:lnTo>
                  <a:pt x="2120653" y="377707"/>
                </a:lnTo>
                <a:lnTo>
                  <a:pt x="2125975" y="356427"/>
                </a:lnTo>
                <a:lnTo>
                  <a:pt x="2152583" y="319189"/>
                </a:lnTo>
                <a:lnTo>
                  <a:pt x="2200479" y="303229"/>
                </a:lnTo>
                <a:lnTo>
                  <a:pt x="2232409" y="281950"/>
                </a:lnTo>
                <a:lnTo>
                  <a:pt x="2253696" y="228752"/>
                </a:lnTo>
                <a:lnTo>
                  <a:pt x="2285626" y="196833"/>
                </a:lnTo>
                <a:lnTo>
                  <a:pt x="2285626" y="159594"/>
                </a:lnTo>
                <a:lnTo>
                  <a:pt x="2322878" y="117036"/>
                </a:lnTo>
                <a:lnTo>
                  <a:pt x="2349487" y="69157"/>
                </a:lnTo>
                <a:lnTo>
                  <a:pt x="2392061" y="58518"/>
                </a:lnTo>
                <a:lnTo>
                  <a:pt x="2413347" y="37238"/>
                </a:lnTo>
                <a:close/>
              </a:path>
            </a:pathLst>
          </a:custGeom>
          <a:solidFill>
            <a:srgbClr val="70B0DF"/>
          </a:solidFill>
          <a:ln w="3175" cap="flat" cmpd="sng">
            <a:noFill/>
            <a:prstDash val="solid"/>
            <a:round/>
            <a:headEnd type="none" w="med" len="med"/>
            <a:tailEnd type="none" w="med" len="med"/>
          </a:ln>
        </p:spPr>
        <p:txBody>
          <a:bodyPr wrap="none" lIns="32632" tIns="32632" rIns="32632" bIns="32632" anchor="ctr"/>
          <a:lstStyle/>
          <a:p>
            <a:pPr defTabSz="891045"/>
            <a:endParaRPr lang="en-US" sz="1700" dirty="0">
              <a:solidFill>
                <a:srgbClr val="003149"/>
              </a:solidFill>
              <a:cs typeface="Arial" panose="020B0604020202020204" pitchFamily="34" charset="0"/>
            </a:endParaRPr>
          </a:p>
        </p:txBody>
      </p:sp>
      <p:sp>
        <p:nvSpPr>
          <p:cNvPr id="21" name="Freeform 746"/>
          <p:cNvSpPr>
            <a:spLocks noChangeAspect="1"/>
          </p:cNvSpPr>
          <p:nvPr>
            <p:custDataLst>
              <p:tags r:id="rId6"/>
            </p:custDataLst>
          </p:nvPr>
        </p:nvSpPr>
        <p:spPr bwMode="gray">
          <a:xfrm>
            <a:off x="5163742" y="3664264"/>
            <a:ext cx="568668" cy="726026"/>
          </a:xfrm>
          <a:custGeom>
            <a:avLst/>
            <a:gdLst>
              <a:gd name="T0" fmla="*/ 0 w 3302730"/>
              <a:gd name="T1" fmla="*/ 0 h 3710538"/>
              <a:gd name="T2" fmla="*/ 0 w 3302730"/>
              <a:gd name="T3" fmla="*/ 0 h 3710538"/>
              <a:gd name="T4" fmla="*/ 0 w 3302730"/>
              <a:gd name="T5" fmla="*/ 0 h 3710538"/>
              <a:gd name="T6" fmla="*/ 0 w 3302730"/>
              <a:gd name="T7" fmla="*/ 0 h 3710538"/>
              <a:gd name="T8" fmla="*/ 0 w 3302730"/>
              <a:gd name="T9" fmla="*/ 0 h 3710538"/>
              <a:gd name="T10" fmla="*/ 0 w 3302730"/>
              <a:gd name="T11" fmla="*/ 0 h 3710538"/>
              <a:gd name="T12" fmla="*/ 0 w 3302730"/>
              <a:gd name="T13" fmla="*/ 0 h 3710538"/>
              <a:gd name="T14" fmla="*/ 0 w 3302730"/>
              <a:gd name="T15" fmla="*/ 0 h 3710538"/>
              <a:gd name="T16" fmla="*/ 0 w 3302730"/>
              <a:gd name="T17" fmla="*/ 0 h 3710538"/>
              <a:gd name="T18" fmla="*/ 0 w 3302730"/>
              <a:gd name="T19" fmla="*/ 0 h 3710538"/>
              <a:gd name="T20" fmla="*/ 0 w 3302730"/>
              <a:gd name="T21" fmla="*/ 0 h 3710538"/>
              <a:gd name="T22" fmla="*/ 0 w 3302730"/>
              <a:gd name="T23" fmla="*/ 0 h 3710538"/>
              <a:gd name="T24" fmla="*/ 0 w 3302730"/>
              <a:gd name="T25" fmla="*/ 0 h 3710538"/>
              <a:gd name="T26" fmla="*/ 0 w 3302730"/>
              <a:gd name="T27" fmla="*/ 0 h 3710538"/>
              <a:gd name="T28" fmla="*/ 0 w 3302730"/>
              <a:gd name="T29" fmla="*/ 0 h 3710538"/>
              <a:gd name="T30" fmla="*/ 0 w 3302730"/>
              <a:gd name="T31" fmla="*/ 0 h 3710538"/>
              <a:gd name="T32" fmla="*/ 0 w 3302730"/>
              <a:gd name="T33" fmla="*/ 0 h 3710538"/>
              <a:gd name="T34" fmla="*/ 0 w 3302730"/>
              <a:gd name="T35" fmla="*/ 0 h 3710538"/>
              <a:gd name="T36" fmla="*/ 0 w 3302730"/>
              <a:gd name="T37" fmla="*/ 0 h 3710538"/>
              <a:gd name="T38" fmla="*/ 0 w 3302730"/>
              <a:gd name="T39" fmla="*/ 0 h 3710538"/>
              <a:gd name="T40" fmla="*/ 0 w 3302730"/>
              <a:gd name="T41" fmla="*/ 0 h 3710538"/>
              <a:gd name="T42" fmla="*/ 0 w 3302730"/>
              <a:gd name="T43" fmla="*/ 0 h 3710538"/>
              <a:gd name="T44" fmla="*/ 0 w 3302730"/>
              <a:gd name="T45" fmla="*/ 0 h 3710538"/>
              <a:gd name="T46" fmla="*/ 0 w 3302730"/>
              <a:gd name="T47" fmla="*/ 0 h 3710538"/>
              <a:gd name="T48" fmla="*/ 0 w 3302730"/>
              <a:gd name="T49" fmla="*/ 0 h 3710538"/>
              <a:gd name="T50" fmla="*/ 0 w 3302730"/>
              <a:gd name="T51" fmla="*/ 0 h 3710538"/>
              <a:gd name="T52" fmla="*/ 0 w 3302730"/>
              <a:gd name="T53" fmla="*/ 0 h 3710538"/>
              <a:gd name="T54" fmla="*/ 0 w 3302730"/>
              <a:gd name="T55" fmla="*/ 0 h 3710538"/>
              <a:gd name="T56" fmla="*/ 0 w 3302730"/>
              <a:gd name="T57" fmla="*/ 0 h 3710538"/>
              <a:gd name="T58" fmla="*/ 0 w 3302730"/>
              <a:gd name="T59" fmla="*/ 0 h 3710538"/>
              <a:gd name="T60" fmla="*/ 0 w 3302730"/>
              <a:gd name="T61" fmla="*/ 0 h 3710538"/>
              <a:gd name="T62" fmla="*/ 0 w 3302730"/>
              <a:gd name="T63" fmla="*/ 0 h 3710538"/>
              <a:gd name="T64" fmla="*/ 0 w 3302730"/>
              <a:gd name="T65" fmla="*/ 0 h 3710538"/>
              <a:gd name="T66" fmla="*/ 0 w 3302730"/>
              <a:gd name="T67" fmla="*/ 0 h 3710538"/>
              <a:gd name="T68" fmla="*/ 0 w 3302730"/>
              <a:gd name="T69" fmla="*/ 0 h 3710538"/>
              <a:gd name="T70" fmla="*/ 0 w 3302730"/>
              <a:gd name="T71" fmla="*/ 0 h 3710538"/>
              <a:gd name="T72" fmla="*/ 0 w 3302730"/>
              <a:gd name="T73" fmla="*/ 0 h 3710538"/>
              <a:gd name="T74" fmla="*/ 0 w 3302730"/>
              <a:gd name="T75" fmla="*/ 0 h 3710538"/>
              <a:gd name="T76" fmla="*/ 0 w 3302730"/>
              <a:gd name="T77" fmla="*/ 0 h 3710538"/>
              <a:gd name="T78" fmla="*/ 0 w 3302730"/>
              <a:gd name="T79" fmla="*/ 0 h 3710538"/>
              <a:gd name="T80" fmla="*/ 0 w 3302730"/>
              <a:gd name="T81" fmla="*/ 0 h 3710538"/>
              <a:gd name="T82" fmla="*/ 0 w 3302730"/>
              <a:gd name="T83" fmla="*/ 0 h 3710538"/>
              <a:gd name="T84" fmla="*/ 0 w 3302730"/>
              <a:gd name="T85" fmla="*/ 0 h 3710538"/>
              <a:gd name="T86" fmla="*/ 0 w 3302730"/>
              <a:gd name="T87" fmla="*/ 0 h 3710538"/>
              <a:gd name="T88" fmla="*/ 0 w 3302730"/>
              <a:gd name="T89" fmla="*/ 0 h 3710538"/>
              <a:gd name="T90" fmla="*/ 0 w 3302730"/>
              <a:gd name="T91" fmla="*/ 0 h 3710538"/>
              <a:gd name="T92" fmla="*/ 0 w 3302730"/>
              <a:gd name="T93" fmla="*/ 0 h 3710538"/>
              <a:gd name="T94" fmla="*/ 0 w 3302730"/>
              <a:gd name="T95" fmla="*/ 0 h 3710538"/>
              <a:gd name="T96" fmla="*/ 0 w 3302730"/>
              <a:gd name="T97" fmla="*/ 0 h 3710538"/>
              <a:gd name="T98" fmla="*/ 0 w 3302730"/>
              <a:gd name="T99" fmla="*/ 0 h 3710538"/>
              <a:gd name="T100" fmla="*/ 0 w 3302730"/>
              <a:gd name="T101" fmla="*/ 0 h 3710538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w 3302730"/>
              <a:gd name="T154" fmla="*/ 0 h 3710538"/>
              <a:gd name="T155" fmla="*/ 3302730 w 3302730"/>
              <a:gd name="T156" fmla="*/ 3710538 h 3710538"/>
            </a:gdLst>
            <a:ahLst/>
            <a:cxnLst>
              <a:cxn ang="T102">
                <a:pos x="T0" y="T1"/>
              </a:cxn>
              <a:cxn ang="T103">
                <a:pos x="T2" y="T3"/>
              </a:cxn>
              <a:cxn ang="T104">
                <a:pos x="T4" y="T5"/>
              </a:cxn>
              <a:cxn ang="T105">
                <a:pos x="T6" y="T7"/>
              </a:cxn>
              <a:cxn ang="T106">
                <a:pos x="T8" y="T9"/>
              </a:cxn>
              <a:cxn ang="T107">
                <a:pos x="T10" y="T11"/>
              </a:cxn>
              <a:cxn ang="T108">
                <a:pos x="T12" y="T13"/>
              </a:cxn>
              <a:cxn ang="T109">
                <a:pos x="T14" y="T15"/>
              </a:cxn>
              <a:cxn ang="T110">
                <a:pos x="T16" y="T17"/>
              </a:cxn>
              <a:cxn ang="T111">
                <a:pos x="T18" y="T19"/>
              </a:cxn>
              <a:cxn ang="T112">
                <a:pos x="T20" y="T21"/>
              </a:cxn>
              <a:cxn ang="T113">
                <a:pos x="T22" y="T23"/>
              </a:cxn>
              <a:cxn ang="T114">
                <a:pos x="T24" y="T25"/>
              </a:cxn>
              <a:cxn ang="T115">
                <a:pos x="T26" y="T27"/>
              </a:cxn>
              <a:cxn ang="T116">
                <a:pos x="T28" y="T29"/>
              </a:cxn>
              <a:cxn ang="T117">
                <a:pos x="T30" y="T31"/>
              </a:cxn>
              <a:cxn ang="T118">
                <a:pos x="T32" y="T33"/>
              </a:cxn>
              <a:cxn ang="T119">
                <a:pos x="T34" y="T35"/>
              </a:cxn>
              <a:cxn ang="T120">
                <a:pos x="T36" y="T37"/>
              </a:cxn>
              <a:cxn ang="T121">
                <a:pos x="T38" y="T39"/>
              </a:cxn>
              <a:cxn ang="T122">
                <a:pos x="T40" y="T41"/>
              </a:cxn>
              <a:cxn ang="T123">
                <a:pos x="T42" y="T43"/>
              </a:cxn>
              <a:cxn ang="T124">
                <a:pos x="T44" y="T45"/>
              </a:cxn>
              <a:cxn ang="T125">
                <a:pos x="T46" y="T47"/>
              </a:cxn>
              <a:cxn ang="T126">
                <a:pos x="T48" y="T49"/>
              </a:cxn>
              <a:cxn ang="T127">
                <a:pos x="T50" y="T51"/>
              </a:cxn>
              <a:cxn ang="T128">
                <a:pos x="T52" y="T53"/>
              </a:cxn>
              <a:cxn ang="T129">
                <a:pos x="T54" y="T55"/>
              </a:cxn>
              <a:cxn ang="T130">
                <a:pos x="T56" y="T57"/>
              </a:cxn>
              <a:cxn ang="T131">
                <a:pos x="T58" y="T59"/>
              </a:cxn>
              <a:cxn ang="T132">
                <a:pos x="T60" y="T61"/>
              </a:cxn>
              <a:cxn ang="T133">
                <a:pos x="T62" y="T63"/>
              </a:cxn>
              <a:cxn ang="T134">
                <a:pos x="T64" y="T65"/>
              </a:cxn>
              <a:cxn ang="T135">
                <a:pos x="T66" y="T67"/>
              </a:cxn>
              <a:cxn ang="T136">
                <a:pos x="T68" y="T69"/>
              </a:cxn>
              <a:cxn ang="T137">
                <a:pos x="T70" y="T71"/>
              </a:cxn>
              <a:cxn ang="T138">
                <a:pos x="T72" y="T73"/>
              </a:cxn>
              <a:cxn ang="T139">
                <a:pos x="T74" y="T75"/>
              </a:cxn>
              <a:cxn ang="T140">
                <a:pos x="T76" y="T77"/>
              </a:cxn>
              <a:cxn ang="T141">
                <a:pos x="T78" y="T79"/>
              </a:cxn>
              <a:cxn ang="T142">
                <a:pos x="T80" y="T81"/>
              </a:cxn>
              <a:cxn ang="T143">
                <a:pos x="T82" y="T83"/>
              </a:cxn>
              <a:cxn ang="T144">
                <a:pos x="T84" y="T85"/>
              </a:cxn>
              <a:cxn ang="T145">
                <a:pos x="T86" y="T87"/>
              </a:cxn>
              <a:cxn ang="T146">
                <a:pos x="T88" y="T89"/>
              </a:cxn>
              <a:cxn ang="T147">
                <a:pos x="T90" y="T91"/>
              </a:cxn>
              <a:cxn ang="T148">
                <a:pos x="T92" y="T93"/>
              </a:cxn>
              <a:cxn ang="T149">
                <a:pos x="T94" y="T95"/>
              </a:cxn>
              <a:cxn ang="T150">
                <a:pos x="T96" y="T97"/>
              </a:cxn>
              <a:cxn ang="T151">
                <a:pos x="T98" y="T99"/>
              </a:cxn>
              <a:cxn ang="T152">
                <a:pos x="T100" y="T101"/>
              </a:cxn>
            </a:cxnLst>
            <a:rect l="T153" t="T154" r="T155" b="T156"/>
            <a:pathLst>
              <a:path w="3302730" h="3710538">
                <a:moveTo>
                  <a:pt x="1975582" y="0"/>
                </a:moveTo>
                <a:lnTo>
                  <a:pt x="2007240" y="21504"/>
                </a:lnTo>
                <a:lnTo>
                  <a:pt x="2033616" y="43007"/>
                </a:lnTo>
                <a:lnTo>
                  <a:pt x="2049464" y="75315"/>
                </a:lnTo>
                <a:lnTo>
                  <a:pt x="2075838" y="123698"/>
                </a:lnTo>
                <a:lnTo>
                  <a:pt x="2102214" y="188209"/>
                </a:lnTo>
                <a:lnTo>
                  <a:pt x="2112780" y="268900"/>
                </a:lnTo>
                <a:lnTo>
                  <a:pt x="2139156" y="290403"/>
                </a:lnTo>
                <a:lnTo>
                  <a:pt x="2144438" y="338839"/>
                </a:lnTo>
                <a:lnTo>
                  <a:pt x="2181378" y="338839"/>
                </a:lnTo>
                <a:lnTo>
                  <a:pt x="2207754" y="306531"/>
                </a:lnTo>
                <a:lnTo>
                  <a:pt x="2223602" y="338839"/>
                </a:lnTo>
                <a:lnTo>
                  <a:pt x="2234130" y="376470"/>
                </a:lnTo>
                <a:lnTo>
                  <a:pt x="2281636" y="414102"/>
                </a:lnTo>
                <a:lnTo>
                  <a:pt x="2292200" y="446357"/>
                </a:lnTo>
                <a:lnTo>
                  <a:pt x="2308010" y="494793"/>
                </a:lnTo>
                <a:lnTo>
                  <a:pt x="2350234" y="527048"/>
                </a:lnTo>
                <a:lnTo>
                  <a:pt x="2350230" y="527052"/>
                </a:lnTo>
                <a:cubicBezTo>
                  <a:pt x="2352040" y="539415"/>
                  <a:pt x="2353754" y="551881"/>
                  <a:pt x="2355564" y="564243"/>
                </a:cubicBezTo>
                <a:lnTo>
                  <a:pt x="2376996" y="596200"/>
                </a:lnTo>
                <a:cubicBezTo>
                  <a:pt x="2380520" y="605106"/>
                  <a:pt x="2384140" y="613907"/>
                  <a:pt x="2387664" y="622813"/>
                </a:cubicBezTo>
                <a:cubicBezTo>
                  <a:pt x="2392998" y="629937"/>
                  <a:pt x="2398428" y="636957"/>
                  <a:pt x="2403762" y="644082"/>
                </a:cubicBezTo>
                <a:lnTo>
                  <a:pt x="2473294" y="649425"/>
                </a:lnTo>
                <a:lnTo>
                  <a:pt x="2548256" y="681277"/>
                </a:lnTo>
                <a:lnTo>
                  <a:pt x="2585688" y="707890"/>
                </a:lnTo>
                <a:lnTo>
                  <a:pt x="2548256" y="739742"/>
                </a:lnTo>
                <a:lnTo>
                  <a:pt x="2510726" y="761116"/>
                </a:lnTo>
                <a:cubicBezTo>
                  <a:pt x="2512536" y="775260"/>
                  <a:pt x="2514346" y="789510"/>
                  <a:pt x="2516156" y="803655"/>
                </a:cubicBezTo>
                <a:cubicBezTo>
                  <a:pt x="2523300" y="814237"/>
                  <a:pt x="2530348" y="824924"/>
                  <a:pt x="2537492" y="835506"/>
                </a:cubicBezTo>
                <a:lnTo>
                  <a:pt x="2553590" y="878045"/>
                </a:lnTo>
                <a:lnTo>
                  <a:pt x="2612454" y="872701"/>
                </a:lnTo>
                <a:lnTo>
                  <a:pt x="2649888" y="808893"/>
                </a:lnTo>
                <a:lnTo>
                  <a:pt x="2724850" y="755772"/>
                </a:lnTo>
                <a:lnTo>
                  <a:pt x="2794382" y="777042"/>
                </a:lnTo>
                <a:lnTo>
                  <a:pt x="2831814" y="835506"/>
                </a:lnTo>
                <a:lnTo>
                  <a:pt x="2853246" y="883388"/>
                </a:lnTo>
                <a:cubicBezTo>
                  <a:pt x="2856770" y="899314"/>
                  <a:pt x="2860390" y="915345"/>
                  <a:pt x="2863914" y="931271"/>
                </a:cubicBezTo>
                <a:lnTo>
                  <a:pt x="2917444" y="899314"/>
                </a:lnTo>
                <a:lnTo>
                  <a:pt x="2954878" y="862119"/>
                </a:lnTo>
                <a:lnTo>
                  <a:pt x="2997740" y="883388"/>
                </a:lnTo>
                <a:lnTo>
                  <a:pt x="3013742" y="936614"/>
                </a:lnTo>
                <a:cubicBezTo>
                  <a:pt x="3017362" y="948978"/>
                  <a:pt x="3020886" y="961446"/>
                  <a:pt x="3024506" y="973809"/>
                </a:cubicBezTo>
                <a:lnTo>
                  <a:pt x="3040508" y="1021692"/>
                </a:lnTo>
                <a:cubicBezTo>
                  <a:pt x="3044128" y="1037617"/>
                  <a:pt x="3047652" y="1053648"/>
                  <a:pt x="3051270" y="1069574"/>
                </a:cubicBezTo>
                <a:lnTo>
                  <a:pt x="3029840" y="1080156"/>
                </a:lnTo>
                <a:cubicBezTo>
                  <a:pt x="3026220" y="1094301"/>
                  <a:pt x="3022696" y="1108550"/>
                  <a:pt x="3019076" y="1122695"/>
                </a:cubicBezTo>
                <a:lnTo>
                  <a:pt x="3019076" y="1159995"/>
                </a:lnTo>
                <a:lnTo>
                  <a:pt x="3061938" y="1143964"/>
                </a:lnTo>
                <a:lnTo>
                  <a:pt x="3077940" y="1138725"/>
                </a:lnTo>
                <a:cubicBezTo>
                  <a:pt x="3081560" y="1151089"/>
                  <a:pt x="3085084" y="1163557"/>
                  <a:pt x="3088704" y="1175921"/>
                </a:cubicBezTo>
                <a:lnTo>
                  <a:pt x="3131472" y="1207772"/>
                </a:lnTo>
                <a:lnTo>
                  <a:pt x="3179668" y="1218459"/>
                </a:lnTo>
                <a:lnTo>
                  <a:pt x="3152902" y="1239729"/>
                </a:lnTo>
                <a:cubicBezTo>
                  <a:pt x="3149378" y="1248635"/>
                  <a:pt x="3145758" y="1257436"/>
                  <a:pt x="3142234" y="1266341"/>
                </a:cubicBezTo>
                <a:lnTo>
                  <a:pt x="3104706" y="1255654"/>
                </a:lnTo>
                <a:cubicBezTo>
                  <a:pt x="3101182" y="1250311"/>
                  <a:pt x="3097562" y="1245072"/>
                  <a:pt x="3094038" y="1239729"/>
                </a:cubicBezTo>
                <a:lnTo>
                  <a:pt x="3061938" y="1255654"/>
                </a:lnTo>
                <a:lnTo>
                  <a:pt x="3083370" y="1298193"/>
                </a:lnTo>
                <a:lnTo>
                  <a:pt x="3110136" y="1340732"/>
                </a:lnTo>
                <a:lnTo>
                  <a:pt x="3110136" y="1409883"/>
                </a:lnTo>
                <a:lnTo>
                  <a:pt x="3152902" y="1436496"/>
                </a:lnTo>
                <a:lnTo>
                  <a:pt x="3179668" y="1441840"/>
                </a:lnTo>
                <a:lnTo>
                  <a:pt x="3222436" y="1500304"/>
                </a:lnTo>
                <a:cubicBezTo>
                  <a:pt x="3224246" y="1514449"/>
                  <a:pt x="3225960" y="1528699"/>
                  <a:pt x="3227770" y="1542843"/>
                </a:cubicBezTo>
                <a:lnTo>
                  <a:pt x="3292062" y="1558874"/>
                </a:lnTo>
                <a:cubicBezTo>
                  <a:pt x="3295588" y="1564217"/>
                  <a:pt x="3299206" y="1569456"/>
                  <a:pt x="3302730" y="1574799"/>
                </a:cubicBezTo>
                <a:lnTo>
                  <a:pt x="3297336" y="1575560"/>
                </a:lnTo>
                <a:lnTo>
                  <a:pt x="3236062" y="1600912"/>
                </a:lnTo>
                <a:lnTo>
                  <a:pt x="3199100" y="1616932"/>
                </a:lnTo>
                <a:lnTo>
                  <a:pt x="3156530" y="1643420"/>
                </a:lnTo>
                <a:cubicBezTo>
                  <a:pt x="3147620" y="1652392"/>
                  <a:pt x="3138710" y="1661150"/>
                  <a:pt x="3129798" y="1670122"/>
                </a:cubicBezTo>
                <a:lnTo>
                  <a:pt x="3108348" y="1680802"/>
                </a:lnTo>
                <a:lnTo>
                  <a:pt x="3071058" y="1680802"/>
                </a:lnTo>
                <a:lnTo>
                  <a:pt x="3039376" y="1685929"/>
                </a:lnTo>
                <a:cubicBezTo>
                  <a:pt x="3034096" y="1689560"/>
                  <a:pt x="3028486" y="1692978"/>
                  <a:pt x="3023206" y="1696609"/>
                </a:cubicBezTo>
                <a:cubicBezTo>
                  <a:pt x="3021556" y="1710708"/>
                  <a:pt x="3019576" y="1725020"/>
                  <a:pt x="3017926" y="1739118"/>
                </a:cubicBezTo>
                <a:lnTo>
                  <a:pt x="2991526" y="1749799"/>
                </a:lnTo>
                <a:cubicBezTo>
                  <a:pt x="2995156" y="1762188"/>
                  <a:pt x="2998456" y="1774578"/>
                  <a:pt x="3002086" y="1786967"/>
                </a:cubicBezTo>
                <a:cubicBezTo>
                  <a:pt x="2994826" y="1799357"/>
                  <a:pt x="2987896" y="1811746"/>
                  <a:pt x="2980634" y="1824135"/>
                </a:cubicBezTo>
                <a:cubicBezTo>
                  <a:pt x="2975354" y="1831185"/>
                  <a:pt x="2970074" y="1838447"/>
                  <a:pt x="2964794" y="1845497"/>
                </a:cubicBezTo>
                <a:cubicBezTo>
                  <a:pt x="2957534" y="1848914"/>
                  <a:pt x="2950604" y="1852546"/>
                  <a:pt x="2943344" y="1855964"/>
                </a:cubicBezTo>
                <a:lnTo>
                  <a:pt x="2943344" y="1893346"/>
                </a:lnTo>
                <a:lnTo>
                  <a:pt x="2927504" y="1914493"/>
                </a:lnTo>
                <a:lnTo>
                  <a:pt x="2927504" y="1967682"/>
                </a:lnTo>
                <a:lnTo>
                  <a:pt x="2959514" y="1967682"/>
                </a:lnTo>
                <a:lnTo>
                  <a:pt x="3034096" y="1935854"/>
                </a:lnTo>
                <a:lnTo>
                  <a:pt x="3092508" y="1978363"/>
                </a:lnTo>
                <a:cubicBezTo>
                  <a:pt x="3087228" y="1989043"/>
                  <a:pt x="3081948" y="1999510"/>
                  <a:pt x="3076668" y="2010191"/>
                </a:cubicBezTo>
                <a:cubicBezTo>
                  <a:pt x="3078318" y="2027921"/>
                  <a:pt x="3080298" y="2045651"/>
                  <a:pt x="3081948" y="2063380"/>
                </a:cubicBezTo>
                <a:cubicBezTo>
                  <a:pt x="3094488" y="2066798"/>
                  <a:pt x="3106698" y="2070429"/>
                  <a:pt x="3119238" y="2073847"/>
                </a:cubicBezTo>
                <a:lnTo>
                  <a:pt x="3156530" y="2100549"/>
                </a:lnTo>
                <a:cubicBezTo>
                  <a:pt x="3151250" y="2109307"/>
                  <a:pt x="3145638" y="2118278"/>
                  <a:pt x="3140358" y="2127036"/>
                </a:cubicBezTo>
                <a:lnTo>
                  <a:pt x="3140358" y="2185566"/>
                </a:lnTo>
                <a:cubicBezTo>
                  <a:pt x="3135078" y="2190906"/>
                  <a:pt x="3129798" y="2196033"/>
                  <a:pt x="3124518" y="2201373"/>
                </a:cubicBezTo>
                <a:cubicBezTo>
                  <a:pt x="3119238" y="2208422"/>
                  <a:pt x="3113628" y="2215685"/>
                  <a:pt x="3108348" y="2222734"/>
                </a:cubicBezTo>
                <a:cubicBezTo>
                  <a:pt x="3104718" y="2235124"/>
                  <a:pt x="3101418" y="2247513"/>
                  <a:pt x="3097788" y="2259903"/>
                </a:cubicBezTo>
                <a:cubicBezTo>
                  <a:pt x="3090858" y="2270583"/>
                  <a:pt x="3083598" y="2281050"/>
                  <a:pt x="3076668" y="2291731"/>
                </a:cubicBezTo>
                <a:cubicBezTo>
                  <a:pt x="3067758" y="2298780"/>
                  <a:pt x="3058846" y="2306043"/>
                  <a:pt x="3049936" y="2313092"/>
                </a:cubicBezTo>
                <a:lnTo>
                  <a:pt x="3049936" y="2360941"/>
                </a:lnTo>
                <a:cubicBezTo>
                  <a:pt x="3044656" y="2369699"/>
                  <a:pt x="3039376" y="2378671"/>
                  <a:pt x="3034096" y="2387429"/>
                </a:cubicBezTo>
                <a:lnTo>
                  <a:pt x="3049936" y="2408576"/>
                </a:lnTo>
                <a:cubicBezTo>
                  <a:pt x="3044656" y="2420966"/>
                  <a:pt x="3039376" y="2433569"/>
                  <a:pt x="3034096" y="2445958"/>
                </a:cubicBezTo>
                <a:cubicBezTo>
                  <a:pt x="3030466" y="2454716"/>
                  <a:pt x="3026836" y="2463688"/>
                  <a:pt x="3023206" y="2472446"/>
                </a:cubicBezTo>
                <a:lnTo>
                  <a:pt x="3023206" y="2530976"/>
                </a:lnTo>
                <a:cubicBezTo>
                  <a:pt x="3021556" y="2543365"/>
                  <a:pt x="3019576" y="2555755"/>
                  <a:pt x="3017926" y="2568144"/>
                </a:cubicBezTo>
                <a:cubicBezTo>
                  <a:pt x="3012646" y="2582242"/>
                  <a:pt x="3007366" y="2596554"/>
                  <a:pt x="3002086" y="2610653"/>
                </a:cubicBezTo>
                <a:lnTo>
                  <a:pt x="3002086" y="2642481"/>
                </a:lnTo>
                <a:cubicBezTo>
                  <a:pt x="3005716" y="2656579"/>
                  <a:pt x="3009016" y="2670891"/>
                  <a:pt x="3012646" y="2684989"/>
                </a:cubicBezTo>
                <a:lnTo>
                  <a:pt x="2996806" y="2701010"/>
                </a:lnTo>
                <a:cubicBezTo>
                  <a:pt x="2995156" y="2711691"/>
                  <a:pt x="2993176" y="2722158"/>
                  <a:pt x="2991526" y="2732839"/>
                </a:cubicBezTo>
                <a:lnTo>
                  <a:pt x="2980634" y="2748859"/>
                </a:lnTo>
                <a:lnTo>
                  <a:pt x="2980634" y="2796495"/>
                </a:lnTo>
                <a:cubicBezTo>
                  <a:pt x="2973704" y="2805466"/>
                  <a:pt x="2966444" y="2814224"/>
                  <a:pt x="2959514" y="2823196"/>
                </a:cubicBezTo>
                <a:cubicBezTo>
                  <a:pt x="2968424" y="2830245"/>
                  <a:pt x="2977006" y="2837294"/>
                  <a:pt x="2985914" y="2844344"/>
                </a:cubicBezTo>
                <a:lnTo>
                  <a:pt x="3034096" y="2839003"/>
                </a:lnTo>
                <a:lnTo>
                  <a:pt x="3034096" y="2876385"/>
                </a:lnTo>
                <a:cubicBezTo>
                  <a:pt x="3032116" y="2895824"/>
                  <a:pt x="3030466" y="2915263"/>
                  <a:pt x="3028486" y="2934701"/>
                </a:cubicBezTo>
                <a:cubicBezTo>
                  <a:pt x="3023206" y="2945382"/>
                  <a:pt x="3017926" y="2955849"/>
                  <a:pt x="3012646" y="2966529"/>
                </a:cubicBezTo>
                <a:cubicBezTo>
                  <a:pt x="3009016" y="2973579"/>
                  <a:pt x="3005716" y="2980841"/>
                  <a:pt x="3002086" y="2987891"/>
                </a:cubicBezTo>
                <a:lnTo>
                  <a:pt x="2959514" y="2993231"/>
                </a:lnTo>
                <a:lnTo>
                  <a:pt x="2911664" y="3019719"/>
                </a:lnTo>
                <a:cubicBezTo>
                  <a:pt x="2901102" y="3028690"/>
                  <a:pt x="2890212" y="3037448"/>
                  <a:pt x="2879652" y="3046420"/>
                </a:cubicBezTo>
                <a:cubicBezTo>
                  <a:pt x="2870742" y="3064150"/>
                  <a:pt x="2861832" y="3081666"/>
                  <a:pt x="2852922" y="3099396"/>
                </a:cubicBezTo>
                <a:lnTo>
                  <a:pt x="2810350" y="3136564"/>
                </a:lnTo>
                <a:lnTo>
                  <a:pt x="2767780" y="3179073"/>
                </a:lnTo>
                <a:lnTo>
                  <a:pt x="2735768" y="3216455"/>
                </a:lnTo>
                <a:lnTo>
                  <a:pt x="2709368" y="3205774"/>
                </a:lnTo>
                <a:lnTo>
                  <a:pt x="2655906" y="3205774"/>
                </a:lnTo>
                <a:lnTo>
                  <a:pt x="2576044" y="3195093"/>
                </a:lnTo>
                <a:lnTo>
                  <a:pt x="2490902" y="3168606"/>
                </a:lnTo>
                <a:lnTo>
                  <a:pt x="2411040" y="3152585"/>
                </a:lnTo>
                <a:lnTo>
                  <a:pt x="2363190" y="3136564"/>
                </a:lnTo>
                <a:lnTo>
                  <a:pt x="2325898" y="3136564"/>
                </a:lnTo>
                <a:lnTo>
                  <a:pt x="2283328" y="3136564"/>
                </a:lnTo>
                <a:lnTo>
                  <a:pt x="2262206" y="3136564"/>
                </a:lnTo>
                <a:cubicBezTo>
                  <a:pt x="2249666" y="3150662"/>
                  <a:pt x="2237456" y="3164974"/>
                  <a:pt x="2224916" y="3179073"/>
                </a:cubicBezTo>
                <a:lnTo>
                  <a:pt x="2160894" y="3211114"/>
                </a:lnTo>
                <a:lnTo>
                  <a:pt x="2070472" y="3200434"/>
                </a:lnTo>
                <a:lnTo>
                  <a:pt x="2012060" y="3173946"/>
                </a:lnTo>
                <a:cubicBezTo>
                  <a:pt x="2001500" y="3164974"/>
                  <a:pt x="1990610" y="3156216"/>
                  <a:pt x="1980050" y="3147245"/>
                </a:cubicBezTo>
                <a:lnTo>
                  <a:pt x="1921638" y="3141904"/>
                </a:lnTo>
                <a:lnTo>
                  <a:pt x="1847056" y="3136564"/>
                </a:lnTo>
                <a:lnTo>
                  <a:pt x="1772474" y="3141904"/>
                </a:lnTo>
                <a:lnTo>
                  <a:pt x="1708454" y="3168606"/>
                </a:lnTo>
                <a:lnTo>
                  <a:pt x="1665882" y="3226922"/>
                </a:lnTo>
                <a:lnTo>
                  <a:pt x="1612750" y="3290791"/>
                </a:lnTo>
                <a:lnTo>
                  <a:pt x="1575460" y="3322620"/>
                </a:lnTo>
                <a:cubicBezTo>
                  <a:pt x="1568530" y="3340349"/>
                  <a:pt x="1561270" y="3358079"/>
                  <a:pt x="1554340" y="3375809"/>
                </a:cubicBezTo>
                <a:cubicBezTo>
                  <a:pt x="1549058" y="3398879"/>
                  <a:pt x="1543448" y="3421735"/>
                  <a:pt x="1538168" y="3444805"/>
                </a:cubicBezTo>
                <a:lnTo>
                  <a:pt x="1485038" y="3460826"/>
                </a:lnTo>
                <a:lnTo>
                  <a:pt x="1447746" y="3492654"/>
                </a:lnTo>
                <a:lnTo>
                  <a:pt x="1373164" y="3503335"/>
                </a:lnTo>
                <a:lnTo>
                  <a:pt x="1314754" y="3535163"/>
                </a:lnTo>
                <a:lnTo>
                  <a:pt x="1229610" y="3566991"/>
                </a:lnTo>
                <a:lnTo>
                  <a:pt x="1165590" y="3588352"/>
                </a:lnTo>
                <a:lnTo>
                  <a:pt x="1117738" y="3599033"/>
                </a:lnTo>
                <a:lnTo>
                  <a:pt x="1064606" y="3630861"/>
                </a:lnTo>
                <a:cubicBezTo>
                  <a:pt x="1045136" y="3646882"/>
                  <a:pt x="1025336" y="3662689"/>
                  <a:pt x="1005866" y="3678710"/>
                </a:cubicBezTo>
                <a:lnTo>
                  <a:pt x="936894" y="3694517"/>
                </a:lnTo>
                <a:lnTo>
                  <a:pt x="857032" y="3684050"/>
                </a:lnTo>
                <a:lnTo>
                  <a:pt x="803570" y="3699857"/>
                </a:lnTo>
                <a:lnTo>
                  <a:pt x="734598" y="3694517"/>
                </a:lnTo>
                <a:lnTo>
                  <a:pt x="665296" y="3694517"/>
                </a:lnTo>
                <a:lnTo>
                  <a:pt x="628006" y="3705198"/>
                </a:lnTo>
                <a:lnTo>
                  <a:pt x="564314" y="3678710"/>
                </a:lnTo>
                <a:lnTo>
                  <a:pt x="527024" y="3678710"/>
                </a:lnTo>
                <a:lnTo>
                  <a:pt x="436600" y="3699857"/>
                </a:lnTo>
                <a:lnTo>
                  <a:pt x="377860" y="3710538"/>
                </a:lnTo>
                <a:lnTo>
                  <a:pt x="287438" y="3652009"/>
                </a:lnTo>
                <a:lnTo>
                  <a:pt x="207576" y="3604159"/>
                </a:lnTo>
                <a:cubicBezTo>
                  <a:pt x="203946" y="3572331"/>
                  <a:pt x="200646" y="3540503"/>
                  <a:pt x="197014" y="3508675"/>
                </a:cubicBezTo>
                <a:lnTo>
                  <a:pt x="122434" y="3503335"/>
                </a:lnTo>
                <a:lnTo>
                  <a:pt x="47852" y="3508675"/>
                </a:lnTo>
                <a:lnTo>
                  <a:pt x="18392" y="3492237"/>
                </a:lnTo>
                <a:lnTo>
                  <a:pt x="13434" y="3492500"/>
                </a:lnTo>
                <a:lnTo>
                  <a:pt x="15248" y="3490482"/>
                </a:lnTo>
                <a:cubicBezTo>
                  <a:pt x="10136" y="3487674"/>
                  <a:pt x="5052" y="3484835"/>
                  <a:pt x="0" y="3481974"/>
                </a:cubicBezTo>
                <a:lnTo>
                  <a:pt x="29244" y="3474910"/>
                </a:lnTo>
                <a:lnTo>
                  <a:pt x="72686" y="3426575"/>
                </a:lnTo>
                <a:lnTo>
                  <a:pt x="160416" y="3387348"/>
                </a:lnTo>
                <a:lnTo>
                  <a:pt x="175898" y="3328506"/>
                </a:lnTo>
                <a:cubicBezTo>
                  <a:pt x="174560" y="3305078"/>
                  <a:pt x="173032" y="3281923"/>
                  <a:pt x="171694" y="3258495"/>
                </a:cubicBezTo>
                <a:lnTo>
                  <a:pt x="194248" y="3230437"/>
                </a:lnTo>
                <a:lnTo>
                  <a:pt x="130600" y="3185488"/>
                </a:lnTo>
                <a:lnTo>
                  <a:pt x="82624" y="3116839"/>
                </a:lnTo>
                <a:cubicBezTo>
                  <a:pt x="87786" y="3096408"/>
                  <a:pt x="92946" y="3075705"/>
                  <a:pt x="98106" y="3055273"/>
                </a:cubicBezTo>
                <a:lnTo>
                  <a:pt x="167488" y="3032935"/>
                </a:lnTo>
                <a:lnTo>
                  <a:pt x="256366" y="3039746"/>
                </a:lnTo>
                <a:lnTo>
                  <a:pt x="334158" y="3025853"/>
                </a:lnTo>
                <a:lnTo>
                  <a:pt x="418830" y="2980904"/>
                </a:lnTo>
                <a:lnTo>
                  <a:pt x="492418" y="2933504"/>
                </a:lnTo>
                <a:lnTo>
                  <a:pt x="547464" y="2915252"/>
                </a:lnTo>
                <a:lnTo>
                  <a:pt x="616656" y="2908169"/>
                </a:lnTo>
                <a:lnTo>
                  <a:pt x="675908" y="2878749"/>
                </a:lnTo>
                <a:lnTo>
                  <a:pt x="724074" y="2857773"/>
                </a:lnTo>
                <a:lnTo>
                  <a:pt x="772048" y="2823993"/>
                </a:lnTo>
                <a:cubicBezTo>
                  <a:pt x="782942" y="2804924"/>
                  <a:pt x="793646" y="2785583"/>
                  <a:pt x="804540" y="2766513"/>
                </a:cubicBezTo>
                <a:lnTo>
                  <a:pt x="849648" y="2689420"/>
                </a:lnTo>
                <a:lnTo>
                  <a:pt x="904886" y="2653189"/>
                </a:lnTo>
                <a:cubicBezTo>
                  <a:pt x="909666" y="2631123"/>
                  <a:pt x="914252" y="2609330"/>
                  <a:pt x="919030" y="2587264"/>
                </a:cubicBezTo>
                <a:lnTo>
                  <a:pt x="978282" y="2571737"/>
                </a:lnTo>
                <a:lnTo>
                  <a:pt x="1026258" y="2459774"/>
                </a:lnTo>
                <a:lnTo>
                  <a:pt x="1118194" y="2389763"/>
                </a:lnTo>
                <a:lnTo>
                  <a:pt x="1221214" y="2348901"/>
                </a:lnTo>
                <a:lnTo>
                  <a:pt x="1317356" y="2316756"/>
                </a:lnTo>
                <a:lnTo>
                  <a:pt x="1427450" y="2298504"/>
                </a:lnTo>
                <a:lnTo>
                  <a:pt x="1549010" y="2214600"/>
                </a:lnTo>
                <a:lnTo>
                  <a:pt x="1618202" y="2182183"/>
                </a:lnTo>
                <a:cubicBezTo>
                  <a:pt x="1613424" y="2171014"/>
                  <a:pt x="1608836" y="2159845"/>
                  <a:pt x="1604058" y="2148676"/>
                </a:cubicBezTo>
                <a:lnTo>
                  <a:pt x="1549010" y="2116531"/>
                </a:lnTo>
                <a:lnTo>
                  <a:pt x="1489758" y="2071582"/>
                </a:lnTo>
                <a:lnTo>
                  <a:pt x="1464338" y="2014103"/>
                </a:lnTo>
                <a:cubicBezTo>
                  <a:pt x="1468926" y="1989858"/>
                  <a:pt x="1473704" y="1965613"/>
                  <a:pt x="1478290" y="1941368"/>
                </a:cubicBezTo>
                <a:lnTo>
                  <a:pt x="1523590" y="1918757"/>
                </a:lnTo>
                <a:lnTo>
                  <a:pt x="1549010" y="1871085"/>
                </a:lnTo>
                <a:lnTo>
                  <a:pt x="1588576" y="1830495"/>
                </a:lnTo>
                <a:lnTo>
                  <a:pt x="1626802" y="1776012"/>
                </a:lnTo>
                <a:lnTo>
                  <a:pt x="1652224" y="1728339"/>
                </a:lnTo>
                <a:lnTo>
                  <a:pt x="1673248" y="1691835"/>
                </a:lnTo>
                <a:lnTo>
                  <a:pt x="1721414" y="1670859"/>
                </a:lnTo>
                <a:lnTo>
                  <a:pt x="1784872" y="1644163"/>
                </a:lnTo>
                <a:lnTo>
                  <a:pt x="1879482" y="1630270"/>
                </a:lnTo>
                <a:lnTo>
                  <a:pt x="1924782" y="1589407"/>
                </a:lnTo>
                <a:lnTo>
                  <a:pt x="1888084" y="1523755"/>
                </a:lnTo>
                <a:lnTo>
                  <a:pt x="1725620" y="1450748"/>
                </a:lnTo>
                <a:cubicBezTo>
                  <a:pt x="1723326" y="1425413"/>
                  <a:pt x="1720842" y="1400351"/>
                  <a:pt x="1718548" y="1375017"/>
                </a:cubicBezTo>
                <a:lnTo>
                  <a:pt x="1691598" y="1291113"/>
                </a:lnTo>
                <a:cubicBezTo>
                  <a:pt x="1678410" y="1270137"/>
                  <a:pt x="1665412" y="1248888"/>
                  <a:pt x="1652224" y="1227912"/>
                </a:cubicBezTo>
                <a:cubicBezTo>
                  <a:pt x="1648400" y="1191409"/>
                  <a:pt x="1644578" y="1155178"/>
                  <a:pt x="1640756" y="1118674"/>
                </a:cubicBezTo>
                <a:lnTo>
                  <a:pt x="1596986" y="1063918"/>
                </a:lnTo>
                <a:cubicBezTo>
                  <a:pt x="1595648" y="1033680"/>
                  <a:pt x="1594118" y="1003170"/>
                  <a:pt x="1592780" y="972932"/>
                </a:cubicBezTo>
                <a:lnTo>
                  <a:pt x="1541938" y="936428"/>
                </a:lnTo>
                <a:cubicBezTo>
                  <a:pt x="1535822" y="915997"/>
                  <a:pt x="1529706" y="895293"/>
                  <a:pt x="1523590" y="874862"/>
                </a:cubicBezTo>
                <a:cubicBezTo>
                  <a:pt x="1525884" y="859880"/>
                  <a:pt x="1528368" y="844897"/>
                  <a:pt x="1530662" y="829914"/>
                </a:cubicBezTo>
                <a:lnTo>
                  <a:pt x="1556082" y="782241"/>
                </a:lnTo>
                <a:lnTo>
                  <a:pt x="1604058" y="772434"/>
                </a:lnTo>
                <a:lnTo>
                  <a:pt x="1677644" y="768348"/>
                </a:lnTo>
                <a:lnTo>
                  <a:pt x="1682794" y="771971"/>
                </a:lnTo>
                <a:lnTo>
                  <a:pt x="1683482" y="768348"/>
                </a:lnTo>
                <a:lnTo>
                  <a:pt x="1709656" y="768348"/>
                </a:lnTo>
                <a:lnTo>
                  <a:pt x="1772480" y="768348"/>
                </a:lnTo>
                <a:lnTo>
                  <a:pt x="1840556" y="752339"/>
                </a:lnTo>
                <a:lnTo>
                  <a:pt x="1903380" y="741693"/>
                </a:lnTo>
                <a:lnTo>
                  <a:pt x="1966234" y="704313"/>
                </a:lnTo>
                <a:lnTo>
                  <a:pt x="1981934" y="656287"/>
                </a:lnTo>
                <a:lnTo>
                  <a:pt x="1934808" y="608338"/>
                </a:lnTo>
                <a:lnTo>
                  <a:pt x="1892936" y="554873"/>
                </a:lnTo>
                <a:lnTo>
                  <a:pt x="1856256" y="480192"/>
                </a:lnTo>
                <a:lnTo>
                  <a:pt x="1809160" y="373493"/>
                </a:lnTo>
                <a:lnTo>
                  <a:pt x="1788208" y="277440"/>
                </a:lnTo>
                <a:lnTo>
                  <a:pt x="1751558" y="261432"/>
                </a:lnTo>
                <a:lnTo>
                  <a:pt x="1735830" y="176103"/>
                </a:lnTo>
                <a:lnTo>
                  <a:pt x="1746306" y="111992"/>
                </a:lnTo>
                <a:lnTo>
                  <a:pt x="1782956" y="101345"/>
                </a:lnTo>
                <a:lnTo>
                  <a:pt x="1861508" y="90775"/>
                </a:lnTo>
                <a:lnTo>
                  <a:pt x="1950506" y="42748"/>
                </a:lnTo>
                <a:lnTo>
                  <a:pt x="1973368" y="2382"/>
                </a:lnTo>
                <a:lnTo>
                  <a:pt x="1976078" y="9629"/>
                </a:lnTo>
                <a:close/>
              </a:path>
            </a:pathLst>
          </a:custGeom>
          <a:solidFill>
            <a:srgbClr val="70B0DF"/>
          </a:solidFill>
          <a:ln w="3175" cap="flat" cmpd="sng">
            <a:noFill/>
            <a:prstDash val="solid"/>
            <a:round/>
            <a:headEnd type="none" w="med" len="med"/>
            <a:tailEnd type="none" w="med" len="med"/>
          </a:ln>
        </p:spPr>
        <p:txBody>
          <a:bodyPr wrap="none" lIns="32632" tIns="32632" rIns="32632" bIns="32632" anchor="ctr"/>
          <a:lstStyle/>
          <a:p>
            <a:pPr defTabSz="891045"/>
            <a:endParaRPr lang="en-US" sz="1700" dirty="0">
              <a:solidFill>
                <a:srgbClr val="003149"/>
              </a:solidFill>
              <a:cs typeface="Arial" panose="020B0604020202020204" pitchFamily="34" charset="0"/>
            </a:endParaRPr>
          </a:p>
        </p:txBody>
      </p:sp>
      <p:sp>
        <p:nvSpPr>
          <p:cNvPr id="22" name="Freeform 760"/>
          <p:cNvSpPr>
            <a:spLocks noChangeAspect="1"/>
          </p:cNvSpPr>
          <p:nvPr>
            <p:custDataLst>
              <p:tags r:id="rId7"/>
            </p:custDataLst>
          </p:nvPr>
        </p:nvSpPr>
        <p:spPr bwMode="gray">
          <a:xfrm>
            <a:off x="4671840" y="3341426"/>
            <a:ext cx="833099" cy="936946"/>
          </a:xfrm>
          <a:custGeom>
            <a:avLst/>
            <a:gdLst>
              <a:gd name="T0" fmla="*/ 0 w 4825998"/>
              <a:gd name="T1" fmla="*/ 0 h 4781551"/>
              <a:gd name="T2" fmla="*/ 0 w 4825998"/>
              <a:gd name="T3" fmla="*/ 0 h 4781551"/>
              <a:gd name="T4" fmla="*/ 0 w 4825998"/>
              <a:gd name="T5" fmla="*/ 0 h 4781551"/>
              <a:gd name="T6" fmla="*/ 0 w 4825998"/>
              <a:gd name="T7" fmla="*/ 0 h 4781551"/>
              <a:gd name="T8" fmla="*/ 0 w 4825998"/>
              <a:gd name="T9" fmla="*/ 0 h 4781551"/>
              <a:gd name="T10" fmla="*/ 0 w 4825998"/>
              <a:gd name="T11" fmla="*/ 0 h 4781551"/>
              <a:gd name="T12" fmla="*/ 0 w 4825998"/>
              <a:gd name="T13" fmla="*/ 0 h 4781551"/>
              <a:gd name="T14" fmla="*/ 0 w 4825998"/>
              <a:gd name="T15" fmla="*/ 0 h 4781551"/>
              <a:gd name="T16" fmla="*/ 0 w 4825998"/>
              <a:gd name="T17" fmla="*/ 0 h 4781551"/>
              <a:gd name="T18" fmla="*/ 0 w 4825998"/>
              <a:gd name="T19" fmla="*/ 0 h 4781551"/>
              <a:gd name="T20" fmla="*/ 0 w 4825998"/>
              <a:gd name="T21" fmla="*/ 0 h 4781551"/>
              <a:gd name="T22" fmla="*/ 0 w 4825998"/>
              <a:gd name="T23" fmla="*/ 0 h 4781551"/>
              <a:gd name="T24" fmla="*/ 0 w 4825998"/>
              <a:gd name="T25" fmla="*/ 0 h 4781551"/>
              <a:gd name="T26" fmla="*/ 0 w 4825998"/>
              <a:gd name="T27" fmla="*/ 0 h 4781551"/>
              <a:gd name="T28" fmla="*/ 0 w 4825998"/>
              <a:gd name="T29" fmla="*/ 0 h 4781551"/>
              <a:gd name="T30" fmla="*/ 0 w 4825998"/>
              <a:gd name="T31" fmla="*/ 0 h 4781551"/>
              <a:gd name="T32" fmla="*/ 0 w 4825998"/>
              <a:gd name="T33" fmla="*/ 0 h 4781551"/>
              <a:gd name="T34" fmla="*/ 0 w 4825998"/>
              <a:gd name="T35" fmla="*/ 0 h 4781551"/>
              <a:gd name="T36" fmla="*/ 0 w 4825998"/>
              <a:gd name="T37" fmla="*/ 0 h 4781551"/>
              <a:gd name="T38" fmla="*/ 0 w 4825998"/>
              <a:gd name="T39" fmla="*/ 0 h 4781551"/>
              <a:gd name="T40" fmla="*/ 0 w 4825998"/>
              <a:gd name="T41" fmla="*/ 0 h 4781551"/>
              <a:gd name="T42" fmla="*/ 0 w 4825998"/>
              <a:gd name="T43" fmla="*/ 0 h 4781551"/>
              <a:gd name="T44" fmla="*/ 0 w 4825998"/>
              <a:gd name="T45" fmla="*/ 0 h 4781551"/>
              <a:gd name="T46" fmla="*/ 0 w 4825998"/>
              <a:gd name="T47" fmla="*/ 0 h 4781551"/>
              <a:gd name="T48" fmla="*/ 0 w 4825998"/>
              <a:gd name="T49" fmla="*/ 0 h 4781551"/>
              <a:gd name="T50" fmla="*/ 0 w 4825998"/>
              <a:gd name="T51" fmla="*/ 0 h 4781551"/>
              <a:gd name="T52" fmla="*/ 0 w 4825998"/>
              <a:gd name="T53" fmla="*/ 0 h 4781551"/>
              <a:gd name="T54" fmla="*/ 0 w 4825998"/>
              <a:gd name="T55" fmla="*/ 0 h 4781551"/>
              <a:gd name="T56" fmla="*/ 0 w 4825998"/>
              <a:gd name="T57" fmla="*/ 0 h 4781551"/>
              <a:gd name="T58" fmla="*/ 0 w 4825998"/>
              <a:gd name="T59" fmla="*/ 0 h 4781551"/>
              <a:gd name="T60" fmla="*/ 0 w 4825998"/>
              <a:gd name="T61" fmla="*/ 0 h 4781551"/>
              <a:gd name="T62" fmla="*/ 0 w 4825998"/>
              <a:gd name="T63" fmla="*/ 0 h 4781551"/>
              <a:gd name="T64" fmla="*/ 0 w 4825998"/>
              <a:gd name="T65" fmla="*/ 0 h 4781551"/>
              <a:gd name="T66" fmla="*/ 0 w 4825998"/>
              <a:gd name="T67" fmla="*/ 0 h 4781551"/>
              <a:gd name="T68" fmla="*/ 0 w 4825998"/>
              <a:gd name="T69" fmla="*/ 0 h 4781551"/>
              <a:gd name="T70" fmla="*/ 0 w 4825998"/>
              <a:gd name="T71" fmla="*/ 0 h 4781551"/>
              <a:gd name="T72" fmla="*/ 0 w 4825998"/>
              <a:gd name="T73" fmla="*/ 0 h 4781551"/>
              <a:gd name="T74" fmla="*/ 0 w 4825998"/>
              <a:gd name="T75" fmla="*/ 0 h 4781551"/>
              <a:gd name="T76" fmla="*/ 0 w 4825998"/>
              <a:gd name="T77" fmla="*/ 0 h 4781551"/>
              <a:gd name="T78" fmla="*/ 0 w 4825998"/>
              <a:gd name="T79" fmla="*/ 0 h 4781551"/>
              <a:gd name="T80" fmla="*/ 0 w 4825998"/>
              <a:gd name="T81" fmla="*/ 0 h 4781551"/>
              <a:gd name="T82" fmla="*/ 0 w 4825998"/>
              <a:gd name="T83" fmla="*/ 0 h 4781551"/>
              <a:gd name="T84" fmla="*/ 0 w 4825998"/>
              <a:gd name="T85" fmla="*/ 0 h 4781551"/>
              <a:gd name="T86" fmla="*/ 0 w 4825998"/>
              <a:gd name="T87" fmla="*/ 0 h 4781551"/>
              <a:gd name="T88" fmla="*/ 0 w 4825998"/>
              <a:gd name="T89" fmla="*/ 0 h 4781551"/>
              <a:gd name="T90" fmla="*/ 0 w 4825998"/>
              <a:gd name="T91" fmla="*/ 0 h 4781551"/>
              <a:gd name="T92" fmla="*/ 0 w 4825998"/>
              <a:gd name="T93" fmla="*/ 0 h 4781551"/>
              <a:gd name="T94" fmla="*/ 0 w 4825998"/>
              <a:gd name="T95" fmla="*/ 0 h 4781551"/>
              <a:gd name="T96" fmla="*/ 0 w 4825998"/>
              <a:gd name="T97" fmla="*/ 0 h 4781551"/>
              <a:gd name="T98" fmla="*/ 0 w 4825998"/>
              <a:gd name="T99" fmla="*/ 0 h 4781551"/>
              <a:gd name="T100" fmla="*/ 0 w 4825998"/>
              <a:gd name="T101" fmla="*/ 0 h 4781551"/>
              <a:gd name="T102" fmla="*/ 0 w 4825998"/>
              <a:gd name="T103" fmla="*/ 0 h 4781551"/>
              <a:gd name="T104" fmla="*/ 0 w 4825998"/>
              <a:gd name="T105" fmla="*/ 0 h 4781551"/>
              <a:gd name="T106" fmla="*/ 0 w 4825998"/>
              <a:gd name="T107" fmla="*/ 0 h 4781551"/>
              <a:gd name="T108" fmla="*/ 0 w 4825998"/>
              <a:gd name="T109" fmla="*/ 0 h 4781551"/>
              <a:gd name="T110" fmla="*/ 0 w 4825998"/>
              <a:gd name="T111" fmla="*/ 0 h 4781551"/>
              <a:gd name="T112" fmla="*/ 0 w 4825998"/>
              <a:gd name="T113" fmla="*/ 0 h 4781551"/>
              <a:gd name="T114" fmla="*/ 0 w 4825998"/>
              <a:gd name="T115" fmla="*/ 0 h 4781551"/>
              <a:gd name="T116" fmla="*/ 0 w 4825998"/>
              <a:gd name="T117" fmla="*/ 0 h 4781551"/>
              <a:gd name="T118" fmla="*/ 0 w 4825998"/>
              <a:gd name="T119" fmla="*/ 0 h 4781551"/>
              <a:gd name="T120" fmla="*/ 0 w 4825998"/>
              <a:gd name="T121" fmla="*/ 0 h 4781551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w 4825998"/>
              <a:gd name="T184" fmla="*/ 0 h 4781551"/>
              <a:gd name="T185" fmla="*/ 4825998 w 4825998"/>
              <a:gd name="T186" fmla="*/ 4781551 h 4781551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T183" t="T184" r="T185" b="T186"/>
            <a:pathLst>
              <a:path w="4825998" h="4781551">
                <a:moveTo>
                  <a:pt x="2393030" y="0"/>
                </a:moveTo>
                <a:lnTo>
                  <a:pt x="2396262" y="4787"/>
                </a:lnTo>
                <a:lnTo>
                  <a:pt x="2437524" y="107"/>
                </a:lnTo>
                <a:cubicBezTo>
                  <a:pt x="2441408" y="10561"/>
                  <a:pt x="2444808" y="21388"/>
                  <a:pt x="2448208" y="31843"/>
                </a:cubicBezTo>
                <a:lnTo>
                  <a:pt x="2448208" y="63765"/>
                </a:lnTo>
                <a:lnTo>
                  <a:pt x="2490946" y="85233"/>
                </a:lnTo>
                <a:cubicBezTo>
                  <a:pt x="2496288" y="92513"/>
                  <a:pt x="2501872" y="99420"/>
                  <a:pt x="2507214" y="106514"/>
                </a:cubicBezTo>
                <a:cubicBezTo>
                  <a:pt x="2514256" y="120702"/>
                  <a:pt x="2521056" y="134890"/>
                  <a:pt x="2528098" y="148891"/>
                </a:cubicBezTo>
                <a:cubicBezTo>
                  <a:pt x="2524698" y="157664"/>
                  <a:pt x="2521056" y="166812"/>
                  <a:pt x="2517656" y="175586"/>
                </a:cubicBezTo>
                <a:lnTo>
                  <a:pt x="2464478" y="191453"/>
                </a:lnTo>
                <a:lnTo>
                  <a:pt x="2432180" y="186040"/>
                </a:lnTo>
                <a:lnTo>
                  <a:pt x="2416154" y="217962"/>
                </a:lnTo>
                <a:cubicBezTo>
                  <a:pt x="2414454" y="234203"/>
                  <a:pt x="2412512" y="250071"/>
                  <a:pt x="2410812" y="266125"/>
                </a:cubicBezTo>
                <a:lnTo>
                  <a:pt x="2453550" y="250071"/>
                </a:lnTo>
                <a:lnTo>
                  <a:pt x="2490946" y="244657"/>
                </a:lnTo>
                <a:lnTo>
                  <a:pt x="2597548" y="244657"/>
                </a:lnTo>
                <a:cubicBezTo>
                  <a:pt x="2601190" y="250071"/>
                  <a:pt x="2604590" y="255484"/>
                  <a:pt x="2608232" y="260711"/>
                </a:cubicBezTo>
                <a:cubicBezTo>
                  <a:pt x="2613574" y="272846"/>
                  <a:pt x="2618916" y="285540"/>
                  <a:pt x="2624016" y="297674"/>
                </a:cubicBezTo>
                <a:lnTo>
                  <a:pt x="2666754" y="313915"/>
                </a:lnTo>
                <a:cubicBezTo>
                  <a:pt x="2668454" y="327916"/>
                  <a:pt x="2670396" y="342290"/>
                  <a:pt x="2672096" y="356478"/>
                </a:cubicBezTo>
                <a:cubicBezTo>
                  <a:pt x="2677438" y="379253"/>
                  <a:pt x="2682780" y="402401"/>
                  <a:pt x="2688122" y="425363"/>
                </a:cubicBezTo>
                <a:cubicBezTo>
                  <a:pt x="2690066" y="439737"/>
                  <a:pt x="2692008" y="453925"/>
                  <a:pt x="2693464" y="468112"/>
                </a:cubicBezTo>
                <a:lnTo>
                  <a:pt x="2730860" y="489394"/>
                </a:lnTo>
                <a:lnTo>
                  <a:pt x="2730860" y="521316"/>
                </a:lnTo>
                <a:lnTo>
                  <a:pt x="2704150" y="536997"/>
                </a:lnTo>
                <a:cubicBezTo>
                  <a:pt x="2700506" y="553238"/>
                  <a:pt x="2697108" y="569106"/>
                  <a:pt x="2693464" y="585160"/>
                </a:cubicBezTo>
                <a:cubicBezTo>
                  <a:pt x="2689822" y="595988"/>
                  <a:pt x="2686422" y="606442"/>
                  <a:pt x="2682780" y="617083"/>
                </a:cubicBezTo>
                <a:cubicBezTo>
                  <a:pt x="2686422" y="625856"/>
                  <a:pt x="2690066" y="634817"/>
                  <a:pt x="2693464" y="643591"/>
                </a:cubicBezTo>
                <a:lnTo>
                  <a:pt x="2763156" y="643591"/>
                </a:lnTo>
                <a:lnTo>
                  <a:pt x="2816094" y="670099"/>
                </a:lnTo>
                <a:cubicBezTo>
                  <a:pt x="2819736" y="689514"/>
                  <a:pt x="2823136" y="709302"/>
                  <a:pt x="2826778" y="728717"/>
                </a:cubicBezTo>
                <a:cubicBezTo>
                  <a:pt x="2825078" y="742904"/>
                  <a:pt x="2823136" y="756905"/>
                  <a:pt x="2821436" y="771093"/>
                </a:cubicBezTo>
                <a:cubicBezTo>
                  <a:pt x="2809052" y="783601"/>
                  <a:pt x="2796424" y="795921"/>
                  <a:pt x="2784040" y="808429"/>
                </a:cubicBezTo>
                <a:cubicBezTo>
                  <a:pt x="2776998" y="820750"/>
                  <a:pt x="2770198" y="833444"/>
                  <a:pt x="2763156" y="845765"/>
                </a:cubicBezTo>
                <a:cubicBezTo>
                  <a:pt x="2768256" y="856406"/>
                  <a:pt x="2773356" y="867046"/>
                  <a:pt x="2778698" y="877687"/>
                </a:cubicBezTo>
                <a:lnTo>
                  <a:pt x="2826778" y="925477"/>
                </a:lnTo>
                <a:cubicBezTo>
                  <a:pt x="2830420" y="936118"/>
                  <a:pt x="2833820" y="946572"/>
                  <a:pt x="2837220" y="957212"/>
                </a:cubicBezTo>
                <a:cubicBezTo>
                  <a:pt x="2838920" y="971587"/>
                  <a:pt x="2841104" y="985774"/>
                  <a:pt x="2842804" y="999775"/>
                </a:cubicBezTo>
                <a:cubicBezTo>
                  <a:pt x="2844504" y="1014150"/>
                  <a:pt x="2846448" y="1028151"/>
                  <a:pt x="2848146" y="1042525"/>
                </a:cubicBezTo>
                <a:lnTo>
                  <a:pt x="2874858" y="1042525"/>
                </a:lnTo>
                <a:lnTo>
                  <a:pt x="2912010" y="1047939"/>
                </a:lnTo>
                <a:cubicBezTo>
                  <a:pt x="2919052" y="1062126"/>
                  <a:pt x="2926338" y="1076127"/>
                  <a:pt x="2933380" y="1090128"/>
                </a:cubicBezTo>
                <a:lnTo>
                  <a:pt x="2976118" y="1079674"/>
                </a:lnTo>
                <a:cubicBezTo>
                  <a:pt x="2981460" y="1094049"/>
                  <a:pt x="2986802" y="1107863"/>
                  <a:pt x="2992144" y="1122237"/>
                </a:cubicBezTo>
                <a:cubicBezTo>
                  <a:pt x="2985102" y="1132878"/>
                  <a:pt x="2977818" y="1143519"/>
                  <a:pt x="2971018" y="1154159"/>
                </a:cubicBezTo>
                <a:cubicBezTo>
                  <a:pt x="2969318" y="1164800"/>
                  <a:pt x="2967132" y="1175627"/>
                  <a:pt x="2965434" y="1186081"/>
                </a:cubicBezTo>
                <a:cubicBezTo>
                  <a:pt x="2960092" y="1194855"/>
                  <a:pt x="2954748" y="1203816"/>
                  <a:pt x="2949406" y="1212590"/>
                </a:cubicBezTo>
                <a:cubicBezTo>
                  <a:pt x="2958392" y="1221364"/>
                  <a:pt x="2967132" y="1230511"/>
                  <a:pt x="2976118" y="1239098"/>
                </a:cubicBezTo>
                <a:cubicBezTo>
                  <a:pt x="2972718" y="1248059"/>
                  <a:pt x="2969318" y="1257020"/>
                  <a:pt x="2965434" y="1265793"/>
                </a:cubicBezTo>
                <a:lnTo>
                  <a:pt x="2938964" y="1265793"/>
                </a:lnTo>
                <a:lnTo>
                  <a:pt x="2922696" y="1265793"/>
                </a:lnTo>
                <a:lnTo>
                  <a:pt x="2922696" y="1281848"/>
                </a:lnTo>
                <a:lnTo>
                  <a:pt x="2949406" y="1292489"/>
                </a:lnTo>
                <a:cubicBezTo>
                  <a:pt x="2945764" y="1301449"/>
                  <a:pt x="2942364" y="1310223"/>
                  <a:pt x="2938964" y="1319184"/>
                </a:cubicBezTo>
                <a:cubicBezTo>
                  <a:pt x="2931680" y="1324224"/>
                  <a:pt x="2924638" y="1329825"/>
                  <a:pt x="2917354" y="1335052"/>
                </a:cubicBezTo>
                <a:cubicBezTo>
                  <a:pt x="2913710" y="1345692"/>
                  <a:pt x="2910312" y="1356333"/>
                  <a:pt x="2906668" y="1366974"/>
                </a:cubicBezTo>
                <a:lnTo>
                  <a:pt x="2906668" y="1388255"/>
                </a:lnTo>
                <a:cubicBezTo>
                  <a:pt x="2904968" y="1400576"/>
                  <a:pt x="2903268" y="1413084"/>
                  <a:pt x="2901570" y="1425404"/>
                </a:cubicBezTo>
                <a:cubicBezTo>
                  <a:pt x="2896226" y="1437912"/>
                  <a:pt x="2890884" y="1450046"/>
                  <a:pt x="2885542" y="1462740"/>
                </a:cubicBezTo>
                <a:cubicBezTo>
                  <a:pt x="2887242" y="1475061"/>
                  <a:pt x="2889184" y="1487569"/>
                  <a:pt x="2890884" y="1499703"/>
                </a:cubicBezTo>
                <a:cubicBezTo>
                  <a:pt x="2899870" y="1506797"/>
                  <a:pt x="2908368" y="1514077"/>
                  <a:pt x="2917354" y="1521171"/>
                </a:cubicBezTo>
                <a:cubicBezTo>
                  <a:pt x="2912010" y="1524718"/>
                  <a:pt x="2906668" y="1528078"/>
                  <a:pt x="2901570" y="1531625"/>
                </a:cubicBezTo>
                <a:lnTo>
                  <a:pt x="2901570" y="1558507"/>
                </a:lnTo>
                <a:cubicBezTo>
                  <a:pt x="2897926" y="1565601"/>
                  <a:pt x="2894528" y="1572695"/>
                  <a:pt x="2890884" y="1579788"/>
                </a:cubicBezTo>
                <a:cubicBezTo>
                  <a:pt x="2885542" y="1585015"/>
                  <a:pt x="2880200" y="1590429"/>
                  <a:pt x="2874858" y="1595656"/>
                </a:cubicBezTo>
                <a:cubicBezTo>
                  <a:pt x="2872916" y="1606297"/>
                  <a:pt x="2870972" y="1616937"/>
                  <a:pt x="2869272" y="1627578"/>
                </a:cubicBezTo>
                <a:cubicBezTo>
                  <a:pt x="2874616" y="1638219"/>
                  <a:pt x="2880200" y="1648860"/>
                  <a:pt x="2885542" y="1659500"/>
                </a:cubicBezTo>
                <a:cubicBezTo>
                  <a:pt x="2883842" y="1666408"/>
                  <a:pt x="2881900" y="1673688"/>
                  <a:pt x="2880200" y="1680782"/>
                </a:cubicBezTo>
                <a:lnTo>
                  <a:pt x="2848146" y="1702250"/>
                </a:lnTo>
                <a:cubicBezTo>
                  <a:pt x="2853490" y="1712704"/>
                  <a:pt x="2858832" y="1723345"/>
                  <a:pt x="2864174" y="1733985"/>
                </a:cubicBezTo>
                <a:cubicBezTo>
                  <a:pt x="2860532" y="1741079"/>
                  <a:pt x="2857132" y="1747987"/>
                  <a:pt x="2853490" y="1755267"/>
                </a:cubicBezTo>
                <a:cubicBezTo>
                  <a:pt x="2849846" y="1764041"/>
                  <a:pt x="2846448" y="1773001"/>
                  <a:pt x="2842804" y="1781775"/>
                </a:cubicBezTo>
                <a:lnTo>
                  <a:pt x="2901570" y="1792416"/>
                </a:lnTo>
                <a:cubicBezTo>
                  <a:pt x="2904968" y="1803057"/>
                  <a:pt x="2908368" y="1813698"/>
                  <a:pt x="2912010" y="1824152"/>
                </a:cubicBezTo>
                <a:cubicBezTo>
                  <a:pt x="2917354" y="1829752"/>
                  <a:pt x="2922696" y="1834979"/>
                  <a:pt x="2928038" y="1840393"/>
                </a:cubicBezTo>
                <a:lnTo>
                  <a:pt x="2928038" y="1861674"/>
                </a:lnTo>
                <a:lnTo>
                  <a:pt x="2960092" y="1861674"/>
                </a:lnTo>
                <a:lnTo>
                  <a:pt x="3003072" y="1866901"/>
                </a:lnTo>
                <a:lnTo>
                  <a:pt x="3045324" y="1866901"/>
                </a:lnTo>
                <a:lnTo>
                  <a:pt x="3082476" y="1851033"/>
                </a:lnTo>
                <a:lnTo>
                  <a:pt x="3119872" y="1829752"/>
                </a:lnTo>
                <a:cubicBezTo>
                  <a:pt x="3121572" y="1817245"/>
                  <a:pt x="3123758" y="1805110"/>
                  <a:pt x="3125458" y="1792416"/>
                </a:cubicBezTo>
                <a:cubicBezTo>
                  <a:pt x="3134442" y="1780095"/>
                  <a:pt x="3143184" y="1767588"/>
                  <a:pt x="3151926" y="1755267"/>
                </a:cubicBezTo>
                <a:lnTo>
                  <a:pt x="3205348" y="1755267"/>
                </a:lnTo>
                <a:cubicBezTo>
                  <a:pt x="3212390" y="1758814"/>
                  <a:pt x="3219676" y="1762174"/>
                  <a:pt x="3226718" y="1765721"/>
                </a:cubicBezTo>
                <a:lnTo>
                  <a:pt x="3269212" y="1749853"/>
                </a:lnTo>
                <a:cubicBezTo>
                  <a:pt x="3270912" y="1741079"/>
                  <a:pt x="3272854" y="1732119"/>
                  <a:pt x="3274554" y="1723531"/>
                </a:cubicBezTo>
                <a:lnTo>
                  <a:pt x="3333076" y="1739026"/>
                </a:lnTo>
                <a:cubicBezTo>
                  <a:pt x="3336718" y="1732119"/>
                  <a:pt x="3340118" y="1725025"/>
                  <a:pt x="3343760" y="1717931"/>
                </a:cubicBezTo>
                <a:lnTo>
                  <a:pt x="3402526" y="1702250"/>
                </a:lnTo>
                <a:lnTo>
                  <a:pt x="3402526" y="1654087"/>
                </a:lnTo>
                <a:cubicBezTo>
                  <a:pt x="3407868" y="1643259"/>
                  <a:pt x="3413210" y="1632805"/>
                  <a:pt x="3418552" y="1622165"/>
                </a:cubicBezTo>
                <a:lnTo>
                  <a:pt x="3455948" y="1622165"/>
                </a:lnTo>
                <a:cubicBezTo>
                  <a:pt x="3457648" y="1636352"/>
                  <a:pt x="3459590" y="1650540"/>
                  <a:pt x="3461290" y="1664727"/>
                </a:cubicBezTo>
                <a:cubicBezTo>
                  <a:pt x="3470032" y="1670141"/>
                  <a:pt x="3479016" y="1675368"/>
                  <a:pt x="3488002" y="1680782"/>
                </a:cubicBezTo>
                <a:cubicBezTo>
                  <a:pt x="3489700" y="1671821"/>
                  <a:pt x="3491400" y="1662861"/>
                  <a:pt x="3493100" y="1654087"/>
                </a:cubicBezTo>
                <a:lnTo>
                  <a:pt x="3525154" y="1664727"/>
                </a:lnTo>
                <a:cubicBezTo>
                  <a:pt x="3519812" y="1682462"/>
                  <a:pt x="3514470" y="1700383"/>
                  <a:pt x="3509128" y="1717931"/>
                </a:cubicBezTo>
                <a:lnTo>
                  <a:pt x="3493100" y="1781775"/>
                </a:lnTo>
                <a:cubicBezTo>
                  <a:pt x="3495044" y="1799510"/>
                  <a:pt x="3496986" y="1817245"/>
                  <a:pt x="3498686" y="1834979"/>
                </a:cubicBezTo>
                <a:lnTo>
                  <a:pt x="3540938" y="1834979"/>
                </a:lnTo>
                <a:cubicBezTo>
                  <a:pt x="3537538" y="1819111"/>
                  <a:pt x="3534138" y="1803057"/>
                  <a:pt x="3530496" y="1787189"/>
                </a:cubicBezTo>
                <a:cubicBezTo>
                  <a:pt x="3526854" y="1781775"/>
                  <a:pt x="3523454" y="1776549"/>
                  <a:pt x="3519812" y="1770948"/>
                </a:cubicBezTo>
                <a:cubicBezTo>
                  <a:pt x="3523454" y="1764041"/>
                  <a:pt x="3526854" y="1756947"/>
                  <a:pt x="3530496" y="1749853"/>
                </a:cubicBezTo>
                <a:cubicBezTo>
                  <a:pt x="3540938" y="1755267"/>
                  <a:pt x="3551866" y="1760494"/>
                  <a:pt x="3562550" y="1765721"/>
                </a:cubicBezTo>
                <a:cubicBezTo>
                  <a:pt x="3567892" y="1756947"/>
                  <a:pt x="3573234" y="1747987"/>
                  <a:pt x="3578334" y="1739026"/>
                </a:cubicBezTo>
                <a:cubicBezTo>
                  <a:pt x="3589018" y="1732119"/>
                  <a:pt x="3599460" y="1725025"/>
                  <a:pt x="3610388" y="1717931"/>
                </a:cubicBezTo>
                <a:lnTo>
                  <a:pt x="3642684" y="1702250"/>
                </a:lnTo>
                <a:cubicBezTo>
                  <a:pt x="3647782" y="1693103"/>
                  <a:pt x="3653124" y="1684329"/>
                  <a:pt x="3658468" y="1675555"/>
                </a:cubicBezTo>
                <a:cubicBezTo>
                  <a:pt x="3654824" y="1662861"/>
                  <a:pt x="3651424" y="1650540"/>
                  <a:pt x="3647782" y="1638219"/>
                </a:cubicBezTo>
                <a:cubicBezTo>
                  <a:pt x="3658468" y="1629258"/>
                  <a:pt x="3669394" y="1620484"/>
                  <a:pt x="3680078" y="1611524"/>
                </a:cubicBezTo>
                <a:cubicBezTo>
                  <a:pt x="3683478" y="1599203"/>
                  <a:pt x="3686878" y="1586509"/>
                  <a:pt x="3690520" y="1574375"/>
                </a:cubicBezTo>
                <a:lnTo>
                  <a:pt x="3690520" y="1531625"/>
                </a:lnTo>
                <a:lnTo>
                  <a:pt x="3722332" y="1499703"/>
                </a:lnTo>
                <a:lnTo>
                  <a:pt x="3749286" y="1473194"/>
                </a:lnTo>
                <a:cubicBezTo>
                  <a:pt x="3758028" y="1464420"/>
                  <a:pt x="3766768" y="1455460"/>
                  <a:pt x="3775754" y="1446686"/>
                </a:cubicBezTo>
                <a:cubicBezTo>
                  <a:pt x="3777454" y="1432312"/>
                  <a:pt x="3779396" y="1418311"/>
                  <a:pt x="3781096" y="1404123"/>
                </a:cubicBezTo>
                <a:cubicBezTo>
                  <a:pt x="3782796" y="1395349"/>
                  <a:pt x="3784738" y="1386388"/>
                  <a:pt x="3786196" y="1377615"/>
                </a:cubicBezTo>
                <a:lnTo>
                  <a:pt x="3834276" y="1324224"/>
                </a:lnTo>
                <a:cubicBezTo>
                  <a:pt x="3841318" y="1310223"/>
                  <a:pt x="3848602" y="1296036"/>
                  <a:pt x="3855644" y="1281848"/>
                </a:cubicBezTo>
                <a:cubicBezTo>
                  <a:pt x="3870214" y="1273074"/>
                  <a:pt x="3884298" y="1264113"/>
                  <a:pt x="3898382" y="1255339"/>
                </a:cubicBezTo>
                <a:cubicBezTo>
                  <a:pt x="3902024" y="1230511"/>
                  <a:pt x="3905424" y="1205683"/>
                  <a:pt x="3909066" y="1180854"/>
                </a:cubicBezTo>
                <a:lnTo>
                  <a:pt x="3972930" y="1154159"/>
                </a:lnTo>
                <a:lnTo>
                  <a:pt x="4026352" y="1143519"/>
                </a:lnTo>
                <a:lnTo>
                  <a:pt x="4095560" y="1148932"/>
                </a:lnTo>
                <a:cubicBezTo>
                  <a:pt x="4104300" y="1154159"/>
                  <a:pt x="4113042" y="1159573"/>
                  <a:pt x="4122514" y="1164800"/>
                </a:cubicBezTo>
                <a:lnTo>
                  <a:pt x="4186378" y="1154159"/>
                </a:lnTo>
                <a:cubicBezTo>
                  <a:pt x="4198762" y="1161253"/>
                  <a:pt x="4210904" y="1168533"/>
                  <a:pt x="4223288" y="1175627"/>
                </a:cubicBezTo>
                <a:lnTo>
                  <a:pt x="4292736" y="1212590"/>
                </a:lnTo>
                <a:cubicBezTo>
                  <a:pt x="4300022" y="1221364"/>
                  <a:pt x="4307064" y="1230324"/>
                  <a:pt x="4314348" y="1239098"/>
                </a:cubicBezTo>
                <a:cubicBezTo>
                  <a:pt x="4326732" y="1230324"/>
                  <a:pt x="4338874" y="1221364"/>
                  <a:pt x="4351258" y="1212590"/>
                </a:cubicBezTo>
                <a:cubicBezTo>
                  <a:pt x="4354900" y="1221364"/>
                  <a:pt x="4358300" y="1230511"/>
                  <a:pt x="4362186" y="1239098"/>
                </a:cubicBezTo>
                <a:cubicBezTo>
                  <a:pt x="4353200" y="1251606"/>
                  <a:pt x="4344460" y="1264113"/>
                  <a:pt x="4335474" y="1276621"/>
                </a:cubicBezTo>
                <a:cubicBezTo>
                  <a:pt x="4339116" y="1287262"/>
                  <a:pt x="4342516" y="1297716"/>
                  <a:pt x="4346158" y="1308543"/>
                </a:cubicBezTo>
                <a:cubicBezTo>
                  <a:pt x="4352958" y="1319184"/>
                  <a:pt x="4360242" y="1329638"/>
                  <a:pt x="4367528" y="1340279"/>
                </a:cubicBezTo>
                <a:cubicBezTo>
                  <a:pt x="4369228" y="1356333"/>
                  <a:pt x="4371170" y="1372201"/>
                  <a:pt x="4372870" y="1388255"/>
                </a:cubicBezTo>
                <a:lnTo>
                  <a:pt x="4420708" y="1409723"/>
                </a:lnTo>
                <a:lnTo>
                  <a:pt x="4473886" y="1398896"/>
                </a:lnTo>
                <a:lnTo>
                  <a:pt x="4473886" y="1382841"/>
                </a:lnTo>
                <a:cubicBezTo>
                  <a:pt x="4480928" y="1384708"/>
                  <a:pt x="4488456" y="1386388"/>
                  <a:pt x="4495256" y="1388255"/>
                </a:cubicBezTo>
                <a:lnTo>
                  <a:pt x="4527308" y="1388255"/>
                </a:lnTo>
                <a:cubicBezTo>
                  <a:pt x="4529008" y="1375748"/>
                  <a:pt x="4530952" y="1363427"/>
                  <a:pt x="4532652" y="1350919"/>
                </a:cubicBezTo>
                <a:lnTo>
                  <a:pt x="4570048" y="1335052"/>
                </a:lnTo>
                <a:lnTo>
                  <a:pt x="4618128" y="1350919"/>
                </a:lnTo>
                <a:cubicBezTo>
                  <a:pt x="4626868" y="1354653"/>
                  <a:pt x="4636096" y="1358013"/>
                  <a:pt x="4644838" y="1361560"/>
                </a:cubicBezTo>
                <a:lnTo>
                  <a:pt x="4682234" y="1366974"/>
                </a:lnTo>
                <a:cubicBezTo>
                  <a:pt x="4689276" y="1368841"/>
                  <a:pt x="4696560" y="1370334"/>
                  <a:pt x="4703360" y="1372201"/>
                </a:cubicBezTo>
                <a:cubicBezTo>
                  <a:pt x="4710402" y="1381161"/>
                  <a:pt x="4717444" y="1389935"/>
                  <a:pt x="4724486" y="1398896"/>
                </a:cubicBezTo>
                <a:cubicBezTo>
                  <a:pt x="4728128" y="1407670"/>
                  <a:pt x="4731528" y="1416631"/>
                  <a:pt x="4735414" y="1425404"/>
                </a:cubicBezTo>
                <a:cubicBezTo>
                  <a:pt x="4730072" y="1436232"/>
                  <a:pt x="4724486" y="1446686"/>
                  <a:pt x="4719144" y="1457327"/>
                </a:cubicBezTo>
                <a:cubicBezTo>
                  <a:pt x="4726186" y="1462740"/>
                  <a:pt x="4733714" y="1467967"/>
                  <a:pt x="4740512" y="1473194"/>
                </a:cubicBezTo>
                <a:lnTo>
                  <a:pt x="4777908" y="1473194"/>
                </a:lnTo>
                <a:lnTo>
                  <a:pt x="4777908" y="1499703"/>
                </a:lnTo>
                <a:cubicBezTo>
                  <a:pt x="4772810" y="1506797"/>
                  <a:pt x="4767468" y="1514077"/>
                  <a:pt x="4762124" y="1521171"/>
                </a:cubicBezTo>
                <a:cubicBezTo>
                  <a:pt x="4767468" y="1535359"/>
                  <a:pt x="4772810" y="1549360"/>
                  <a:pt x="4777908" y="1563547"/>
                </a:cubicBezTo>
                <a:lnTo>
                  <a:pt x="4804862" y="1585015"/>
                </a:lnTo>
                <a:cubicBezTo>
                  <a:pt x="4808504" y="1593976"/>
                  <a:pt x="4811662" y="1602750"/>
                  <a:pt x="4815304" y="1611524"/>
                </a:cubicBezTo>
                <a:cubicBezTo>
                  <a:pt x="4818946" y="1624031"/>
                  <a:pt x="4817732" y="1633925"/>
                  <a:pt x="4821376" y="1646433"/>
                </a:cubicBezTo>
                <a:lnTo>
                  <a:pt x="4817044" y="1647721"/>
                </a:lnTo>
                <a:lnTo>
                  <a:pt x="4794572" y="1687400"/>
                </a:lnTo>
                <a:lnTo>
                  <a:pt x="4705572" y="1735426"/>
                </a:lnTo>
                <a:lnTo>
                  <a:pt x="4627020" y="1745997"/>
                </a:lnTo>
                <a:lnTo>
                  <a:pt x="4590370" y="1756643"/>
                </a:lnTo>
                <a:lnTo>
                  <a:pt x="4579894" y="1820755"/>
                </a:lnTo>
                <a:lnTo>
                  <a:pt x="4595622" y="1906083"/>
                </a:lnTo>
                <a:lnTo>
                  <a:pt x="4632272" y="1922092"/>
                </a:lnTo>
                <a:lnTo>
                  <a:pt x="4653224" y="2018144"/>
                </a:lnTo>
                <a:lnTo>
                  <a:pt x="4700320" y="2124843"/>
                </a:lnTo>
                <a:lnTo>
                  <a:pt x="4737000" y="2199525"/>
                </a:lnTo>
                <a:lnTo>
                  <a:pt x="4778872" y="2252990"/>
                </a:lnTo>
                <a:lnTo>
                  <a:pt x="4825998" y="2300939"/>
                </a:lnTo>
                <a:lnTo>
                  <a:pt x="4810300" y="2348965"/>
                </a:lnTo>
                <a:lnTo>
                  <a:pt x="4747446" y="2386344"/>
                </a:lnTo>
                <a:lnTo>
                  <a:pt x="4684622" y="2396991"/>
                </a:lnTo>
                <a:lnTo>
                  <a:pt x="4616544" y="2413000"/>
                </a:lnTo>
                <a:lnTo>
                  <a:pt x="4553720" y="2413000"/>
                </a:lnTo>
                <a:lnTo>
                  <a:pt x="4527546" y="2413000"/>
                </a:lnTo>
                <a:lnTo>
                  <a:pt x="4523854" y="2403861"/>
                </a:lnTo>
                <a:cubicBezTo>
                  <a:pt x="4524058" y="2406173"/>
                  <a:pt x="4524264" y="2408485"/>
                  <a:pt x="4524472" y="2410797"/>
                </a:cubicBezTo>
                <a:cubicBezTo>
                  <a:pt x="4505222" y="2386280"/>
                  <a:pt x="4486340" y="2361763"/>
                  <a:pt x="4467090" y="2337245"/>
                </a:cubicBezTo>
                <a:lnTo>
                  <a:pt x="4418964" y="2305051"/>
                </a:lnTo>
                <a:lnTo>
                  <a:pt x="4333816" y="2321148"/>
                </a:lnTo>
                <a:lnTo>
                  <a:pt x="4249040" y="2353095"/>
                </a:lnTo>
                <a:cubicBezTo>
                  <a:pt x="4236452" y="2369192"/>
                  <a:pt x="4224236" y="2385290"/>
                  <a:pt x="4211648" y="2401387"/>
                </a:cubicBezTo>
                <a:cubicBezTo>
                  <a:pt x="4199062" y="2404854"/>
                  <a:pt x="4186846" y="2408569"/>
                  <a:pt x="4174258" y="2412036"/>
                </a:cubicBezTo>
                <a:cubicBezTo>
                  <a:pt x="4177960" y="2445964"/>
                  <a:pt x="4181292" y="2479644"/>
                  <a:pt x="4184994" y="2513572"/>
                </a:cubicBezTo>
                <a:lnTo>
                  <a:pt x="4105400" y="2567065"/>
                </a:lnTo>
                <a:cubicBezTo>
                  <a:pt x="4089482" y="2579695"/>
                  <a:pt x="4073192" y="2592077"/>
                  <a:pt x="4057274" y="2604707"/>
                </a:cubicBezTo>
                <a:lnTo>
                  <a:pt x="4009516" y="2615356"/>
                </a:lnTo>
                <a:lnTo>
                  <a:pt x="3940288" y="2636654"/>
                </a:lnTo>
                <a:lnTo>
                  <a:pt x="3828858" y="2647303"/>
                </a:lnTo>
                <a:lnTo>
                  <a:pt x="3764812" y="2631206"/>
                </a:lnTo>
                <a:lnTo>
                  <a:pt x="3679664" y="2604707"/>
                </a:lnTo>
                <a:lnTo>
                  <a:pt x="3621172" y="2604707"/>
                </a:lnTo>
                <a:cubicBezTo>
                  <a:pt x="3610436" y="2608175"/>
                  <a:pt x="3600070" y="2611889"/>
                  <a:pt x="3589334" y="2615356"/>
                </a:cubicBezTo>
                <a:lnTo>
                  <a:pt x="3541578" y="2626005"/>
                </a:lnTo>
                <a:lnTo>
                  <a:pt x="3461614" y="2588610"/>
                </a:lnTo>
                <a:lnTo>
                  <a:pt x="3387202" y="2561864"/>
                </a:lnTo>
                <a:lnTo>
                  <a:pt x="3323528" y="2551215"/>
                </a:lnTo>
                <a:lnTo>
                  <a:pt x="3259482" y="2567065"/>
                </a:lnTo>
                <a:cubicBezTo>
                  <a:pt x="3247266" y="2575980"/>
                  <a:pt x="3234678" y="2584895"/>
                  <a:pt x="3222462" y="2593811"/>
                </a:cubicBezTo>
                <a:lnTo>
                  <a:pt x="3153234" y="2599259"/>
                </a:lnTo>
                <a:lnTo>
                  <a:pt x="3126578" y="2599259"/>
                </a:lnTo>
                <a:lnTo>
                  <a:pt x="3078822" y="2620557"/>
                </a:lnTo>
                <a:lnTo>
                  <a:pt x="3036248" y="2657952"/>
                </a:lnTo>
                <a:cubicBezTo>
                  <a:pt x="3022180" y="2663401"/>
                  <a:pt x="3007744" y="2668601"/>
                  <a:pt x="2993676" y="2674049"/>
                </a:cubicBezTo>
                <a:cubicBezTo>
                  <a:pt x="2981088" y="2686432"/>
                  <a:pt x="2968872" y="2699062"/>
                  <a:pt x="2956284" y="2711445"/>
                </a:cubicBezTo>
                <a:lnTo>
                  <a:pt x="2892610" y="2732990"/>
                </a:lnTo>
                <a:cubicBezTo>
                  <a:pt x="2880022" y="2745373"/>
                  <a:pt x="2867806" y="2758003"/>
                  <a:pt x="2855218" y="2770385"/>
                </a:cubicBezTo>
                <a:cubicBezTo>
                  <a:pt x="2844482" y="2788216"/>
                  <a:pt x="2834116" y="2806047"/>
                  <a:pt x="2823380" y="2823878"/>
                </a:cubicBezTo>
                <a:lnTo>
                  <a:pt x="2871138" y="2866721"/>
                </a:lnTo>
                <a:cubicBezTo>
                  <a:pt x="2887056" y="2896935"/>
                  <a:pt x="2903346" y="2927395"/>
                  <a:pt x="2919264" y="2957609"/>
                </a:cubicBezTo>
                <a:cubicBezTo>
                  <a:pt x="2910380" y="2977173"/>
                  <a:pt x="2901494" y="2996985"/>
                  <a:pt x="2892610" y="3016549"/>
                </a:cubicBezTo>
                <a:cubicBezTo>
                  <a:pt x="2880022" y="3028932"/>
                  <a:pt x="2867806" y="3041562"/>
                  <a:pt x="2855218" y="3053945"/>
                </a:cubicBezTo>
                <a:cubicBezTo>
                  <a:pt x="2850036" y="3070042"/>
                  <a:pt x="2844482" y="3085891"/>
                  <a:pt x="2839300" y="3101989"/>
                </a:cubicBezTo>
                <a:cubicBezTo>
                  <a:pt x="2837448" y="3127001"/>
                  <a:pt x="2835968" y="3152014"/>
                  <a:pt x="2834116" y="3177027"/>
                </a:cubicBezTo>
                <a:cubicBezTo>
                  <a:pt x="2839300" y="3191143"/>
                  <a:pt x="2844852" y="3205506"/>
                  <a:pt x="2850036" y="3219623"/>
                </a:cubicBezTo>
                <a:lnTo>
                  <a:pt x="2897792" y="3278563"/>
                </a:lnTo>
                <a:cubicBezTo>
                  <a:pt x="2911860" y="3294660"/>
                  <a:pt x="2926298" y="3310510"/>
                  <a:pt x="2940366" y="3326607"/>
                </a:cubicBezTo>
                <a:cubicBezTo>
                  <a:pt x="2942216" y="3351620"/>
                  <a:pt x="2943698" y="3376633"/>
                  <a:pt x="2945548" y="3401645"/>
                </a:cubicBezTo>
                <a:cubicBezTo>
                  <a:pt x="2940366" y="3431859"/>
                  <a:pt x="2934812" y="3462319"/>
                  <a:pt x="2929630" y="3492533"/>
                </a:cubicBezTo>
                <a:cubicBezTo>
                  <a:pt x="2934812" y="3524727"/>
                  <a:pt x="2940366" y="3556674"/>
                  <a:pt x="2945548" y="3588869"/>
                </a:cubicBezTo>
                <a:lnTo>
                  <a:pt x="2945548" y="3653010"/>
                </a:lnTo>
                <a:cubicBezTo>
                  <a:pt x="2956284" y="3674308"/>
                  <a:pt x="2967020" y="3695853"/>
                  <a:pt x="2977756" y="3717151"/>
                </a:cubicBezTo>
                <a:lnTo>
                  <a:pt x="2945548" y="3797390"/>
                </a:lnTo>
                <a:cubicBezTo>
                  <a:pt x="2927778" y="3808039"/>
                  <a:pt x="2910380" y="3818935"/>
                  <a:pt x="2892610" y="3829585"/>
                </a:cubicBezTo>
                <a:cubicBezTo>
                  <a:pt x="2887426" y="3850882"/>
                  <a:pt x="2881874" y="3872428"/>
                  <a:pt x="2876690" y="3893726"/>
                </a:cubicBezTo>
                <a:cubicBezTo>
                  <a:pt x="2864104" y="3916757"/>
                  <a:pt x="2851886" y="3940036"/>
                  <a:pt x="2839300" y="3963068"/>
                </a:cubicBezTo>
                <a:lnTo>
                  <a:pt x="2791544" y="4032657"/>
                </a:lnTo>
                <a:lnTo>
                  <a:pt x="2727498" y="4086150"/>
                </a:lnTo>
                <a:lnTo>
                  <a:pt x="2669006" y="4134441"/>
                </a:lnTo>
                <a:cubicBezTo>
                  <a:pt x="2651236" y="4154006"/>
                  <a:pt x="2633836" y="4173570"/>
                  <a:pt x="2616066" y="4193135"/>
                </a:cubicBezTo>
                <a:lnTo>
                  <a:pt x="2546838" y="4252075"/>
                </a:lnTo>
                <a:cubicBezTo>
                  <a:pt x="2523886" y="4275355"/>
                  <a:pt x="2500562" y="4298386"/>
                  <a:pt x="2477610" y="4321665"/>
                </a:cubicBezTo>
                <a:cubicBezTo>
                  <a:pt x="2456508" y="4357327"/>
                  <a:pt x="2435036" y="4392988"/>
                  <a:pt x="2413934" y="4428650"/>
                </a:cubicBezTo>
                <a:lnTo>
                  <a:pt x="2349890" y="4503440"/>
                </a:lnTo>
                <a:lnTo>
                  <a:pt x="2291396" y="4562133"/>
                </a:lnTo>
                <a:lnTo>
                  <a:pt x="2211802" y="4594328"/>
                </a:lnTo>
                <a:lnTo>
                  <a:pt x="2153310" y="4621074"/>
                </a:lnTo>
                <a:cubicBezTo>
                  <a:pt x="2146276" y="4631723"/>
                  <a:pt x="2138872" y="4642619"/>
                  <a:pt x="2131838" y="4653268"/>
                </a:cubicBezTo>
                <a:cubicBezTo>
                  <a:pt x="2128136" y="4676300"/>
                  <a:pt x="2124804" y="4699579"/>
                  <a:pt x="2121102" y="4722610"/>
                </a:cubicBezTo>
                <a:lnTo>
                  <a:pt x="2078900" y="4733507"/>
                </a:lnTo>
                <a:lnTo>
                  <a:pt x="2030772" y="4738707"/>
                </a:lnTo>
                <a:lnTo>
                  <a:pt x="1983016" y="4776103"/>
                </a:lnTo>
                <a:lnTo>
                  <a:pt x="1887134" y="4749357"/>
                </a:lnTo>
                <a:lnTo>
                  <a:pt x="1823458" y="4754805"/>
                </a:lnTo>
                <a:lnTo>
                  <a:pt x="1775702" y="4776103"/>
                </a:lnTo>
                <a:cubicBezTo>
                  <a:pt x="1763114" y="4777836"/>
                  <a:pt x="1750898" y="4779817"/>
                  <a:pt x="1738310" y="4781551"/>
                </a:cubicBezTo>
                <a:lnTo>
                  <a:pt x="1685002" y="4744156"/>
                </a:lnTo>
                <a:lnTo>
                  <a:pt x="1610590" y="4680015"/>
                </a:lnTo>
                <a:lnTo>
                  <a:pt x="1552098" y="4631723"/>
                </a:lnTo>
                <a:cubicBezTo>
                  <a:pt x="1539882" y="4617359"/>
                  <a:pt x="1527294" y="4603243"/>
                  <a:pt x="1515078" y="4588879"/>
                </a:cubicBezTo>
                <a:lnTo>
                  <a:pt x="1440296" y="4567581"/>
                </a:lnTo>
                <a:lnTo>
                  <a:pt x="1376620" y="4540835"/>
                </a:lnTo>
                <a:cubicBezTo>
                  <a:pt x="1357000" y="4521271"/>
                  <a:pt x="1337750" y="4501459"/>
                  <a:pt x="1318128" y="4481895"/>
                </a:cubicBezTo>
                <a:lnTo>
                  <a:pt x="1270372" y="4449948"/>
                </a:lnTo>
                <a:cubicBezTo>
                  <a:pt x="1245568" y="4426669"/>
                  <a:pt x="1220394" y="4403637"/>
                  <a:pt x="1195590" y="4380358"/>
                </a:cubicBezTo>
                <a:lnTo>
                  <a:pt x="1110814" y="4310769"/>
                </a:lnTo>
                <a:cubicBezTo>
                  <a:pt x="1098226" y="4298386"/>
                  <a:pt x="1086010" y="4285756"/>
                  <a:pt x="1073424" y="4273373"/>
                </a:cubicBezTo>
                <a:cubicBezTo>
                  <a:pt x="1066390" y="4266191"/>
                  <a:pt x="1059356" y="4259257"/>
                  <a:pt x="1052322" y="4252075"/>
                </a:cubicBezTo>
                <a:cubicBezTo>
                  <a:pt x="1039734" y="4227063"/>
                  <a:pt x="1027518" y="4202050"/>
                  <a:pt x="1014930" y="4177037"/>
                </a:cubicBezTo>
                <a:lnTo>
                  <a:pt x="956438" y="4145091"/>
                </a:lnTo>
                <a:lnTo>
                  <a:pt x="903128" y="4145091"/>
                </a:lnTo>
                <a:lnTo>
                  <a:pt x="850190" y="4161188"/>
                </a:lnTo>
                <a:lnTo>
                  <a:pt x="812798" y="4182486"/>
                </a:lnTo>
                <a:lnTo>
                  <a:pt x="812430" y="4178299"/>
                </a:lnTo>
                <a:lnTo>
                  <a:pt x="787652" y="4178299"/>
                </a:lnTo>
                <a:lnTo>
                  <a:pt x="762696" y="4159606"/>
                </a:lnTo>
                <a:cubicBezTo>
                  <a:pt x="757918" y="4151587"/>
                  <a:pt x="753076" y="4143595"/>
                  <a:pt x="748300" y="4135576"/>
                </a:cubicBezTo>
                <a:lnTo>
                  <a:pt x="748300" y="4120892"/>
                </a:lnTo>
                <a:lnTo>
                  <a:pt x="729880" y="4110218"/>
                </a:lnTo>
                <a:cubicBezTo>
                  <a:pt x="725542" y="4113785"/>
                  <a:pt x="721142" y="4117325"/>
                  <a:pt x="716804" y="4120892"/>
                </a:cubicBezTo>
                <a:lnTo>
                  <a:pt x="680028" y="4120892"/>
                </a:lnTo>
                <a:lnTo>
                  <a:pt x="648532" y="4131567"/>
                </a:lnTo>
                <a:lnTo>
                  <a:pt x="627536" y="4135576"/>
                </a:lnTo>
                <a:lnTo>
                  <a:pt x="598682" y="4124902"/>
                </a:lnTo>
                <a:cubicBezTo>
                  <a:pt x="593840" y="4120007"/>
                  <a:pt x="589062" y="4115113"/>
                  <a:pt x="584222" y="4110218"/>
                </a:cubicBezTo>
                <a:cubicBezTo>
                  <a:pt x="586862" y="4101757"/>
                  <a:pt x="589440" y="4093295"/>
                  <a:pt x="592080" y="4084834"/>
                </a:cubicBezTo>
                <a:lnTo>
                  <a:pt x="552726" y="4078169"/>
                </a:lnTo>
                <a:lnTo>
                  <a:pt x="523872" y="4060804"/>
                </a:lnTo>
                <a:lnTo>
                  <a:pt x="498914" y="4046120"/>
                </a:lnTo>
                <a:lnTo>
                  <a:pt x="481878" y="4035446"/>
                </a:lnTo>
                <a:lnTo>
                  <a:pt x="446422" y="4039455"/>
                </a:lnTo>
                <a:lnTo>
                  <a:pt x="413608" y="4020762"/>
                </a:lnTo>
                <a:lnTo>
                  <a:pt x="389970" y="3999388"/>
                </a:lnTo>
                <a:lnTo>
                  <a:pt x="365076" y="3950000"/>
                </a:lnTo>
                <a:lnTo>
                  <a:pt x="342758" y="3950000"/>
                </a:lnTo>
                <a:lnTo>
                  <a:pt x="311264" y="3935316"/>
                </a:lnTo>
                <a:lnTo>
                  <a:pt x="275808" y="3924616"/>
                </a:lnTo>
                <a:lnTo>
                  <a:pt x="250850" y="3917951"/>
                </a:lnTo>
                <a:lnTo>
                  <a:pt x="225368" y="3917951"/>
                </a:lnTo>
                <a:lnTo>
                  <a:pt x="197050" y="3933842"/>
                </a:lnTo>
                <a:lnTo>
                  <a:pt x="196282" y="3932502"/>
                </a:lnTo>
                <a:lnTo>
                  <a:pt x="190500" y="3935316"/>
                </a:lnTo>
                <a:lnTo>
                  <a:pt x="195998" y="3932007"/>
                </a:lnTo>
                <a:cubicBezTo>
                  <a:pt x="185544" y="3916512"/>
                  <a:pt x="175218" y="3892629"/>
                  <a:pt x="164892" y="3877707"/>
                </a:cubicBezTo>
                <a:lnTo>
                  <a:pt x="136360" y="3855977"/>
                </a:lnTo>
                <a:lnTo>
                  <a:pt x="111136" y="3805877"/>
                </a:lnTo>
                <a:lnTo>
                  <a:pt x="53756" y="3744913"/>
                </a:lnTo>
                <a:lnTo>
                  <a:pt x="0" y="3687570"/>
                </a:lnTo>
                <a:cubicBezTo>
                  <a:pt x="4730" y="3664835"/>
                  <a:pt x="9616" y="3641897"/>
                  <a:pt x="14346" y="3619363"/>
                </a:cubicBezTo>
                <a:lnTo>
                  <a:pt x="46662" y="3612119"/>
                </a:lnTo>
                <a:lnTo>
                  <a:pt x="68100" y="3608699"/>
                </a:lnTo>
                <a:cubicBezTo>
                  <a:pt x="71726" y="3601456"/>
                  <a:pt x="75194" y="3594011"/>
                  <a:pt x="78978" y="3586969"/>
                </a:cubicBezTo>
                <a:lnTo>
                  <a:pt x="104042" y="3579927"/>
                </a:lnTo>
                <a:cubicBezTo>
                  <a:pt x="111136" y="3583549"/>
                  <a:pt x="118388" y="3586969"/>
                  <a:pt x="125482" y="3590792"/>
                </a:cubicBezTo>
                <a:lnTo>
                  <a:pt x="168518" y="3608699"/>
                </a:lnTo>
                <a:lnTo>
                  <a:pt x="204460" y="3597834"/>
                </a:lnTo>
                <a:lnTo>
                  <a:pt x="204460" y="3572684"/>
                </a:lnTo>
                <a:lnTo>
                  <a:pt x="204460" y="3526206"/>
                </a:lnTo>
                <a:lnTo>
                  <a:pt x="229366" y="3501056"/>
                </a:lnTo>
                <a:lnTo>
                  <a:pt x="250964" y="3465041"/>
                </a:lnTo>
                <a:cubicBezTo>
                  <a:pt x="241506" y="3452767"/>
                  <a:pt x="231732" y="3441098"/>
                  <a:pt x="222274" y="3429025"/>
                </a:cubicBezTo>
                <a:cubicBezTo>
                  <a:pt x="224638" y="3415947"/>
                  <a:pt x="227002" y="3402668"/>
                  <a:pt x="229366" y="3389590"/>
                </a:cubicBezTo>
                <a:cubicBezTo>
                  <a:pt x="234096" y="3380133"/>
                  <a:pt x="239140" y="3370476"/>
                  <a:pt x="243870" y="3361019"/>
                </a:cubicBezTo>
                <a:cubicBezTo>
                  <a:pt x="240244" y="3354983"/>
                  <a:pt x="236776" y="3348947"/>
                  <a:pt x="232992" y="3342911"/>
                </a:cubicBezTo>
                <a:lnTo>
                  <a:pt x="250964" y="3317962"/>
                </a:lnTo>
                <a:lnTo>
                  <a:pt x="283122" y="3317962"/>
                </a:lnTo>
                <a:lnTo>
                  <a:pt x="304720" y="3314340"/>
                </a:lnTo>
                <a:cubicBezTo>
                  <a:pt x="302354" y="3302067"/>
                  <a:pt x="299990" y="3290397"/>
                  <a:pt x="297626" y="3278526"/>
                </a:cubicBezTo>
                <a:cubicBezTo>
                  <a:pt x="292896" y="3260418"/>
                  <a:pt x="287852" y="3242511"/>
                  <a:pt x="283122" y="3224604"/>
                </a:cubicBezTo>
                <a:cubicBezTo>
                  <a:pt x="285486" y="3212532"/>
                  <a:pt x="288010" y="3200661"/>
                  <a:pt x="290532" y="3188790"/>
                </a:cubicBezTo>
                <a:cubicBezTo>
                  <a:pt x="292896" y="3175511"/>
                  <a:pt x="295260" y="3162433"/>
                  <a:pt x="297626" y="3149153"/>
                </a:cubicBezTo>
                <a:lnTo>
                  <a:pt x="326158" y="3127826"/>
                </a:lnTo>
                <a:cubicBezTo>
                  <a:pt x="328522" y="3115753"/>
                  <a:pt x="331046" y="3103681"/>
                  <a:pt x="333410" y="3091811"/>
                </a:cubicBezTo>
                <a:cubicBezTo>
                  <a:pt x="338138" y="3080945"/>
                  <a:pt x="343184" y="3070483"/>
                  <a:pt x="347912" y="3059417"/>
                </a:cubicBezTo>
                <a:lnTo>
                  <a:pt x="387166" y="3045333"/>
                </a:lnTo>
                <a:lnTo>
                  <a:pt x="426576" y="3059417"/>
                </a:lnTo>
                <a:lnTo>
                  <a:pt x="455424" y="3019981"/>
                </a:lnTo>
                <a:lnTo>
                  <a:pt x="455424" y="2994831"/>
                </a:lnTo>
                <a:cubicBezTo>
                  <a:pt x="461414" y="2990203"/>
                  <a:pt x="467246" y="2985374"/>
                  <a:pt x="473236" y="2980546"/>
                </a:cubicBezTo>
                <a:lnTo>
                  <a:pt x="473236" y="2944732"/>
                </a:lnTo>
                <a:lnTo>
                  <a:pt x="505554" y="2933867"/>
                </a:lnTo>
                <a:lnTo>
                  <a:pt x="537712" y="2933867"/>
                </a:lnTo>
                <a:cubicBezTo>
                  <a:pt x="542440" y="2927831"/>
                  <a:pt x="547328" y="2921996"/>
                  <a:pt x="552214" y="2915960"/>
                </a:cubicBezTo>
                <a:cubicBezTo>
                  <a:pt x="549692" y="2902881"/>
                  <a:pt x="547328" y="2889401"/>
                  <a:pt x="544964" y="2876323"/>
                </a:cubicBezTo>
                <a:lnTo>
                  <a:pt x="519898" y="2854794"/>
                </a:lnTo>
                <a:cubicBezTo>
                  <a:pt x="524628" y="2841716"/>
                  <a:pt x="529514" y="2828437"/>
                  <a:pt x="534244" y="2815359"/>
                </a:cubicBezTo>
                <a:cubicBezTo>
                  <a:pt x="531880" y="2802280"/>
                  <a:pt x="529356" y="2789001"/>
                  <a:pt x="526992" y="2775923"/>
                </a:cubicBezTo>
                <a:lnTo>
                  <a:pt x="494676" y="2782764"/>
                </a:lnTo>
                <a:lnTo>
                  <a:pt x="466142" y="2754394"/>
                </a:lnTo>
                <a:lnTo>
                  <a:pt x="505554" y="2740109"/>
                </a:lnTo>
                <a:lnTo>
                  <a:pt x="505554" y="2722001"/>
                </a:lnTo>
                <a:lnTo>
                  <a:pt x="440920" y="2704094"/>
                </a:lnTo>
                <a:lnTo>
                  <a:pt x="440920" y="2686187"/>
                </a:lnTo>
                <a:cubicBezTo>
                  <a:pt x="445650" y="2675322"/>
                  <a:pt x="450694" y="2664658"/>
                  <a:pt x="455424" y="2653994"/>
                </a:cubicBezTo>
                <a:lnTo>
                  <a:pt x="480488" y="2585585"/>
                </a:lnTo>
                <a:lnTo>
                  <a:pt x="534244" y="2503093"/>
                </a:lnTo>
                <a:cubicBezTo>
                  <a:pt x="547328" y="2474321"/>
                  <a:pt x="560570" y="2445750"/>
                  <a:pt x="573654" y="2416978"/>
                </a:cubicBezTo>
                <a:cubicBezTo>
                  <a:pt x="579644" y="2421807"/>
                  <a:pt x="585476" y="2426837"/>
                  <a:pt x="591468" y="2431263"/>
                </a:cubicBezTo>
                <a:lnTo>
                  <a:pt x="641754" y="2442128"/>
                </a:lnTo>
                <a:lnTo>
                  <a:pt x="691884" y="2442128"/>
                </a:lnTo>
                <a:lnTo>
                  <a:pt x="731452" y="2442128"/>
                </a:lnTo>
                <a:lnTo>
                  <a:pt x="770862" y="2474321"/>
                </a:lnTo>
                <a:lnTo>
                  <a:pt x="799552" y="2467279"/>
                </a:lnTo>
                <a:lnTo>
                  <a:pt x="828244" y="2442128"/>
                </a:lnTo>
                <a:lnTo>
                  <a:pt x="885624" y="2442128"/>
                </a:lnTo>
                <a:cubicBezTo>
                  <a:pt x="891614" y="2430056"/>
                  <a:pt x="897448" y="2418185"/>
                  <a:pt x="903438" y="2406314"/>
                </a:cubicBezTo>
                <a:cubicBezTo>
                  <a:pt x="910532" y="2384786"/>
                  <a:pt x="917784" y="2363257"/>
                  <a:pt x="925034" y="2341728"/>
                </a:cubicBezTo>
                <a:lnTo>
                  <a:pt x="982416" y="2327041"/>
                </a:lnTo>
                <a:lnTo>
                  <a:pt x="1021826" y="2341728"/>
                </a:lnTo>
                <a:cubicBezTo>
                  <a:pt x="1019462" y="2349978"/>
                  <a:pt x="1016938" y="2358428"/>
                  <a:pt x="1014574" y="2366879"/>
                </a:cubicBezTo>
                <a:cubicBezTo>
                  <a:pt x="1015836" y="2383578"/>
                  <a:pt x="1016938" y="2400479"/>
                  <a:pt x="1018200" y="2416978"/>
                </a:cubicBezTo>
                <a:lnTo>
                  <a:pt x="1068330" y="2438507"/>
                </a:lnTo>
                <a:cubicBezTo>
                  <a:pt x="1074320" y="2466071"/>
                  <a:pt x="1080468" y="2493435"/>
                  <a:pt x="1086458" y="2521000"/>
                </a:cubicBezTo>
                <a:lnTo>
                  <a:pt x="1154560" y="2560435"/>
                </a:lnTo>
                <a:lnTo>
                  <a:pt x="1172372" y="2546150"/>
                </a:lnTo>
                <a:lnTo>
                  <a:pt x="1204688" y="2531865"/>
                </a:lnTo>
                <a:lnTo>
                  <a:pt x="1179466" y="2481765"/>
                </a:lnTo>
                <a:cubicBezTo>
                  <a:pt x="1181830" y="2467279"/>
                  <a:pt x="1184510" y="2452792"/>
                  <a:pt x="1186876" y="2438507"/>
                </a:cubicBezTo>
                <a:cubicBezTo>
                  <a:pt x="1183250" y="2424221"/>
                  <a:pt x="1179624" y="2409735"/>
                  <a:pt x="1175998" y="2395449"/>
                </a:cubicBezTo>
                <a:lnTo>
                  <a:pt x="1204688" y="2402693"/>
                </a:lnTo>
                <a:lnTo>
                  <a:pt x="1226128" y="2395449"/>
                </a:lnTo>
                <a:cubicBezTo>
                  <a:pt x="1232118" y="2381164"/>
                  <a:pt x="1238108" y="2366879"/>
                  <a:pt x="1244098" y="2352392"/>
                </a:cubicBezTo>
                <a:cubicBezTo>
                  <a:pt x="1240474" y="2344143"/>
                  <a:pt x="1237004" y="2335491"/>
                  <a:pt x="1233222" y="2327041"/>
                </a:cubicBezTo>
                <a:lnTo>
                  <a:pt x="1265696" y="2295049"/>
                </a:lnTo>
                <a:lnTo>
                  <a:pt x="1305106" y="2284386"/>
                </a:lnTo>
                <a:lnTo>
                  <a:pt x="1337264" y="2255413"/>
                </a:lnTo>
                <a:cubicBezTo>
                  <a:pt x="1346880" y="2238713"/>
                  <a:pt x="1356496" y="2222214"/>
                  <a:pt x="1365956" y="2205313"/>
                </a:cubicBezTo>
                <a:lnTo>
                  <a:pt x="1434056" y="2187406"/>
                </a:lnTo>
                <a:cubicBezTo>
                  <a:pt x="1437682" y="2174127"/>
                  <a:pt x="1441150" y="2161049"/>
                  <a:pt x="1444776" y="2147769"/>
                </a:cubicBezTo>
                <a:lnTo>
                  <a:pt x="1480718" y="2104712"/>
                </a:lnTo>
                <a:lnTo>
                  <a:pt x="1509408" y="2090628"/>
                </a:lnTo>
                <a:cubicBezTo>
                  <a:pt x="1514136" y="2078556"/>
                  <a:pt x="1519024" y="2066484"/>
                  <a:pt x="1523754" y="2054613"/>
                </a:cubicBezTo>
                <a:lnTo>
                  <a:pt x="1480718" y="2008135"/>
                </a:lnTo>
                <a:lnTo>
                  <a:pt x="1480718" y="1943348"/>
                </a:lnTo>
                <a:lnTo>
                  <a:pt x="1509408" y="1932483"/>
                </a:lnTo>
                <a:lnTo>
                  <a:pt x="1556070" y="1921819"/>
                </a:lnTo>
                <a:lnTo>
                  <a:pt x="1580556" y="1894316"/>
                </a:lnTo>
                <a:lnTo>
                  <a:pt x="1581148" y="1890833"/>
                </a:lnTo>
                <a:lnTo>
                  <a:pt x="1596990" y="1890833"/>
                </a:lnTo>
                <a:lnTo>
                  <a:pt x="1628590" y="1890833"/>
                </a:lnTo>
                <a:lnTo>
                  <a:pt x="1649714" y="1890833"/>
                </a:lnTo>
                <a:lnTo>
                  <a:pt x="1670752" y="1901406"/>
                </a:lnTo>
                <a:lnTo>
                  <a:pt x="1654994" y="1917476"/>
                </a:lnTo>
                <a:lnTo>
                  <a:pt x="1654994" y="1933547"/>
                </a:lnTo>
                <a:lnTo>
                  <a:pt x="1654994" y="1965477"/>
                </a:lnTo>
                <a:lnTo>
                  <a:pt x="1686594" y="1992120"/>
                </a:lnTo>
                <a:lnTo>
                  <a:pt x="1697156" y="2007979"/>
                </a:lnTo>
                <a:lnTo>
                  <a:pt x="1728756" y="2018763"/>
                </a:lnTo>
                <a:lnTo>
                  <a:pt x="1760356" y="2018763"/>
                </a:lnTo>
                <a:lnTo>
                  <a:pt x="1797320" y="2034622"/>
                </a:lnTo>
                <a:cubicBezTo>
                  <a:pt x="1800840" y="2048790"/>
                  <a:pt x="1804278" y="2063169"/>
                  <a:pt x="1807798" y="2077336"/>
                </a:cubicBezTo>
                <a:lnTo>
                  <a:pt x="1828920" y="2077336"/>
                </a:lnTo>
                <a:lnTo>
                  <a:pt x="1828920" y="2055979"/>
                </a:lnTo>
                <a:lnTo>
                  <a:pt x="1855240" y="2061266"/>
                </a:lnTo>
                <a:lnTo>
                  <a:pt x="1886924" y="2082623"/>
                </a:lnTo>
                <a:lnTo>
                  <a:pt x="1897486" y="2114553"/>
                </a:lnTo>
                <a:lnTo>
                  <a:pt x="1929086" y="2109266"/>
                </a:lnTo>
                <a:lnTo>
                  <a:pt x="1971248" y="2098482"/>
                </a:lnTo>
                <a:lnTo>
                  <a:pt x="1971248" y="2066552"/>
                </a:lnTo>
                <a:lnTo>
                  <a:pt x="1960686" y="2029336"/>
                </a:lnTo>
                <a:lnTo>
                  <a:pt x="1976528" y="1992120"/>
                </a:lnTo>
                <a:lnTo>
                  <a:pt x="2018690" y="1986622"/>
                </a:lnTo>
                <a:lnTo>
                  <a:pt x="2039812" y="1954692"/>
                </a:lnTo>
                <a:lnTo>
                  <a:pt x="2076692" y="1944119"/>
                </a:lnTo>
                <a:cubicBezTo>
                  <a:pt x="2074932" y="1931644"/>
                  <a:pt x="2073172" y="1919379"/>
                  <a:pt x="2071412" y="1906903"/>
                </a:cubicBezTo>
                <a:lnTo>
                  <a:pt x="2039812" y="1869476"/>
                </a:lnTo>
                <a:lnTo>
                  <a:pt x="2029250" y="1821687"/>
                </a:lnTo>
                <a:lnTo>
                  <a:pt x="1992370" y="1810903"/>
                </a:lnTo>
                <a:lnTo>
                  <a:pt x="1960686" y="1800330"/>
                </a:lnTo>
                <a:lnTo>
                  <a:pt x="1960686" y="1768400"/>
                </a:lnTo>
                <a:cubicBezTo>
                  <a:pt x="1962446" y="1754233"/>
                  <a:pt x="1964206" y="1739854"/>
                  <a:pt x="1965966" y="1725686"/>
                </a:cubicBezTo>
                <a:cubicBezTo>
                  <a:pt x="1967726" y="1713210"/>
                  <a:pt x="1969486" y="1700946"/>
                  <a:pt x="1971248" y="1688470"/>
                </a:cubicBezTo>
                <a:lnTo>
                  <a:pt x="1992370" y="1656540"/>
                </a:lnTo>
                <a:lnTo>
                  <a:pt x="2018690" y="1651254"/>
                </a:lnTo>
                <a:lnTo>
                  <a:pt x="2066132" y="1661827"/>
                </a:lnTo>
                <a:lnTo>
                  <a:pt x="2076692" y="1640470"/>
                </a:lnTo>
                <a:cubicBezTo>
                  <a:pt x="2074932" y="1627994"/>
                  <a:pt x="2073172" y="1615729"/>
                  <a:pt x="2071412" y="1603254"/>
                </a:cubicBezTo>
                <a:lnTo>
                  <a:pt x="2060850" y="1560540"/>
                </a:lnTo>
                <a:lnTo>
                  <a:pt x="2076692" y="1533896"/>
                </a:lnTo>
                <a:lnTo>
                  <a:pt x="2076692" y="1507253"/>
                </a:lnTo>
                <a:lnTo>
                  <a:pt x="2023970" y="1501967"/>
                </a:lnTo>
                <a:lnTo>
                  <a:pt x="1987090" y="1507253"/>
                </a:lnTo>
                <a:lnTo>
                  <a:pt x="1934366" y="1486107"/>
                </a:lnTo>
                <a:lnTo>
                  <a:pt x="1907962" y="1438107"/>
                </a:lnTo>
                <a:lnTo>
                  <a:pt x="1871082" y="1395393"/>
                </a:lnTo>
                <a:lnTo>
                  <a:pt x="1886924" y="1352891"/>
                </a:lnTo>
                <a:lnTo>
                  <a:pt x="1860520" y="1342318"/>
                </a:lnTo>
                <a:lnTo>
                  <a:pt x="1860520" y="1315675"/>
                </a:lnTo>
                <a:lnTo>
                  <a:pt x="1871082" y="1278247"/>
                </a:lnTo>
                <a:lnTo>
                  <a:pt x="1881644" y="1257101"/>
                </a:lnTo>
                <a:lnTo>
                  <a:pt x="1897486" y="1230458"/>
                </a:lnTo>
                <a:lnTo>
                  <a:pt x="1897486" y="1203815"/>
                </a:lnTo>
                <a:lnTo>
                  <a:pt x="1929086" y="1193031"/>
                </a:lnTo>
                <a:lnTo>
                  <a:pt x="1923804" y="1166387"/>
                </a:lnTo>
                <a:lnTo>
                  <a:pt x="1902682" y="1145242"/>
                </a:lnTo>
                <a:cubicBezTo>
                  <a:pt x="1904442" y="1138052"/>
                  <a:pt x="1906202" y="1131074"/>
                  <a:pt x="1907962" y="1123885"/>
                </a:cubicBezTo>
                <a:lnTo>
                  <a:pt x="1929086" y="1113100"/>
                </a:lnTo>
                <a:lnTo>
                  <a:pt x="1976528" y="1091955"/>
                </a:lnTo>
                <a:lnTo>
                  <a:pt x="1992370" y="1054527"/>
                </a:lnTo>
                <a:lnTo>
                  <a:pt x="2023970" y="1038668"/>
                </a:lnTo>
                <a:lnTo>
                  <a:pt x="2050290" y="1012025"/>
                </a:lnTo>
                <a:lnTo>
                  <a:pt x="2097816" y="1001452"/>
                </a:lnTo>
                <a:lnTo>
                  <a:pt x="2076692" y="926808"/>
                </a:lnTo>
                <a:lnTo>
                  <a:pt x="2108292" y="910738"/>
                </a:lnTo>
                <a:lnTo>
                  <a:pt x="2145258" y="873522"/>
                </a:lnTo>
                <a:lnTo>
                  <a:pt x="2171576" y="836305"/>
                </a:lnTo>
                <a:lnTo>
                  <a:pt x="2171576" y="783019"/>
                </a:lnTo>
                <a:lnTo>
                  <a:pt x="2145258" y="751089"/>
                </a:lnTo>
                <a:lnTo>
                  <a:pt x="2176858" y="729732"/>
                </a:lnTo>
                <a:lnTo>
                  <a:pt x="2192700" y="703089"/>
                </a:lnTo>
                <a:lnTo>
                  <a:pt x="2192700" y="633731"/>
                </a:lnTo>
                <a:lnTo>
                  <a:pt x="2171576" y="628445"/>
                </a:lnTo>
                <a:lnTo>
                  <a:pt x="2150454" y="601802"/>
                </a:lnTo>
                <a:lnTo>
                  <a:pt x="2129416" y="564585"/>
                </a:lnTo>
                <a:lnTo>
                  <a:pt x="2081974" y="516585"/>
                </a:lnTo>
                <a:cubicBezTo>
                  <a:pt x="2083734" y="509607"/>
                  <a:pt x="2085494" y="502418"/>
                  <a:pt x="2087254" y="495440"/>
                </a:cubicBezTo>
                <a:lnTo>
                  <a:pt x="2124134" y="468796"/>
                </a:lnTo>
                <a:lnTo>
                  <a:pt x="2113574" y="431369"/>
                </a:lnTo>
                <a:lnTo>
                  <a:pt x="2113574" y="399439"/>
                </a:lnTo>
                <a:lnTo>
                  <a:pt x="2155734" y="399439"/>
                </a:lnTo>
                <a:lnTo>
                  <a:pt x="2171576" y="367509"/>
                </a:lnTo>
                <a:lnTo>
                  <a:pt x="2134696" y="351439"/>
                </a:lnTo>
                <a:lnTo>
                  <a:pt x="2134696" y="308936"/>
                </a:lnTo>
                <a:cubicBezTo>
                  <a:pt x="2136456" y="296460"/>
                  <a:pt x="2138216" y="284196"/>
                  <a:pt x="2139976" y="271720"/>
                </a:cubicBezTo>
                <a:lnTo>
                  <a:pt x="2155734" y="234292"/>
                </a:lnTo>
                <a:lnTo>
                  <a:pt x="2155734" y="186504"/>
                </a:lnTo>
                <a:lnTo>
                  <a:pt x="2129416" y="165147"/>
                </a:lnTo>
                <a:lnTo>
                  <a:pt x="2103012" y="138503"/>
                </a:lnTo>
                <a:lnTo>
                  <a:pt x="2124134" y="127930"/>
                </a:lnTo>
                <a:lnTo>
                  <a:pt x="2155734" y="133217"/>
                </a:lnTo>
                <a:lnTo>
                  <a:pt x="2176858" y="149076"/>
                </a:lnTo>
                <a:lnTo>
                  <a:pt x="2192700" y="165147"/>
                </a:lnTo>
                <a:lnTo>
                  <a:pt x="2213738" y="159860"/>
                </a:lnTo>
                <a:lnTo>
                  <a:pt x="2234862" y="149076"/>
                </a:lnTo>
                <a:lnTo>
                  <a:pt x="2245422" y="170433"/>
                </a:lnTo>
                <a:lnTo>
                  <a:pt x="2271742" y="170433"/>
                </a:lnTo>
                <a:lnTo>
                  <a:pt x="2287584" y="149076"/>
                </a:lnTo>
                <a:lnTo>
                  <a:pt x="2303342" y="111860"/>
                </a:lnTo>
                <a:lnTo>
                  <a:pt x="2371906" y="106573"/>
                </a:lnTo>
                <a:lnTo>
                  <a:pt x="2414068" y="106573"/>
                </a:lnTo>
                <a:lnTo>
                  <a:pt x="2419348" y="69146"/>
                </a:lnTo>
                <a:lnTo>
                  <a:pt x="2382468" y="37216"/>
                </a:lnTo>
                <a:close/>
              </a:path>
            </a:pathLst>
          </a:custGeom>
          <a:solidFill>
            <a:srgbClr val="70B0DF"/>
          </a:solidFill>
          <a:ln w="3175" cap="flat" cmpd="sng">
            <a:noFill/>
            <a:prstDash val="solid"/>
            <a:round/>
            <a:headEnd type="none" w="med" len="med"/>
            <a:tailEnd type="none" w="sm" len="sm"/>
          </a:ln>
        </p:spPr>
        <p:txBody>
          <a:bodyPr wrap="none" lIns="32632" tIns="32632" rIns="32632" bIns="32632" anchor="ctr"/>
          <a:lstStyle/>
          <a:p>
            <a:pPr defTabSz="891045"/>
            <a:endParaRPr lang="en-US" sz="1700" dirty="0">
              <a:solidFill>
                <a:srgbClr val="003149"/>
              </a:solidFill>
              <a:cs typeface="Arial" panose="020B0604020202020204" pitchFamily="34" charset="0"/>
            </a:endParaRPr>
          </a:p>
        </p:txBody>
      </p:sp>
      <p:sp>
        <p:nvSpPr>
          <p:cNvPr id="23" name="Freeform 747"/>
          <p:cNvSpPr>
            <a:spLocks noChangeAspect="1"/>
          </p:cNvSpPr>
          <p:nvPr>
            <p:custDataLst>
              <p:tags r:id="rId8"/>
            </p:custDataLst>
          </p:nvPr>
        </p:nvSpPr>
        <p:spPr bwMode="gray">
          <a:xfrm>
            <a:off x="4784153" y="3793423"/>
            <a:ext cx="710836" cy="559585"/>
          </a:xfrm>
          <a:custGeom>
            <a:avLst/>
            <a:gdLst>
              <a:gd name="T0" fmla="*/ 0 w 4114796"/>
              <a:gd name="T1" fmla="*/ 0 h 2858844"/>
              <a:gd name="T2" fmla="*/ 0 w 4114796"/>
              <a:gd name="T3" fmla="*/ 0 h 2858844"/>
              <a:gd name="T4" fmla="*/ 0 w 4114796"/>
              <a:gd name="T5" fmla="*/ 0 h 2858844"/>
              <a:gd name="T6" fmla="*/ 0 w 4114796"/>
              <a:gd name="T7" fmla="*/ 0 h 2858844"/>
              <a:gd name="T8" fmla="*/ 0 w 4114796"/>
              <a:gd name="T9" fmla="*/ 0 h 2858844"/>
              <a:gd name="T10" fmla="*/ 0 w 4114796"/>
              <a:gd name="T11" fmla="*/ 0 h 2858844"/>
              <a:gd name="T12" fmla="*/ 0 w 4114796"/>
              <a:gd name="T13" fmla="*/ 0 h 2858844"/>
              <a:gd name="T14" fmla="*/ 0 w 4114796"/>
              <a:gd name="T15" fmla="*/ 0 h 2858844"/>
              <a:gd name="T16" fmla="*/ 0 w 4114796"/>
              <a:gd name="T17" fmla="*/ 0 h 2858844"/>
              <a:gd name="T18" fmla="*/ 0 w 4114796"/>
              <a:gd name="T19" fmla="*/ 0 h 2858844"/>
              <a:gd name="T20" fmla="*/ 0 w 4114796"/>
              <a:gd name="T21" fmla="*/ 0 h 2858844"/>
              <a:gd name="T22" fmla="*/ 0 w 4114796"/>
              <a:gd name="T23" fmla="*/ 0 h 2858844"/>
              <a:gd name="T24" fmla="*/ 0 w 4114796"/>
              <a:gd name="T25" fmla="*/ 0 h 2858844"/>
              <a:gd name="T26" fmla="*/ 0 w 4114796"/>
              <a:gd name="T27" fmla="*/ 0 h 2858844"/>
              <a:gd name="T28" fmla="*/ 0 w 4114796"/>
              <a:gd name="T29" fmla="*/ 0 h 2858844"/>
              <a:gd name="T30" fmla="*/ 0 w 4114796"/>
              <a:gd name="T31" fmla="*/ 0 h 2858844"/>
              <a:gd name="T32" fmla="*/ 0 w 4114796"/>
              <a:gd name="T33" fmla="*/ 0 h 2858844"/>
              <a:gd name="T34" fmla="*/ 0 w 4114796"/>
              <a:gd name="T35" fmla="*/ 0 h 2858844"/>
              <a:gd name="T36" fmla="*/ 0 w 4114796"/>
              <a:gd name="T37" fmla="*/ 0 h 2858844"/>
              <a:gd name="T38" fmla="*/ 0 w 4114796"/>
              <a:gd name="T39" fmla="*/ 0 h 2858844"/>
              <a:gd name="T40" fmla="*/ 0 w 4114796"/>
              <a:gd name="T41" fmla="*/ 0 h 2858844"/>
              <a:gd name="T42" fmla="*/ 0 w 4114796"/>
              <a:gd name="T43" fmla="*/ 0 h 2858844"/>
              <a:gd name="T44" fmla="*/ 0 w 4114796"/>
              <a:gd name="T45" fmla="*/ 0 h 2858844"/>
              <a:gd name="T46" fmla="*/ 0 w 4114796"/>
              <a:gd name="T47" fmla="*/ 0 h 2858844"/>
              <a:gd name="T48" fmla="*/ 0 w 4114796"/>
              <a:gd name="T49" fmla="*/ 0 h 2858844"/>
              <a:gd name="T50" fmla="*/ 0 w 4114796"/>
              <a:gd name="T51" fmla="*/ 0 h 2858844"/>
              <a:gd name="T52" fmla="*/ 0 w 4114796"/>
              <a:gd name="T53" fmla="*/ 0 h 2858844"/>
              <a:gd name="T54" fmla="*/ 0 w 4114796"/>
              <a:gd name="T55" fmla="*/ 0 h 2858844"/>
              <a:gd name="T56" fmla="*/ 0 w 4114796"/>
              <a:gd name="T57" fmla="*/ 0 h 2858844"/>
              <a:gd name="T58" fmla="*/ 0 w 4114796"/>
              <a:gd name="T59" fmla="*/ 0 h 2858844"/>
              <a:gd name="T60" fmla="*/ 0 w 4114796"/>
              <a:gd name="T61" fmla="*/ 0 h 2858844"/>
              <a:gd name="T62" fmla="*/ 0 w 4114796"/>
              <a:gd name="T63" fmla="*/ 0 h 2858844"/>
              <a:gd name="T64" fmla="*/ 0 w 4114796"/>
              <a:gd name="T65" fmla="*/ 0 h 2858844"/>
              <a:gd name="T66" fmla="*/ 0 w 4114796"/>
              <a:gd name="T67" fmla="*/ 0 h 2858844"/>
              <a:gd name="T68" fmla="*/ 0 w 4114796"/>
              <a:gd name="T69" fmla="*/ 0 h 2858844"/>
              <a:gd name="T70" fmla="*/ 0 w 4114796"/>
              <a:gd name="T71" fmla="*/ 0 h 2858844"/>
              <a:gd name="T72" fmla="*/ 0 w 4114796"/>
              <a:gd name="T73" fmla="*/ 0 h 2858844"/>
              <a:gd name="T74" fmla="*/ 0 w 4114796"/>
              <a:gd name="T75" fmla="*/ 0 h 2858844"/>
              <a:gd name="T76" fmla="*/ 0 w 4114796"/>
              <a:gd name="T77" fmla="*/ 0 h 2858844"/>
              <a:gd name="T78" fmla="*/ 0 w 4114796"/>
              <a:gd name="T79" fmla="*/ 0 h 2858844"/>
              <a:gd name="T80" fmla="*/ 0 w 4114796"/>
              <a:gd name="T81" fmla="*/ 0 h 2858844"/>
              <a:gd name="T82" fmla="*/ 0 w 4114796"/>
              <a:gd name="T83" fmla="*/ 0 h 2858844"/>
              <a:gd name="T84" fmla="*/ 0 w 4114796"/>
              <a:gd name="T85" fmla="*/ 0 h 2858844"/>
              <a:gd name="T86" fmla="*/ 0 w 4114796"/>
              <a:gd name="T87" fmla="*/ 0 h 2858844"/>
              <a:gd name="T88" fmla="*/ 0 w 4114796"/>
              <a:gd name="T89" fmla="*/ 0 h 2858844"/>
              <a:gd name="T90" fmla="*/ 0 w 4114796"/>
              <a:gd name="T91" fmla="*/ 0 h 2858844"/>
              <a:gd name="T92" fmla="*/ 0 w 4114796"/>
              <a:gd name="T93" fmla="*/ 0 h 2858844"/>
              <a:gd name="T94" fmla="*/ 0 w 4114796"/>
              <a:gd name="T95" fmla="*/ 0 h 2858844"/>
              <a:gd name="T96" fmla="*/ 0 w 4114796"/>
              <a:gd name="T97" fmla="*/ 0 h 2858844"/>
              <a:gd name="T98" fmla="*/ 0 w 4114796"/>
              <a:gd name="T99" fmla="*/ 0 h 2858844"/>
              <a:gd name="T100" fmla="*/ 0 w 4114796"/>
              <a:gd name="T101" fmla="*/ 0 h 2858844"/>
              <a:gd name="T102" fmla="*/ 0 w 4114796"/>
              <a:gd name="T103" fmla="*/ 0 h 2858844"/>
              <a:gd name="T104" fmla="*/ 0 w 4114796"/>
              <a:gd name="T105" fmla="*/ 0 h 2858844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w 4114796"/>
              <a:gd name="T160" fmla="*/ 0 h 2858844"/>
              <a:gd name="T161" fmla="*/ 4114796 w 4114796"/>
              <a:gd name="T162" fmla="*/ 2858844 h 2858844"/>
            </a:gdLst>
            <a:ahLst/>
            <a:cxnLst>
              <a:cxn ang="T106">
                <a:pos x="T0" y="T1"/>
              </a:cxn>
              <a:cxn ang="T107">
                <a:pos x="T2" y="T3"/>
              </a:cxn>
              <a:cxn ang="T108">
                <a:pos x="T4" y="T5"/>
              </a:cxn>
              <a:cxn ang="T109">
                <a:pos x="T6" y="T7"/>
              </a:cxn>
              <a:cxn ang="T110">
                <a:pos x="T8" y="T9"/>
              </a:cxn>
              <a:cxn ang="T111">
                <a:pos x="T10" y="T11"/>
              </a:cxn>
              <a:cxn ang="T112">
                <a:pos x="T12" y="T13"/>
              </a:cxn>
              <a:cxn ang="T113">
                <a:pos x="T14" y="T15"/>
              </a:cxn>
              <a:cxn ang="T114">
                <a:pos x="T16" y="T17"/>
              </a:cxn>
              <a:cxn ang="T115">
                <a:pos x="T18" y="T19"/>
              </a:cxn>
              <a:cxn ang="T116">
                <a:pos x="T20" y="T21"/>
              </a:cxn>
              <a:cxn ang="T117">
                <a:pos x="T22" y="T23"/>
              </a:cxn>
              <a:cxn ang="T118">
                <a:pos x="T24" y="T25"/>
              </a:cxn>
              <a:cxn ang="T119">
                <a:pos x="T26" y="T27"/>
              </a:cxn>
              <a:cxn ang="T120">
                <a:pos x="T28" y="T29"/>
              </a:cxn>
              <a:cxn ang="T121">
                <a:pos x="T30" y="T31"/>
              </a:cxn>
              <a:cxn ang="T122">
                <a:pos x="T32" y="T33"/>
              </a:cxn>
              <a:cxn ang="T123">
                <a:pos x="T34" y="T35"/>
              </a:cxn>
              <a:cxn ang="T124">
                <a:pos x="T36" y="T37"/>
              </a:cxn>
              <a:cxn ang="T125">
                <a:pos x="T38" y="T39"/>
              </a:cxn>
              <a:cxn ang="T126">
                <a:pos x="T40" y="T41"/>
              </a:cxn>
              <a:cxn ang="T127">
                <a:pos x="T42" y="T43"/>
              </a:cxn>
              <a:cxn ang="T128">
                <a:pos x="T44" y="T45"/>
              </a:cxn>
              <a:cxn ang="T129">
                <a:pos x="T46" y="T47"/>
              </a:cxn>
              <a:cxn ang="T130">
                <a:pos x="T48" y="T49"/>
              </a:cxn>
              <a:cxn ang="T131">
                <a:pos x="T50" y="T51"/>
              </a:cxn>
              <a:cxn ang="T132">
                <a:pos x="T52" y="T53"/>
              </a:cxn>
              <a:cxn ang="T133">
                <a:pos x="T54" y="T55"/>
              </a:cxn>
              <a:cxn ang="T134">
                <a:pos x="T56" y="T57"/>
              </a:cxn>
              <a:cxn ang="T135">
                <a:pos x="T58" y="T59"/>
              </a:cxn>
              <a:cxn ang="T136">
                <a:pos x="T60" y="T61"/>
              </a:cxn>
              <a:cxn ang="T137">
                <a:pos x="T62" y="T63"/>
              </a:cxn>
              <a:cxn ang="T138">
                <a:pos x="T64" y="T65"/>
              </a:cxn>
              <a:cxn ang="T139">
                <a:pos x="T66" y="T67"/>
              </a:cxn>
              <a:cxn ang="T140">
                <a:pos x="T68" y="T69"/>
              </a:cxn>
              <a:cxn ang="T141">
                <a:pos x="T70" y="T71"/>
              </a:cxn>
              <a:cxn ang="T142">
                <a:pos x="T72" y="T73"/>
              </a:cxn>
              <a:cxn ang="T143">
                <a:pos x="T74" y="T75"/>
              </a:cxn>
              <a:cxn ang="T144">
                <a:pos x="T76" y="T77"/>
              </a:cxn>
              <a:cxn ang="T145">
                <a:pos x="T78" y="T79"/>
              </a:cxn>
              <a:cxn ang="T146">
                <a:pos x="T80" y="T81"/>
              </a:cxn>
              <a:cxn ang="T147">
                <a:pos x="T82" y="T83"/>
              </a:cxn>
              <a:cxn ang="T148">
                <a:pos x="T84" y="T85"/>
              </a:cxn>
              <a:cxn ang="T149">
                <a:pos x="T86" y="T87"/>
              </a:cxn>
              <a:cxn ang="T150">
                <a:pos x="T88" y="T89"/>
              </a:cxn>
              <a:cxn ang="T151">
                <a:pos x="T90" y="T91"/>
              </a:cxn>
              <a:cxn ang="T152">
                <a:pos x="T92" y="T93"/>
              </a:cxn>
              <a:cxn ang="T153">
                <a:pos x="T94" y="T95"/>
              </a:cxn>
              <a:cxn ang="T154">
                <a:pos x="T96" y="T97"/>
              </a:cxn>
              <a:cxn ang="T155">
                <a:pos x="T98" y="T99"/>
              </a:cxn>
              <a:cxn ang="T156">
                <a:pos x="T100" y="T101"/>
              </a:cxn>
              <a:cxn ang="T157">
                <a:pos x="T102" y="T103"/>
              </a:cxn>
              <a:cxn ang="T158">
                <a:pos x="T104" y="T105"/>
              </a:cxn>
            </a:cxnLst>
            <a:rect l="T159" t="T160" r="T161" b="T162"/>
            <a:pathLst>
              <a:path w="4114796" h="2858844">
                <a:moveTo>
                  <a:pt x="3764916" y="0"/>
                </a:moveTo>
                <a:lnTo>
                  <a:pt x="3813044" y="32194"/>
                </a:lnTo>
                <a:cubicBezTo>
                  <a:pt x="3832294" y="56712"/>
                  <a:pt x="3851174" y="81229"/>
                  <a:pt x="3870424" y="105747"/>
                </a:cubicBezTo>
                <a:lnTo>
                  <a:pt x="3859240" y="102590"/>
                </a:lnTo>
                <a:lnTo>
                  <a:pt x="3867660" y="107948"/>
                </a:lnTo>
                <a:lnTo>
                  <a:pt x="3794072" y="112035"/>
                </a:lnTo>
                <a:lnTo>
                  <a:pt x="3746098" y="121841"/>
                </a:lnTo>
                <a:lnTo>
                  <a:pt x="3720676" y="169514"/>
                </a:lnTo>
                <a:cubicBezTo>
                  <a:pt x="3718384" y="184497"/>
                  <a:pt x="3715898" y="199480"/>
                  <a:pt x="3713606" y="214463"/>
                </a:cubicBezTo>
                <a:cubicBezTo>
                  <a:pt x="3719722" y="234894"/>
                  <a:pt x="3725838" y="255597"/>
                  <a:pt x="3731954" y="276028"/>
                </a:cubicBezTo>
                <a:lnTo>
                  <a:pt x="3782796" y="312532"/>
                </a:lnTo>
                <a:cubicBezTo>
                  <a:pt x="3784134" y="342770"/>
                  <a:pt x="3785662" y="373281"/>
                  <a:pt x="3787000" y="403519"/>
                </a:cubicBezTo>
                <a:lnTo>
                  <a:pt x="3830770" y="458274"/>
                </a:lnTo>
                <a:cubicBezTo>
                  <a:pt x="3834594" y="494778"/>
                  <a:pt x="3838416" y="531009"/>
                  <a:pt x="3842238" y="567513"/>
                </a:cubicBezTo>
                <a:cubicBezTo>
                  <a:pt x="3855428" y="588489"/>
                  <a:pt x="3868424" y="609737"/>
                  <a:pt x="3881612" y="630713"/>
                </a:cubicBezTo>
                <a:lnTo>
                  <a:pt x="3908562" y="714617"/>
                </a:lnTo>
                <a:cubicBezTo>
                  <a:pt x="3910856" y="739951"/>
                  <a:pt x="3913340" y="765014"/>
                  <a:pt x="3915634" y="790348"/>
                </a:cubicBezTo>
                <a:lnTo>
                  <a:pt x="4078100" y="863355"/>
                </a:lnTo>
                <a:lnTo>
                  <a:pt x="4114796" y="929008"/>
                </a:lnTo>
                <a:lnTo>
                  <a:pt x="4069498" y="969870"/>
                </a:lnTo>
                <a:lnTo>
                  <a:pt x="3974886" y="983763"/>
                </a:lnTo>
                <a:lnTo>
                  <a:pt x="3911430" y="1010460"/>
                </a:lnTo>
                <a:lnTo>
                  <a:pt x="3863264" y="1031436"/>
                </a:lnTo>
                <a:lnTo>
                  <a:pt x="3842238" y="1067939"/>
                </a:lnTo>
                <a:lnTo>
                  <a:pt x="3816818" y="1115612"/>
                </a:lnTo>
                <a:lnTo>
                  <a:pt x="3778590" y="1170095"/>
                </a:lnTo>
                <a:lnTo>
                  <a:pt x="3739026" y="1210685"/>
                </a:lnTo>
                <a:lnTo>
                  <a:pt x="3713606" y="1258357"/>
                </a:lnTo>
                <a:lnTo>
                  <a:pt x="3668306" y="1280968"/>
                </a:lnTo>
                <a:cubicBezTo>
                  <a:pt x="3663718" y="1305213"/>
                  <a:pt x="3658940" y="1329458"/>
                  <a:pt x="3654354" y="1353703"/>
                </a:cubicBezTo>
                <a:lnTo>
                  <a:pt x="3679774" y="1411182"/>
                </a:lnTo>
                <a:lnTo>
                  <a:pt x="3739026" y="1456131"/>
                </a:lnTo>
                <a:lnTo>
                  <a:pt x="3794072" y="1488276"/>
                </a:lnTo>
                <a:cubicBezTo>
                  <a:pt x="3798852" y="1499445"/>
                  <a:pt x="3803438" y="1510614"/>
                  <a:pt x="3808216" y="1521783"/>
                </a:cubicBezTo>
                <a:lnTo>
                  <a:pt x="3739026" y="1554200"/>
                </a:lnTo>
                <a:lnTo>
                  <a:pt x="3617464" y="1638104"/>
                </a:lnTo>
                <a:lnTo>
                  <a:pt x="3507370" y="1656356"/>
                </a:lnTo>
                <a:lnTo>
                  <a:pt x="3411230" y="1688501"/>
                </a:lnTo>
                <a:lnTo>
                  <a:pt x="3308208" y="1729363"/>
                </a:lnTo>
                <a:lnTo>
                  <a:pt x="3216272" y="1799374"/>
                </a:lnTo>
                <a:lnTo>
                  <a:pt x="3168298" y="1911337"/>
                </a:lnTo>
                <a:lnTo>
                  <a:pt x="3109046" y="1926864"/>
                </a:lnTo>
                <a:cubicBezTo>
                  <a:pt x="3104268" y="1948930"/>
                  <a:pt x="3099680" y="1970723"/>
                  <a:pt x="3094902" y="1992789"/>
                </a:cubicBezTo>
                <a:lnTo>
                  <a:pt x="3039664" y="2029020"/>
                </a:lnTo>
                <a:lnTo>
                  <a:pt x="2994556" y="2106113"/>
                </a:lnTo>
                <a:cubicBezTo>
                  <a:pt x="2983662" y="2125183"/>
                  <a:pt x="2972958" y="2144524"/>
                  <a:pt x="2962062" y="2163593"/>
                </a:cubicBezTo>
                <a:lnTo>
                  <a:pt x="2914088" y="2197373"/>
                </a:lnTo>
                <a:lnTo>
                  <a:pt x="2865922" y="2218349"/>
                </a:lnTo>
                <a:lnTo>
                  <a:pt x="2806670" y="2247769"/>
                </a:lnTo>
                <a:lnTo>
                  <a:pt x="2737480" y="2254852"/>
                </a:lnTo>
                <a:lnTo>
                  <a:pt x="2682432" y="2273104"/>
                </a:lnTo>
                <a:lnTo>
                  <a:pt x="2608846" y="2320504"/>
                </a:lnTo>
                <a:lnTo>
                  <a:pt x="2524174" y="2365453"/>
                </a:lnTo>
                <a:lnTo>
                  <a:pt x="2446382" y="2379346"/>
                </a:lnTo>
                <a:lnTo>
                  <a:pt x="2357504" y="2372535"/>
                </a:lnTo>
                <a:lnTo>
                  <a:pt x="2288122" y="2394873"/>
                </a:lnTo>
                <a:cubicBezTo>
                  <a:pt x="2282960" y="2415305"/>
                  <a:pt x="2277800" y="2436008"/>
                  <a:pt x="2272640" y="2456439"/>
                </a:cubicBezTo>
                <a:lnTo>
                  <a:pt x="2320614" y="2525088"/>
                </a:lnTo>
                <a:lnTo>
                  <a:pt x="2384262" y="2570037"/>
                </a:lnTo>
                <a:lnTo>
                  <a:pt x="2361708" y="2598095"/>
                </a:lnTo>
                <a:cubicBezTo>
                  <a:pt x="2363046" y="2621523"/>
                  <a:pt x="2364576" y="2644678"/>
                  <a:pt x="2365914" y="2668106"/>
                </a:cubicBezTo>
                <a:lnTo>
                  <a:pt x="2350432" y="2726948"/>
                </a:lnTo>
                <a:lnTo>
                  <a:pt x="2262700" y="2766175"/>
                </a:lnTo>
                <a:lnTo>
                  <a:pt x="2203448" y="2832100"/>
                </a:lnTo>
                <a:lnTo>
                  <a:pt x="2185782" y="2814680"/>
                </a:lnTo>
                <a:lnTo>
                  <a:pt x="2184696" y="2816382"/>
                </a:lnTo>
                <a:lnTo>
                  <a:pt x="2099536" y="2763235"/>
                </a:lnTo>
                <a:lnTo>
                  <a:pt x="2025074" y="2731251"/>
                </a:lnTo>
                <a:lnTo>
                  <a:pt x="1929218" y="2752688"/>
                </a:lnTo>
                <a:lnTo>
                  <a:pt x="1860210" y="2715499"/>
                </a:lnTo>
                <a:lnTo>
                  <a:pt x="1780294" y="2720704"/>
                </a:lnTo>
                <a:lnTo>
                  <a:pt x="1721774" y="2720704"/>
                </a:lnTo>
                <a:lnTo>
                  <a:pt x="1689892" y="2715499"/>
                </a:lnTo>
                <a:cubicBezTo>
                  <a:pt x="1681082" y="2722485"/>
                  <a:pt x="1671852" y="2729471"/>
                  <a:pt x="1663044" y="2736593"/>
                </a:cubicBezTo>
                <a:cubicBezTo>
                  <a:pt x="1652346" y="2741935"/>
                  <a:pt x="1641858" y="2747346"/>
                  <a:pt x="1631160" y="2752688"/>
                </a:cubicBezTo>
                <a:lnTo>
                  <a:pt x="1594034" y="2747209"/>
                </a:lnTo>
                <a:lnTo>
                  <a:pt x="1525026" y="2773782"/>
                </a:lnTo>
                <a:lnTo>
                  <a:pt x="1481818" y="2789740"/>
                </a:lnTo>
                <a:cubicBezTo>
                  <a:pt x="1471330" y="2803917"/>
                  <a:pt x="1461052" y="2818094"/>
                  <a:pt x="1449726" y="2832271"/>
                </a:cubicBezTo>
                <a:lnTo>
                  <a:pt x="1391624" y="2848160"/>
                </a:lnTo>
                <a:lnTo>
                  <a:pt x="1332894" y="2848160"/>
                </a:lnTo>
                <a:lnTo>
                  <a:pt x="1316952" y="2848160"/>
                </a:lnTo>
                <a:cubicBezTo>
                  <a:pt x="1311500" y="2851721"/>
                  <a:pt x="1306256" y="2855351"/>
                  <a:pt x="1301222" y="2858844"/>
                </a:cubicBezTo>
                <a:lnTo>
                  <a:pt x="1247736" y="2842955"/>
                </a:lnTo>
                <a:lnTo>
                  <a:pt x="1189214" y="2826997"/>
                </a:lnTo>
                <a:cubicBezTo>
                  <a:pt x="1178726" y="2819874"/>
                  <a:pt x="1168240" y="2812752"/>
                  <a:pt x="1157122" y="2805766"/>
                </a:cubicBezTo>
                <a:lnTo>
                  <a:pt x="1114752" y="2805766"/>
                </a:lnTo>
                <a:lnTo>
                  <a:pt x="1045744" y="2784329"/>
                </a:lnTo>
                <a:cubicBezTo>
                  <a:pt x="1024140" y="2763235"/>
                  <a:pt x="1003164" y="2741935"/>
                  <a:pt x="981770" y="2720704"/>
                </a:cubicBezTo>
                <a:lnTo>
                  <a:pt x="928284" y="2672831"/>
                </a:lnTo>
                <a:cubicBezTo>
                  <a:pt x="921362" y="2664065"/>
                  <a:pt x="914440" y="2655162"/>
                  <a:pt x="907308" y="2646190"/>
                </a:cubicBezTo>
                <a:cubicBezTo>
                  <a:pt x="903742" y="2623246"/>
                  <a:pt x="900176" y="2600371"/>
                  <a:pt x="896402" y="2577154"/>
                </a:cubicBezTo>
                <a:cubicBezTo>
                  <a:pt x="889270" y="2545444"/>
                  <a:pt x="882558" y="2513461"/>
                  <a:pt x="875426" y="2481682"/>
                </a:cubicBezTo>
                <a:lnTo>
                  <a:pt x="875426" y="2460314"/>
                </a:lnTo>
                <a:lnTo>
                  <a:pt x="875426" y="2433809"/>
                </a:lnTo>
                <a:lnTo>
                  <a:pt x="731536" y="2396552"/>
                </a:lnTo>
                <a:cubicBezTo>
                  <a:pt x="717274" y="2401757"/>
                  <a:pt x="703220" y="2407236"/>
                  <a:pt x="688958" y="2412441"/>
                </a:cubicBezTo>
                <a:cubicBezTo>
                  <a:pt x="680148" y="2398401"/>
                  <a:pt x="670918" y="2384224"/>
                  <a:pt x="662108" y="2370116"/>
                </a:cubicBezTo>
                <a:lnTo>
                  <a:pt x="625192" y="2364637"/>
                </a:lnTo>
                <a:lnTo>
                  <a:pt x="555974" y="2327585"/>
                </a:lnTo>
                <a:lnTo>
                  <a:pt x="507732" y="2300875"/>
                </a:lnTo>
                <a:lnTo>
                  <a:pt x="465362" y="2311422"/>
                </a:lnTo>
                <a:lnTo>
                  <a:pt x="417748" y="2316901"/>
                </a:lnTo>
                <a:lnTo>
                  <a:pt x="342868" y="2300875"/>
                </a:lnTo>
                <a:lnTo>
                  <a:pt x="295464" y="2284917"/>
                </a:lnTo>
                <a:cubicBezTo>
                  <a:pt x="288332" y="2279644"/>
                  <a:pt x="280570" y="2274301"/>
                  <a:pt x="273440" y="2269028"/>
                </a:cubicBezTo>
                <a:cubicBezTo>
                  <a:pt x="264840" y="2265467"/>
                  <a:pt x="255820" y="2261905"/>
                  <a:pt x="247010" y="2258344"/>
                </a:cubicBezTo>
                <a:lnTo>
                  <a:pt x="199606" y="2253070"/>
                </a:lnTo>
                <a:cubicBezTo>
                  <a:pt x="185344" y="2247797"/>
                  <a:pt x="171290" y="2242455"/>
                  <a:pt x="157028" y="2237181"/>
                </a:cubicBezTo>
                <a:cubicBezTo>
                  <a:pt x="146120" y="2231839"/>
                  <a:pt x="135632" y="2226566"/>
                  <a:pt x="125146" y="2221224"/>
                </a:cubicBezTo>
                <a:cubicBezTo>
                  <a:pt x="117594" y="2214169"/>
                  <a:pt x="110252" y="2207047"/>
                  <a:pt x="103540" y="2200061"/>
                </a:cubicBezTo>
                <a:lnTo>
                  <a:pt x="88832" y="2176601"/>
                </a:lnTo>
                <a:lnTo>
                  <a:pt x="84146" y="2174871"/>
                </a:lnTo>
                <a:lnTo>
                  <a:pt x="66692" y="2152780"/>
                </a:lnTo>
                <a:lnTo>
                  <a:pt x="44450" y="2142202"/>
                </a:lnTo>
                <a:lnTo>
                  <a:pt x="22224" y="2152780"/>
                </a:lnTo>
                <a:lnTo>
                  <a:pt x="0" y="2131678"/>
                </a:lnTo>
                <a:lnTo>
                  <a:pt x="5556" y="2105301"/>
                </a:lnTo>
                <a:lnTo>
                  <a:pt x="22224" y="2073675"/>
                </a:lnTo>
                <a:cubicBezTo>
                  <a:pt x="24082" y="2063097"/>
                  <a:pt x="25956" y="2052574"/>
                  <a:pt x="27780" y="2041995"/>
                </a:cubicBezTo>
                <a:lnTo>
                  <a:pt x="61118" y="2020948"/>
                </a:lnTo>
                <a:lnTo>
                  <a:pt x="61118" y="1994543"/>
                </a:lnTo>
                <a:lnTo>
                  <a:pt x="72248" y="1962918"/>
                </a:lnTo>
                <a:lnTo>
                  <a:pt x="88916" y="1936541"/>
                </a:lnTo>
                <a:lnTo>
                  <a:pt x="72248" y="1920687"/>
                </a:lnTo>
                <a:lnTo>
                  <a:pt x="83342" y="1878511"/>
                </a:lnTo>
                <a:lnTo>
                  <a:pt x="105568" y="1883814"/>
                </a:lnTo>
                <a:lnTo>
                  <a:pt x="122236" y="1904915"/>
                </a:lnTo>
                <a:lnTo>
                  <a:pt x="144478" y="1904915"/>
                </a:lnTo>
                <a:lnTo>
                  <a:pt x="166686" y="1904915"/>
                </a:lnTo>
                <a:cubicBezTo>
                  <a:pt x="170104" y="1895137"/>
                  <a:pt x="159296" y="1889421"/>
                  <a:pt x="161638" y="1880472"/>
                </a:cubicBezTo>
                <a:lnTo>
                  <a:pt x="158752" y="1877435"/>
                </a:lnTo>
                <a:lnTo>
                  <a:pt x="196142" y="1856137"/>
                </a:lnTo>
                <a:lnTo>
                  <a:pt x="249082" y="1840039"/>
                </a:lnTo>
                <a:lnTo>
                  <a:pt x="302392" y="1840039"/>
                </a:lnTo>
                <a:lnTo>
                  <a:pt x="360884" y="1871986"/>
                </a:lnTo>
                <a:cubicBezTo>
                  <a:pt x="373470" y="1896999"/>
                  <a:pt x="385688" y="1922011"/>
                  <a:pt x="398274" y="1947024"/>
                </a:cubicBezTo>
                <a:cubicBezTo>
                  <a:pt x="405308" y="1954206"/>
                  <a:pt x="412342" y="1961140"/>
                  <a:pt x="419376" y="1968322"/>
                </a:cubicBezTo>
                <a:cubicBezTo>
                  <a:pt x="431964" y="1980705"/>
                  <a:pt x="444180" y="1993335"/>
                  <a:pt x="456766" y="2005717"/>
                </a:cubicBezTo>
                <a:lnTo>
                  <a:pt x="541544" y="2075307"/>
                </a:lnTo>
                <a:cubicBezTo>
                  <a:pt x="566348" y="2098586"/>
                  <a:pt x="591522" y="2121617"/>
                  <a:pt x="616326" y="2144897"/>
                </a:cubicBezTo>
                <a:lnTo>
                  <a:pt x="664082" y="2176843"/>
                </a:lnTo>
                <a:cubicBezTo>
                  <a:pt x="683702" y="2196408"/>
                  <a:pt x="702952" y="2216220"/>
                  <a:pt x="722574" y="2235784"/>
                </a:cubicBezTo>
                <a:lnTo>
                  <a:pt x="786250" y="2262530"/>
                </a:lnTo>
                <a:lnTo>
                  <a:pt x="861030" y="2283828"/>
                </a:lnTo>
                <a:cubicBezTo>
                  <a:pt x="873248" y="2298192"/>
                  <a:pt x="885834" y="2312308"/>
                  <a:pt x="898050" y="2326671"/>
                </a:cubicBezTo>
                <a:lnTo>
                  <a:pt x="956544" y="2374963"/>
                </a:lnTo>
                <a:lnTo>
                  <a:pt x="1030954" y="2439105"/>
                </a:lnTo>
                <a:lnTo>
                  <a:pt x="1084264" y="2476500"/>
                </a:lnTo>
                <a:cubicBezTo>
                  <a:pt x="1096850" y="2474766"/>
                  <a:pt x="1109068" y="2472785"/>
                  <a:pt x="1121654" y="2471051"/>
                </a:cubicBezTo>
                <a:lnTo>
                  <a:pt x="1169412" y="2449753"/>
                </a:lnTo>
                <a:lnTo>
                  <a:pt x="1233086" y="2444305"/>
                </a:lnTo>
                <a:lnTo>
                  <a:pt x="1328970" y="2471051"/>
                </a:lnTo>
                <a:lnTo>
                  <a:pt x="1376726" y="2433656"/>
                </a:lnTo>
                <a:lnTo>
                  <a:pt x="1424852" y="2428456"/>
                </a:lnTo>
                <a:lnTo>
                  <a:pt x="1467056" y="2417559"/>
                </a:lnTo>
                <a:cubicBezTo>
                  <a:pt x="1470758" y="2394528"/>
                  <a:pt x="1474090" y="2371249"/>
                  <a:pt x="1477792" y="2348217"/>
                </a:cubicBezTo>
                <a:cubicBezTo>
                  <a:pt x="1484826" y="2337568"/>
                  <a:pt x="1492230" y="2326671"/>
                  <a:pt x="1499264" y="2316023"/>
                </a:cubicBezTo>
                <a:lnTo>
                  <a:pt x="1557756" y="2289277"/>
                </a:lnTo>
                <a:lnTo>
                  <a:pt x="1637350" y="2257082"/>
                </a:lnTo>
                <a:lnTo>
                  <a:pt x="1695842" y="2198389"/>
                </a:lnTo>
                <a:lnTo>
                  <a:pt x="1759888" y="2123599"/>
                </a:lnTo>
                <a:cubicBezTo>
                  <a:pt x="1780990" y="2087937"/>
                  <a:pt x="1802462" y="2052275"/>
                  <a:pt x="1823562" y="2016614"/>
                </a:cubicBezTo>
                <a:cubicBezTo>
                  <a:pt x="1846516" y="1993335"/>
                  <a:pt x="1869838" y="1970303"/>
                  <a:pt x="1892792" y="1947024"/>
                </a:cubicBezTo>
                <a:lnTo>
                  <a:pt x="1962020" y="1888083"/>
                </a:lnTo>
                <a:cubicBezTo>
                  <a:pt x="1979790" y="1868519"/>
                  <a:pt x="1997188" y="1848955"/>
                  <a:pt x="2014958" y="1829390"/>
                </a:cubicBezTo>
                <a:lnTo>
                  <a:pt x="2073452" y="1781099"/>
                </a:lnTo>
                <a:lnTo>
                  <a:pt x="2137496" y="1727606"/>
                </a:lnTo>
                <a:lnTo>
                  <a:pt x="2185252" y="1658017"/>
                </a:lnTo>
                <a:cubicBezTo>
                  <a:pt x="2197840" y="1634985"/>
                  <a:pt x="2210056" y="1611706"/>
                  <a:pt x="2222644" y="1588675"/>
                </a:cubicBezTo>
                <a:cubicBezTo>
                  <a:pt x="2227826" y="1567377"/>
                  <a:pt x="2233380" y="1545831"/>
                  <a:pt x="2238562" y="1524533"/>
                </a:cubicBezTo>
                <a:cubicBezTo>
                  <a:pt x="2256332" y="1513884"/>
                  <a:pt x="2273732" y="1502988"/>
                  <a:pt x="2291502" y="1492339"/>
                </a:cubicBezTo>
                <a:lnTo>
                  <a:pt x="2323710" y="1412100"/>
                </a:lnTo>
                <a:cubicBezTo>
                  <a:pt x="2312974" y="1390802"/>
                  <a:pt x="2302238" y="1369257"/>
                  <a:pt x="2291502" y="1347959"/>
                </a:cubicBezTo>
                <a:lnTo>
                  <a:pt x="2291502" y="1283817"/>
                </a:lnTo>
                <a:cubicBezTo>
                  <a:pt x="2286318" y="1251623"/>
                  <a:pt x="2280766" y="1219676"/>
                  <a:pt x="2275584" y="1187482"/>
                </a:cubicBezTo>
                <a:cubicBezTo>
                  <a:pt x="2280766" y="1157268"/>
                  <a:pt x="2286318" y="1126807"/>
                  <a:pt x="2291502" y="1096594"/>
                </a:cubicBezTo>
                <a:cubicBezTo>
                  <a:pt x="2289650" y="1071581"/>
                  <a:pt x="2288170" y="1046569"/>
                  <a:pt x="2286318" y="1021556"/>
                </a:cubicBezTo>
                <a:cubicBezTo>
                  <a:pt x="2272252" y="1005459"/>
                  <a:pt x="2257812" y="989609"/>
                  <a:pt x="2243746" y="973512"/>
                </a:cubicBezTo>
                <a:lnTo>
                  <a:pt x="2195988" y="914571"/>
                </a:lnTo>
                <a:cubicBezTo>
                  <a:pt x="2190806" y="900455"/>
                  <a:pt x="2185252" y="886092"/>
                  <a:pt x="2180070" y="871976"/>
                </a:cubicBezTo>
                <a:cubicBezTo>
                  <a:pt x="2181922" y="846963"/>
                  <a:pt x="2183402" y="821950"/>
                  <a:pt x="2185252" y="796938"/>
                </a:cubicBezTo>
                <a:cubicBezTo>
                  <a:pt x="2190436" y="780840"/>
                  <a:pt x="2195988" y="764991"/>
                  <a:pt x="2201172" y="748894"/>
                </a:cubicBezTo>
                <a:cubicBezTo>
                  <a:pt x="2213758" y="736511"/>
                  <a:pt x="2225976" y="723881"/>
                  <a:pt x="2238562" y="711498"/>
                </a:cubicBezTo>
                <a:cubicBezTo>
                  <a:pt x="2247448" y="691934"/>
                  <a:pt x="2256332" y="672122"/>
                  <a:pt x="2265218" y="652558"/>
                </a:cubicBezTo>
                <a:cubicBezTo>
                  <a:pt x="2249298" y="622344"/>
                  <a:pt x="2233010" y="591883"/>
                  <a:pt x="2217090" y="561670"/>
                </a:cubicBezTo>
                <a:lnTo>
                  <a:pt x="2169334" y="518827"/>
                </a:lnTo>
                <a:cubicBezTo>
                  <a:pt x="2180070" y="500996"/>
                  <a:pt x="2190436" y="483165"/>
                  <a:pt x="2201172" y="465334"/>
                </a:cubicBezTo>
                <a:cubicBezTo>
                  <a:pt x="2213758" y="452952"/>
                  <a:pt x="2225976" y="440322"/>
                  <a:pt x="2238562" y="427939"/>
                </a:cubicBezTo>
                <a:lnTo>
                  <a:pt x="2302238" y="406394"/>
                </a:lnTo>
                <a:cubicBezTo>
                  <a:pt x="2314824" y="394011"/>
                  <a:pt x="2327042" y="381381"/>
                  <a:pt x="2339628" y="368998"/>
                </a:cubicBezTo>
                <a:cubicBezTo>
                  <a:pt x="2353696" y="363550"/>
                  <a:pt x="2368134" y="358350"/>
                  <a:pt x="2382202" y="352901"/>
                </a:cubicBezTo>
                <a:lnTo>
                  <a:pt x="2424776" y="315506"/>
                </a:lnTo>
                <a:lnTo>
                  <a:pt x="2472532" y="294208"/>
                </a:lnTo>
                <a:lnTo>
                  <a:pt x="2499186" y="294208"/>
                </a:lnTo>
                <a:lnTo>
                  <a:pt x="2568414" y="288760"/>
                </a:lnTo>
                <a:cubicBezTo>
                  <a:pt x="2580632" y="279844"/>
                  <a:pt x="2593218" y="270929"/>
                  <a:pt x="2605436" y="262014"/>
                </a:cubicBezTo>
                <a:lnTo>
                  <a:pt x="2669480" y="246164"/>
                </a:lnTo>
                <a:lnTo>
                  <a:pt x="2733156" y="256813"/>
                </a:lnTo>
                <a:lnTo>
                  <a:pt x="2807568" y="283559"/>
                </a:lnTo>
                <a:lnTo>
                  <a:pt x="2887532" y="320954"/>
                </a:lnTo>
                <a:lnTo>
                  <a:pt x="2935288" y="310305"/>
                </a:lnTo>
                <a:cubicBezTo>
                  <a:pt x="2946024" y="306838"/>
                  <a:pt x="2956390" y="303124"/>
                  <a:pt x="2967126" y="299656"/>
                </a:cubicBezTo>
                <a:lnTo>
                  <a:pt x="3025618" y="299656"/>
                </a:lnTo>
                <a:lnTo>
                  <a:pt x="3110764" y="326155"/>
                </a:lnTo>
                <a:lnTo>
                  <a:pt x="3174810" y="342252"/>
                </a:lnTo>
                <a:lnTo>
                  <a:pt x="3286242" y="331603"/>
                </a:lnTo>
                <a:lnTo>
                  <a:pt x="3355470" y="310305"/>
                </a:lnTo>
                <a:lnTo>
                  <a:pt x="3403226" y="299656"/>
                </a:lnTo>
                <a:cubicBezTo>
                  <a:pt x="3419146" y="287026"/>
                  <a:pt x="3435434" y="274644"/>
                  <a:pt x="3451354" y="262014"/>
                </a:cubicBezTo>
                <a:lnTo>
                  <a:pt x="3530948" y="208521"/>
                </a:lnTo>
                <a:cubicBezTo>
                  <a:pt x="3527246" y="174593"/>
                  <a:pt x="3523914" y="140913"/>
                  <a:pt x="3520212" y="106985"/>
                </a:cubicBezTo>
                <a:cubicBezTo>
                  <a:pt x="3532798" y="103518"/>
                  <a:pt x="3545016" y="99803"/>
                  <a:pt x="3557602" y="96336"/>
                </a:cubicBezTo>
                <a:cubicBezTo>
                  <a:pt x="3570188" y="80239"/>
                  <a:pt x="3582406" y="64141"/>
                  <a:pt x="3594992" y="48044"/>
                </a:cubicBezTo>
                <a:lnTo>
                  <a:pt x="3679770" y="16097"/>
                </a:lnTo>
                <a:close/>
              </a:path>
            </a:pathLst>
          </a:custGeom>
          <a:solidFill>
            <a:srgbClr val="70B0DF"/>
          </a:solidFill>
          <a:ln w="3175" cap="flat" cmpd="sng">
            <a:noFill/>
            <a:prstDash val="solid"/>
            <a:round/>
            <a:headEnd type="none" w="med" len="med"/>
            <a:tailEnd type="none" w="med" len="med"/>
          </a:ln>
        </p:spPr>
        <p:txBody>
          <a:bodyPr wrap="none" lIns="32632" tIns="32632" rIns="32632" bIns="32632" anchor="ctr"/>
          <a:lstStyle/>
          <a:p>
            <a:pPr defTabSz="891045"/>
            <a:endParaRPr lang="en-US" sz="1700" dirty="0">
              <a:solidFill>
                <a:srgbClr val="003149"/>
              </a:solidFill>
              <a:cs typeface="Arial" panose="020B0604020202020204" pitchFamily="34" charset="0"/>
            </a:endParaRPr>
          </a:p>
        </p:txBody>
      </p:sp>
      <p:sp>
        <p:nvSpPr>
          <p:cNvPr id="24" name="Freeform 741"/>
          <p:cNvSpPr>
            <a:spLocks noChangeAspect="1"/>
          </p:cNvSpPr>
          <p:nvPr/>
        </p:nvSpPr>
        <p:spPr bwMode="gray">
          <a:xfrm>
            <a:off x="4373312" y="4109087"/>
            <a:ext cx="439297" cy="269749"/>
          </a:xfrm>
          <a:custGeom>
            <a:avLst/>
            <a:gdLst>
              <a:gd name="T0" fmla="*/ 0 w 2561343"/>
              <a:gd name="T1" fmla="*/ 0 h 1384100"/>
              <a:gd name="T2" fmla="*/ 0 w 2561343"/>
              <a:gd name="T3" fmla="*/ 0 h 1384100"/>
              <a:gd name="T4" fmla="*/ 0 w 2561343"/>
              <a:gd name="T5" fmla="*/ 0 h 1384100"/>
              <a:gd name="T6" fmla="*/ 0 w 2561343"/>
              <a:gd name="T7" fmla="*/ 0 h 1384100"/>
              <a:gd name="T8" fmla="*/ 0 w 2561343"/>
              <a:gd name="T9" fmla="*/ 0 h 1384100"/>
              <a:gd name="T10" fmla="*/ 0 w 2561343"/>
              <a:gd name="T11" fmla="*/ 0 h 1384100"/>
              <a:gd name="T12" fmla="*/ 0 w 2561343"/>
              <a:gd name="T13" fmla="*/ 0 h 1384100"/>
              <a:gd name="T14" fmla="*/ 0 w 2561343"/>
              <a:gd name="T15" fmla="*/ 0 h 1384100"/>
              <a:gd name="T16" fmla="*/ 0 w 2561343"/>
              <a:gd name="T17" fmla="*/ 0 h 1384100"/>
              <a:gd name="T18" fmla="*/ 0 w 2561343"/>
              <a:gd name="T19" fmla="*/ 0 h 1384100"/>
              <a:gd name="T20" fmla="*/ 0 w 2561343"/>
              <a:gd name="T21" fmla="*/ 0 h 1384100"/>
              <a:gd name="T22" fmla="*/ 0 w 2561343"/>
              <a:gd name="T23" fmla="*/ 0 h 1384100"/>
              <a:gd name="T24" fmla="*/ 0 w 2561343"/>
              <a:gd name="T25" fmla="*/ 0 h 1384100"/>
              <a:gd name="T26" fmla="*/ 0 w 2561343"/>
              <a:gd name="T27" fmla="*/ 0 h 1384100"/>
              <a:gd name="T28" fmla="*/ 0 w 2561343"/>
              <a:gd name="T29" fmla="*/ 0 h 1384100"/>
              <a:gd name="T30" fmla="*/ 0 w 2561343"/>
              <a:gd name="T31" fmla="*/ 0 h 1384100"/>
              <a:gd name="T32" fmla="*/ 0 w 2561343"/>
              <a:gd name="T33" fmla="*/ 0 h 1384100"/>
              <a:gd name="T34" fmla="*/ 0 w 2561343"/>
              <a:gd name="T35" fmla="*/ 0 h 1384100"/>
              <a:gd name="T36" fmla="*/ 0 w 2561343"/>
              <a:gd name="T37" fmla="*/ 0 h 1384100"/>
              <a:gd name="T38" fmla="*/ 0 w 2561343"/>
              <a:gd name="T39" fmla="*/ 0 h 1384100"/>
              <a:gd name="T40" fmla="*/ 0 w 2561343"/>
              <a:gd name="T41" fmla="*/ 0 h 1384100"/>
              <a:gd name="T42" fmla="*/ 0 w 2561343"/>
              <a:gd name="T43" fmla="*/ 0 h 1384100"/>
              <a:gd name="T44" fmla="*/ 0 w 2561343"/>
              <a:gd name="T45" fmla="*/ 0 h 1384100"/>
              <a:gd name="T46" fmla="*/ 0 w 2561343"/>
              <a:gd name="T47" fmla="*/ 0 h 1384100"/>
              <a:gd name="T48" fmla="*/ 0 w 2561343"/>
              <a:gd name="T49" fmla="*/ 0 h 1384100"/>
              <a:gd name="T50" fmla="*/ 0 w 2561343"/>
              <a:gd name="T51" fmla="*/ 0 h 1384100"/>
              <a:gd name="T52" fmla="*/ 0 w 2561343"/>
              <a:gd name="T53" fmla="*/ 0 h 1384100"/>
              <a:gd name="T54" fmla="*/ 0 w 2561343"/>
              <a:gd name="T55" fmla="*/ 0 h 1384100"/>
              <a:gd name="T56" fmla="*/ 0 w 2561343"/>
              <a:gd name="T57" fmla="*/ 0 h 1384100"/>
              <a:gd name="T58" fmla="*/ 0 w 2561343"/>
              <a:gd name="T59" fmla="*/ 0 h 1384100"/>
              <a:gd name="T60" fmla="*/ 0 w 2561343"/>
              <a:gd name="T61" fmla="*/ 0 h 1384100"/>
              <a:gd name="T62" fmla="*/ 0 w 2561343"/>
              <a:gd name="T63" fmla="*/ 0 h 1384100"/>
              <a:gd name="T64" fmla="*/ 0 w 2561343"/>
              <a:gd name="T65" fmla="*/ 0 h 1384100"/>
              <a:gd name="T66" fmla="*/ 0 w 2561343"/>
              <a:gd name="T67" fmla="*/ 0 h 1384100"/>
              <a:gd name="T68" fmla="*/ 0 w 2561343"/>
              <a:gd name="T69" fmla="*/ 0 h 1384100"/>
              <a:gd name="T70" fmla="*/ 0 w 2561343"/>
              <a:gd name="T71" fmla="*/ 0 h 1384100"/>
              <a:gd name="T72" fmla="*/ 0 w 2561343"/>
              <a:gd name="T73" fmla="*/ 0 h 1384100"/>
              <a:gd name="T74" fmla="*/ 0 w 2561343"/>
              <a:gd name="T75" fmla="*/ 0 h 1384100"/>
              <a:gd name="T76" fmla="*/ 0 w 2561343"/>
              <a:gd name="T77" fmla="*/ 0 h 1384100"/>
              <a:gd name="T78" fmla="*/ 0 w 2561343"/>
              <a:gd name="T79" fmla="*/ 0 h 1384100"/>
              <a:gd name="T80" fmla="*/ 0 w 2561343"/>
              <a:gd name="T81" fmla="*/ 0 h 1384100"/>
              <a:gd name="T82" fmla="*/ 0 w 2561343"/>
              <a:gd name="T83" fmla="*/ 0 h 1384100"/>
              <a:gd name="T84" fmla="*/ 0 w 2561343"/>
              <a:gd name="T85" fmla="*/ 0 h 1384100"/>
              <a:gd name="T86" fmla="*/ 0 w 2561343"/>
              <a:gd name="T87" fmla="*/ 0 h 1384100"/>
              <a:gd name="T88" fmla="*/ 0 w 2561343"/>
              <a:gd name="T89" fmla="*/ 0 h 1384100"/>
              <a:gd name="T90" fmla="*/ 0 w 2561343"/>
              <a:gd name="T91" fmla="*/ 0 h 1384100"/>
              <a:gd name="T92" fmla="*/ 0 w 2561343"/>
              <a:gd name="T93" fmla="*/ 0 h 1384100"/>
              <a:gd name="T94" fmla="*/ 0 w 2561343"/>
              <a:gd name="T95" fmla="*/ 0 h 1384100"/>
              <a:gd name="T96" fmla="*/ 0 w 2561343"/>
              <a:gd name="T97" fmla="*/ 0 h 1384100"/>
              <a:gd name="T98" fmla="*/ 0 w 2561343"/>
              <a:gd name="T99" fmla="*/ 0 h 1384100"/>
              <a:gd name="T100" fmla="*/ 0 w 2561343"/>
              <a:gd name="T101" fmla="*/ 0 h 1384100"/>
              <a:gd name="T102" fmla="*/ 0 w 2561343"/>
              <a:gd name="T103" fmla="*/ 0 h 1384100"/>
              <a:gd name="T104" fmla="*/ 0 w 2561343"/>
              <a:gd name="T105" fmla="*/ 0 h 1384100"/>
              <a:gd name="T106" fmla="*/ 0 w 2561343"/>
              <a:gd name="T107" fmla="*/ 0 h 1384100"/>
              <a:gd name="T108" fmla="*/ 0 w 2561343"/>
              <a:gd name="T109" fmla="*/ 0 h 1384100"/>
              <a:gd name="T110" fmla="*/ 0 w 2561343"/>
              <a:gd name="T111" fmla="*/ 0 h 1384100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w 2561343"/>
              <a:gd name="T169" fmla="*/ 0 h 1384100"/>
              <a:gd name="T170" fmla="*/ 2561343 w 2561343"/>
              <a:gd name="T171" fmla="*/ 1384100 h 1384100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T168" t="T169" r="T170" b="T171"/>
            <a:pathLst>
              <a:path w="2561343" h="1384100">
                <a:moveTo>
                  <a:pt x="1959294" y="0"/>
                </a:moveTo>
                <a:lnTo>
                  <a:pt x="1990788" y="0"/>
                </a:lnTo>
                <a:lnTo>
                  <a:pt x="2015746" y="6665"/>
                </a:lnTo>
                <a:lnTo>
                  <a:pt x="2051202" y="17365"/>
                </a:lnTo>
                <a:lnTo>
                  <a:pt x="2082696" y="32049"/>
                </a:lnTo>
                <a:lnTo>
                  <a:pt x="2105014" y="32049"/>
                </a:lnTo>
                <a:lnTo>
                  <a:pt x="2129908" y="81437"/>
                </a:lnTo>
                <a:lnTo>
                  <a:pt x="2153546" y="102812"/>
                </a:lnTo>
                <a:lnTo>
                  <a:pt x="2186360" y="121505"/>
                </a:lnTo>
                <a:lnTo>
                  <a:pt x="2221816" y="117495"/>
                </a:lnTo>
                <a:lnTo>
                  <a:pt x="2238852" y="128170"/>
                </a:lnTo>
                <a:lnTo>
                  <a:pt x="2263810" y="142853"/>
                </a:lnTo>
                <a:lnTo>
                  <a:pt x="2292666" y="160219"/>
                </a:lnTo>
                <a:lnTo>
                  <a:pt x="2332018" y="166884"/>
                </a:lnTo>
                <a:cubicBezTo>
                  <a:pt x="2329378" y="175345"/>
                  <a:pt x="2326800" y="183806"/>
                  <a:pt x="2324160" y="192268"/>
                </a:cubicBezTo>
                <a:cubicBezTo>
                  <a:pt x="2329000" y="197162"/>
                  <a:pt x="2333778" y="202057"/>
                  <a:pt x="2338620" y="206951"/>
                </a:cubicBezTo>
                <a:lnTo>
                  <a:pt x="2367474" y="217626"/>
                </a:lnTo>
                <a:lnTo>
                  <a:pt x="2388472" y="213616"/>
                </a:lnTo>
                <a:lnTo>
                  <a:pt x="2419966" y="202942"/>
                </a:lnTo>
                <a:lnTo>
                  <a:pt x="2456742" y="202942"/>
                </a:lnTo>
                <a:cubicBezTo>
                  <a:pt x="2461080" y="199375"/>
                  <a:pt x="2465480" y="195834"/>
                  <a:pt x="2469818" y="192268"/>
                </a:cubicBezTo>
                <a:lnTo>
                  <a:pt x="2488238" y="202942"/>
                </a:lnTo>
                <a:lnTo>
                  <a:pt x="2488238" y="217626"/>
                </a:lnTo>
                <a:cubicBezTo>
                  <a:pt x="2493016" y="225644"/>
                  <a:pt x="2497856" y="233637"/>
                  <a:pt x="2502634" y="241656"/>
                </a:cubicBezTo>
                <a:lnTo>
                  <a:pt x="2527590" y="260349"/>
                </a:lnTo>
                <a:lnTo>
                  <a:pt x="2559086" y="260349"/>
                </a:lnTo>
                <a:lnTo>
                  <a:pt x="2551064" y="266077"/>
                </a:lnTo>
                <a:lnTo>
                  <a:pt x="2555116" y="265115"/>
                </a:lnTo>
                <a:cubicBezTo>
                  <a:pt x="2551416" y="275611"/>
                  <a:pt x="2564370" y="281436"/>
                  <a:pt x="2560672" y="292014"/>
                </a:cubicBezTo>
                <a:lnTo>
                  <a:pt x="2538464" y="292014"/>
                </a:lnTo>
                <a:lnTo>
                  <a:pt x="2516222" y="292014"/>
                </a:lnTo>
                <a:lnTo>
                  <a:pt x="2499554" y="270912"/>
                </a:lnTo>
                <a:lnTo>
                  <a:pt x="2477328" y="265609"/>
                </a:lnTo>
                <a:lnTo>
                  <a:pt x="2466234" y="307786"/>
                </a:lnTo>
                <a:lnTo>
                  <a:pt x="2482902" y="323640"/>
                </a:lnTo>
                <a:lnTo>
                  <a:pt x="2466234" y="350017"/>
                </a:lnTo>
                <a:lnTo>
                  <a:pt x="2455104" y="381642"/>
                </a:lnTo>
                <a:lnTo>
                  <a:pt x="2455104" y="408047"/>
                </a:lnTo>
                <a:lnTo>
                  <a:pt x="2421766" y="429094"/>
                </a:lnTo>
                <a:cubicBezTo>
                  <a:pt x="2419942" y="439673"/>
                  <a:pt x="2418068" y="450196"/>
                  <a:pt x="2416210" y="460775"/>
                </a:cubicBezTo>
                <a:lnTo>
                  <a:pt x="2399542" y="492400"/>
                </a:lnTo>
                <a:lnTo>
                  <a:pt x="2393986" y="518777"/>
                </a:lnTo>
                <a:lnTo>
                  <a:pt x="2416210" y="539879"/>
                </a:lnTo>
                <a:lnTo>
                  <a:pt x="2438436" y="529301"/>
                </a:lnTo>
                <a:lnTo>
                  <a:pt x="2460676" y="539879"/>
                </a:lnTo>
                <a:lnTo>
                  <a:pt x="2477522" y="561197"/>
                </a:lnTo>
                <a:lnTo>
                  <a:pt x="2479664" y="561610"/>
                </a:lnTo>
                <a:cubicBezTo>
                  <a:pt x="2472604" y="572312"/>
                  <a:pt x="2472368" y="592599"/>
                  <a:pt x="2465308" y="603301"/>
                </a:cubicBezTo>
                <a:cubicBezTo>
                  <a:pt x="2462954" y="620074"/>
                  <a:pt x="2460600" y="636687"/>
                  <a:pt x="2458012" y="653459"/>
                </a:cubicBezTo>
                <a:cubicBezTo>
                  <a:pt x="2442716" y="663043"/>
                  <a:pt x="2426948" y="672548"/>
                  <a:pt x="2411652" y="682132"/>
                </a:cubicBezTo>
                <a:lnTo>
                  <a:pt x="2361524" y="689320"/>
                </a:lnTo>
                <a:cubicBezTo>
                  <a:pt x="2343640" y="719111"/>
                  <a:pt x="2325518" y="748982"/>
                  <a:pt x="2307634" y="778853"/>
                </a:cubicBezTo>
                <a:lnTo>
                  <a:pt x="2279158" y="778853"/>
                </a:lnTo>
                <a:cubicBezTo>
                  <a:pt x="2261272" y="822941"/>
                  <a:pt x="2243152" y="867188"/>
                  <a:pt x="2225266" y="911356"/>
                </a:cubicBezTo>
                <a:cubicBezTo>
                  <a:pt x="2221972" y="928128"/>
                  <a:pt x="2217970" y="944741"/>
                  <a:pt x="2214676" y="961514"/>
                </a:cubicBezTo>
                <a:lnTo>
                  <a:pt x="2268332" y="993701"/>
                </a:lnTo>
                <a:cubicBezTo>
                  <a:pt x="2261036" y="1015185"/>
                  <a:pt x="2253742" y="1036670"/>
                  <a:pt x="2246916" y="1058155"/>
                </a:cubicBezTo>
                <a:cubicBezTo>
                  <a:pt x="2274452" y="1086748"/>
                  <a:pt x="2301750" y="1115501"/>
                  <a:pt x="2329284" y="1144094"/>
                </a:cubicBezTo>
                <a:cubicBezTo>
                  <a:pt x="2331402" y="1167975"/>
                  <a:pt x="2333990" y="1191935"/>
                  <a:pt x="2336580" y="1215816"/>
                </a:cubicBezTo>
                <a:cubicBezTo>
                  <a:pt x="2314928" y="1246885"/>
                  <a:pt x="2293278" y="1277874"/>
                  <a:pt x="2271862" y="1308863"/>
                </a:cubicBezTo>
                <a:lnTo>
                  <a:pt x="2203616" y="1337536"/>
                </a:lnTo>
                <a:lnTo>
                  <a:pt x="2139134" y="1333942"/>
                </a:lnTo>
                <a:cubicBezTo>
                  <a:pt x="2137956" y="1347121"/>
                  <a:pt x="2137016" y="1360219"/>
                  <a:pt x="2135838" y="1373397"/>
                </a:cubicBezTo>
                <a:lnTo>
                  <a:pt x="2046176" y="1384100"/>
                </a:lnTo>
                <a:lnTo>
                  <a:pt x="1971104" y="1344645"/>
                </a:lnTo>
                <a:lnTo>
                  <a:pt x="1913448" y="1330348"/>
                </a:lnTo>
                <a:lnTo>
                  <a:pt x="1834610" y="1333942"/>
                </a:lnTo>
                <a:cubicBezTo>
                  <a:pt x="1829904" y="1339932"/>
                  <a:pt x="1824962" y="1345923"/>
                  <a:pt x="1820254" y="1351913"/>
                </a:cubicBezTo>
                <a:lnTo>
                  <a:pt x="1791778" y="1341131"/>
                </a:lnTo>
                <a:cubicBezTo>
                  <a:pt x="1776246" y="1330348"/>
                  <a:pt x="1760480" y="1319646"/>
                  <a:pt x="1744948" y="1308863"/>
                </a:cubicBezTo>
                <a:cubicBezTo>
                  <a:pt x="1730592" y="1302953"/>
                  <a:pt x="1716708" y="1296963"/>
                  <a:pt x="1702116" y="1290973"/>
                </a:cubicBezTo>
                <a:lnTo>
                  <a:pt x="1612454" y="1316052"/>
                </a:lnTo>
                <a:lnTo>
                  <a:pt x="1511966" y="1316052"/>
                </a:lnTo>
                <a:lnTo>
                  <a:pt x="1447720" y="1283865"/>
                </a:lnTo>
                <a:lnTo>
                  <a:pt x="1372412" y="1265894"/>
                </a:lnTo>
                <a:cubicBezTo>
                  <a:pt x="1366764" y="1256390"/>
                  <a:pt x="1360410" y="1246805"/>
                  <a:pt x="1354526" y="1237301"/>
                </a:cubicBezTo>
                <a:cubicBezTo>
                  <a:pt x="1347232" y="1218132"/>
                  <a:pt x="1340172" y="1199044"/>
                  <a:pt x="1332876" y="1179955"/>
                </a:cubicBezTo>
                <a:cubicBezTo>
                  <a:pt x="1331698" y="1147768"/>
                  <a:pt x="1330522" y="1115501"/>
                  <a:pt x="1329346" y="1083314"/>
                </a:cubicBezTo>
                <a:lnTo>
                  <a:pt x="1232622" y="1051047"/>
                </a:lnTo>
                <a:lnTo>
                  <a:pt x="1118014" y="1036670"/>
                </a:lnTo>
                <a:lnTo>
                  <a:pt x="1035412" y="1040264"/>
                </a:lnTo>
                <a:lnTo>
                  <a:pt x="981756" y="1018859"/>
                </a:lnTo>
                <a:cubicBezTo>
                  <a:pt x="986462" y="1005681"/>
                  <a:pt x="991404" y="992583"/>
                  <a:pt x="996112" y="979404"/>
                </a:cubicBezTo>
                <a:cubicBezTo>
                  <a:pt x="998464" y="972216"/>
                  <a:pt x="1000818" y="965108"/>
                  <a:pt x="1003172" y="957919"/>
                </a:cubicBezTo>
                <a:lnTo>
                  <a:pt x="974696" y="957919"/>
                </a:lnTo>
                <a:cubicBezTo>
                  <a:pt x="967400" y="965108"/>
                  <a:pt x="960340" y="972216"/>
                  <a:pt x="953044" y="979404"/>
                </a:cubicBezTo>
                <a:lnTo>
                  <a:pt x="910214" y="979404"/>
                </a:lnTo>
                <a:cubicBezTo>
                  <a:pt x="899153" y="967424"/>
                  <a:pt x="888563" y="955523"/>
                  <a:pt x="877738" y="943543"/>
                </a:cubicBezTo>
                <a:cubicBezTo>
                  <a:pt x="868324" y="937633"/>
                  <a:pt x="858911" y="931563"/>
                  <a:pt x="849262" y="925652"/>
                </a:cubicBezTo>
                <a:cubicBezTo>
                  <a:pt x="844556" y="937633"/>
                  <a:pt x="839613" y="949533"/>
                  <a:pt x="834671" y="961514"/>
                </a:cubicBezTo>
                <a:lnTo>
                  <a:pt x="788310" y="982998"/>
                </a:lnTo>
                <a:lnTo>
                  <a:pt x="723829" y="965108"/>
                </a:lnTo>
                <a:lnTo>
                  <a:pt x="694882" y="975810"/>
                </a:lnTo>
                <a:cubicBezTo>
                  <a:pt x="687822" y="987790"/>
                  <a:pt x="680762" y="999691"/>
                  <a:pt x="673702" y="1011671"/>
                </a:cubicBezTo>
                <a:lnTo>
                  <a:pt x="641461" y="1015265"/>
                </a:lnTo>
                <a:lnTo>
                  <a:pt x="598160" y="1036670"/>
                </a:lnTo>
                <a:lnTo>
                  <a:pt x="565919" y="1051047"/>
                </a:lnTo>
                <a:lnTo>
                  <a:pt x="533913" y="1051047"/>
                </a:lnTo>
                <a:lnTo>
                  <a:pt x="465902" y="1065343"/>
                </a:lnTo>
                <a:cubicBezTo>
                  <a:pt x="455076" y="1073729"/>
                  <a:pt x="444486" y="1082036"/>
                  <a:pt x="433425" y="1090422"/>
                </a:cubicBezTo>
                <a:cubicBezTo>
                  <a:pt x="423777" y="1099926"/>
                  <a:pt x="414363" y="1109591"/>
                  <a:pt x="404950" y="1119095"/>
                </a:cubicBezTo>
                <a:lnTo>
                  <a:pt x="354588" y="1108313"/>
                </a:lnTo>
                <a:cubicBezTo>
                  <a:pt x="347528" y="1114303"/>
                  <a:pt x="340233" y="1120293"/>
                  <a:pt x="333173" y="1126203"/>
                </a:cubicBezTo>
                <a:lnTo>
                  <a:pt x="297402" y="1136986"/>
                </a:lnTo>
                <a:lnTo>
                  <a:pt x="254335" y="1136986"/>
                </a:lnTo>
                <a:cubicBezTo>
                  <a:pt x="249629" y="1146570"/>
                  <a:pt x="244687" y="1156074"/>
                  <a:pt x="239745" y="1165659"/>
                </a:cubicBezTo>
                <a:cubicBezTo>
                  <a:pt x="232920" y="1172767"/>
                  <a:pt x="225624" y="1179955"/>
                  <a:pt x="218564" y="1187143"/>
                </a:cubicBezTo>
                <a:cubicBezTo>
                  <a:pt x="211504" y="1190657"/>
                  <a:pt x="203974" y="1194252"/>
                  <a:pt x="196914" y="1197846"/>
                </a:cubicBezTo>
                <a:cubicBezTo>
                  <a:pt x="179639" y="1196930"/>
                  <a:pt x="152457" y="1202971"/>
                  <a:pt x="130415" y="1204365"/>
                </a:cubicBezTo>
                <a:lnTo>
                  <a:pt x="115665" y="1211953"/>
                </a:lnTo>
                <a:lnTo>
                  <a:pt x="115665" y="1205812"/>
                </a:lnTo>
                <a:cubicBezTo>
                  <a:pt x="114468" y="1206241"/>
                  <a:pt x="113310" y="1206211"/>
                  <a:pt x="112193" y="1206152"/>
                </a:cubicBezTo>
                <a:lnTo>
                  <a:pt x="115665" y="1200966"/>
                </a:lnTo>
                <a:cubicBezTo>
                  <a:pt x="115079" y="1183364"/>
                  <a:pt x="116946" y="1161780"/>
                  <a:pt x="115665" y="1146538"/>
                </a:cubicBezTo>
                <a:lnTo>
                  <a:pt x="101665" y="1099916"/>
                </a:lnTo>
                <a:lnTo>
                  <a:pt x="56089" y="1078472"/>
                </a:lnTo>
                <a:lnTo>
                  <a:pt x="70109" y="1049860"/>
                </a:lnTo>
                <a:lnTo>
                  <a:pt x="101665" y="1031850"/>
                </a:lnTo>
                <a:lnTo>
                  <a:pt x="115665" y="996070"/>
                </a:lnTo>
                <a:lnTo>
                  <a:pt x="154210" y="1021248"/>
                </a:lnTo>
                <a:lnTo>
                  <a:pt x="203240" y="1003238"/>
                </a:lnTo>
                <a:lnTo>
                  <a:pt x="189220" y="971072"/>
                </a:lnTo>
                <a:lnTo>
                  <a:pt x="157684" y="953122"/>
                </a:lnTo>
                <a:cubicBezTo>
                  <a:pt x="155348" y="938847"/>
                  <a:pt x="153052" y="924511"/>
                  <a:pt x="150715" y="910295"/>
                </a:cubicBezTo>
                <a:cubicBezTo>
                  <a:pt x="149537" y="900778"/>
                  <a:pt x="148378" y="891201"/>
                  <a:pt x="147159" y="881503"/>
                </a:cubicBezTo>
                <a:lnTo>
                  <a:pt x="101665" y="863733"/>
                </a:lnTo>
                <a:lnTo>
                  <a:pt x="70109" y="810124"/>
                </a:lnTo>
                <a:lnTo>
                  <a:pt x="52574" y="756334"/>
                </a:lnTo>
                <a:lnTo>
                  <a:pt x="31584" y="720554"/>
                </a:lnTo>
                <a:cubicBezTo>
                  <a:pt x="30406" y="703869"/>
                  <a:pt x="29268" y="687063"/>
                  <a:pt x="28069" y="670439"/>
                </a:cubicBezTo>
                <a:lnTo>
                  <a:pt x="14089" y="627370"/>
                </a:lnTo>
                <a:lnTo>
                  <a:pt x="10851" y="623272"/>
                </a:lnTo>
                <a:lnTo>
                  <a:pt x="0" y="612089"/>
                </a:lnTo>
                <a:lnTo>
                  <a:pt x="1079" y="610905"/>
                </a:lnTo>
                <a:lnTo>
                  <a:pt x="49" y="609601"/>
                </a:lnTo>
                <a:lnTo>
                  <a:pt x="1877" y="610030"/>
                </a:lnTo>
                <a:cubicBezTo>
                  <a:pt x="6479" y="603408"/>
                  <a:pt x="14466" y="598511"/>
                  <a:pt x="18561" y="591729"/>
                </a:cubicBezTo>
                <a:lnTo>
                  <a:pt x="74059" y="600245"/>
                </a:lnTo>
                <a:lnTo>
                  <a:pt x="140961" y="603083"/>
                </a:lnTo>
                <a:lnTo>
                  <a:pt x="193689" y="628648"/>
                </a:lnTo>
                <a:lnTo>
                  <a:pt x="249186" y="628648"/>
                </a:lnTo>
                <a:lnTo>
                  <a:pt x="304684" y="600245"/>
                </a:lnTo>
                <a:lnTo>
                  <a:pt x="348824" y="570439"/>
                </a:lnTo>
                <a:cubicBezTo>
                  <a:pt x="351179" y="545821"/>
                  <a:pt x="353626" y="521219"/>
                  <a:pt x="355981" y="496601"/>
                </a:cubicBezTo>
                <a:lnTo>
                  <a:pt x="390101" y="466779"/>
                </a:lnTo>
                <a:lnTo>
                  <a:pt x="438535" y="462521"/>
                </a:lnTo>
                <a:lnTo>
                  <a:pt x="471270" y="459682"/>
                </a:lnTo>
                <a:lnTo>
                  <a:pt x="474631" y="462746"/>
                </a:lnTo>
                <a:lnTo>
                  <a:pt x="477167" y="459894"/>
                </a:lnTo>
                <a:lnTo>
                  <a:pt x="541239" y="495836"/>
                </a:lnTo>
                <a:lnTo>
                  <a:pt x="619103" y="534993"/>
                </a:lnTo>
                <a:lnTo>
                  <a:pt x="655880" y="553152"/>
                </a:lnTo>
                <a:lnTo>
                  <a:pt x="754862" y="541957"/>
                </a:lnTo>
                <a:lnTo>
                  <a:pt x="872376" y="505585"/>
                </a:lnTo>
                <a:lnTo>
                  <a:pt x="943201" y="487427"/>
                </a:lnTo>
                <a:cubicBezTo>
                  <a:pt x="953976" y="480409"/>
                  <a:pt x="965036" y="473446"/>
                  <a:pt x="975668" y="466429"/>
                </a:cubicBezTo>
                <a:lnTo>
                  <a:pt x="1072064" y="448270"/>
                </a:lnTo>
                <a:cubicBezTo>
                  <a:pt x="1077092" y="438468"/>
                  <a:pt x="1082408" y="428665"/>
                  <a:pt x="1087436" y="418863"/>
                </a:cubicBezTo>
                <a:lnTo>
                  <a:pt x="1200640" y="346174"/>
                </a:lnTo>
                <a:lnTo>
                  <a:pt x="1278504" y="294429"/>
                </a:lnTo>
                <a:cubicBezTo>
                  <a:pt x="1280802" y="279967"/>
                  <a:pt x="1283388" y="265504"/>
                  <a:pt x="1285686" y="251041"/>
                </a:cubicBezTo>
                <a:lnTo>
                  <a:pt x="1356368" y="214670"/>
                </a:lnTo>
                <a:cubicBezTo>
                  <a:pt x="1366280" y="191369"/>
                  <a:pt x="1376192" y="168068"/>
                  <a:pt x="1386248" y="144767"/>
                </a:cubicBezTo>
                <a:cubicBezTo>
                  <a:pt x="1399466" y="129393"/>
                  <a:pt x="1412394" y="113966"/>
                  <a:pt x="1425612" y="98593"/>
                </a:cubicBezTo>
                <a:lnTo>
                  <a:pt x="1544706" y="79042"/>
                </a:lnTo>
                <a:lnTo>
                  <a:pt x="1655038" y="46849"/>
                </a:lnTo>
                <a:lnTo>
                  <a:pt x="1724424" y="24512"/>
                </a:lnTo>
                <a:lnTo>
                  <a:pt x="1854582" y="17495"/>
                </a:lnTo>
                <a:lnTo>
                  <a:pt x="1932876" y="14977"/>
                </a:lnTo>
                <a:lnTo>
                  <a:pt x="1933682" y="15413"/>
                </a:lnTo>
                <a:close/>
              </a:path>
            </a:pathLst>
          </a:custGeom>
          <a:solidFill>
            <a:srgbClr val="70B0DF"/>
          </a:solidFill>
          <a:ln w="3175" cap="flat" cmpd="sng">
            <a:noFill/>
            <a:prstDash val="solid"/>
            <a:round/>
            <a:headEnd type="none" w="med" len="med"/>
            <a:tailEnd type="none" w="med" len="med"/>
          </a:ln>
        </p:spPr>
        <p:txBody>
          <a:bodyPr wrap="none" lIns="32632" tIns="32632" rIns="32632" bIns="32632" anchor="ctr"/>
          <a:lstStyle/>
          <a:p>
            <a:pPr defTabSz="891045"/>
            <a:endParaRPr lang="en-US" sz="1700" dirty="0">
              <a:solidFill>
                <a:srgbClr val="003149"/>
              </a:solidFill>
              <a:cs typeface="Arial" panose="020B0604020202020204" pitchFamily="34" charset="0"/>
            </a:endParaRPr>
          </a:p>
        </p:txBody>
      </p:sp>
      <p:sp>
        <p:nvSpPr>
          <p:cNvPr id="25" name="Freeform 733"/>
          <p:cNvSpPr>
            <a:spLocks noChangeAspect="1"/>
          </p:cNvSpPr>
          <p:nvPr>
            <p:custDataLst>
              <p:tags r:id="rId9"/>
            </p:custDataLst>
          </p:nvPr>
        </p:nvSpPr>
        <p:spPr bwMode="gray">
          <a:xfrm>
            <a:off x="4333481" y="3955550"/>
            <a:ext cx="174865" cy="282663"/>
          </a:xfrm>
          <a:custGeom>
            <a:avLst/>
            <a:gdLst>
              <a:gd name="T0" fmla="*/ 0 w 1013632"/>
              <a:gd name="T1" fmla="*/ 0 h 1443036"/>
              <a:gd name="T2" fmla="*/ 0 w 1013632"/>
              <a:gd name="T3" fmla="*/ 0 h 1443036"/>
              <a:gd name="T4" fmla="*/ 0 w 1013632"/>
              <a:gd name="T5" fmla="*/ 0 h 1443036"/>
              <a:gd name="T6" fmla="*/ 0 w 1013632"/>
              <a:gd name="T7" fmla="*/ 0 h 1443036"/>
              <a:gd name="T8" fmla="*/ 0 w 1013632"/>
              <a:gd name="T9" fmla="*/ 0 h 1443036"/>
              <a:gd name="T10" fmla="*/ 0 w 1013632"/>
              <a:gd name="T11" fmla="*/ 0 h 1443036"/>
              <a:gd name="T12" fmla="*/ 0 w 1013632"/>
              <a:gd name="T13" fmla="*/ 0 h 1443036"/>
              <a:gd name="T14" fmla="*/ 0 w 1013632"/>
              <a:gd name="T15" fmla="*/ 0 h 1443036"/>
              <a:gd name="T16" fmla="*/ 0 w 1013632"/>
              <a:gd name="T17" fmla="*/ 0 h 1443036"/>
              <a:gd name="T18" fmla="*/ 0 w 1013632"/>
              <a:gd name="T19" fmla="*/ 0 h 1443036"/>
              <a:gd name="T20" fmla="*/ 0 w 1013632"/>
              <a:gd name="T21" fmla="*/ 0 h 1443036"/>
              <a:gd name="T22" fmla="*/ 0 w 1013632"/>
              <a:gd name="T23" fmla="*/ 0 h 1443036"/>
              <a:gd name="T24" fmla="*/ 0 w 1013632"/>
              <a:gd name="T25" fmla="*/ 0 h 1443036"/>
              <a:gd name="T26" fmla="*/ 0 w 1013632"/>
              <a:gd name="T27" fmla="*/ 0 h 1443036"/>
              <a:gd name="T28" fmla="*/ 0 w 1013632"/>
              <a:gd name="T29" fmla="*/ 0 h 1443036"/>
              <a:gd name="T30" fmla="*/ 0 w 1013632"/>
              <a:gd name="T31" fmla="*/ 0 h 1443036"/>
              <a:gd name="T32" fmla="*/ 0 w 1013632"/>
              <a:gd name="T33" fmla="*/ 0 h 1443036"/>
              <a:gd name="T34" fmla="*/ 0 w 1013632"/>
              <a:gd name="T35" fmla="*/ 0 h 1443036"/>
              <a:gd name="T36" fmla="*/ 0 w 1013632"/>
              <a:gd name="T37" fmla="*/ 0 h 1443036"/>
              <a:gd name="T38" fmla="*/ 0 w 1013632"/>
              <a:gd name="T39" fmla="*/ 0 h 1443036"/>
              <a:gd name="T40" fmla="*/ 0 w 1013632"/>
              <a:gd name="T41" fmla="*/ 0 h 1443036"/>
              <a:gd name="T42" fmla="*/ 0 w 1013632"/>
              <a:gd name="T43" fmla="*/ 0 h 1443036"/>
              <a:gd name="T44" fmla="*/ 0 w 1013632"/>
              <a:gd name="T45" fmla="*/ 0 h 1443036"/>
              <a:gd name="T46" fmla="*/ 0 w 1013632"/>
              <a:gd name="T47" fmla="*/ 0 h 1443036"/>
              <a:gd name="T48" fmla="*/ 0 w 1013632"/>
              <a:gd name="T49" fmla="*/ 0 h 1443036"/>
              <a:gd name="T50" fmla="*/ 0 w 1013632"/>
              <a:gd name="T51" fmla="*/ 0 h 1443036"/>
              <a:gd name="T52" fmla="*/ 0 w 1013632"/>
              <a:gd name="T53" fmla="*/ 0 h 1443036"/>
              <a:gd name="T54" fmla="*/ 0 w 1013632"/>
              <a:gd name="T55" fmla="*/ 0 h 1443036"/>
              <a:gd name="T56" fmla="*/ 0 w 1013632"/>
              <a:gd name="T57" fmla="*/ 0 h 1443036"/>
              <a:gd name="T58" fmla="*/ 0 w 1013632"/>
              <a:gd name="T59" fmla="*/ 0 h 1443036"/>
              <a:gd name="T60" fmla="*/ 0 w 1013632"/>
              <a:gd name="T61" fmla="*/ 0 h 1443036"/>
              <a:gd name="T62" fmla="*/ 0 w 1013632"/>
              <a:gd name="T63" fmla="*/ 0 h 1443036"/>
              <a:gd name="T64" fmla="*/ 0 w 1013632"/>
              <a:gd name="T65" fmla="*/ 0 h 1443036"/>
              <a:gd name="T66" fmla="*/ 0 w 1013632"/>
              <a:gd name="T67" fmla="*/ 0 h 1443036"/>
              <a:gd name="T68" fmla="*/ 0 w 1013632"/>
              <a:gd name="T69" fmla="*/ 0 h 1443036"/>
              <a:gd name="T70" fmla="*/ 0 w 1013632"/>
              <a:gd name="T71" fmla="*/ 0 h 1443036"/>
              <a:gd name="T72" fmla="*/ 0 w 1013632"/>
              <a:gd name="T73" fmla="*/ 0 h 1443036"/>
              <a:gd name="T74" fmla="*/ 0 w 1013632"/>
              <a:gd name="T75" fmla="*/ 0 h 1443036"/>
              <a:gd name="T76" fmla="*/ 0 w 1013632"/>
              <a:gd name="T77" fmla="*/ 0 h 1443036"/>
              <a:gd name="T78" fmla="*/ 0 w 1013632"/>
              <a:gd name="T79" fmla="*/ 0 h 1443036"/>
              <a:gd name="T80" fmla="*/ 0 w 1013632"/>
              <a:gd name="T81" fmla="*/ 0 h 1443036"/>
              <a:gd name="T82" fmla="*/ 0 w 1013632"/>
              <a:gd name="T83" fmla="*/ 0 h 1443036"/>
              <a:gd name="T84" fmla="*/ 0 w 1013632"/>
              <a:gd name="T85" fmla="*/ 0 h 1443036"/>
              <a:gd name="T86" fmla="*/ 0 w 1013632"/>
              <a:gd name="T87" fmla="*/ 0 h 1443036"/>
              <a:gd name="T88" fmla="*/ 0 w 1013632"/>
              <a:gd name="T89" fmla="*/ 0 h 1443036"/>
              <a:gd name="T90" fmla="*/ 0 w 1013632"/>
              <a:gd name="T91" fmla="*/ 0 h 1443036"/>
              <a:gd name="T92" fmla="*/ 0 w 1013632"/>
              <a:gd name="T93" fmla="*/ 0 h 1443036"/>
              <a:gd name="T94" fmla="*/ 0 w 1013632"/>
              <a:gd name="T95" fmla="*/ 0 h 1443036"/>
              <a:gd name="T96" fmla="*/ 0 w 1013632"/>
              <a:gd name="T97" fmla="*/ 0 h 1443036"/>
              <a:gd name="T98" fmla="*/ 0 w 1013632"/>
              <a:gd name="T99" fmla="*/ 0 h 1443036"/>
              <a:gd name="T100" fmla="*/ 0 w 1013632"/>
              <a:gd name="T101" fmla="*/ 0 h 1443036"/>
              <a:gd name="T102" fmla="*/ 0 w 1013632"/>
              <a:gd name="T103" fmla="*/ 0 h 1443036"/>
              <a:gd name="T104" fmla="*/ 0 w 1013632"/>
              <a:gd name="T105" fmla="*/ 0 h 1443036"/>
              <a:gd name="T106" fmla="*/ 0 w 1013632"/>
              <a:gd name="T107" fmla="*/ 0 h 1443036"/>
              <a:gd name="T108" fmla="*/ 0 w 1013632"/>
              <a:gd name="T109" fmla="*/ 0 h 1443036"/>
              <a:gd name="T110" fmla="*/ 0 w 1013632"/>
              <a:gd name="T111" fmla="*/ 0 h 14430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w 1013632"/>
              <a:gd name="T169" fmla="*/ 0 h 1443036"/>
              <a:gd name="T170" fmla="*/ 1013632 w 1013632"/>
              <a:gd name="T171" fmla="*/ 1443036 h 1443036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T168" t="T169" r="T170" b="T171"/>
            <a:pathLst>
              <a:path w="1013632" h="1443036">
                <a:moveTo>
                  <a:pt x="441452" y="0"/>
                </a:moveTo>
                <a:lnTo>
                  <a:pt x="444173" y="5633"/>
                </a:lnTo>
                <a:lnTo>
                  <a:pt x="482612" y="5633"/>
                </a:lnTo>
                <a:lnTo>
                  <a:pt x="526511" y="49005"/>
                </a:lnTo>
                <a:lnTo>
                  <a:pt x="551994" y="93831"/>
                </a:lnTo>
                <a:lnTo>
                  <a:pt x="574696" y="130297"/>
                </a:lnTo>
                <a:lnTo>
                  <a:pt x="636955" y="132962"/>
                </a:lnTo>
                <a:lnTo>
                  <a:pt x="721916" y="132962"/>
                </a:lnTo>
                <a:lnTo>
                  <a:pt x="806876" y="198868"/>
                </a:lnTo>
                <a:lnTo>
                  <a:pt x="880544" y="268772"/>
                </a:lnTo>
                <a:lnTo>
                  <a:pt x="898961" y="334557"/>
                </a:lnTo>
                <a:lnTo>
                  <a:pt x="914540" y="373689"/>
                </a:lnTo>
                <a:lnTo>
                  <a:pt x="942860" y="425541"/>
                </a:lnTo>
                <a:lnTo>
                  <a:pt x="969733" y="464794"/>
                </a:lnTo>
                <a:lnTo>
                  <a:pt x="988150" y="519312"/>
                </a:lnTo>
                <a:cubicBezTo>
                  <a:pt x="985775" y="542694"/>
                  <a:pt x="983458" y="566076"/>
                  <a:pt x="981084" y="589458"/>
                </a:cubicBezTo>
                <a:lnTo>
                  <a:pt x="951316" y="607509"/>
                </a:lnTo>
                <a:cubicBezTo>
                  <a:pt x="948478" y="630891"/>
                  <a:pt x="945698" y="654273"/>
                  <a:pt x="942860" y="677655"/>
                </a:cubicBezTo>
                <a:lnTo>
                  <a:pt x="958381" y="750467"/>
                </a:lnTo>
                <a:lnTo>
                  <a:pt x="999501" y="793718"/>
                </a:lnTo>
                <a:lnTo>
                  <a:pt x="1013632" y="830184"/>
                </a:lnTo>
                <a:lnTo>
                  <a:pt x="981084" y="870770"/>
                </a:lnTo>
                <a:lnTo>
                  <a:pt x="954154" y="909901"/>
                </a:lnTo>
                <a:lnTo>
                  <a:pt x="921606" y="936554"/>
                </a:lnTo>
                <a:lnTo>
                  <a:pt x="873420" y="991193"/>
                </a:lnTo>
                <a:lnTo>
                  <a:pt x="802649" y="1041471"/>
                </a:lnTo>
                <a:lnTo>
                  <a:pt x="737495" y="1066670"/>
                </a:lnTo>
                <a:lnTo>
                  <a:pt x="696433" y="1125428"/>
                </a:lnTo>
                <a:lnTo>
                  <a:pt x="678016" y="1180188"/>
                </a:lnTo>
                <a:lnTo>
                  <a:pt x="678016" y="1216533"/>
                </a:lnTo>
                <a:lnTo>
                  <a:pt x="696433" y="1245852"/>
                </a:lnTo>
                <a:lnTo>
                  <a:pt x="686001" y="1242966"/>
                </a:lnTo>
                <a:lnTo>
                  <a:pt x="660748" y="1245156"/>
                </a:lnTo>
                <a:lnTo>
                  <a:pt x="612314" y="1249414"/>
                </a:lnTo>
                <a:lnTo>
                  <a:pt x="578193" y="1279236"/>
                </a:lnTo>
                <a:cubicBezTo>
                  <a:pt x="575838" y="1303854"/>
                  <a:pt x="573391" y="1328456"/>
                  <a:pt x="571036" y="1353074"/>
                </a:cubicBezTo>
                <a:lnTo>
                  <a:pt x="526897" y="1382880"/>
                </a:lnTo>
                <a:lnTo>
                  <a:pt x="471399" y="1411283"/>
                </a:lnTo>
                <a:lnTo>
                  <a:pt x="415901" y="1411283"/>
                </a:lnTo>
                <a:lnTo>
                  <a:pt x="363173" y="1385718"/>
                </a:lnTo>
                <a:lnTo>
                  <a:pt x="296271" y="1382880"/>
                </a:lnTo>
                <a:lnTo>
                  <a:pt x="240773" y="1374364"/>
                </a:lnTo>
                <a:cubicBezTo>
                  <a:pt x="236202" y="1381934"/>
                  <a:pt x="226783" y="1387155"/>
                  <a:pt x="222212" y="1394724"/>
                </a:cubicBezTo>
                <a:lnTo>
                  <a:pt x="221559" y="1394120"/>
                </a:lnTo>
                <a:lnTo>
                  <a:pt x="218607" y="1417646"/>
                </a:lnTo>
                <a:lnTo>
                  <a:pt x="185825" y="1417646"/>
                </a:lnTo>
                <a:lnTo>
                  <a:pt x="156665" y="1439409"/>
                </a:lnTo>
                <a:lnTo>
                  <a:pt x="116593" y="1443036"/>
                </a:lnTo>
                <a:lnTo>
                  <a:pt x="80166" y="1403107"/>
                </a:lnTo>
                <a:lnTo>
                  <a:pt x="36427" y="1384972"/>
                </a:lnTo>
                <a:lnTo>
                  <a:pt x="0" y="1348700"/>
                </a:lnTo>
                <a:lnTo>
                  <a:pt x="29137" y="1319653"/>
                </a:lnTo>
                <a:lnTo>
                  <a:pt x="54652" y="1305144"/>
                </a:lnTo>
                <a:cubicBezTo>
                  <a:pt x="53429" y="1293044"/>
                  <a:pt x="52229" y="1280974"/>
                  <a:pt x="51007" y="1268873"/>
                </a:cubicBezTo>
                <a:lnTo>
                  <a:pt x="7290" y="1257992"/>
                </a:lnTo>
                <a:lnTo>
                  <a:pt x="7290" y="1232572"/>
                </a:lnTo>
                <a:lnTo>
                  <a:pt x="47362" y="1199928"/>
                </a:lnTo>
                <a:lnTo>
                  <a:pt x="69232" y="1178165"/>
                </a:lnTo>
                <a:cubicBezTo>
                  <a:pt x="70454" y="1164845"/>
                  <a:pt x="71654" y="1151556"/>
                  <a:pt x="72876" y="1138236"/>
                </a:cubicBezTo>
                <a:lnTo>
                  <a:pt x="77006" y="1144502"/>
                </a:lnTo>
                <a:cubicBezTo>
                  <a:pt x="85144" y="1148064"/>
                  <a:pt x="93295" y="1153812"/>
                  <a:pt x="101405" y="1157283"/>
                </a:cubicBezTo>
                <a:lnTo>
                  <a:pt x="137524" y="1150108"/>
                </a:lnTo>
                <a:lnTo>
                  <a:pt x="177174" y="1139345"/>
                </a:lnTo>
                <a:lnTo>
                  <a:pt x="213166" y="1107057"/>
                </a:lnTo>
                <a:lnTo>
                  <a:pt x="249285" y="1107057"/>
                </a:lnTo>
                <a:cubicBezTo>
                  <a:pt x="251625" y="1099882"/>
                  <a:pt x="254092" y="1092823"/>
                  <a:pt x="256475" y="1085532"/>
                </a:cubicBezTo>
                <a:lnTo>
                  <a:pt x="270897" y="1056831"/>
                </a:lnTo>
                <a:lnTo>
                  <a:pt x="321396" y="1049656"/>
                </a:lnTo>
                <a:lnTo>
                  <a:pt x="353814" y="1013780"/>
                </a:lnTo>
                <a:lnTo>
                  <a:pt x="382658" y="995842"/>
                </a:lnTo>
                <a:cubicBezTo>
                  <a:pt x="381467" y="983922"/>
                  <a:pt x="380275" y="971887"/>
                  <a:pt x="379084" y="959967"/>
                </a:cubicBezTo>
                <a:lnTo>
                  <a:pt x="418734" y="927794"/>
                </a:lnTo>
                <a:lnTo>
                  <a:pt x="407928" y="899093"/>
                </a:lnTo>
                <a:lnTo>
                  <a:pt x="368236" y="891918"/>
                </a:lnTo>
                <a:lnTo>
                  <a:pt x="350240" y="855927"/>
                </a:lnTo>
                <a:lnTo>
                  <a:pt x="368236" y="830814"/>
                </a:lnTo>
                <a:lnTo>
                  <a:pt x="389890" y="802113"/>
                </a:lnTo>
                <a:lnTo>
                  <a:pt x="404312" y="759178"/>
                </a:lnTo>
                <a:lnTo>
                  <a:pt x="368236" y="734065"/>
                </a:lnTo>
                <a:lnTo>
                  <a:pt x="339391" y="708952"/>
                </a:lnTo>
                <a:lnTo>
                  <a:pt x="375468" y="666017"/>
                </a:lnTo>
                <a:cubicBezTo>
                  <a:pt x="373043" y="651666"/>
                  <a:pt x="370661" y="637200"/>
                  <a:pt x="368236" y="622850"/>
                </a:cubicBezTo>
                <a:lnTo>
                  <a:pt x="404312" y="608615"/>
                </a:lnTo>
                <a:lnTo>
                  <a:pt x="436773" y="590562"/>
                </a:lnTo>
                <a:lnTo>
                  <a:pt x="476423" y="579915"/>
                </a:lnTo>
                <a:cubicBezTo>
                  <a:pt x="475232" y="564291"/>
                  <a:pt x="473998" y="548784"/>
                  <a:pt x="472807" y="533276"/>
                </a:cubicBezTo>
                <a:lnTo>
                  <a:pt x="436773" y="511635"/>
                </a:lnTo>
                <a:lnTo>
                  <a:pt x="436773" y="475875"/>
                </a:lnTo>
                <a:lnTo>
                  <a:pt x="462001" y="443587"/>
                </a:lnTo>
                <a:lnTo>
                  <a:pt x="501651" y="439999"/>
                </a:lnTo>
                <a:cubicBezTo>
                  <a:pt x="500460" y="422061"/>
                  <a:pt x="499226" y="404008"/>
                  <a:pt x="498035" y="386185"/>
                </a:cubicBezTo>
                <a:lnTo>
                  <a:pt x="472807" y="375423"/>
                </a:lnTo>
                <a:lnTo>
                  <a:pt x="429540" y="343135"/>
                </a:lnTo>
                <a:lnTo>
                  <a:pt x="411502" y="361072"/>
                </a:lnTo>
                <a:lnTo>
                  <a:pt x="389890" y="375423"/>
                </a:lnTo>
                <a:lnTo>
                  <a:pt x="343008" y="364660"/>
                </a:lnTo>
                <a:lnTo>
                  <a:pt x="310547" y="328784"/>
                </a:lnTo>
                <a:lnTo>
                  <a:pt x="335775" y="314434"/>
                </a:lnTo>
                <a:lnTo>
                  <a:pt x="364662" y="314434"/>
                </a:lnTo>
                <a:lnTo>
                  <a:pt x="382658" y="289321"/>
                </a:lnTo>
                <a:lnTo>
                  <a:pt x="382658" y="260620"/>
                </a:lnTo>
                <a:lnTo>
                  <a:pt x="393506" y="235507"/>
                </a:lnTo>
                <a:lnTo>
                  <a:pt x="415118" y="228332"/>
                </a:lnTo>
                <a:lnTo>
                  <a:pt x="440304" y="210394"/>
                </a:lnTo>
                <a:lnTo>
                  <a:pt x="422351" y="170931"/>
                </a:lnTo>
                <a:lnTo>
                  <a:pt x="415118" y="120705"/>
                </a:lnTo>
                <a:lnTo>
                  <a:pt x="415118" y="95592"/>
                </a:lnTo>
                <a:lnTo>
                  <a:pt x="407928" y="70479"/>
                </a:lnTo>
                <a:lnTo>
                  <a:pt x="397080" y="27543"/>
                </a:lnTo>
                <a:lnTo>
                  <a:pt x="422351" y="27543"/>
                </a:lnTo>
                <a:cubicBezTo>
                  <a:pt x="423936" y="20381"/>
                  <a:pt x="430798" y="15320"/>
                  <a:pt x="435236" y="8949"/>
                </a:cubicBezTo>
                <a:lnTo>
                  <a:pt x="434485" y="5633"/>
                </a:lnTo>
                <a:lnTo>
                  <a:pt x="437539" y="5633"/>
                </a:lnTo>
                <a:close/>
              </a:path>
            </a:pathLst>
          </a:custGeom>
          <a:solidFill>
            <a:srgbClr val="70B0DF"/>
          </a:solidFill>
          <a:ln w="3175" cap="flat" cmpd="sng">
            <a:noFill/>
            <a:prstDash val="solid"/>
            <a:round/>
            <a:headEnd type="none" w="med" len="med"/>
            <a:tailEnd type="none" w="med" len="med"/>
          </a:ln>
        </p:spPr>
        <p:txBody>
          <a:bodyPr wrap="none" lIns="32632" tIns="32632" rIns="32632" bIns="32632" anchor="ctr"/>
          <a:lstStyle/>
          <a:p>
            <a:pPr defTabSz="891045"/>
            <a:endParaRPr lang="en-US" sz="1700" dirty="0">
              <a:solidFill>
                <a:srgbClr val="003149"/>
              </a:solidFill>
              <a:cs typeface="Arial" panose="020B0604020202020204" pitchFamily="34" charset="0"/>
            </a:endParaRPr>
          </a:p>
        </p:txBody>
      </p:sp>
      <p:sp>
        <p:nvSpPr>
          <p:cNvPr id="26" name="Freeform 736"/>
          <p:cNvSpPr>
            <a:spLocks noChangeAspect="1"/>
          </p:cNvSpPr>
          <p:nvPr>
            <p:custDataLst>
              <p:tags r:id="rId10"/>
            </p:custDataLst>
          </p:nvPr>
        </p:nvSpPr>
        <p:spPr bwMode="gray">
          <a:xfrm>
            <a:off x="4155774" y="4139218"/>
            <a:ext cx="251636" cy="242487"/>
          </a:xfrm>
          <a:custGeom>
            <a:avLst/>
            <a:gdLst>
              <a:gd name="T0" fmla="*/ 0 w 1462524"/>
              <a:gd name="T1" fmla="*/ 0 h 1236950"/>
              <a:gd name="T2" fmla="*/ 0 w 1462524"/>
              <a:gd name="T3" fmla="*/ 0 h 1236950"/>
              <a:gd name="T4" fmla="*/ 0 w 1462524"/>
              <a:gd name="T5" fmla="*/ 0 h 1236950"/>
              <a:gd name="T6" fmla="*/ 0 w 1462524"/>
              <a:gd name="T7" fmla="*/ 0 h 1236950"/>
              <a:gd name="T8" fmla="*/ 0 w 1462524"/>
              <a:gd name="T9" fmla="*/ 0 h 1236950"/>
              <a:gd name="T10" fmla="*/ 0 w 1462524"/>
              <a:gd name="T11" fmla="*/ 0 h 1236950"/>
              <a:gd name="T12" fmla="*/ 0 w 1462524"/>
              <a:gd name="T13" fmla="*/ 0 h 1236950"/>
              <a:gd name="T14" fmla="*/ 0 w 1462524"/>
              <a:gd name="T15" fmla="*/ 0 h 1236950"/>
              <a:gd name="T16" fmla="*/ 0 w 1462524"/>
              <a:gd name="T17" fmla="*/ 0 h 1236950"/>
              <a:gd name="T18" fmla="*/ 0 w 1462524"/>
              <a:gd name="T19" fmla="*/ 0 h 1236950"/>
              <a:gd name="T20" fmla="*/ 0 w 1462524"/>
              <a:gd name="T21" fmla="*/ 0 h 1236950"/>
              <a:gd name="T22" fmla="*/ 0 w 1462524"/>
              <a:gd name="T23" fmla="*/ 0 h 1236950"/>
              <a:gd name="T24" fmla="*/ 0 w 1462524"/>
              <a:gd name="T25" fmla="*/ 0 h 1236950"/>
              <a:gd name="T26" fmla="*/ 0 w 1462524"/>
              <a:gd name="T27" fmla="*/ 0 h 1236950"/>
              <a:gd name="T28" fmla="*/ 0 w 1462524"/>
              <a:gd name="T29" fmla="*/ 0 h 1236950"/>
              <a:gd name="T30" fmla="*/ 0 w 1462524"/>
              <a:gd name="T31" fmla="*/ 0 h 1236950"/>
              <a:gd name="T32" fmla="*/ 0 w 1462524"/>
              <a:gd name="T33" fmla="*/ 0 h 1236950"/>
              <a:gd name="T34" fmla="*/ 0 w 1462524"/>
              <a:gd name="T35" fmla="*/ 0 h 1236950"/>
              <a:gd name="T36" fmla="*/ 0 w 1462524"/>
              <a:gd name="T37" fmla="*/ 0 h 1236950"/>
              <a:gd name="T38" fmla="*/ 0 w 1462524"/>
              <a:gd name="T39" fmla="*/ 0 h 1236950"/>
              <a:gd name="T40" fmla="*/ 0 w 1462524"/>
              <a:gd name="T41" fmla="*/ 0 h 1236950"/>
              <a:gd name="T42" fmla="*/ 0 w 1462524"/>
              <a:gd name="T43" fmla="*/ 0 h 1236950"/>
              <a:gd name="T44" fmla="*/ 0 w 1462524"/>
              <a:gd name="T45" fmla="*/ 0 h 1236950"/>
              <a:gd name="T46" fmla="*/ 0 w 1462524"/>
              <a:gd name="T47" fmla="*/ 0 h 1236950"/>
              <a:gd name="T48" fmla="*/ 0 w 1462524"/>
              <a:gd name="T49" fmla="*/ 0 h 1236950"/>
              <a:gd name="T50" fmla="*/ 0 w 1462524"/>
              <a:gd name="T51" fmla="*/ 0 h 1236950"/>
              <a:gd name="T52" fmla="*/ 0 w 1462524"/>
              <a:gd name="T53" fmla="*/ 0 h 1236950"/>
              <a:gd name="T54" fmla="*/ 0 w 1462524"/>
              <a:gd name="T55" fmla="*/ 0 h 1236950"/>
              <a:gd name="T56" fmla="*/ 0 w 1462524"/>
              <a:gd name="T57" fmla="*/ 0 h 1236950"/>
              <a:gd name="T58" fmla="*/ 0 w 1462524"/>
              <a:gd name="T59" fmla="*/ 0 h 1236950"/>
              <a:gd name="T60" fmla="*/ 0 w 1462524"/>
              <a:gd name="T61" fmla="*/ 0 h 1236950"/>
              <a:gd name="T62" fmla="*/ 0 w 1462524"/>
              <a:gd name="T63" fmla="*/ 0 h 1236950"/>
              <a:gd name="T64" fmla="*/ 0 w 1462524"/>
              <a:gd name="T65" fmla="*/ 0 h 1236950"/>
              <a:gd name="T66" fmla="*/ 0 w 1462524"/>
              <a:gd name="T67" fmla="*/ 0 h 1236950"/>
              <a:gd name="T68" fmla="*/ 0 w 1462524"/>
              <a:gd name="T69" fmla="*/ 0 h 1236950"/>
              <a:gd name="T70" fmla="*/ 0 w 1462524"/>
              <a:gd name="T71" fmla="*/ 0 h 1236950"/>
              <a:gd name="T72" fmla="*/ 0 w 1462524"/>
              <a:gd name="T73" fmla="*/ 0 h 1236950"/>
              <a:gd name="T74" fmla="*/ 0 w 1462524"/>
              <a:gd name="T75" fmla="*/ 0 h 1236950"/>
              <a:gd name="T76" fmla="*/ 0 w 1462524"/>
              <a:gd name="T77" fmla="*/ 0 h 1236950"/>
              <a:gd name="T78" fmla="*/ 0 w 1462524"/>
              <a:gd name="T79" fmla="*/ 0 h 1236950"/>
              <a:gd name="T80" fmla="*/ 0 w 1462524"/>
              <a:gd name="T81" fmla="*/ 0 h 1236950"/>
              <a:gd name="T82" fmla="*/ 0 w 1462524"/>
              <a:gd name="T83" fmla="*/ 0 h 1236950"/>
              <a:gd name="T84" fmla="*/ 0 w 1462524"/>
              <a:gd name="T85" fmla="*/ 0 h 1236950"/>
              <a:gd name="T86" fmla="*/ 0 w 1462524"/>
              <a:gd name="T87" fmla="*/ 0 h 1236950"/>
              <a:gd name="T88" fmla="*/ 0 w 1462524"/>
              <a:gd name="T89" fmla="*/ 0 h 1236950"/>
              <a:gd name="T90" fmla="*/ 0 w 1462524"/>
              <a:gd name="T91" fmla="*/ 0 h 1236950"/>
              <a:gd name="T92" fmla="*/ 0 w 1462524"/>
              <a:gd name="T93" fmla="*/ 0 h 1236950"/>
              <a:gd name="T94" fmla="*/ 0 w 1462524"/>
              <a:gd name="T95" fmla="*/ 0 h 1236950"/>
              <a:gd name="T96" fmla="*/ 0 w 1462524"/>
              <a:gd name="T97" fmla="*/ 0 h 1236950"/>
              <a:gd name="T98" fmla="*/ 0 w 1462524"/>
              <a:gd name="T99" fmla="*/ 0 h 1236950"/>
              <a:gd name="T100" fmla="*/ 0 w 1462524"/>
              <a:gd name="T101" fmla="*/ 0 h 1236950"/>
              <a:gd name="T102" fmla="*/ 0 w 1462524"/>
              <a:gd name="T103" fmla="*/ 0 h 1236950"/>
              <a:gd name="T104" fmla="*/ 0 w 1462524"/>
              <a:gd name="T105" fmla="*/ 0 h 1236950"/>
              <a:gd name="T106" fmla="*/ 0 w 1462524"/>
              <a:gd name="T107" fmla="*/ 0 h 1236950"/>
              <a:gd name="T108" fmla="*/ 0 w 1462524"/>
              <a:gd name="T109" fmla="*/ 0 h 1236950"/>
              <a:gd name="T110" fmla="*/ 0 w 1462524"/>
              <a:gd name="T111" fmla="*/ 0 h 1236950"/>
              <a:gd name="T112" fmla="*/ 0 w 1462524"/>
              <a:gd name="T113" fmla="*/ 0 h 1236950"/>
              <a:gd name="T114" fmla="*/ 0 w 1462524"/>
              <a:gd name="T115" fmla="*/ 0 h 1236950"/>
              <a:gd name="T116" fmla="*/ 0 w 1462524"/>
              <a:gd name="T117" fmla="*/ 0 h 1236950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w 1462524"/>
              <a:gd name="T178" fmla="*/ 0 h 1236950"/>
              <a:gd name="T179" fmla="*/ 1462524 w 1462524"/>
              <a:gd name="T180" fmla="*/ 1236950 h 1236950"/>
            </a:gdLst>
            <a:ahLst/>
            <a:cxnLst>
              <a:cxn ang="T118">
                <a:pos x="T0" y="T1"/>
              </a:cxn>
              <a:cxn ang="T119">
                <a:pos x="T2" y="T3"/>
              </a:cxn>
              <a:cxn ang="T120">
                <a:pos x="T4" y="T5"/>
              </a:cxn>
              <a:cxn ang="T121">
                <a:pos x="T6" y="T7"/>
              </a:cxn>
              <a:cxn ang="T122">
                <a:pos x="T8" y="T9"/>
              </a:cxn>
              <a:cxn ang="T123">
                <a:pos x="T10" y="T11"/>
              </a:cxn>
              <a:cxn ang="T124">
                <a:pos x="T12" y="T13"/>
              </a:cxn>
              <a:cxn ang="T125">
                <a:pos x="T14" y="T15"/>
              </a:cxn>
              <a:cxn ang="T126">
                <a:pos x="T16" y="T17"/>
              </a:cxn>
              <a:cxn ang="T127">
                <a:pos x="T18" y="T19"/>
              </a:cxn>
              <a:cxn ang="T128">
                <a:pos x="T20" y="T21"/>
              </a:cxn>
              <a:cxn ang="T129">
                <a:pos x="T22" y="T23"/>
              </a:cxn>
              <a:cxn ang="T130">
                <a:pos x="T24" y="T25"/>
              </a:cxn>
              <a:cxn ang="T131">
                <a:pos x="T26" y="T27"/>
              </a:cxn>
              <a:cxn ang="T132">
                <a:pos x="T28" y="T29"/>
              </a:cxn>
              <a:cxn ang="T133">
                <a:pos x="T30" y="T31"/>
              </a:cxn>
              <a:cxn ang="T134">
                <a:pos x="T32" y="T33"/>
              </a:cxn>
              <a:cxn ang="T135">
                <a:pos x="T34" y="T35"/>
              </a:cxn>
              <a:cxn ang="T136">
                <a:pos x="T36" y="T37"/>
              </a:cxn>
              <a:cxn ang="T137">
                <a:pos x="T38" y="T39"/>
              </a:cxn>
              <a:cxn ang="T138">
                <a:pos x="T40" y="T41"/>
              </a:cxn>
              <a:cxn ang="T139">
                <a:pos x="T42" y="T43"/>
              </a:cxn>
              <a:cxn ang="T140">
                <a:pos x="T44" y="T45"/>
              </a:cxn>
              <a:cxn ang="T141">
                <a:pos x="T46" y="T47"/>
              </a:cxn>
              <a:cxn ang="T142">
                <a:pos x="T48" y="T49"/>
              </a:cxn>
              <a:cxn ang="T143">
                <a:pos x="T50" y="T51"/>
              </a:cxn>
              <a:cxn ang="T144">
                <a:pos x="T52" y="T53"/>
              </a:cxn>
              <a:cxn ang="T145">
                <a:pos x="T54" y="T55"/>
              </a:cxn>
              <a:cxn ang="T146">
                <a:pos x="T56" y="T57"/>
              </a:cxn>
              <a:cxn ang="T147">
                <a:pos x="T58" y="T59"/>
              </a:cxn>
              <a:cxn ang="T148">
                <a:pos x="T60" y="T61"/>
              </a:cxn>
              <a:cxn ang="T149">
                <a:pos x="T62" y="T63"/>
              </a:cxn>
              <a:cxn ang="T150">
                <a:pos x="T64" y="T65"/>
              </a:cxn>
              <a:cxn ang="T151">
                <a:pos x="T66" y="T67"/>
              </a:cxn>
              <a:cxn ang="T152">
                <a:pos x="T68" y="T69"/>
              </a:cxn>
              <a:cxn ang="T153">
                <a:pos x="T70" y="T71"/>
              </a:cxn>
              <a:cxn ang="T154">
                <a:pos x="T72" y="T73"/>
              </a:cxn>
              <a:cxn ang="T155">
                <a:pos x="T74" y="T75"/>
              </a:cxn>
              <a:cxn ang="T156">
                <a:pos x="T76" y="T77"/>
              </a:cxn>
              <a:cxn ang="T157">
                <a:pos x="T78" y="T79"/>
              </a:cxn>
              <a:cxn ang="T158">
                <a:pos x="T80" y="T81"/>
              </a:cxn>
              <a:cxn ang="T159">
                <a:pos x="T82" y="T83"/>
              </a:cxn>
              <a:cxn ang="T160">
                <a:pos x="T84" y="T85"/>
              </a:cxn>
              <a:cxn ang="T161">
                <a:pos x="T86" y="T87"/>
              </a:cxn>
              <a:cxn ang="T162">
                <a:pos x="T88" y="T89"/>
              </a:cxn>
              <a:cxn ang="T163">
                <a:pos x="T90" y="T91"/>
              </a:cxn>
              <a:cxn ang="T164">
                <a:pos x="T92" y="T93"/>
              </a:cxn>
              <a:cxn ang="T165">
                <a:pos x="T94" y="T95"/>
              </a:cxn>
              <a:cxn ang="T166">
                <a:pos x="T96" y="T97"/>
              </a:cxn>
              <a:cxn ang="T167">
                <a:pos x="T98" y="T99"/>
              </a:cxn>
              <a:cxn ang="T168">
                <a:pos x="T100" y="T101"/>
              </a:cxn>
              <a:cxn ang="T169">
                <a:pos x="T102" y="T103"/>
              </a:cxn>
              <a:cxn ang="T170">
                <a:pos x="T104" y="T105"/>
              </a:cxn>
              <a:cxn ang="T171">
                <a:pos x="T106" y="T107"/>
              </a:cxn>
              <a:cxn ang="T172">
                <a:pos x="T108" y="T109"/>
              </a:cxn>
              <a:cxn ang="T173">
                <a:pos x="T110" y="T111"/>
              </a:cxn>
              <a:cxn ang="T174">
                <a:pos x="T112" y="T113"/>
              </a:cxn>
              <a:cxn ang="T175">
                <a:pos x="T114" y="T115"/>
              </a:cxn>
              <a:cxn ang="T176">
                <a:pos x="T116" y="T117"/>
              </a:cxn>
            </a:cxnLst>
            <a:rect l="T177" t="T178" r="T179" b="T180"/>
            <a:pathLst>
              <a:path w="1462524" h="1236950">
                <a:moveTo>
                  <a:pt x="948907" y="0"/>
                </a:moveTo>
                <a:lnTo>
                  <a:pt x="999482" y="32756"/>
                </a:lnTo>
                <a:lnTo>
                  <a:pt x="1047247" y="90075"/>
                </a:lnTo>
                <a:lnTo>
                  <a:pt x="1080958" y="150119"/>
                </a:lnTo>
                <a:lnTo>
                  <a:pt x="1109894" y="197768"/>
                </a:lnTo>
                <a:lnTo>
                  <a:pt x="1109949" y="197823"/>
                </a:lnTo>
                <a:lnTo>
                  <a:pt x="1109946" y="197853"/>
                </a:lnTo>
                <a:lnTo>
                  <a:pt x="1113272" y="203330"/>
                </a:lnTo>
                <a:lnTo>
                  <a:pt x="1109199" y="206041"/>
                </a:lnTo>
                <a:cubicBezTo>
                  <a:pt x="1108231" y="216613"/>
                  <a:pt x="1107275" y="227172"/>
                  <a:pt x="1106304" y="237752"/>
                </a:cubicBezTo>
                <a:lnTo>
                  <a:pt x="1084434" y="259515"/>
                </a:lnTo>
                <a:lnTo>
                  <a:pt x="1044362" y="292159"/>
                </a:lnTo>
                <a:lnTo>
                  <a:pt x="1044362" y="317579"/>
                </a:lnTo>
                <a:lnTo>
                  <a:pt x="1088079" y="328461"/>
                </a:lnTo>
                <a:cubicBezTo>
                  <a:pt x="1089301" y="340561"/>
                  <a:pt x="1090502" y="352631"/>
                  <a:pt x="1091724" y="364732"/>
                </a:cubicBezTo>
                <a:lnTo>
                  <a:pt x="1066209" y="379240"/>
                </a:lnTo>
                <a:lnTo>
                  <a:pt x="1037072" y="408288"/>
                </a:lnTo>
                <a:lnTo>
                  <a:pt x="1073499" y="444559"/>
                </a:lnTo>
                <a:lnTo>
                  <a:pt x="1117238" y="462695"/>
                </a:lnTo>
                <a:lnTo>
                  <a:pt x="1153666" y="502623"/>
                </a:lnTo>
                <a:lnTo>
                  <a:pt x="1193737" y="498996"/>
                </a:lnTo>
                <a:lnTo>
                  <a:pt x="1222897" y="477234"/>
                </a:lnTo>
                <a:lnTo>
                  <a:pt x="1251877" y="477234"/>
                </a:lnTo>
                <a:lnTo>
                  <a:pt x="1254126" y="469569"/>
                </a:lnTo>
                <a:lnTo>
                  <a:pt x="1256418" y="451155"/>
                </a:lnTo>
                <a:cubicBezTo>
                  <a:pt x="1259055" y="450323"/>
                  <a:pt x="1258786" y="452459"/>
                  <a:pt x="1258520" y="454594"/>
                </a:cubicBezTo>
                <a:lnTo>
                  <a:pt x="1259333" y="451823"/>
                </a:lnTo>
                <a:lnTo>
                  <a:pt x="1273373" y="469592"/>
                </a:lnTo>
                <a:lnTo>
                  <a:pt x="1287353" y="512661"/>
                </a:lnTo>
                <a:cubicBezTo>
                  <a:pt x="1288552" y="529285"/>
                  <a:pt x="1289690" y="546091"/>
                  <a:pt x="1290868" y="562776"/>
                </a:cubicBezTo>
                <a:lnTo>
                  <a:pt x="1311858" y="598556"/>
                </a:lnTo>
                <a:lnTo>
                  <a:pt x="1329393" y="652346"/>
                </a:lnTo>
                <a:lnTo>
                  <a:pt x="1360949" y="705955"/>
                </a:lnTo>
                <a:lnTo>
                  <a:pt x="1406443" y="723725"/>
                </a:lnTo>
                <a:cubicBezTo>
                  <a:pt x="1407662" y="733423"/>
                  <a:pt x="1408821" y="743000"/>
                  <a:pt x="1409999" y="752517"/>
                </a:cubicBezTo>
                <a:cubicBezTo>
                  <a:pt x="1412336" y="766733"/>
                  <a:pt x="1414632" y="781069"/>
                  <a:pt x="1416969" y="795344"/>
                </a:cubicBezTo>
                <a:lnTo>
                  <a:pt x="1448504" y="813294"/>
                </a:lnTo>
                <a:lnTo>
                  <a:pt x="1462524" y="845460"/>
                </a:lnTo>
                <a:lnTo>
                  <a:pt x="1413494" y="863470"/>
                </a:lnTo>
                <a:lnTo>
                  <a:pt x="1374949" y="838292"/>
                </a:lnTo>
                <a:lnTo>
                  <a:pt x="1360949" y="874072"/>
                </a:lnTo>
                <a:lnTo>
                  <a:pt x="1329393" y="892082"/>
                </a:lnTo>
                <a:lnTo>
                  <a:pt x="1315373" y="920694"/>
                </a:lnTo>
                <a:lnTo>
                  <a:pt x="1360949" y="942138"/>
                </a:lnTo>
                <a:lnTo>
                  <a:pt x="1374949" y="988760"/>
                </a:lnTo>
                <a:cubicBezTo>
                  <a:pt x="1376466" y="1006808"/>
                  <a:pt x="1373569" y="1033749"/>
                  <a:pt x="1374949" y="1052438"/>
                </a:cubicBezTo>
                <a:lnTo>
                  <a:pt x="1382865" y="1072227"/>
                </a:lnTo>
                <a:lnTo>
                  <a:pt x="1388179" y="1109415"/>
                </a:lnTo>
                <a:lnTo>
                  <a:pt x="1366922" y="1120050"/>
                </a:lnTo>
                <a:lnTo>
                  <a:pt x="1318958" y="1141303"/>
                </a:lnTo>
                <a:lnTo>
                  <a:pt x="1265748" y="1141303"/>
                </a:lnTo>
                <a:lnTo>
                  <a:pt x="1249806" y="1151939"/>
                </a:lnTo>
                <a:lnTo>
                  <a:pt x="1223166" y="1173192"/>
                </a:lnTo>
                <a:lnTo>
                  <a:pt x="1180585" y="1151939"/>
                </a:lnTo>
                <a:lnTo>
                  <a:pt x="1148631" y="1146621"/>
                </a:lnTo>
                <a:cubicBezTo>
                  <a:pt x="1150403" y="1157238"/>
                  <a:pt x="1152242" y="1167874"/>
                  <a:pt x="1154014" y="1178491"/>
                </a:cubicBezTo>
                <a:lnTo>
                  <a:pt x="1084793" y="1157238"/>
                </a:lnTo>
                <a:lnTo>
                  <a:pt x="1036897" y="1146621"/>
                </a:lnTo>
                <a:lnTo>
                  <a:pt x="983687" y="1151939"/>
                </a:lnTo>
                <a:lnTo>
                  <a:pt x="951734" y="1178491"/>
                </a:lnTo>
                <a:cubicBezTo>
                  <a:pt x="946420" y="1192666"/>
                  <a:pt x="941037" y="1206840"/>
                  <a:pt x="935723" y="1221015"/>
                </a:cubicBezTo>
                <a:lnTo>
                  <a:pt x="839931" y="1231632"/>
                </a:lnTo>
                <a:lnTo>
                  <a:pt x="749454" y="1236950"/>
                </a:lnTo>
                <a:lnTo>
                  <a:pt x="706872" y="1226314"/>
                </a:lnTo>
                <a:lnTo>
                  <a:pt x="707040" y="1226196"/>
                </a:lnTo>
                <a:lnTo>
                  <a:pt x="702434" y="1226523"/>
                </a:lnTo>
                <a:lnTo>
                  <a:pt x="744972" y="1183926"/>
                </a:lnTo>
                <a:lnTo>
                  <a:pt x="659822" y="1173258"/>
                </a:lnTo>
                <a:lnTo>
                  <a:pt x="585325" y="1024056"/>
                </a:lnTo>
                <a:lnTo>
                  <a:pt x="627937" y="997386"/>
                </a:lnTo>
                <a:cubicBezTo>
                  <a:pt x="629725" y="988521"/>
                  <a:pt x="631438" y="979656"/>
                  <a:pt x="633226" y="970791"/>
                </a:cubicBezTo>
                <a:lnTo>
                  <a:pt x="611920" y="960123"/>
                </a:lnTo>
                <a:lnTo>
                  <a:pt x="590689" y="986793"/>
                </a:lnTo>
                <a:lnTo>
                  <a:pt x="489521" y="1061319"/>
                </a:lnTo>
                <a:lnTo>
                  <a:pt x="409735" y="1040058"/>
                </a:lnTo>
                <a:lnTo>
                  <a:pt x="356544" y="1002720"/>
                </a:lnTo>
                <a:lnTo>
                  <a:pt x="324584" y="976125"/>
                </a:lnTo>
                <a:lnTo>
                  <a:pt x="266030" y="986793"/>
                </a:lnTo>
                <a:lnTo>
                  <a:pt x="228781" y="944121"/>
                </a:lnTo>
                <a:lnTo>
                  <a:pt x="228781" y="880187"/>
                </a:lnTo>
                <a:cubicBezTo>
                  <a:pt x="225280" y="867791"/>
                  <a:pt x="221704" y="855320"/>
                  <a:pt x="218202" y="842924"/>
                </a:cubicBezTo>
                <a:lnTo>
                  <a:pt x="202185" y="821588"/>
                </a:lnTo>
                <a:lnTo>
                  <a:pt x="202185" y="784250"/>
                </a:lnTo>
                <a:lnTo>
                  <a:pt x="159648" y="752321"/>
                </a:lnTo>
                <a:lnTo>
                  <a:pt x="106457" y="714983"/>
                </a:lnTo>
                <a:lnTo>
                  <a:pt x="63844" y="699056"/>
                </a:lnTo>
                <a:lnTo>
                  <a:pt x="42538" y="672386"/>
                </a:lnTo>
                <a:cubicBezTo>
                  <a:pt x="44326" y="649322"/>
                  <a:pt x="46114" y="626183"/>
                  <a:pt x="47902" y="603119"/>
                </a:cubicBezTo>
                <a:lnTo>
                  <a:pt x="47902" y="555188"/>
                </a:lnTo>
                <a:lnTo>
                  <a:pt x="26596" y="523184"/>
                </a:lnTo>
                <a:lnTo>
                  <a:pt x="5289" y="496589"/>
                </a:lnTo>
                <a:cubicBezTo>
                  <a:pt x="3501" y="489452"/>
                  <a:pt x="1788" y="482390"/>
                  <a:pt x="0" y="475253"/>
                </a:cubicBezTo>
                <a:lnTo>
                  <a:pt x="7550" y="473480"/>
                </a:lnTo>
                <a:lnTo>
                  <a:pt x="2024" y="470870"/>
                </a:lnTo>
                <a:lnTo>
                  <a:pt x="66358" y="449446"/>
                </a:lnTo>
                <a:cubicBezTo>
                  <a:pt x="73527" y="435179"/>
                  <a:pt x="80602" y="420911"/>
                  <a:pt x="87771" y="406644"/>
                </a:cubicBezTo>
                <a:cubicBezTo>
                  <a:pt x="80602" y="388798"/>
                  <a:pt x="73527" y="370999"/>
                  <a:pt x="66358" y="353153"/>
                </a:cubicBezTo>
                <a:cubicBezTo>
                  <a:pt x="60415" y="342464"/>
                  <a:pt x="54378" y="331729"/>
                  <a:pt x="48435" y="321040"/>
                </a:cubicBezTo>
                <a:lnTo>
                  <a:pt x="84186" y="285395"/>
                </a:lnTo>
                <a:lnTo>
                  <a:pt x="141351" y="249703"/>
                </a:lnTo>
                <a:lnTo>
                  <a:pt x="194931" y="253282"/>
                </a:lnTo>
                <a:lnTo>
                  <a:pt x="248605" y="221168"/>
                </a:lnTo>
                <a:lnTo>
                  <a:pt x="334352" y="189055"/>
                </a:lnTo>
                <a:lnTo>
                  <a:pt x="405761" y="178366"/>
                </a:lnTo>
                <a:lnTo>
                  <a:pt x="466510" y="139143"/>
                </a:lnTo>
                <a:lnTo>
                  <a:pt x="502262" y="99872"/>
                </a:lnTo>
                <a:lnTo>
                  <a:pt x="545182" y="92762"/>
                </a:lnTo>
                <a:lnTo>
                  <a:pt x="591593" y="92762"/>
                </a:lnTo>
                <a:lnTo>
                  <a:pt x="645173" y="117718"/>
                </a:lnTo>
                <a:lnTo>
                  <a:pt x="702338" y="131986"/>
                </a:lnTo>
                <a:lnTo>
                  <a:pt x="745258" y="107030"/>
                </a:lnTo>
                <a:lnTo>
                  <a:pt x="802423" y="107030"/>
                </a:lnTo>
                <a:lnTo>
                  <a:pt x="845249" y="92762"/>
                </a:lnTo>
                <a:cubicBezTo>
                  <a:pt x="851192" y="78495"/>
                  <a:pt x="857229" y="64228"/>
                  <a:pt x="863172" y="49960"/>
                </a:cubicBezTo>
                <a:lnTo>
                  <a:pt x="888170" y="49960"/>
                </a:lnTo>
                <a:cubicBezTo>
                  <a:pt x="895339" y="39272"/>
                  <a:pt x="902414" y="28536"/>
                  <a:pt x="909583" y="17847"/>
                </a:cubicBezTo>
                <a:lnTo>
                  <a:pt x="945335" y="1"/>
                </a:lnTo>
                <a:lnTo>
                  <a:pt x="945846" y="7204"/>
                </a:lnTo>
                <a:close/>
              </a:path>
            </a:pathLst>
          </a:custGeom>
          <a:solidFill>
            <a:srgbClr val="70B0DF"/>
          </a:solidFill>
          <a:ln w="3175" cap="flat" cmpd="sng">
            <a:noFill/>
            <a:prstDash val="solid"/>
            <a:round/>
            <a:headEnd type="none" w="med" len="med"/>
            <a:tailEnd type="none" w="med" len="med"/>
          </a:ln>
        </p:spPr>
        <p:txBody>
          <a:bodyPr wrap="none" lIns="32632" tIns="32632" rIns="32632" bIns="32632" anchor="ctr"/>
          <a:lstStyle/>
          <a:p>
            <a:pPr defTabSz="891045"/>
            <a:endParaRPr lang="en-US" sz="1700" dirty="0">
              <a:solidFill>
                <a:srgbClr val="003149"/>
              </a:solidFill>
              <a:cs typeface="Arial" panose="020B0604020202020204" pitchFamily="34" charset="0"/>
            </a:endParaRPr>
          </a:p>
        </p:txBody>
      </p:sp>
      <p:sp>
        <p:nvSpPr>
          <p:cNvPr id="27" name="Freeform 734"/>
          <p:cNvSpPr>
            <a:spLocks noChangeAspect="1"/>
          </p:cNvSpPr>
          <p:nvPr>
            <p:custDataLst>
              <p:tags r:id="rId11"/>
            </p:custDataLst>
          </p:nvPr>
        </p:nvSpPr>
        <p:spPr bwMode="gray">
          <a:xfrm>
            <a:off x="3955317" y="3961313"/>
            <a:ext cx="363948" cy="272619"/>
          </a:xfrm>
          <a:custGeom>
            <a:avLst/>
            <a:gdLst>
              <a:gd name="T0" fmla="*/ 0 w 2114256"/>
              <a:gd name="T1" fmla="*/ 0 h 1388647"/>
              <a:gd name="T2" fmla="*/ 0 w 2114256"/>
              <a:gd name="T3" fmla="*/ 0 h 1388647"/>
              <a:gd name="T4" fmla="*/ 0 w 2114256"/>
              <a:gd name="T5" fmla="*/ 0 h 1388647"/>
              <a:gd name="T6" fmla="*/ 0 w 2114256"/>
              <a:gd name="T7" fmla="*/ 0 h 1388647"/>
              <a:gd name="T8" fmla="*/ 0 w 2114256"/>
              <a:gd name="T9" fmla="*/ 0 h 1388647"/>
              <a:gd name="T10" fmla="*/ 0 w 2114256"/>
              <a:gd name="T11" fmla="*/ 0 h 1388647"/>
              <a:gd name="T12" fmla="*/ 0 w 2114256"/>
              <a:gd name="T13" fmla="*/ 0 h 1388647"/>
              <a:gd name="T14" fmla="*/ 0 w 2114256"/>
              <a:gd name="T15" fmla="*/ 0 h 1388647"/>
              <a:gd name="T16" fmla="*/ 0 w 2114256"/>
              <a:gd name="T17" fmla="*/ 0 h 1388647"/>
              <a:gd name="T18" fmla="*/ 0 w 2114256"/>
              <a:gd name="T19" fmla="*/ 0 h 1388647"/>
              <a:gd name="T20" fmla="*/ 0 w 2114256"/>
              <a:gd name="T21" fmla="*/ 0 h 1388647"/>
              <a:gd name="T22" fmla="*/ 0 w 2114256"/>
              <a:gd name="T23" fmla="*/ 0 h 1388647"/>
              <a:gd name="T24" fmla="*/ 0 w 2114256"/>
              <a:gd name="T25" fmla="*/ 0 h 1388647"/>
              <a:gd name="T26" fmla="*/ 0 w 2114256"/>
              <a:gd name="T27" fmla="*/ 0 h 1388647"/>
              <a:gd name="T28" fmla="*/ 0 w 2114256"/>
              <a:gd name="T29" fmla="*/ 0 h 1388647"/>
              <a:gd name="T30" fmla="*/ 0 w 2114256"/>
              <a:gd name="T31" fmla="*/ 0 h 1388647"/>
              <a:gd name="T32" fmla="*/ 0 w 2114256"/>
              <a:gd name="T33" fmla="*/ 0 h 1388647"/>
              <a:gd name="T34" fmla="*/ 0 w 2114256"/>
              <a:gd name="T35" fmla="*/ 0 h 1388647"/>
              <a:gd name="T36" fmla="*/ 0 w 2114256"/>
              <a:gd name="T37" fmla="*/ 0 h 1388647"/>
              <a:gd name="T38" fmla="*/ 0 w 2114256"/>
              <a:gd name="T39" fmla="*/ 0 h 1388647"/>
              <a:gd name="T40" fmla="*/ 0 w 2114256"/>
              <a:gd name="T41" fmla="*/ 0 h 1388647"/>
              <a:gd name="T42" fmla="*/ 0 w 2114256"/>
              <a:gd name="T43" fmla="*/ 0 h 1388647"/>
              <a:gd name="T44" fmla="*/ 0 w 2114256"/>
              <a:gd name="T45" fmla="*/ 0 h 1388647"/>
              <a:gd name="T46" fmla="*/ 0 w 2114256"/>
              <a:gd name="T47" fmla="*/ 0 h 1388647"/>
              <a:gd name="T48" fmla="*/ 0 w 2114256"/>
              <a:gd name="T49" fmla="*/ 0 h 1388647"/>
              <a:gd name="T50" fmla="*/ 0 w 2114256"/>
              <a:gd name="T51" fmla="*/ 0 h 1388647"/>
              <a:gd name="T52" fmla="*/ 0 w 2114256"/>
              <a:gd name="T53" fmla="*/ 0 h 1388647"/>
              <a:gd name="T54" fmla="*/ 0 w 2114256"/>
              <a:gd name="T55" fmla="*/ 0 h 1388647"/>
              <a:gd name="T56" fmla="*/ 0 w 2114256"/>
              <a:gd name="T57" fmla="*/ 0 h 1388647"/>
              <a:gd name="T58" fmla="*/ 0 w 2114256"/>
              <a:gd name="T59" fmla="*/ 0 h 1388647"/>
              <a:gd name="T60" fmla="*/ 0 w 2114256"/>
              <a:gd name="T61" fmla="*/ 0 h 1388647"/>
              <a:gd name="T62" fmla="*/ 0 w 2114256"/>
              <a:gd name="T63" fmla="*/ 0 h 1388647"/>
              <a:gd name="T64" fmla="*/ 0 w 2114256"/>
              <a:gd name="T65" fmla="*/ 0 h 1388647"/>
              <a:gd name="T66" fmla="*/ 0 w 2114256"/>
              <a:gd name="T67" fmla="*/ 0 h 1388647"/>
              <a:gd name="T68" fmla="*/ 0 w 2114256"/>
              <a:gd name="T69" fmla="*/ 0 h 1388647"/>
              <a:gd name="T70" fmla="*/ 0 w 2114256"/>
              <a:gd name="T71" fmla="*/ 0 h 1388647"/>
              <a:gd name="T72" fmla="*/ 0 w 2114256"/>
              <a:gd name="T73" fmla="*/ 0 h 1388647"/>
              <a:gd name="T74" fmla="*/ 0 w 2114256"/>
              <a:gd name="T75" fmla="*/ 0 h 1388647"/>
              <a:gd name="T76" fmla="*/ 0 w 2114256"/>
              <a:gd name="T77" fmla="*/ 0 h 1388647"/>
              <a:gd name="T78" fmla="*/ 0 w 2114256"/>
              <a:gd name="T79" fmla="*/ 0 h 1388647"/>
              <a:gd name="T80" fmla="*/ 0 w 2114256"/>
              <a:gd name="T81" fmla="*/ 0 h 1388647"/>
              <a:gd name="T82" fmla="*/ 0 w 2114256"/>
              <a:gd name="T83" fmla="*/ 0 h 1388647"/>
              <a:gd name="T84" fmla="*/ 0 w 2114256"/>
              <a:gd name="T85" fmla="*/ 0 h 1388647"/>
              <a:gd name="T86" fmla="*/ 0 w 2114256"/>
              <a:gd name="T87" fmla="*/ 0 h 1388647"/>
              <a:gd name="T88" fmla="*/ 0 w 2114256"/>
              <a:gd name="T89" fmla="*/ 0 h 1388647"/>
              <a:gd name="T90" fmla="*/ 0 w 2114256"/>
              <a:gd name="T91" fmla="*/ 0 h 1388647"/>
              <a:gd name="T92" fmla="*/ 0 w 2114256"/>
              <a:gd name="T93" fmla="*/ 0 h 1388647"/>
              <a:gd name="T94" fmla="*/ 0 w 2114256"/>
              <a:gd name="T95" fmla="*/ 0 h 1388647"/>
              <a:gd name="T96" fmla="*/ 0 w 2114256"/>
              <a:gd name="T97" fmla="*/ 0 h 1388647"/>
              <a:gd name="T98" fmla="*/ 0 w 2114256"/>
              <a:gd name="T99" fmla="*/ 0 h 1388647"/>
              <a:gd name="T100" fmla="*/ 0 w 2114256"/>
              <a:gd name="T101" fmla="*/ 0 h 1388647"/>
              <a:gd name="T102" fmla="*/ 0 w 2114256"/>
              <a:gd name="T103" fmla="*/ 0 h 1388647"/>
              <a:gd name="T104" fmla="*/ 0 w 2114256"/>
              <a:gd name="T105" fmla="*/ 0 h 1388647"/>
              <a:gd name="T106" fmla="*/ 0 w 2114256"/>
              <a:gd name="T107" fmla="*/ 0 h 1388647"/>
              <a:gd name="T108" fmla="*/ 0 w 2114256"/>
              <a:gd name="T109" fmla="*/ 0 h 1388647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w 2114256"/>
              <a:gd name="T166" fmla="*/ 0 h 1388647"/>
              <a:gd name="T167" fmla="*/ 2114256 w 2114256"/>
              <a:gd name="T168" fmla="*/ 1388647 h 1388647"/>
            </a:gdLst>
            <a:ahLst/>
            <a:cxnLst>
              <a:cxn ang="T110">
                <a:pos x="T0" y="T1"/>
              </a:cxn>
              <a:cxn ang="T111">
                <a:pos x="T2" y="T3"/>
              </a:cxn>
              <a:cxn ang="T112">
                <a:pos x="T4" y="T5"/>
              </a:cxn>
              <a:cxn ang="T113">
                <a:pos x="T6" y="T7"/>
              </a:cxn>
              <a:cxn ang="T114">
                <a:pos x="T8" y="T9"/>
              </a:cxn>
              <a:cxn ang="T115">
                <a:pos x="T10" y="T11"/>
              </a:cxn>
              <a:cxn ang="T116">
                <a:pos x="T12" y="T13"/>
              </a:cxn>
              <a:cxn ang="T117">
                <a:pos x="T14" y="T15"/>
              </a:cxn>
              <a:cxn ang="T118">
                <a:pos x="T16" y="T17"/>
              </a:cxn>
              <a:cxn ang="T119">
                <a:pos x="T18" y="T19"/>
              </a:cxn>
              <a:cxn ang="T120">
                <a:pos x="T20" y="T21"/>
              </a:cxn>
              <a:cxn ang="T121">
                <a:pos x="T22" y="T23"/>
              </a:cxn>
              <a:cxn ang="T122">
                <a:pos x="T24" y="T25"/>
              </a:cxn>
              <a:cxn ang="T123">
                <a:pos x="T26" y="T27"/>
              </a:cxn>
              <a:cxn ang="T124">
                <a:pos x="T28" y="T29"/>
              </a:cxn>
              <a:cxn ang="T125">
                <a:pos x="T30" y="T31"/>
              </a:cxn>
              <a:cxn ang="T126">
                <a:pos x="T32" y="T33"/>
              </a:cxn>
              <a:cxn ang="T127">
                <a:pos x="T34" y="T35"/>
              </a:cxn>
              <a:cxn ang="T128">
                <a:pos x="T36" y="T37"/>
              </a:cxn>
              <a:cxn ang="T129">
                <a:pos x="T38" y="T39"/>
              </a:cxn>
              <a:cxn ang="T130">
                <a:pos x="T40" y="T41"/>
              </a:cxn>
              <a:cxn ang="T131">
                <a:pos x="T42" y="T43"/>
              </a:cxn>
              <a:cxn ang="T132">
                <a:pos x="T44" y="T45"/>
              </a:cxn>
              <a:cxn ang="T133">
                <a:pos x="T46" y="T47"/>
              </a:cxn>
              <a:cxn ang="T134">
                <a:pos x="T48" y="T49"/>
              </a:cxn>
              <a:cxn ang="T135">
                <a:pos x="T50" y="T51"/>
              </a:cxn>
              <a:cxn ang="T136">
                <a:pos x="T52" y="T53"/>
              </a:cxn>
              <a:cxn ang="T137">
                <a:pos x="T54" y="T55"/>
              </a:cxn>
              <a:cxn ang="T138">
                <a:pos x="T56" y="T57"/>
              </a:cxn>
              <a:cxn ang="T139">
                <a:pos x="T58" y="T59"/>
              </a:cxn>
              <a:cxn ang="T140">
                <a:pos x="T60" y="T61"/>
              </a:cxn>
              <a:cxn ang="T141">
                <a:pos x="T62" y="T63"/>
              </a:cxn>
              <a:cxn ang="T142">
                <a:pos x="T64" y="T65"/>
              </a:cxn>
              <a:cxn ang="T143">
                <a:pos x="T66" y="T67"/>
              </a:cxn>
              <a:cxn ang="T144">
                <a:pos x="T68" y="T69"/>
              </a:cxn>
              <a:cxn ang="T145">
                <a:pos x="T70" y="T71"/>
              </a:cxn>
              <a:cxn ang="T146">
                <a:pos x="T72" y="T73"/>
              </a:cxn>
              <a:cxn ang="T147">
                <a:pos x="T74" y="T75"/>
              </a:cxn>
              <a:cxn ang="T148">
                <a:pos x="T76" y="T77"/>
              </a:cxn>
              <a:cxn ang="T149">
                <a:pos x="T78" y="T79"/>
              </a:cxn>
              <a:cxn ang="T150">
                <a:pos x="T80" y="T81"/>
              </a:cxn>
              <a:cxn ang="T151">
                <a:pos x="T82" y="T83"/>
              </a:cxn>
              <a:cxn ang="T152">
                <a:pos x="T84" y="T85"/>
              </a:cxn>
              <a:cxn ang="T153">
                <a:pos x="T86" y="T87"/>
              </a:cxn>
              <a:cxn ang="T154">
                <a:pos x="T88" y="T89"/>
              </a:cxn>
              <a:cxn ang="T155">
                <a:pos x="T90" y="T91"/>
              </a:cxn>
              <a:cxn ang="T156">
                <a:pos x="T92" y="T93"/>
              </a:cxn>
              <a:cxn ang="T157">
                <a:pos x="T94" y="T95"/>
              </a:cxn>
              <a:cxn ang="T158">
                <a:pos x="T96" y="T97"/>
              </a:cxn>
              <a:cxn ang="T159">
                <a:pos x="T98" y="T99"/>
              </a:cxn>
              <a:cxn ang="T160">
                <a:pos x="T100" y="T101"/>
              </a:cxn>
              <a:cxn ang="T161">
                <a:pos x="T102" y="T103"/>
              </a:cxn>
              <a:cxn ang="T162">
                <a:pos x="T104" y="T105"/>
              </a:cxn>
              <a:cxn ang="T163">
                <a:pos x="T106" y="T107"/>
              </a:cxn>
              <a:cxn ang="T164">
                <a:pos x="T108" y="T109"/>
              </a:cxn>
            </a:cxnLst>
            <a:rect l="T165" t="T166" r="T167" b="T168"/>
            <a:pathLst>
              <a:path w="2114256" h="1388647">
                <a:moveTo>
                  <a:pt x="631994" y="0"/>
                </a:moveTo>
                <a:lnTo>
                  <a:pt x="696478" y="0"/>
                </a:lnTo>
                <a:lnTo>
                  <a:pt x="754139" y="3488"/>
                </a:lnTo>
                <a:cubicBezTo>
                  <a:pt x="776828" y="16582"/>
                  <a:pt x="799858" y="29650"/>
                  <a:pt x="822717" y="42744"/>
                </a:cubicBezTo>
                <a:cubicBezTo>
                  <a:pt x="841824" y="61774"/>
                  <a:pt x="860760" y="80803"/>
                  <a:pt x="879866" y="99832"/>
                </a:cubicBezTo>
                <a:cubicBezTo>
                  <a:pt x="900337" y="116467"/>
                  <a:pt x="920638" y="133101"/>
                  <a:pt x="941109" y="149735"/>
                </a:cubicBezTo>
                <a:cubicBezTo>
                  <a:pt x="966186" y="175897"/>
                  <a:pt x="991093" y="202059"/>
                  <a:pt x="1016512" y="228222"/>
                </a:cubicBezTo>
                <a:lnTo>
                  <a:pt x="1081167" y="260319"/>
                </a:lnTo>
                <a:lnTo>
                  <a:pt x="1167316" y="242461"/>
                </a:lnTo>
                <a:lnTo>
                  <a:pt x="1239307" y="210364"/>
                </a:lnTo>
                <a:lnTo>
                  <a:pt x="1311127" y="185425"/>
                </a:lnTo>
                <a:lnTo>
                  <a:pt x="1418772" y="174674"/>
                </a:lnTo>
                <a:lnTo>
                  <a:pt x="1537505" y="167619"/>
                </a:lnTo>
                <a:lnTo>
                  <a:pt x="1691892" y="160435"/>
                </a:lnTo>
                <a:cubicBezTo>
                  <a:pt x="1703042" y="176051"/>
                  <a:pt x="1750570" y="161157"/>
                  <a:pt x="1768518" y="172046"/>
                </a:cubicBezTo>
                <a:lnTo>
                  <a:pt x="1777206" y="171413"/>
                </a:lnTo>
                <a:lnTo>
                  <a:pt x="1825775" y="237021"/>
                </a:lnTo>
                <a:lnTo>
                  <a:pt x="1889410" y="305463"/>
                </a:lnTo>
                <a:lnTo>
                  <a:pt x="1937507" y="359888"/>
                </a:lnTo>
                <a:lnTo>
                  <a:pt x="1977077" y="407380"/>
                </a:lnTo>
                <a:cubicBezTo>
                  <a:pt x="1974717" y="432952"/>
                  <a:pt x="1972392" y="458599"/>
                  <a:pt x="1970032" y="484172"/>
                </a:cubicBezTo>
                <a:cubicBezTo>
                  <a:pt x="1972392" y="506016"/>
                  <a:pt x="1974717" y="527936"/>
                  <a:pt x="1977077" y="549780"/>
                </a:cubicBezTo>
                <a:lnTo>
                  <a:pt x="2003973" y="622397"/>
                </a:lnTo>
                <a:lnTo>
                  <a:pt x="2040712" y="676822"/>
                </a:lnTo>
                <a:lnTo>
                  <a:pt x="2095887" y="717306"/>
                </a:lnTo>
                <a:cubicBezTo>
                  <a:pt x="2098246" y="747500"/>
                  <a:pt x="2100572" y="777770"/>
                  <a:pt x="2102931" y="808039"/>
                </a:cubicBezTo>
                <a:lnTo>
                  <a:pt x="2114256" y="873648"/>
                </a:lnTo>
                <a:lnTo>
                  <a:pt x="2114256" y="916964"/>
                </a:lnTo>
                <a:lnTo>
                  <a:pt x="2110920" y="917541"/>
                </a:lnTo>
                <a:cubicBezTo>
                  <a:pt x="2113413" y="953964"/>
                  <a:pt x="2110899" y="945893"/>
                  <a:pt x="2106331" y="918334"/>
                </a:cubicBezTo>
                <a:lnTo>
                  <a:pt x="2097853" y="919800"/>
                </a:lnTo>
                <a:lnTo>
                  <a:pt x="2074931" y="931242"/>
                </a:lnTo>
                <a:cubicBezTo>
                  <a:pt x="2067762" y="941930"/>
                  <a:pt x="2060687" y="952666"/>
                  <a:pt x="2053518" y="963355"/>
                </a:cubicBezTo>
                <a:lnTo>
                  <a:pt x="2028520" y="963355"/>
                </a:lnTo>
                <a:cubicBezTo>
                  <a:pt x="2022578" y="977622"/>
                  <a:pt x="2016540" y="991890"/>
                  <a:pt x="2010598" y="1006157"/>
                </a:cubicBezTo>
                <a:lnTo>
                  <a:pt x="1967771" y="1020424"/>
                </a:lnTo>
                <a:lnTo>
                  <a:pt x="1910607" y="1020424"/>
                </a:lnTo>
                <a:lnTo>
                  <a:pt x="1867686" y="1045380"/>
                </a:lnTo>
                <a:lnTo>
                  <a:pt x="1810521" y="1031113"/>
                </a:lnTo>
                <a:lnTo>
                  <a:pt x="1756941" y="1006157"/>
                </a:lnTo>
                <a:lnTo>
                  <a:pt x="1710530" y="1006157"/>
                </a:lnTo>
                <a:lnTo>
                  <a:pt x="1667610" y="1013267"/>
                </a:lnTo>
                <a:lnTo>
                  <a:pt x="1631858" y="1052538"/>
                </a:lnTo>
                <a:lnTo>
                  <a:pt x="1571109" y="1091761"/>
                </a:lnTo>
                <a:lnTo>
                  <a:pt x="1499701" y="1102450"/>
                </a:lnTo>
                <a:lnTo>
                  <a:pt x="1413954" y="1134563"/>
                </a:lnTo>
                <a:lnTo>
                  <a:pt x="1360279" y="1166676"/>
                </a:lnTo>
                <a:lnTo>
                  <a:pt x="1306699" y="1163098"/>
                </a:lnTo>
                <a:lnTo>
                  <a:pt x="1249535" y="1198790"/>
                </a:lnTo>
                <a:lnTo>
                  <a:pt x="1213783" y="1234434"/>
                </a:lnTo>
                <a:cubicBezTo>
                  <a:pt x="1219726" y="1245123"/>
                  <a:pt x="1225763" y="1255859"/>
                  <a:pt x="1231706" y="1266548"/>
                </a:cubicBezTo>
                <a:cubicBezTo>
                  <a:pt x="1238875" y="1284394"/>
                  <a:pt x="1245950" y="1302193"/>
                  <a:pt x="1253119" y="1320038"/>
                </a:cubicBezTo>
                <a:cubicBezTo>
                  <a:pt x="1245950" y="1334306"/>
                  <a:pt x="1238875" y="1348573"/>
                  <a:pt x="1231706" y="1362840"/>
                </a:cubicBezTo>
                <a:lnTo>
                  <a:pt x="1167607" y="1384187"/>
                </a:lnTo>
                <a:lnTo>
                  <a:pt x="1165349" y="1388647"/>
                </a:lnTo>
                <a:lnTo>
                  <a:pt x="1138779" y="1351335"/>
                </a:lnTo>
                <a:cubicBezTo>
                  <a:pt x="1133419" y="1340674"/>
                  <a:pt x="1128174" y="1330014"/>
                  <a:pt x="1122814" y="1319353"/>
                </a:cubicBezTo>
                <a:lnTo>
                  <a:pt x="1101488" y="1314023"/>
                </a:lnTo>
                <a:lnTo>
                  <a:pt x="1053592" y="1292702"/>
                </a:lnTo>
                <a:lnTo>
                  <a:pt x="1027022" y="1282041"/>
                </a:lnTo>
                <a:lnTo>
                  <a:pt x="995092" y="1298032"/>
                </a:lnTo>
                <a:lnTo>
                  <a:pt x="941835" y="1298032"/>
                </a:lnTo>
                <a:lnTo>
                  <a:pt x="915265" y="1319353"/>
                </a:lnTo>
                <a:lnTo>
                  <a:pt x="883335" y="1340674"/>
                </a:lnTo>
                <a:lnTo>
                  <a:pt x="840799" y="1340674"/>
                </a:lnTo>
                <a:lnTo>
                  <a:pt x="819474" y="1319353"/>
                </a:lnTo>
                <a:lnTo>
                  <a:pt x="760973" y="1330014"/>
                </a:lnTo>
                <a:lnTo>
                  <a:pt x="718321" y="1314023"/>
                </a:lnTo>
                <a:lnTo>
                  <a:pt x="681147" y="1271381"/>
                </a:lnTo>
                <a:lnTo>
                  <a:pt x="627890" y="1287371"/>
                </a:lnTo>
                <a:lnTo>
                  <a:pt x="585355" y="1271381"/>
                </a:lnTo>
                <a:cubicBezTo>
                  <a:pt x="581859" y="1266050"/>
                  <a:pt x="578246" y="1260720"/>
                  <a:pt x="574750" y="1255390"/>
                </a:cubicBezTo>
                <a:cubicBezTo>
                  <a:pt x="576498" y="1244729"/>
                  <a:pt x="578246" y="1234199"/>
                  <a:pt x="579994" y="1223538"/>
                </a:cubicBezTo>
                <a:cubicBezTo>
                  <a:pt x="583490" y="1218208"/>
                  <a:pt x="587103" y="1212877"/>
                  <a:pt x="590599" y="1207547"/>
                </a:cubicBezTo>
                <a:lnTo>
                  <a:pt x="569390" y="1196887"/>
                </a:lnTo>
                <a:lnTo>
                  <a:pt x="548064" y="1196887"/>
                </a:lnTo>
                <a:lnTo>
                  <a:pt x="521494" y="1180896"/>
                </a:lnTo>
                <a:lnTo>
                  <a:pt x="500168" y="1164905"/>
                </a:lnTo>
                <a:lnTo>
                  <a:pt x="537459" y="1111602"/>
                </a:lnTo>
                <a:lnTo>
                  <a:pt x="521494" y="1074290"/>
                </a:lnTo>
                <a:lnTo>
                  <a:pt x="494924" y="1084950"/>
                </a:lnTo>
                <a:lnTo>
                  <a:pt x="473598" y="1047638"/>
                </a:lnTo>
                <a:lnTo>
                  <a:pt x="452272" y="1042308"/>
                </a:lnTo>
                <a:lnTo>
                  <a:pt x="404376" y="1047638"/>
                </a:lnTo>
                <a:cubicBezTo>
                  <a:pt x="400880" y="1061809"/>
                  <a:pt x="397268" y="1076110"/>
                  <a:pt x="393772" y="1090281"/>
                </a:cubicBezTo>
                <a:lnTo>
                  <a:pt x="372446" y="1116932"/>
                </a:lnTo>
                <a:lnTo>
                  <a:pt x="356480" y="1132923"/>
                </a:lnTo>
                <a:lnTo>
                  <a:pt x="319306" y="1132923"/>
                </a:lnTo>
                <a:lnTo>
                  <a:pt x="292619" y="1138253"/>
                </a:lnTo>
                <a:cubicBezTo>
                  <a:pt x="285511" y="1147094"/>
                  <a:pt x="278518" y="1156064"/>
                  <a:pt x="271410" y="1164905"/>
                </a:cubicBezTo>
                <a:lnTo>
                  <a:pt x="250084" y="1186226"/>
                </a:lnTo>
                <a:cubicBezTo>
                  <a:pt x="246588" y="1175565"/>
                  <a:pt x="242975" y="1164905"/>
                  <a:pt x="239479" y="1154244"/>
                </a:cubicBezTo>
                <a:lnTo>
                  <a:pt x="218153" y="1063629"/>
                </a:lnTo>
                <a:lnTo>
                  <a:pt x="191583" y="823896"/>
                </a:lnTo>
                <a:lnTo>
                  <a:pt x="143688" y="573502"/>
                </a:lnTo>
                <a:lnTo>
                  <a:pt x="74466" y="280336"/>
                </a:lnTo>
                <a:lnTo>
                  <a:pt x="37291" y="131218"/>
                </a:lnTo>
                <a:lnTo>
                  <a:pt x="0" y="88576"/>
                </a:lnTo>
                <a:lnTo>
                  <a:pt x="8012" y="90487"/>
                </a:lnTo>
                <a:lnTo>
                  <a:pt x="1991" y="87962"/>
                </a:lnTo>
                <a:cubicBezTo>
                  <a:pt x="12738" y="85541"/>
                  <a:pt x="14103" y="80803"/>
                  <a:pt x="24851" y="78434"/>
                </a:cubicBezTo>
                <a:lnTo>
                  <a:pt x="60846" y="78434"/>
                </a:lnTo>
                <a:lnTo>
                  <a:pt x="104006" y="89133"/>
                </a:lnTo>
                <a:cubicBezTo>
                  <a:pt x="111512" y="97463"/>
                  <a:pt x="118165" y="105768"/>
                  <a:pt x="125671" y="114098"/>
                </a:cubicBezTo>
                <a:lnTo>
                  <a:pt x="165079" y="114098"/>
                </a:lnTo>
                <a:cubicBezTo>
                  <a:pt x="177191" y="109308"/>
                  <a:pt x="188962" y="104622"/>
                  <a:pt x="200733" y="99832"/>
                </a:cubicBezTo>
                <a:lnTo>
                  <a:pt x="272723" y="89133"/>
                </a:lnTo>
                <a:lnTo>
                  <a:pt x="323219" y="85541"/>
                </a:lnTo>
                <a:lnTo>
                  <a:pt x="430864" y="64195"/>
                </a:lnTo>
                <a:lnTo>
                  <a:pt x="538508" y="32097"/>
                </a:lnTo>
                <a:close/>
              </a:path>
            </a:pathLst>
          </a:custGeom>
          <a:solidFill>
            <a:srgbClr val="70B0DF"/>
          </a:solidFill>
          <a:ln w="3175" cap="flat" cmpd="sng">
            <a:noFill/>
            <a:prstDash val="solid"/>
            <a:round/>
            <a:headEnd type="none" w="med" len="med"/>
            <a:tailEnd type="none" w="med" len="med"/>
          </a:ln>
        </p:spPr>
        <p:txBody>
          <a:bodyPr wrap="none" lIns="32632" tIns="32632" rIns="32632" bIns="32632" anchor="ctr"/>
          <a:lstStyle/>
          <a:p>
            <a:pPr defTabSz="891045"/>
            <a:endParaRPr lang="en-US" sz="1700" dirty="0">
              <a:solidFill>
                <a:srgbClr val="003149"/>
              </a:solidFill>
              <a:cs typeface="Arial" panose="020B0604020202020204" pitchFamily="34" charset="0"/>
            </a:endParaRPr>
          </a:p>
        </p:txBody>
      </p:sp>
      <p:sp>
        <p:nvSpPr>
          <p:cNvPr id="28" name="Freeform 725"/>
          <p:cNvSpPr>
            <a:spLocks noChangeAspect="1"/>
          </p:cNvSpPr>
          <p:nvPr>
            <p:custDataLst>
              <p:tags r:id="rId12"/>
            </p:custDataLst>
          </p:nvPr>
        </p:nvSpPr>
        <p:spPr bwMode="gray">
          <a:xfrm>
            <a:off x="4252471" y="3868012"/>
            <a:ext cx="193347" cy="312794"/>
          </a:xfrm>
          <a:custGeom>
            <a:avLst/>
            <a:gdLst>
              <a:gd name="T0" fmla="*/ 0 w 1123940"/>
              <a:gd name="T1" fmla="*/ 0 h 1606545"/>
              <a:gd name="T2" fmla="*/ 0 w 1123940"/>
              <a:gd name="T3" fmla="*/ 0 h 1606545"/>
              <a:gd name="T4" fmla="*/ 0 w 1123940"/>
              <a:gd name="T5" fmla="*/ 0 h 1606545"/>
              <a:gd name="T6" fmla="*/ 0 w 1123940"/>
              <a:gd name="T7" fmla="*/ 0 h 1606545"/>
              <a:gd name="T8" fmla="*/ 0 w 1123940"/>
              <a:gd name="T9" fmla="*/ 0 h 1606545"/>
              <a:gd name="T10" fmla="*/ 0 w 1123940"/>
              <a:gd name="T11" fmla="*/ 0 h 1606545"/>
              <a:gd name="T12" fmla="*/ 0 w 1123940"/>
              <a:gd name="T13" fmla="*/ 0 h 1606545"/>
              <a:gd name="T14" fmla="*/ 0 w 1123940"/>
              <a:gd name="T15" fmla="*/ 0 h 1606545"/>
              <a:gd name="T16" fmla="*/ 0 w 1123940"/>
              <a:gd name="T17" fmla="*/ 0 h 1606545"/>
              <a:gd name="T18" fmla="*/ 0 w 1123940"/>
              <a:gd name="T19" fmla="*/ 0 h 1606545"/>
              <a:gd name="T20" fmla="*/ 0 w 1123940"/>
              <a:gd name="T21" fmla="*/ 0 h 1606545"/>
              <a:gd name="T22" fmla="*/ 0 w 1123940"/>
              <a:gd name="T23" fmla="*/ 0 h 1606545"/>
              <a:gd name="T24" fmla="*/ 0 w 1123940"/>
              <a:gd name="T25" fmla="*/ 0 h 1606545"/>
              <a:gd name="T26" fmla="*/ 0 w 1123940"/>
              <a:gd name="T27" fmla="*/ 0 h 1606545"/>
              <a:gd name="T28" fmla="*/ 0 w 1123940"/>
              <a:gd name="T29" fmla="*/ 0 h 1606545"/>
              <a:gd name="T30" fmla="*/ 0 w 1123940"/>
              <a:gd name="T31" fmla="*/ 0 h 1606545"/>
              <a:gd name="T32" fmla="*/ 0 w 1123940"/>
              <a:gd name="T33" fmla="*/ 0 h 1606545"/>
              <a:gd name="T34" fmla="*/ 0 w 1123940"/>
              <a:gd name="T35" fmla="*/ 0 h 1606545"/>
              <a:gd name="T36" fmla="*/ 0 w 1123940"/>
              <a:gd name="T37" fmla="*/ 0 h 1606545"/>
              <a:gd name="T38" fmla="*/ 0 w 1123940"/>
              <a:gd name="T39" fmla="*/ 0 h 1606545"/>
              <a:gd name="T40" fmla="*/ 0 w 1123940"/>
              <a:gd name="T41" fmla="*/ 0 h 1606545"/>
              <a:gd name="T42" fmla="*/ 0 w 1123940"/>
              <a:gd name="T43" fmla="*/ 0 h 1606545"/>
              <a:gd name="T44" fmla="*/ 0 w 1123940"/>
              <a:gd name="T45" fmla="*/ 0 h 1606545"/>
              <a:gd name="T46" fmla="*/ 0 w 1123940"/>
              <a:gd name="T47" fmla="*/ 0 h 1606545"/>
              <a:gd name="T48" fmla="*/ 0 w 1123940"/>
              <a:gd name="T49" fmla="*/ 0 h 1606545"/>
              <a:gd name="T50" fmla="*/ 0 w 1123940"/>
              <a:gd name="T51" fmla="*/ 0 h 1606545"/>
              <a:gd name="T52" fmla="*/ 0 w 1123940"/>
              <a:gd name="T53" fmla="*/ 0 h 1606545"/>
              <a:gd name="T54" fmla="*/ 0 w 1123940"/>
              <a:gd name="T55" fmla="*/ 0 h 1606545"/>
              <a:gd name="T56" fmla="*/ 0 w 1123940"/>
              <a:gd name="T57" fmla="*/ 0 h 1606545"/>
              <a:gd name="T58" fmla="*/ 0 w 1123940"/>
              <a:gd name="T59" fmla="*/ 0 h 1606545"/>
              <a:gd name="T60" fmla="*/ 0 w 1123940"/>
              <a:gd name="T61" fmla="*/ 0 h 1606545"/>
              <a:gd name="T62" fmla="*/ 0 w 1123940"/>
              <a:gd name="T63" fmla="*/ 0 h 1606545"/>
              <a:gd name="T64" fmla="*/ 0 w 1123940"/>
              <a:gd name="T65" fmla="*/ 0 h 1606545"/>
              <a:gd name="T66" fmla="*/ 0 w 1123940"/>
              <a:gd name="T67" fmla="*/ 0 h 1606545"/>
              <a:gd name="T68" fmla="*/ 0 w 1123940"/>
              <a:gd name="T69" fmla="*/ 0 h 1606545"/>
              <a:gd name="T70" fmla="*/ 0 w 1123940"/>
              <a:gd name="T71" fmla="*/ 0 h 1606545"/>
              <a:gd name="T72" fmla="*/ 0 w 1123940"/>
              <a:gd name="T73" fmla="*/ 0 h 1606545"/>
              <a:gd name="T74" fmla="*/ 0 w 1123940"/>
              <a:gd name="T75" fmla="*/ 0 h 1606545"/>
              <a:gd name="T76" fmla="*/ 0 w 1123940"/>
              <a:gd name="T77" fmla="*/ 0 h 1606545"/>
              <a:gd name="T78" fmla="*/ 0 w 1123940"/>
              <a:gd name="T79" fmla="*/ 0 h 1606545"/>
              <a:gd name="T80" fmla="*/ 0 w 1123940"/>
              <a:gd name="T81" fmla="*/ 0 h 1606545"/>
              <a:gd name="T82" fmla="*/ 0 w 1123940"/>
              <a:gd name="T83" fmla="*/ 0 h 1606545"/>
              <a:gd name="T84" fmla="*/ 0 w 1123940"/>
              <a:gd name="T85" fmla="*/ 0 h 1606545"/>
              <a:gd name="T86" fmla="*/ 0 w 1123940"/>
              <a:gd name="T87" fmla="*/ 0 h 1606545"/>
              <a:gd name="T88" fmla="*/ 0 w 1123940"/>
              <a:gd name="T89" fmla="*/ 0 h 1606545"/>
              <a:gd name="T90" fmla="*/ 0 w 1123940"/>
              <a:gd name="T91" fmla="*/ 0 h 1606545"/>
              <a:gd name="T92" fmla="*/ 0 w 1123940"/>
              <a:gd name="T93" fmla="*/ 0 h 1606545"/>
              <a:gd name="T94" fmla="*/ 0 w 1123940"/>
              <a:gd name="T95" fmla="*/ 0 h 1606545"/>
              <a:gd name="T96" fmla="*/ 0 w 1123940"/>
              <a:gd name="T97" fmla="*/ 0 h 1606545"/>
              <a:gd name="T98" fmla="*/ 0 w 1123940"/>
              <a:gd name="T99" fmla="*/ 0 h 1606545"/>
              <a:gd name="T100" fmla="*/ 0 w 1123940"/>
              <a:gd name="T101" fmla="*/ 0 h 1606545"/>
              <a:gd name="T102" fmla="*/ 0 w 1123940"/>
              <a:gd name="T103" fmla="*/ 0 h 1606545"/>
              <a:gd name="T104" fmla="*/ 0 w 1123940"/>
              <a:gd name="T105" fmla="*/ 0 h 1606545"/>
              <a:gd name="T106" fmla="*/ 0 w 1123940"/>
              <a:gd name="T107" fmla="*/ 0 h 1606545"/>
              <a:gd name="T108" fmla="*/ 0 w 1123940"/>
              <a:gd name="T109" fmla="*/ 0 h 1606545"/>
              <a:gd name="T110" fmla="*/ 0 w 1123940"/>
              <a:gd name="T111" fmla="*/ 0 h 1606545"/>
              <a:gd name="T112" fmla="*/ 0 w 1123940"/>
              <a:gd name="T113" fmla="*/ 0 h 1606545"/>
              <a:gd name="T114" fmla="*/ 0 w 1123940"/>
              <a:gd name="T115" fmla="*/ 0 h 1606545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w 1123940"/>
              <a:gd name="T175" fmla="*/ 0 h 1606545"/>
              <a:gd name="T176" fmla="*/ 1123940 w 1123940"/>
              <a:gd name="T177" fmla="*/ 1606545 h 1606545"/>
            </a:gdLst>
            <a:ahLst/>
            <a:cxnLst>
              <a:cxn ang="T116">
                <a:pos x="T0" y="T1"/>
              </a:cxn>
              <a:cxn ang="T117">
                <a:pos x="T2" y="T3"/>
              </a:cxn>
              <a:cxn ang="T118">
                <a:pos x="T4" y="T5"/>
              </a:cxn>
              <a:cxn ang="T119">
                <a:pos x="T6" y="T7"/>
              </a:cxn>
              <a:cxn ang="T120">
                <a:pos x="T8" y="T9"/>
              </a:cxn>
              <a:cxn ang="T121">
                <a:pos x="T10" y="T11"/>
              </a:cxn>
              <a:cxn ang="T122">
                <a:pos x="T12" y="T13"/>
              </a:cxn>
              <a:cxn ang="T123">
                <a:pos x="T14" y="T15"/>
              </a:cxn>
              <a:cxn ang="T124">
                <a:pos x="T16" y="T17"/>
              </a:cxn>
              <a:cxn ang="T125">
                <a:pos x="T18" y="T19"/>
              </a:cxn>
              <a:cxn ang="T126">
                <a:pos x="T20" y="T21"/>
              </a:cxn>
              <a:cxn ang="T127">
                <a:pos x="T22" y="T23"/>
              </a:cxn>
              <a:cxn ang="T128">
                <a:pos x="T24" y="T25"/>
              </a:cxn>
              <a:cxn ang="T129">
                <a:pos x="T26" y="T27"/>
              </a:cxn>
              <a:cxn ang="T130">
                <a:pos x="T28" y="T29"/>
              </a:cxn>
              <a:cxn ang="T131">
                <a:pos x="T30" y="T31"/>
              </a:cxn>
              <a:cxn ang="T132">
                <a:pos x="T32" y="T33"/>
              </a:cxn>
              <a:cxn ang="T133">
                <a:pos x="T34" y="T35"/>
              </a:cxn>
              <a:cxn ang="T134">
                <a:pos x="T36" y="T37"/>
              </a:cxn>
              <a:cxn ang="T135">
                <a:pos x="T38" y="T39"/>
              </a:cxn>
              <a:cxn ang="T136">
                <a:pos x="T40" y="T41"/>
              </a:cxn>
              <a:cxn ang="T137">
                <a:pos x="T42" y="T43"/>
              </a:cxn>
              <a:cxn ang="T138">
                <a:pos x="T44" y="T45"/>
              </a:cxn>
              <a:cxn ang="T139">
                <a:pos x="T46" y="T47"/>
              </a:cxn>
              <a:cxn ang="T140">
                <a:pos x="T48" y="T49"/>
              </a:cxn>
              <a:cxn ang="T141">
                <a:pos x="T50" y="T51"/>
              </a:cxn>
              <a:cxn ang="T142">
                <a:pos x="T52" y="T53"/>
              </a:cxn>
              <a:cxn ang="T143">
                <a:pos x="T54" y="T55"/>
              </a:cxn>
              <a:cxn ang="T144">
                <a:pos x="T56" y="T57"/>
              </a:cxn>
              <a:cxn ang="T145">
                <a:pos x="T58" y="T59"/>
              </a:cxn>
              <a:cxn ang="T146">
                <a:pos x="T60" y="T61"/>
              </a:cxn>
              <a:cxn ang="T147">
                <a:pos x="T62" y="T63"/>
              </a:cxn>
              <a:cxn ang="T148">
                <a:pos x="T64" y="T65"/>
              </a:cxn>
              <a:cxn ang="T149">
                <a:pos x="T66" y="T67"/>
              </a:cxn>
              <a:cxn ang="T150">
                <a:pos x="T68" y="T69"/>
              </a:cxn>
              <a:cxn ang="T151">
                <a:pos x="T70" y="T71"/>
              </a:cxn>
              <a:cxn ang="T152">
                <a:pos x="T72" y="T73"/>
              </a:cxn>
              <a:cxn ang="T153">
                <a:pos x="T74" y="T75"/>
              </a:cxn>
              <a:cxn ang="T154">
                <a:pos x="T76" y="T77"/>
              </a:cxn>
              <a:cxn ang="T155">
                <a:pos x="T78" y="T79"/>
              </a:cxn>
              <a:cxn ang="T156">
                <a:pos x="T80" y="T81"/>
              </a:cxn>
              <a:cxn ang="T157">
                <a:pos x="T82" y="T83"/>
              </a:cxn>
              <a:cxn ang="T158">
                <a:pos x="T84" y="T85"/>
              </a:cxn>
              <a:cxn ang="T159">
                <a:pos x="T86" y="T87"/>
              </a:cxn>
              <a:cxn ang="T160">
                <a:pos x="T88" y="T89"/>
              </a:cxn>
              <a:cxn ang="T161">
                <a:pos x="T90" y="T91"/>
              </a:cxn>
              <a:cxn ang="T162">
                <a:pos x="T92" y="T93"/>
              </a:cxn>
              <a:cxn ang="T163">
                <a:pos x="T94" y="T95"/>
              </a:cxn>
              <a:cxn ang="T164">
                <a:pos x="T96" y="T97"/>
              </a:cxn>
              <a:cxn ang="T165">
                <a:pos x="T98" y="T99"/>
              </a:cxn>
              <a:cxn ang="T166">
                <a:pos x="T100" y="T101"/>
              </a:cxn>
              <a:cxn ang="T167">
                <a:pos x="T102" y="T103"/>
              </a:cxn>
              <a:cxn ang="T168">
                <a:pos x="T104" y="T105"/>
              </a:cxn>
              <a:cxn ang="T169">
                <a:pos x="T106" y="T107"/>
              </a:cxn>
              <a:cxn ang="T170">
                <a:pos x="T108" y="T109"/>
              </a:cxn>
              <a:cxn ang="T171">
                <a:pos x="T110" y="T111"/>
              </a:cxn>
              <a:cxn ang="T172">
                <a:pos x="T112" y="T113"/>
              </a:cxn>
              <a:cxn ang="T173">
                <a:pos x="T114" y="T115"/>
              </a:cxn>
            </a:cxnLst>
            <a:rect l="T174" t="T175" r="T176" b="T177"/>
            <a:pathLst>
              <a:path w="1123940" h="1606545">
                <a:moveTo>
                  <a:pt x="391414" y="0"/>
                </a:moveTo>
                <a:lnTo>
                  <a:pt x="470425" y="0"/>
                </a:lnTo>
                <a:lnTo>
                  <a:pt x="527993" y="0"/>
                </a:lnTo>
                <a:lnTo>
                  <a:pt x="596089" y="25922"/>
                </a:lnTo>
                <a:cubicBezTo>
                  <a:pt x="611737" y="32096"/>
                  <a:pt x="627288" y="38264"/>
                  <a:pt x="642935" y="44438"/>
                </a:cubicBezTo>
                <a:lnTo>
                  <a:pt x="700213" y="40741"/>
                </a:lnTo>
                <a:lnTo>
                  <a:pt x="768406" y="33334"/>
                </a:lnTo>
                <a:lnTo>
                  <a:pt x="825974" y="18534"/>
                </a:lnTo>
                <a:cubicBezTo>
                  <a:pt x="839110" y="13594"/>
                  <a:pt x="852247" y="8655"/>
                  <a:pt x="865479" y="3715"/>
                </a:cubicBezTo>
                <a:lnTo>
                  <a:pt x="904985" y="3715"/>
                </a:lnTo>
                <a:cubicBezTo>
                  <a:pt x="926138" y="17994"/>
                  <a:pt x="947195" y="32277"/>
                  <a:pt x="968348" y="46556"/>
                </a:cubicBezTo>
                <a:lnTo>
                  <a:pt x="967171" y="50209"/>
                </a:lnTo>
                <a:lnTo>
                  <a:pt x="1014011" y="80776"/>
                </a:lnTo>
                <a:lnTo>
                  <a:pt x="1089595" y="141283"/>
                </a:lnTo>
                <a:lnTo>
                  <a:pt x="1089595" y="201789"/>
                </a:lnTo>
                <a:lnTo>
                  <a:pt x="1113630" y="280058"/>
                </a:lnTo>
                <a:lnTo>
                  <a:pt x="1123940" y="319175"/>
                </a:lnTo>
                <a:lnTo>
                  <a:pt x="1051793" y="336975"/>
                </a:lnTo>
                <a:lnTo>
                  <a:pt x="1000265" y="354775"/>
                </a:lnTo>
                <a:lnTo>
                  <a:pt x="959047" y="401034"/>
                </a:lnTo>
                <a:lnTo>
                  <a:pt x="921265" y="425940"/>
                </a:lnTo>
                <a:lnTo>
                  <a:pt x="913531" y="447251"/>
                </a:lnTo>
                <a:lnTo>
                  <a:pt x="917694" y="449262"/>
                </a:lnTo>
                <a:cubicBezTo>
                  <a:pt x="915269" y="460025"/>
                  <a:pt x="900975" y="466043"/>
                  <a:pt x="898593" y="476805"/>
                </a:cubicBezTo>
                <a:lnTo>
                  <a:pt x="873322" y="476805"/>
                </a:lnTo>
                <a:lnTo>
                  <a:pt x="884170" y="519741"/>
                </a:lnTo>
                <a:lnTo>
                  <a:pt x="891360" y="544854"/>
                </a:lnTo>
                <a:lnTo>
                  <a:pt x="891360" y="569967"/>
                </a:lnTo>
                <a:lnTo>
                  <a:pt x="898593" y="620193"/>
                </a:lnTo>
                <a:lnTo>
                  <a:pt x="916546" y="659656"/>
                </a:lnTo>
                <a:lnTo>
                  <a:pt x="891360" y="677594"/>
                </a:lnTo>
                <a:lnTo>
                  <a:pt x="869748" y="684769"/>
                </a:lnTo>
                <a:lnTo>
                  <a:pt x="858900" y="709882"/>
                </a:lnTo>
                <a:lnTo>
                  <a:pt x="858900" y="738583"/>
                </a:lnTo>
                <a:lnTo>
                  <a:pt x="840904" y="763696"/>
                </a:lnTo>
                <a:lnTo>
                  <a:pt x="812017" y="763696"/>
                </a:lnTo>
                <a:lnTo>
                  <a:pt x="786789" y="778046"/>
                </a:lnTo>
                <a:lnTo>
                  <a:pt x="819249" y="813922"/>
                </a:lnTo>
                <a:lnTo>
                  <a:pt x="866132" y="824685"/>
                </a:lnTo>
                <a:lnTo>
                  <a:pt x="887744" y="810334"/>
                </a:lnTo>
                <a:lnTo>
                  <a:pt x="905782" y="792396"/>
                </a:lnTo>
                <a:lnTo>
                  <a:pt x="949049" y="824685"/>
                </a:lnTo>
                <a:lnTo>
                  <a:pt x="974277" y="835447"/>
                </a:lnTo>
                <a:cubicBezTo>
                  <a:pt x="975468" y="853270"/>
                  <a:pt x="976702" y="871323"/>
                  <a:pt x="977893" y="889261"/>
                </a:cubicBezTo>
                <a:lnTo>
                  <a:pt x="938243" y="892849"/>
                </a:lnTo>
                <a:lnTo>
                  <a:pt x="913015" y="925137"/>
                </a:lnTo>
                <a:lnTo>
                  <a:pt x="913015" y="960897"/>
                </a:lnTo>
                <a:lnTo>
                  <a:pt x="949049" y="982538"/>
                </a:lnTo>
                <a:cubicBezTo>
                  <a:pt x="950240" y="998046"/>
                  <a:pt x="951474" y="1013553"/>
                  <a:pt x="952665" y="1029176"/>
                </a:cubicBezTo>
                <a:lnTo>
                  <a:pt x="913015" y="1039824"/>
                </a:lnTo>
                <a:lnTo>
                  <a:pt x="880554" y="1057877"/>
                </a:lnTo>
                <a:lnTo>
                  <a:pt x="844478" y="1072112"/>
                </a:lnTo>
                <a:cubicBezTo>
                  <a:pt x="846903" y="1086462"/>
                  <a:pt x="849285" y="1100928"/>
                  <a:pt x="851710" y="1115278"/>
                </a:cubicBezTo>
                <a:lnTo>
                  <a:pt x="815633" y="1158214"/>
                </a:lnTo>
                <a:lnTo>
                  <a:pt x="844478" y="1183327"/>
                </a:lnTo>
                <a:lnTo>
                  <a:pt x="880554" y="1208440"/>
                </a:lnTo>
                <a:lnTo>
                  <a:pt x="866132" y="1251375"/>
                </a:lnTo>
                <a:lnTo>
                  <a:pt x="844478" y="1280075"/>
                </a:lnTo>
                <a:lnTo>
                  <a:pt x="826482" y="1305188"/>
                </a:lnTo>
                <a:lnTo>
                  <a:pt x="844478" y="1341180"/>
                </a:lnTo>
                <a:lnTo>
                  <a:pt x="884170" y="1348355"/>
                </a:lnTo>
                <a:lnTo>
                  <a:pt x="894976" y="1377056"/>
                </a:lnTo>
                <a:lnTo>
                  <a:pt x="855326" y="1409228"/>
                </a:lnTo>
                <a:cubicBezTo>
                  <a:pt x="856517" y="1421148"/>
                  <a:pt x="857709" y="1433184"/>
                  <a:pt x="858900" y="1445104"/>
                </a:cubicBezTo>
                <a:lnTo>
                  <a:pt x="830055" y="1463042"/>
                </a:lnTo>
                <a:lnTo>
                  <a:pt x="797638" y="1498918"/>
                </a:lnTo>
                <a:lnTo>
                  <a:pt x="747139" y="1506093"/>
                </a:lnTo>
                <a:lnTo>
                  <a:pt x="732717" y="1534794"/>
                </a:lnTo>
                <a:cubicBezTo>
                  <a:pt x="730334" y="1542084"/>
                  <a:pt x="727867" y="1549144"/>
                  <a:pt x="725527" y="1556319"/>
                </a:cubicBezTo>
                <a:lnTo>
                  <a:pt x="689408" y="1556319"/>
                </a:lnTo>
                <a:lnTo>
                  <a:pt x="653416" y="1588607"/>
                </a:lnTo>
                <a:lnTo>
                  <a:pt x="613766" y="1599370"/>
                </a:lnTo>
                <a:lnTo>
                  <a:pt x="577647" y="1606545"/>
                </a:lnTo>
                <a:cubicBezTo>
                  <a:pt x="569266" y="1602957"/>
                  <a:pt x="560842" y="1596940"/>
                  <a:pt x="552461" y="1593352"/>
                </a:cubicBezTo>
                <a:lnTo>
                  <a:pt x="552452" y="1592999"/>
                </a:lnTo>
                <a:lnTo>
                  <a:pt x="552442" y="1593007"/>
                </a:lnTo>
                <a:lnTo>
                  <a:pt x="520128" y="1539796"/>
                </a:lnTo>
                <a:lnTo>
                  <a:pt x="486416" y="1479752"/>
                </a:lnTo>
                <a:lnTo>
                  <a:pt x="438652" y="1422433"/>
                </a:lnTo>
                <a:lnTo>
                  <a:pt x="400235" y="1397551"/>
                </a:lnTo>
                <a:lnTo>
                  <a:pt x="388078" y="1393244"/>
                </a:lnTo>
                <a:lnTo>
                  <a:pt x="388078" y="1389678"/>
                </a:lnTo>
                <a:lnTo>
                  <a:pt x="388077" y="1389677"/>
                </a:lnTo>
                <a:lnTo>
                  <a:pt x="388078" y="1389675"/>
                </a:lnTo>
                <a:lnTo>
                  <a:pt x="388078" y="1349928"/>
                </a:lnTo>
                <a:lnTo>
                  <a:pt x="376753" y="1284319"/>
                </a:lnTo>
                <a:cubicBezTo>
                  <a:pt x="374393" y="1254050"/>
                  <a:pt x="372068" y="1223781"/>
                  <a:pt x="369708" y="1193586"/>
                </a:cubicBezTo>
                <a:lnTo>
                  <a:pt x="314533" y="1153102"/>
                </a:lnTo>
                <a:lnTo>
                  <a:pt x="277795" y="1098677"/>
                </a:lnTo>
                <a:lnTo>
                  <a:pt x="250898" y="1026060"/>
                </a:lnTo>
                <a:cubicBezTo>
                  <a:pt x="248539" y="1004216"/>
                  <a:pt x="246213" y="982297"/>
                  <a:pt x="243854" y="960452"/>
                </a:cubicBezTo>
                <a:cubicBezTo>
                  <a:pt x="246213" y="934880"/>
                  <a:pt x="248539" y="909233"/>
                  <a:pt x="250898" y="883660"/>
                </a:cubicBezTo>
                <a:lnTo>
                  <a:pt x="211329" y="836168"/>
                </a:lnTo>
                <a:lnTo>
                  <a:pt x="163232" y="781743"/>
                </a:lnTo>
                <a:lnTo>
                  <a:pt x="99597" y="713302"/>
                </a:lnTo>
                <a:lnTo>
                  <a:pt x="51028" y="647693"/>
                </a:lnTo>
                <a:lnTo>
                  <a:pt x="51245" y="647589"/>
                </a:lnTo>
                <a:cubicBezTo>
                  <a:pt x="51090" y="647518"/>
                  <a:pt x="50940" y="647445"/>
                  <a:pt x="50794" y="647374"/>
                </a:cubicBezTo>
                <a:lnTo>
                  <a:pt x="50794" y="615101"/>
                </a:lnTo>
                <a:lnTo>
                  <a:pt x="47401" y="586227"/>
                </a:lnTo>
                <a:lnTo>
                  <a:pt x="50794" y="517429"/>
                </a:lnTo>
                <a:lnTo>
                  <a:pt x="50794" y="434285"/>
                </a:lnTo>
                <a:lnTo>
                  <a:pt x="47401" y="369089"/>
                </a:lnTo>
                <a:lnTo>
                  <a:pt x="30471" y="329348"/>
                </a:lnTo>
                <a:lnTo>
                  <a:pt x="0" y="300413"/>
                </a:lnTo>
                <a:lnTo>
                  <a:pt x="10154" y="242420"/>
                </a:lnTo>
                <a:lnTo>
                  <a:pt x="3378" y="170142"/>
                </a:lnTo>
                <a:cubicBezTo>
                  <a:pt x="4511" y="143649"/>
                  <a:pt x="5628" y="117033"/>
                  <a:pt x="6761" y="90539"/>
                </a:cubicBezTo>
                <a:lnTo>
                  <a:pt x="6761" y="54340"/>
                </a:lnTo>
                <a:lnTo>
                  <a:pt x="1001" y="37247"/>
                </a:lnTo>
                <a:lnTo>
                  <a:pt x="11860" y="43291"/>
                </a:lnTo>
                <a:lnTo>
                  <a:pt x="2445" y="34661"/>
                </a:lnTo>
                <a:cubicBezTo>
                  <a:pt x="11235" y="31747"/>
                  <a:pt x="19928" y="28837"/>
                  <a:pt x="28718" y="25922"/>
                </a:cubicBezTo>
                <a:lnTo>
                  <a:pt x="104155" y="25922"/>
                </a:lnTo>
                <a:lnTo>
                  <a:pt x="190410" y="25922"/>
                </a:lnTo>
                <a:lnTo>
                  <a:pt x="247784" y="14819"/>
                </a:lnTo>
                <a:lnTo>
                  <a:pt x="315881" y="3715"/>
                </a:lnTo>
                <a:close/>
              </a:path>
            </a:pathLst>
          </a:custGeom>
          <a:solidFill>
            <a:srgbClr val="70B0DF"/>
          </a:solidFill>
          <a:ln w="3175" cap="flat" cmpd="sng">
            <a:noFill/>
            <a:prstDash val="solid"/>
            <a:round/>
            <a:headEnd type="none" w="med" len="med"/>
            <a:tailEnd type="none" w="med" len="med"/>
          </a:ln>
        </p:spPr>
        <p:txBody>
          <a:bodyPr wrap="none" lIns="32632" tIns="32632" rIns="32632" bIns="32632" anchor="ctr"/>
          <a:lstStyle/>
          <a:p>
            <a:pPr defTabSz="891045"/>
            <a:endParaRPr lang="en-US" sz="1700" dirty="0">
              <a:solidFill>
                <a:srgbClr val="003149"/>
              </a:solidFill>
              <a:cs typeface="Arial" panose="020B0604020202020204" pitchFamily="34" charset="0"/>
            </a:endParaRPr>
          </a:p>
        </p:txBody>
      </p:sp>
      <p:sp>
        <p:nvSpPr>
          <p:cNvPr id="29" name="Freeform 856"/>
          <p:cNvSpPr>
            <a:spLocks noChangeAspect="1"/>
          </p:cNvSpPr>
          <p:nvPr/>
        </p:nvSpPr>
        <p:spPr bwMode="gray">
          <a:xfrm>
            <a:off x="3892763" y="3720222"/>
            <a:ext cx="368213" cy="291271"/>
          </a:xfrm>
          <a:custGeom>
            <a:avLst/>
            <a:gdLst>
              <a:gd name="T0" fmla="*/ 0 w 2138370"/>
              <a:gd name="T1" fmla="*/ 0 h 1492251"/>
              <a:gd name="T2" fmla="*/ 0 w 2138370"/>
              <a:gd name="T3" fmla="*/ 0 h 1492251"/>
              <a:gd name="T4" fmla="*/ 0 w 2138370"/>
              <a:gd name="T5" fmla="*/ 0 h 1492251"/>
              <a:gd name="T6" fmla="*/ 0 w 2138370"/>
              <a:gd name="T7" fmla="*/ 0 h 1492251"/>
              <a:gd name="T8" fmla="*/ 0 w 2138370"/>
              <a:gd name="T9" fmla="*/ 0 h 1492251"/>
              <a:gd name="T10" fmla="*/ 0 w 2138370"/>
              <a:gd name="T11" fmla="*/ 0 h 1492251"/>
              <a:gd name="T12" fmla="*/ 0 w 2138370"/>
              <a:gd name="T13" fmla="*/ 0 h 1492251"/>
              <a:gd name="T14" fmla="*/ 0 w 2138370"/>
              <a:gd name="T15" fmla="*/ 0 h 1492251"/>
              <a:gd name="T16" fmla="*/ 0 w 2138370"/>
              <a:gd name="T17" fmla="*/ 0 h 1492251"/>
              <a:gd name="T18" fmla="*/ 0 w 2138370"/>
              <a:gd name="T19" fmla="*/ 0 h 1492251"/>
              <a:gd name="T20" fmla="*/ 0 w 2138370"/>
              <a:gd name="T21" fmla="*/ 0 h 1492251"/>
              <a:gd name="T22" fmla="*/ 0 w 2138370"/>
              <a:gd name="T23" fmla="*/ 0 h 1492251"/>
              <a:gd name="T24" fmla="*/ 0 w 2138370"/>
              <a:gd name="T25" fmla="*/ 0 h 1492251"/>
              <a:gd name="T26" fmla="*/ 0 w 2138370"/>
              <a:gd name="T27" fmla="*/ 0 h 1492251"/>
              <a:gd name="T28" fmla="*/ 0 w 2138370"/>
              <a:gd name="T29" fmla="*/ 0 h 1492251"/>
              <a:gd name="T30" fmla="*/ 0 w 2138370"/>
              <a:gd name="T31" fmla="*/ 0 h 1492251"/>
              <a:gd name="T32" fmla="*/ 0 w 2138370"/>
              <a:gd name="T33" fmla="*/ 0 h 1492251"/>
              <a:gd name="T34" fmla="*/ 0 w 2138370"/>
              <a:gd name="T35" fmla="*/ 0 h 1492251"/>
              <a:gd name="T36" fmla="*/ 0 w 2138370"/>
              <a:gd name="T37" fmla="*/ 0 h 1492251"/>
              <a:gd name="T38" fmla="*/ 0 w 2138370"/>
              <a:gd name="T39" fmla="*/ 0 h 1492251"/>
              <a:gd name="T40" fmla="*/ 0 w 2138370"/>
              <a:gd name="T41" fmla="*/ 0 h 1492251"/>
              <a:gd name="T42" fmla="*/ 0 w 2138370"/>
              <a:gd name="T43" fmla="*/ 0 h 1492251"/>
              <a:gd name="T44" fmla="*/ 0 w 2138370"/>
              <a:gd name="T45" fmla="*/ 0 h 1492251"/>
              <a:gd name="T46" fmla="*/ 0 w 2138370"/>
              <a:gd name="T47" fmla="*/ 0 h 1492251"/>
              <a:gd name="T48" fmla="*/ 0 w 2138370"/>
              <a:gd name="T49" fmla="*/ 0 h 1492251"/>
              <a:gd name="T50" fmla="*/ 0 w 2138370"/>
              <a:gd name="T51" fmla="*/ 0 h 1492251"/>
              <a:gd name="T52" fmla="*/ 0 w 2138370"/>
              <a:gd name="T53" fmla="*/ 0 h 1492251"/>
              <a:gd name="T54" fmla="*/ 0 w 2138370"/>
              <a:gd name="T55" fmla="*/ 0 h 1492251"/>
              <a:gd name="T56" fmla="*/ 0 w 2138370"/>
              <a:gd name="T57" fmla="*/ 0 h 1492251"/>
              <a:gd name="T58" fmla="*/ 0 w 2138370"/>
              <a:gd name="T59" fmla="*/ 0 h 1492251"/>
              <a:gd name="T60" fmla="*/ 0 w 2138370"/>
              <a:gd name="T61" fmla="*/ 0 h 1492251"/>
              <a:gd name="T62" fmla="*/ 0 w 2138370"/>
              <a:gd name="T63" fmla="*/ 0 h 1492251"/>
              <a:gd name="T64" fmla="*/ 0 w 2138370"/>
              <a:gd name="T65" fmla="*/ 0 h 1492251"/>
              <a:gd name="T66" fmla="*/ 0 w 2138370"/>
              <a:gd name="T67" fmla="*/ 0 h 1492251"/>
              <a:gd name="T68" fmla="*/ 0 w 2138370"/>
              <a:gd name="T69" fmla="*/ 0 h 1492251"/>
              <a:gd name="T70" fmla="*/ 0 w 2138370"/>
              <a:gd name="T71" fmla="*/ 0 h 1492251"/>
              <a:gd name="T72" fmla="*/ 0 w 2138370"/>
              <a:gd name="T73" fmla="*/ 0 h 1492251"/>
              <a:gd name="T74" fmla="*/ 0 w 2138370"/>
              <a:gd name="T75" fmla="*/ 0 h 1492251"/>
              <a:gd name="T76" fmla="*/ 0 w 2138370"/>
              <a:gd name="T77" fmla="*/ 0 h 1492251"/>
              <a:gd name="T78" fmla="*/ 0 w 2138370"/>
              <a:gd name="T79" fmla="*/ 0 h 1492251"/>
              <a:gd name="T80" fmla="*/ 0 w 2138370"/>
              <a:gd name="T81" fmla="*/ 0 h 1492251"/>
              <a:gd name="T82" fmla="*/ 0 w 2138370"/>
              <a:gd name="T83" fmla="*/ 0 h 1492251"/>
              <a:gd name="T84" fmla="*/ 0 w 2138370"/>
              <a:gd name="T85" fmla="*/ 0 h 1492251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w 2138370"/>
              <a:gd name="T130" fmla="*/ 0 h 1492251"/>
              <a:gd name="T131" fmla="*/ 2138370 w 2138370"/>
              <a:gd name="T132" fmla="*/ 1492251 h 1492251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T129" t="T130" r="T131" b="T132"/>
            <a:pathLst>
              <a:path w="2138370" h="1492251">
                <a:moveTo>
                  <a:pt x="544519" y="0"/>
                </a:moveTo>
                <a:lnTo>
                  <a:pt x="549601" y="8211"/>
                </a:lnTo>
                <a:lnTo>
                  <a:pt x="612683" y="31275"/>
                </a:lnTo>
                <a:lnTo>
                  <a:pt x="666319" y="52627"/>
                </a:lnTo>
                <a:lnTo>
                  <a:pt x="712690" y="70407"/>
                </a:lnTo>
                <a:lnTo>
                  <a:pt x="755815" y="98902"/>
                </a:lnTo>
                <a:lnTo>
                  <a:pt x="813006" y="127477"/>
                </a:lnTo>
                <a:lnTo>
                  <a:pt x="877461" y="166529"/>
                </a:lnTo>
                <a:lnTo>
                  <a:pt x="956292" y="202088"/>
                </a:lnTo>
                <a:lnTo>
                  <a:pt x="1049188" y="230663"/>
                </a:lnTo>
                <a:lnTo>
                  <a:pt x="1135129" y="319562"/>
                </a:lnTo>
                <a:lnTo>
                  <a:pt x="1188919" y="376552"/>
                </a:lnTo>
                <a:lnTo>
                  <a:pt x="1246419" y="454815"/>
                </a:lnTo>
                <a:lnTo>
                  <a:pt x="1296345" y="508234"/>
                </a:lnTo>
                <a:lnTo>
                  <a:pt x="1346426" y="518870"/>
                </a:lnTo>
                <a:lnTo>
                  <a:pt x="1389551" y="526014"/>
                </a:lnTo>
                <a:lnTo>
                  <a:pt x="1454007" y="536729"/>
                </a:lnTo>
                <a:cubicBezTo>
                  <a:pt x="1477810" y="540698"/>
                  <a:pt x="1475956" y="574829"/>
                  <a:pt x="1489712" y="583084"/>
                </a:cubicBezTo>
                <a:lnTo>
                  <a:pt x="1536238" y="586497"/>
                </a:lnTo>
                <a:lnTo>
                  <a:pt x="1579208" y="614992"/>
                </a:lnTo>
                <a:lnTo>
                  <a:pt x="1643664" y="629279"/>
                </a:lnTo>
                <a:lnTo>
                  <a:pt x="1697299" y="650631"/>
                </a:lnTo>
                <a:lnTo>
                  <a:pt x="1726049" y="686270"/>
                </a:lnTo>
                <a:lnTo>
                  <a:pt x="1761910" y="700398"/>
                </a:lnTo>
                <a:lnTo>
                  <a:pt x="1833321" y="736037"/>
                </a:lnTo>
                <a:lnTo>
                  <a:pt x="1872736" y="800092"/>
                </a:lnTo>
                <a:lnTo>
                  <a:pt x="1919416" y="800092"/>
                </a:lnTo>
                <a:lnTo>
                  <a:pt x="1958677" y="792948"/>
                </a:lnTo>
                <a:cubicBezTo>
                  <a:pt x="1965787" y="781122"/>
                  <a:pt x="1973052" y="769216"/>
                  <a:pt x="1980162" y="757389"/>
                </a:cubicBezTo>
                <a:lnTo>
                  <a:pt x="2040908" y="760961"/>
                </a:lnTo>
                <a:lnTo>
                  <a:pt x="2087126" y="793250"/>
                </a:lnTo>
                <a:lnTo>
                  <a:pt x="2088577" y="792900"/>
                </a:lnTo>
                <a:lnTo>
                  <a:pt x="2089178" y="794684"/>
                </a:lnTo>
                <a:lnTo>
                  <a:pt x="2090216" y="795409"/>
                </a:lnTo>
                <a:lnTo>
                  <a:pt x="2089866" y="796726"/>
                </a:lnTo>
                <a:lnTo>
                  <a:pt x="2094337" y="809993"/>
                </a:lnTo>
                <a:lnTo>
                  <a:pt x="2094337" y="846192"/>
                </a:lnTo>
                <a:cubicBezTo>
                  <a:pt x="2093204" y="872686"/>
                  <a:pt x="2092087" y="899302"/>
                  <a:pt x="2090954" y="925795"/>
                </a:cubicBezTo>
                <a:lnTo>
                  <a:pt x="2097730" y="998073"/>
                </a:lnTo>
                <a:lnTo>
                  <a:pt x="2087576" y="1056066"/>
                </a:lnTo>
                <a:lnTo>
                  <a:pt x="2118047" y="1085001"/>
                </a:lnTo>
                <a:lnTo>
                  <a:pt x="2134977" y="1124742"/>
                </a:lnTo>
                <a:lnTo>
                  <a:pt x="2138370" y="1189938"/>
                </a:lnTo>
                <a:lnTo>
                  <a:pt x="2138370" y="1273082"/>
                </a:lnTo>
                <a:lnTo>
                  <a:pt x="2134977" y="1341879"/>
                </a:lnTo>
                <a:lnTo>
                  <a:pt x="2138370" y="1370754"/>
                </a:lnTo>
                <a:lnTo>
                  <a:pt x="2138370" y="1403352"/>
                </a:lnTo>
                <a:lnTo>
                  <a:pt x="2134508" y="1402114"/>
                </a:lnTo>
                <a:lnTo>
                  <a:pt x="2136027" y="1406632"/>
                </a:lnTo>
                <a:cubicBezTo>
                  <a:pt x="2123574" y="1389191"/>
                  <a:pt x="2065742" y="1409808"/>
                  <a:pt x="2053289" y="1392367"/>
                </a:cubicBezTo>
                <a:lnTo>
                  <a:pt x="1898902" y="1399551"/>
                </a:lnTo>
                <a:lnTo>
                  <a:pt x="1780169" y="1406606"/>
                </a:lnTo>
                <a:lnTo>
                  <a:pt x="1672524" y="1417357"/>
                </a:lnTo>
                <a:lnTo>
                  <a:pt x="1600704" y="1442296"/>
                </a:lnTo>
                <a:lnTo>
                  <a:pt x="1528713" y="1474393"/>
                </a:lnTo>
                <a:lnTo>
                  <a:pt x="1442564" y="1492251"/>
                </a:lnTo>
                <a:lnTo>
                  <a:pt x="1377909" y="1460154"/>
                </a:lnTo>
                <a:cubicBezTo>
                  <a:pt x="1352490" y="1433992"/>
                  <a:pt x="1327583" y="1407830"/>
                  <a:pt x="1302506" y="1381668"/>
                </a:cubicBezTo>
                <a:cubicBezTo>
                  <a:pt x="1282035" y="1365033"/>
                  <a:pt x="1261734" y="1348399"/>
                  <a:pt x="1241263" y="1331765"/>
                </a:cubicBezTo>
                <a:cubicBezTo>
                  <a:pt x="1222157" y="1312735"/>
                  <a:pt x="1203221" y="1293706"/>
                  <a:pt x="1184114" y="1274677"/>
                </a:cubicBezTo>
                <a:cubicBezTo>
                  <a:pt x="1161255" y="1261583"/>
                  <a:pt x="1138225" y="1248515"/>
                  <a:pt x="1115536" y="1235421"/>
                </a:cubicBezTo>
                <a:lnTo>
                  <a:pt x="1057875" y="1231932"/>
                </a:lnTo>
                <a:lnTo>
                  <a:pt x="993391" y="1231932"/>
                </a:lnTo>
                <a:lnTo>
                  <a:pt x="899905" y="1264030"/>
                </a:lnTo>
                <a:lnTo>
                  <a:pt x="792261" y="1296127"/>
                </a:lnTo>
                <a:lnTo>
                  <a:pt x="684616" y="1317473"/>
                </a:lnTo>
                <a:lnTo>
                  <a:pt x="634120" y="1321065"/>
                </a:lnTo>
                <a:lnTo>
                  <a:pt x="562130" y="1331765"/>
                </a:lnTo>
                <a:cubicBezTo>
                  <a:pt x="550359" y="1336554"/>
                  <a:pt x="538588" y="1341240"/>
                  <a:pt x="526476" y="1346030"/>
                </a:cubicBezTo>
                <a:lnTo>
                  <a:pt x="487068" y="1346030"/>
                </a:lnTo>
                <a:cubicBezTo>
                  <a:pt x="479562" y="1337700"/>
                  <a:pt x="472909" y="1329396"/>
                  <a:pt x="465403" y="1321065"/>
                </a:cubicBezTo>
                <a:lnTo>
                  <a:pt x="422243" y="1310366"/>
                </a:lnTo>
                <a:lnTo>
                  <a:pt x="386248" y="1310366"/>
                </a:lnTo>
                <a:cubicBezTo>
                  <a:pt x="375500" y="1312735"/>
                  <a:pt x="374135" y="1317473"/>
                  <a:pt x="363388" y="1319894"/>
                </a:cubicBezTo>
                <a:lnTo>
                  <a:pt x="364950" y="1316374"/>
                </a:lnTo>
                <a:lnTo>
                  <a:pt x="361397" y="1320509"/>
                </a:lnTo>
                <a:lnTo>
                  <a:pt x="313478" y="1245919"/>
                </a:lnTo>
                <a:lnTo>
                  <a:pt x="260311" y="1171329"/>
                </a:lnTo>
                <a:lnTo>
                  <a:pt x="223012" y="1091394"/>
                </a:lnTo>
                <a:lnTo>
                  <a:pt x="196429" y="1043449"/>
                </a:lnTo>
                <a:cubicBezTo>
                  <a:pt x="194669" y="1034581"/>
                  <a:pt x="192878" y="1025672"/>
                  <a:pt x="191119" y="1016804"/>
                </a:cubicBezTo>
                <a:lnTo>
                  <a:pt x="212392" y="990159"/>
                </a:lnTo>
                <a:lnTo>
                  <a:pt x="265621" y="1011459"/>
                </a:lnTo>
                <a:lnTo>
                  <a:pt x="313478" y="984854"/>
                </a:lnTo>
                <a:lnTo>
                  <a:pt x="318851" y="942214"/>
                </a:lnTo>
                <a:lnTo>
                  <a:pt x="345434" y="942214"/>
                </a:lnTo>
                <a:lnTo>
                  <a:pt x="345434" y="920914"/>
                </a:lnTo>
                <a:lnTo>
                  <a:pt x="292205" y="926219"/>
                </a:lnTo>
                <a:lnTo>
                  <a:pt x="239006" y="942214"/>
                </a:lnTo>
                <a:lnTo>
                  <a:pt x="191119" y="915569"/>
                </a:lnTo>
                <a:lnTo>
                  <a:pt x="148573" y="942214"/>
                </a:lnTo>
                <a:lnTo>
                  <a:pt x="58107" y="958209"/>
                </a:lnTo>
                <a:lnTo>
                  <a:pt x="6700" y="954119"/>
                </a:lnTo>
                <a:lnTo>
                  <a:pt x="12096" y="949825"/>
                </a:lnTo>
                <a:lnTo>
                  <a:pt x="0" y="954041"/>
                </a:lnTo>
                <a:lnTo>
                  <a:pt x="87504" y="829062"/>
                </a:lnTo>
                <a:lnTo>
                  <a:pt x="112715" y="818281"/>
                </a:lnTo>
                <a:lnTo>
                  <a:pt x="141466" y="818281"/>
                </a:lnTo>
                <a:lnTo>
                  <a:pt x="127145" y="793094"/>
                </a:lnTo>
                <a:cubicBezTo>
                  <a:pt x="124695" y="779833"/>
                  <a:pt x="122299" y="766667"/>
                  <a:pt x="119849" y="753406"/>
                </a:cubicBezTo>
                <a:lnTo>
                  <a:pt x="119849" y="728219"/>
                </a:lnTo>
                <a:lnTo>
                  <a:pt x="101934" y="684906"/>
                </a:lnTo>
                <a:lnTo>
                  <a:pt x="69535" y="666875"/>
                </a:lnTo>
                <a:lnTo>
                  <a:pt x="94746" y="623657"/>
                </a:lnTo>
                <a:cubicBezTo>
                  <a:pt x="98340" y="605625"/>
                  <a:pt x="101988" y="587594"/>
                  <a:pt x="105582" y="569562"/>
                </a:cubicBezTo>
                <a:cubicBezTo>
                  <a:pt x="103132" y="556301"/>
                  <a:pt x="100790" y="543040"/>
                  <a:pt x="98340" y="529874"/>
                </a:cubicBezTo>
                <a:lnTo>
                  <a:pt x="83965" y="501158"/>
                </a:lnTo>
                <a:lnTo>
                  <a:pt x="152302" y="493812"/>
                </a:lnTo>
                <a:cubicBezTo>
                  <a:pt x="149906" y="482936"/>
                  <a:pt x="147510" y="472155"/>
                  <a:pt x="145060" y="461470"/>
                </a:cubicBezTo>
                <a:cubicBezTo>
                  <a:pt x="143916" y="452883"/>
                  <a:pt x="142664" y="444583"/>
                  <a:pt x="141466" y="436188"/>
                </a:cubicBezTo>
                <a:lnTo>
                  <a:pt x="141466" y="392969"/>
                </a:lnTo>
                <a:lnTo>
                  <a:pt x="177513" y="392969"/>
                </a:lnTo>
                <a:lnTo>
                  <a:pt x="206264" y="374938"/>
                </a:lnTo>
                <a:lnTo>
                  <a:pt x="206264" y="331720"/>
                </a:lnTo>
                <a:lnTo>
                  <a:pt x="238608" y="320844"/>
                </a:lnTo>
                <a:lnTo>
                  <a:pt x="281788" y="306343"/>
                </a:lnTo>
                <a:lnTo>
                  <a:pt x="335750" y="306343"/>
                </a:lnTo>
                <a:lnTo>
                  <a:pt x="386173" y="309968"/>
                </a:lnTo>
                <a:lnTo>
                  <a:pt x="432947" y="324374"/>
                </a:lnTo>
                <a:lnTo>
                  <a:pt x="465346" y="295562"/>
                </a:lnTo>
                <a:lnTo>
                  <a:pt x="418626" y="255874"/>
                </a:lnTo>
                <a:cubicBezTo>
                  <a:pt x="423418" y="243948"/>
                  <a:pt x="428155" y="231832"/>
                  <a:pt x="432947" y="219906"/>
                </a:cubicBezTo>
                <a:lnTo>
                  <a:pt x="368204" y="201780"/>
                </a:lnTo>
                <a:lnTo>
                  <a:pt x="400548" y="173063"/>
                </a:lnTo>
                <a:lnTo>
                  <a:pt x="425759" y="162187"/>
                </a:lnTo>
                <a:lnTo>
                  <a:pt x="476127" y="155127"/>
                </a:lnTo>
                <a:lnTo>
                  <a:pt x="512174" y="144251"/>
                </a:lnTo>
                <a:lnTo>
                  <a:pt x="537386" y="93687"/>
                </a:lnTo>
                <a:cubicBezTo>
                  <a:pt x="539727" y="62394"/>
                  <a:pt x="542177" y="31293"/>
                  <a:pt x="544519" y="0"/>
                </a:cubicBezTo>
                <a:close/>
              </a:path>
            </a:pathLst>
          </a:custGeom>
          <a:solidFill>
            <a:srgbClr val="70B0DF"/>
          </a:solidFill>
          <a:ln w="3175" cap="flat" cmpd="sng">
            <a:noFill/>
            <a:prstDash val="solid"/>
            <a:round/>
            <a:headEnd type="none" w="med" len="med"/>
            <a:tailEnd type="none" w="med" len="med"/>
          </a:ln>
        </p:spPr>
        <p:txBody>
          <a:bodyPr wrap="none" lIns="32632" tIns="32632" rIns="32632" bIns="32632" anchor="ctr"/>
          <a:lstStyle/>
          <a:p>
            <a:pPr defTabSz="891045"/>
            <a:endParaRPr lang="en-US" sz="1700" dirty="0">
              <a:solidFill>
                <a:srgbClr val="003149"/>
              </a:solidFill>
              <a:cs typeface="Arial" panose="020B0604020202020204" pitchFamily="34" charset="0"/>
            </a:endParaRPr>
          </a:p>
        </p:txBody>
      </p:sp>
      <p:sp>
        <p:nvSpPr>
          <p:cNvPr id="30" name="Freeform 506"/>
          <p:cNvSpPr>
            <a:spLocks noChangeAspect="1"/>
          </p:cNvSpPr>
          <p:nvPr/>
        </p:nvSpPr>
        <p:spPr bwMode="gray">
          <a:xfrm>
            <a:off x="3726427" y="3550952"/>
            <a:ext cx="260166" cy="380231"/>
          </a:xfrm>
          <a:custGeom>
            <a:avLst/>
            <a:gdLst>
              <a:gd name="T0" fmla="*/ 0 w 1515484"/>
              <a:gd name="T1" fmla="*/ 0 h 1947069"/>
              <a:gd name="T2" fmla="*/ 0 w 1515484"/>
              <a:gd name="T3" fmla="*/ 0 h 1947069"/>
              <a:gd name="T4" fmla="*/ 0 w 1515484"/>
              <a:gd name="T5" fmla="*/ 0 h 1947069"/>
              <a:gd name="T6" fmla="*/ 0 w 1515484"/>
              <a:gd name="T7" fmla="*/ 0 h 1947069"/>
              <a:gd name="T8" fmla="*/ 0 w 1515484"/>
              <a:gd name="T9" fmla="*/ 0 h 1947069"/>
              <a:gd name="T10" fmla="*/ 0 w 1515484"/>
              <a:gd name="T11" fmla="*/ 0 h 1947069"/>
              <a:gd name="T12" fmla="*/ 0 w 1515484"/>
              <a:gd name="T13" fmla="*/ 0 h 1947069"/>
              <a:gd name="T14" fmla="*/ 0 w 1515484"/>
              <a:gd name="T15" fmla="*/ 0 h 1947069"/>
              <a:gd name="T16" fmla="*/ 0 w 1515484"/>
              <a:gd name="T17" fmla="*/ 0 h 1947069"/>
              <a:gd name="T18" fmla="*/ 0 w 1515484"/>
              <a:gd name="T19" fmla="*/ 0 h 1947069"/>
              <a:gd name="T20" fmla="*/ 0 w 1515484"/>
              <a:gd name="T21" fmla="*/ 0 h 1947069"/>
              <a:gd name="T22" fmla="*/ 0 w 1515484"/>
              <a:gd name="T23" fmla="*/ 0 h 1947069"/>
              <a:gd name="T24" fmla="*/ 0 w 1515484"/>
              <a:gd name="T25" fmla="*/ 0 h 1947069"/>
              <a:gd name="T26" fmla="*/ 0 w 1515484"/>
              <a:gd name="T27" fmla="*/ 0 h 1947069"/>
              <a:gd name="T28" fmla="*/ 0 w 1515484"/>
              <a:gd name="T29" fmla="*/ 0 h 1947069"/>
              <a:gd name="T30" fmla="*/ 0 w 1515484"/>
              <a:gd name="T31" fmla="*/ 0 h 1947069"/>
              <a:gd name="T32" fmla="*/ 0 w 1515484"/>
              <a:gd name="T33" fmla="*/ 0 h 1947069"/>
              <a:gd name="T34" fmla="*/ 0 w 1515484"/>
              <a:gd name="T35" fmla="*/ 0 h 1947069"/>
              <a:gd name="T36" fmla="*/ 0 w 1515484"/>
              <a:gd name="T37" fmla="*/ 0 h 1947069"/>
              <a:gd name="T38" fmla="*/ 0 w 1515484"/>
              <a:gd name="T39" fmla="*/ 0 h 1947069"/>
              <a:gd name="T40" fmla="*/ 0 w 1515484"/>
              <a:gd name="T41" fmla="*/ 0 h 1947069"/>
              <a:gd name="T42" fmla="*/ 0 w 1515484"/>
              <a:gd name="T43" fmla="*/ 0 h 1947069"/>
              <a:gd name="T44" fmla="*/ 0 w 1515484"/>
              <a:gd name="T45" fmla="*/ 0 h 1947069"/>
              <a:gd name="T46" fmla="*/ 0 w 1515484"/>
              <a:gd name="T47" fmla="*/ 0 h 1947069"/>
              <a:gd name="T48" fmla="*/ 0 w 1515484"/>
              <a:gd name="T49" fmla="*/ 0 h 1947069"/>
              <a:gd name="T50" fmla="*/ 0 w 1515484"/>
              <a:gd name="T51" fmla="*/ 0 h 1947069"/>
              <a:gd name="T52" fmla="*/ 0 w 1515484"/>
              <a:gd name="T53" fmla="*/ 0 h 1947069"/>
              <a:gd name="T54" fmla="*/ 0 w 1515484"/>
              <a:gd name="T55" fmla="*/ 0 h 1947069"/>
              <a:gd name="T56" fmla="*/ 0 w 1515484"/>
              <a:gd name="T57" fmla="*/ 0 h 1947069"/>
              <a:gd name="T58" fmla="*/ 0 w 1515484"/>
              <a:gd name="T59" fmla="*/ 0 h 1947069"/>
              <a:gd name="T60" fmla="*/ 0 w 1515484"/>
              <a:gd name="T61" fmla="*/ 0 h 1947069"/>
              <a:gd name="T62" fmla="*/ 0 w 1515484"/>
              <a:gd name="T63" fmla="*/ 0 h 1947069"/>
              <a:gd name="T64" fmla="*/ 0 w 1515484"/>
              <a:gd name="T65" fmla="*/ 0 h 1947069"/>
              <a:gd name="T66" fmla="*/ 0 w 1515484"/>
              <a:gd name="T67" fmla="*/ 0 h 1947069"/>
              <a:gd name="T68" fmla="*/ 0 w 1515484"/>
              <a:gd name="T69" fmla="*/ 0 h 1947069"/>
              <a:gd name="T70" fmla="*/ 0 w 1515484"/>
              <a:gd name="T71" fmla="*/ 0 h 1947069"/>
              <a:gd name="T72" fmla="*/ 0 w 1515484"/>
              <a:gd name="T73" fmla="*/ 0 h 1947069"/>
              <a:gd name="T74" fmla="*/ 0 w 1515484"/>
              <a:gd name="T75" fmla="*/ 0 h 1947069"/>
              <a:gd name="T76" fmla="*/ 0 w 1515484"/>
              <a:gd name="T77" fmla="*/ 0 h 1947069"/>
              <a:gd name="T78" fmla="*/ 0 w 1515484"/>
              <a:gd name="T79" fmla="*/ 0 h 1947069"/>
              <a:gd name="T80" fmla="*/ 0 w 1515484"/>
              <a:gd name="T81" fmla="*/ 0 h 1947069"/>
              <a:gd name="T82" fmla="*/ 0 w 1515484"/>
              <a:gd name="T83" fmla="*/ 0 h 1947069"/>
              <a:gd name="T84" fmla="*/ 0 w 1515484"/>
              <a:gd name="T85" fmla="*/ 0 h 1947069"/>
              <a:gd name="T86" fmla="*/ 0 w 1515484"/>
              <a:gd name="T87" fmla="*/ 0 h 1947069"/>
              <a:gd name="T88" fmla="*/ 0 w 1515484"/>
              <a:gd name="T89" fmla="*/ 0 h 1947069"/>
              <a:gd name="T90" fmla="*/ 0 w 1515484"/>
              <a:gd name="T91" fmla="*/ 0 h 1947069"/>
              <a:gd name="T92" fmla="*/ 0 w 1515484"/>
              <a:gd name="T93" fmla="*/ 0 h 1947069"/>
              <a:gd name="T94" fmla="*/ 0 w 1515484"/>
              <a:gd name="T95" fmla="*/ 0 h 1947069"/>
              <a:gd name="T96" fmla="*/ 0 w 1515484"/>
              <a:gd name="T97" fmla="*/ 0 h 1947069"/>
              <a:gd name="T98" fmla="*/ 0 w 1515484"/>
              <a:gd name="T99" fmla="*/ 0 h 1947069"/>
              <a:gd name="T100" fmla="*/ 0 w 1515484"/>
              <a:gd name="T101" fmla="*/ 0 h 1947069"/>
              <a:gd name="T102" fmla="*/ 0 w 1515484"/>
              <a:gd name="T103" fmla="*/ 0 h 1947069"/>
              <a:gd name="T104" fmla="*/ 0 w 1515484"/>
              <a:gd name="T105" fmla="*/ 0 h 1947069"/>
              <a:gd name="T106" fmla="*/ 0 w 1515484"/>
              <a:gd name="T107" fmla="*/ 0 h 1947069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w 1515484"/>
              <a:gd name="T163" fmla="*/ 0 h 1947069"/>
              <a:gd name="T164" fmla="*/ 1515484 w 1515484"/>
              <a:gd name="T165" fmla="*/ 1947069 h 1947069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T162" t="T163" r="T164" b="T165"/>
            <a:pathLst>
              <a:path w="1515484" h="1947069">
                <a:moveTo>
                  <a:pt x="588216" y="0"/>
                </a:moveTo>
                <a:lnTo>
                  <a:pt x="638358" y="3547"/>
                </a:lnTo>
                <a:lnTo>
                  <a:pt x="670541" y="39557"/>
                </a:lnTo>
                <a:lnTo>
                  <a:pt x="670541" y="89862"/>
                </a:lnTo>
                <a:cubicBezTo>
                  <a:pt x="664650" y="95882"/>
                  <a:pt x="658616" y="101794"/>
                  <a:pt x="652725" y="107813"/>
                </a:cubicBezTo>
                <a:lnTo>
                  <a:pt x="663501" y="154571"/>
                </a:lnTo>
                <a:lnTo>
                  <a:pt x="781600" y="194128"/>
                </a:lnTo>
                <a:lnTo>
                  <a:pt x="921393" y="251635"/>
                </a:lnTo>
                <a:lnTo>
                  <a:pt x="967943" y="283990"/>
                </a:lnTo>
                <a:lnTo>
                  <a:pt x="1028860" y="291192"/>
                </a:lnTo>
                <a:lnTo>
                  <a:pt x="1054003" y="316345"/>
                </a:lnTo>
                <a:lnTo>
                  <a:pt x="1125552" y="341497"/>
                </a:lnTo>
                <a:lnTo>
                  <a:pt x="1168654" y="366650"/>
                </a:lnTo>
                <a:lnTo>
                  <a:pt x="1233163" y="399005"/>
                </a:lnTo>
                <a:lnTo>
                  <a:pt x="1290489" y="381054"/>
                </a:lnTo>
                <a:lnTo>
                  <a:pt x="1419363" y="435014"/>
                </a:lnTo>
                <a:lnTo>
                  <a:pt x="1440914" y="442216"/>
                </a:lnTo>
                <a:lnTo>
                  <a:pt x="1435552" y="446623"/>
                </a:lnTo>
                <a:lnTo>
                  <a:pt x="1439284" y="447226"/>
                </a:lnTo>
                <a:lnTo>
                  <a:pt x="1455850" y="485951"/>
                </a:lnTo>
                <a:lnTo>
                  <a:pt x="1482352" y="500075"/>
                </a:lnTo>
                <a:lnTo>
                  <a:pt x="1495603" y="542320"/>
                </a:lnTo>
                <a:lnTo>
                  <a:pt x="1495603" y="588086"/>
                </a:lnTo>
                <a:lnTo>
                  <a:pt x="1488981" y="630373"/>
                </a:lnTo>
                <a:lnTo>
                  <a:pt x="1498918" y="683180"/>
                </a:lnTo>
                <a:lnTo>
                  <a:pt x="1498918" y="728987"/>
                </a:lnTo>
                <a:lnTo>
                  <a:pt x="1515484" y="781794"/>
                </a:lnTo>
                <a:lnTo>
                  <a:pt x="1508855" y="866327"/>
                </a:lnTo>
                <a:lnTo>
                  <a:pt x="1502326" y="872374"/>
                </a:lnTo>
                <a:cubicBezTo>
                  <a:pt x="1500130" y="901629"/>
                  <a:pt x="1497843" y="930737"/>
                  <a:pt x="1495653" y="960013"/>
                </a:cubicBezTo>
                <a:lnTo>
                  <a:pt x="1470442" y="1010577"/>
                </a:lnTo>
                <a:lnTo>
                  <a:pt x="1434394" y="1021453"/>
                </a:lnTo>
                <a:lnTo>
                  <a:pt x="1384026" y="1028513"/>
                </a:lnTo>
                <a:lnTo>
                  <a:pt x="1358815" y="1039389"/>
                </a:lnTo>
                <a:lnTo>
                  <a:pt x="1326471" y="1068106"/>
                </a:lnTo>
                <a:lnTo>
                  <a:pt x="1391214" y="1086233"/>
                </a:lnTo>
                <a:cubicBezTo>
                  <a:pt x="1386422" y="1098158"/>
                  <a:pt x="1381685" y="1110274"/>
                  <a:pt x="1376893" y="1122200"/>
                </a:cubicBezTo>
                <a:lnTo>
                  <a:pt x="1423613" y="1161888"/>
                </a:lnTo>
                <a:lnTo>
                  <a:pt x="1391214" y="1190700"/>
                </a:lnTo>
                <a:lnTo>
                  <a:pt x="1344440" y="1176294"/>
                </a:lnTo>
                <a:lnTo>
                  <a:pt x="1294017" y="1172669"/>
                </a:lnTo>
                <a:lnTo>
                  <a:pt x="1240056" y="1172669"/>
                </a:lnTo>
                <a:lnTo>
                  <a:pt x="1196875" y="1187170"/>
                </a:lnTo>
                <a:lnTo>
                  <a:pt x="1164531" y="1198046"/>
                </a:lnTo>
                <a:lnTo>
                  <a:pt x="1164531" y="1241264"/>
                </a:lnTo>
                <a:lnTo>
                  <a:pt x="1135780" y="1259296"/>
                </a:lnTo>
                <a:lnTo>
                  <a:pt x="1099733" y="1259296"/>
                </a:lnTo>
                <a:lnTo>
                  <a:pt x="1099733" y="1302514"/>
                </a:lnTo>
                <a:cubicBezTo>
                  <a:pt x="1100931" y="1310909"/>
                  <a:pt x="1102183" y="1319209"/>
                  <a:pt x="1103327" y="1327796"/>
                </a:cubicBezTo>
                <a:cubicBezTo>
                  <a:pt x="1105777" y="1338481"/>
                  <a:pt x="1108173" y="1349262"/>
                  <a:pt x="1110569" y="1360138"/>
                </a:cubicBezTo>
                <a:lnTo>
                  <a:pt x="1042232" y="1367484"/>
                </a:lnTo>
                <a:lnTo>
                  <a:pt x="1056607" y="1396200"/>
                </a:lnTo>
                <a:cubicBezTo>
                  <a:pt x="1059058" y="1409366"/>
                  <a:pt x="1061399" y="1422627"/>
                  <a:pt x="1063849" y="1435889"/>
                </a:cubicBezTo>
                <a:cubicBezTo>
                  <a:pt x="1060256" y="1453920"/>
                  <a:pt x="1056607" y="1471951"/>
                  <a:pt x="1053013" y="1489983"/>
                </a:cubicBezTo>
                <a:lnTo>
                  <a:pt x="1027802" y="1533201"/>
                </a:lnTo>
                <a:lnTo>
                  <a:pt x="1060201" y="1551232"/>
                </a:lnTo>
                <a:lnTo>
                  <a:pt x="1078116" y="1594546"/>
                </a:lnTo>
                <a:lnTo>
                  <a:pt x="1078116" y="1619732"/>
                </a:lnTo>
                <a:cubicBezTo>
                  <a:pt x="1080566" y="1632993"/>
                  <a:pt x="1082962" y="1646159"/>
                  <a:pt x="1085412" y="1659420"/>
                </a:cubicBezTo>
                <a:lnTo>
                  <a:pt x="1099733" y="1684607"/>
                </a:lnTo>
                <a:lnTo>
                  <a:pt x="1070983" y="1684607"/>
                </a:lnTo>
                <a:lnTo>
                  <a:pt x="1045771" y="1695388"/>
                </a:lnTo>
                <a:lnTo>
                  <a:pt x="958267" y="1820367"/>
                </a:lnTo>
                <a:lnTo>
                  <a:pt x="957614" y="1819411"/>
                </a:lnTo>
                <a:lnTo>
                  <a:pt x="909930" y="1867108"/>
                </a:lnTo>
                <a:lnTo>
                  <a:pt x="846043" y="1877824"/>
                </a:lnTo>
                <a:lnTo>
                  <a:pt x="798152" y="1872511"/>
                </a:lnTo>
                <a:lnTo>
                  <a:pt x="755625" y="1861795"/>
                </a:lnTo>
                <a:lnTo>
                  <a:pt x="702370" y="1888449"/>
                </a:lnTo>
                <a:lnTo>
                  <a:pt x="654479" y="1888449"/>
                </a:lnTo>
                <a:lnTo>
                  <a:pt x="654479" y="1909790"/>
                </a:lnTo>
                <a:lnTo>
                  <a:pt x="611952" y="1936443"/>
                </a:lnTo>
                <a:lnTo>
                  <a:pt x="590688" y="1947069"/>
                </a:lnTo>
                <a:lnTo>
                  <a:pt x="580056" y="1915103"/>
                </a:lnTo>
                <a:lnTo>
                  <a:pt x="542797" y="1893762"/>
                </a:lnTo>
                <a:lnTo>
                  <a:pt x="532165" y="1856483"/>
                </a:lnTo>
                <a:lnTo>
                  <a:pt x="505538" y="1856483"/>
                </a:lnTo>
                <a:lnTo>
                  <a:pt x="478910" y="1840545"/>
                </a:lnTo>
                <a:lnTo>
                  <a:pt x="452283" y="1845857"/>
                </a:lnTo>
                <a:lnTo>
                  <a:pt x="404392" y="1883136"/>
                </a:lnTo>
                <a:lnTo>
                  <a:pt x="377765" y="1851170"/>
                </a:lnTo>
                <a:lnTo>
                  <a:pt x="356501" y="1829829"/>
                </a:lnTo>
                <a:lnTo>
                  <a:pt x="383128" y="1797863"/>
                </a:lnTo>
                <a:lnTo>
                  <a:pt x="468279" y="1755271"/>
                </a:lnTo>
                <a:lnTo>
                  <a:pt x="510806" y="1744556"/>
                </a:lnTo>
                <a:lnTo>
                  <a:pt x="553429" y="1707277"/>
                </a:lnTo>
                <a:lnTo>
                  <a:pt x="542797" y="1691339"/>
                </a:lnTo>
                <a:lnTo>
                  <a:pt x="521438" y="1712589"/>
                </a:lnTo>
                <a:lnTo>
                  <a:pt x="473547" y="1712589"/>
                </a:lnTo>
                <a:lnTo>
                  <a:pt x="420388" y="1696651"/>
                </a:lnTo>
                <a:lnTo>
                  <a:pt x="388492" y="1654060"/>
                </a:lnTo>
                <a:lnTo>
                  <a:pt x="361865" y="1622093"/>
                </a:lnTo>
                <a:lnTo>
                  <a:pt x="335237" y="1600753"/>
                </a:lnTo>
                <a:lnTo>
                  <a:pt x="335237" y="1632719"/>
                </a:lnTo>
                <a:lnTo>
                  <a:pt x="335237" y="1664685"/>
                </a:lnTo>
                <a:lnTo>
                  <a:pt x="303342" y="1643344"/>
                </a:lnTo>
                <a:lnTo>
                  <a:pt x="271351" y="1664685"/>
                </a:lnTo>
                <a:lnTo>
                  <a:pt x="250087" y="1632719"/>
                </a:lnTo>
                <a:cubicBezTo>
                  <a:pt x="251907" y="1622093"/>
                  <a:pt x="253631" y="1611378"/>
                  <a:pt x="255451" y="1600753"/>
                </a:cubicBezTo>
                <a:lnTo>
                  <a:pt x="271351" y="1584724"/>
                </a:lnTo>
                <a:lnTo>
                  <a:pt x="303342" y="1579412"/>
                </a:lnTo>
                <a:cubicBezTo>
                  <a:pt x="297978" y="1568786"/>
                  <a:pt x="292710" y="1558071"/>
                  <a:pt x="287346" y="1547445"/>
                </a:cubicBezTo>
                <a:lnTo>
                  <a:pt x="287346" y="1515479"/>
                </a:lnTo>
                <a:cubicBezTo>
                  <a:pt x="285526" y="1506565"/>
                  <a:pt x="283802" y="1497740"/>
                  <a:pt x="281983" y="1488826"/>
                </a:cubicBezTo>
                <a:lnTo>
                  <a:pt x="255451" y="1483513"/>
                </a:lnTo>
                <a:lnTo>
                  <a:pt x="255451" y="1536820"/>
                </a:lnTo>
                <a:lnTo>
                  <a:pt x="234091" y="1552758"/>
                </a:lnTo>
                <a:lnTo>
                  <a:pt x="202196" y="1520792"/>
                </a:lnTo>
                <a:lnTo>
                  <a:pt x="191564" y="1494138"/>
                </a:lnTo>
                <a:lnTo>
                  <a:pt x="170301" y="1488826"/>
                </a:lnTo>
                <a:lnTo>
                  <a:pt x="149037" y="1536820"/>
                </a:lnTo>
                <a:lnTo>
                  <a:pt x="106414" y="1515479"/>
                </a:lnTo>
                <a:lnTo>
                  <a:pt x="106414" y="1488826"/>
                </a:lnTo>
                <a:lnTo>
                  <a:pt x="90418" y="1467575"/>
                </a:lnTo>
                <a:lnTo>
                  <a:pt x="69155" y="1478200"/>
                </a:lnTo>
                <a:cubicBezTo>
                  <a:pt x="63887" y="1487115"/>
                  <a:pt x="58523" y="1495939"/>
                  <a:pt x="53255" y="1504854"/>
                </a:cubicBezTo>
                <a:lnTo>
                  <a:pt x="26627" y="1488826"/>
                </a:lnTo>
                <a:lnTo>
                  <a:pt x="26627" y="1456859"/>
                </a:lnTo>
                <a:lnTo>
                  <a:pt x="15996" y="1414268"/>
                </a:lnTo>
                <a:cubicBezTo>
                  <a:pt x="17720" y="1408955"/>
                  <a:pt x="19540" y="1403552"/>
                  <a:pt x="21264" y="1398239"/>
                </a:cubicBezTo>
                <a:lnTo>
                  <a:pt x="47891" y="1387614"/>
                </a:lnTo>
                <a:lnTo>
                  <a:pt x="79786" y="1414268"/>
                </a:lnTo>
                <a:lnTo>
                  <a:pt x="90418" y="1387614"/>
                </a:lnTo>
                <a:lnTo>
                  <a:pt x="79786" y="1355648"/>
                </a:lnTo>
                <a:lnTo>
                  <a:pt x="95782" y="1328994"/>
                </a:lnTo>
                <a:lnTo>
                  <a:pt x="117046" y="1313056"/>
                </a:lnTo>
                <a:cubicBezTo>
                  <a:pt x="115322" y="1295317"/>
                  <a:pt x="113502" y="1277488"/>
                  <a:pt x="111778" y="1259749"/>
                </a:cubicBezTo>
                <a:cubicBezTo>
                  <a:pt x="113502" y="1245522"/>
                  <a:pt x="115322" y="1231294"/>
                  <a:pt x="117046" y="1217067"/>
                </a:cubicBezTo>
                <a:lnTo>
                  <a:pt x="143673" y="1163850"/>
                </a:lnTo>
                <a:lnTo>
                  <a:pt x="143673" y="1105230"/>
                </a:lnTo>
                <a:cubicBezTo>
                  <a:pt x="138309" y="1094605"/>
                  <a:pt x="133041" y="1083889"/>
                  <a:pt x="127678" y="1073264"/>
                </a:cubicBezTo>
                <a:lnTo>
                  <a:pt x="101146" y="1057236"/>
                </a:lnTo>
                <a:lnTo>
                  <a:pt x="63887" y="1046610"/>
                </a:lnTo>
                <a:lnTo>
                  <a:pt x="47891" y="1073264"/>
                </a:lnTo>
                <a:lnTo>
                  <a:pt x="21264" y="1073264"/>
                </a:lnTo>
                <a:lnTo>
                  <a:pt x="6694" y="1073264"/>
                </a:lnTo>
                <a:lnTo>
                  <a:pt x="4186" y="1074905"/>
                </a:lnTo>
                <a:lnTo>
                  <a:pt x="5514" y="1073264"/>
                </a:lnTo>
                <a:lnTo>
                  <a:pt x="0" y="1073264"/>
                </a:lnTo>
                <a:lnTo>
                  <a:pt x="10911" y="1066597"/>
                </a:lnTo>
                <a:lnTo>
                  <a:pt x="50736" y="1017398"/>
                </a:lnTo>
                <a:lnTo>
                  <a:pt x="79471" y="974294"/>
                </a:lnTo>
                <a:lnTo>
                  <a:pt x="118837" y="931083"/>
                </a:lnTo>
                <a:cubicBezTo>
                  <a:pt x="124871" y="915497"/>
                  <a:pt x="130762" y="899911"/>
                  <a:pt x="136796" y="884324"/>
                </a:cubicBezTo>
                <a:lnTo>
                  <a:pt x="201305" y="851970"/>
                </a:lnTo>
                <a:lnTo>
                  <a:pt x="269262" y="834019"/>
                </a:lnTo>
                <a:cubicBezTo>
                  <a:pt x="266964" y="800482"/>
                  <a:pt x="264521" y="766945"/>
                  <a:pt x="262222" y="733408"/>
                </a:cubicBezTo>
                <a:lnTo>
                  <a:pt x="265671" y="683102"/>
                </a:lnTo>
                <a:lnTo>
                  <a:pt x="305181" y="668698"/>
                </a:lnTo>
                <a:lnTo>
                  <a:pt x="398281" y="632689"/>
                </a:lnTo>
                <a:lnTo>
                  <a:pt x="455606" y="607536"/>
                </a:lnTo>
                <a:lnTo>
                  <a:pt x="487932" y="600334"/>
                </a:lnTo>
                <a:cubicBezTo>
                  <a:pt x="491524" y="585931"/>
                  <a:pt x="494972" y="571635"/>
                  <a:pt x="498564" y="557231"/>
                </a:cubicBezTo>
                <a:cubicBezTo>
                  <a:pt x="493823" y="545192"/>
                  <a:pt x="489082" y="533260"/>
                  <a:pt x="484341" y="521221"/>
                </a:cubicBezTo>
                <a:lnTo>
                  <a:pt x="452014" y="499723"/>
                </a:lnTo>
                <a:cubicBezTo>
                  <a:pt x="448422" y="472206"/>
                  <a:pt x="444831" y="444581"/>
                  <a:pt x="441239" y="417063"/>
                </a:cubicBezTo>
                <a:cubicBezTo>
                  <a:pt x="435348" y="402659"/>
                  <a:pt x="429314" y="388256"/>
                  <a:pt x="423423" y="373852"/>
                </a:cubicBezTo>
                <a:lnTo>
                  <a:pt x="366098" y="373852"/>
                </a:lnTo>
                <a:cubicBezTo>
                  <a:pt x="357765" y="348699"/>
                  <a:pt x="349288" y="323546"/>
                  <a:pt x="340955" y="298394"/>
                </a:cubicBezTo>
                <a:lnTo>
                  <a:pt x="376873" y="240886"/>
                </a:lnTo>
                <a:lnTo>
                  <a:pt x="441239" y="204877"/>
                </a:lnTo>
                <a:lnTo>
                  <a:pt x="462790" y="151024"/>
                </a:lnTo>
                <a:cubicBezTo>
                  <a:pt x="468824" y="133073"/>
                  <a:pt x="474714" y="115015"/>
                  <a:pt x="480749" y="97064"/>
                </a:cubicBezTo>
                <a:cubicBezTo>
                  <a:pt x="490231" y="80295"/>
                  <a:pt x="499857" y="63527"/>
                  <a:pt x="509340" y="46758"/>
                </a:cubicBezTo>
                <a:close/>
              </a:path>
            </a:pathLst>
          </a:custGeom>
          <a:solidFill>
            <a:srgbClr val="70B0DF"/>
          </a:solidFill>
          <a:ln w="9525">
            <a:noFill/>
            <a:round/>
            <a:headEnd/>
            <a:tailEnd/>
          </a:ln>
        </p:spPr>
        <p:txBody>
          <a:bodyPr wrap="none" lIns="32632" tIns="32632" rIns="32632" bIns="32632" anchor="ctr"/>
          <a:lstStyle/>
          <a:p>
            <a:pPr defTabSz="891045"/>
            <a:endParaRPr lang="en-US" sz="1700" dirty="0">
              <a:solidFill>
                <a:srgbClr val="003149"/>
              </a:solidFill>
              <a:cs typeface="Arial" panose="020B0604020202020204" pitchFamily="34" charset="0"/>
            </a:endParaRPr>
          </a:p>
        </p:txBody>
      </p:sp>
      <p:sp>
        <p:nvSpPr>
          <p:cNvPr id="31" name="Freeform 707"/>
          <p:cNvSpPr>
            <a:spLocks noChangeAspect="1"/>
          </p:cNvSpPr>
          <p:nvPr>
            <p:custDataLst>
              <p:tags r:id="rId13"/>
            </p:custDataLst>
          </p:nvPr>
        </p:nvSpPr>
        <p:spPr bwMode="gray">
          <a:xfrm>
            <a:off x="3626926" y="2974108"/>
            <a:ext cx="767702" cy="631328"/>
          </a:xfrm>
          <a:custGeom>
            <a:avLst/>
            <a:gdLst>
              <a:gd name="T0" fmla="*/ 0 w 4448593"/>
              <a:gd name="T1" fmla="*/ 0 h 3226453"/>
              <a:gd name="T2" fmla="*/ 0 w 4448593"/>
              <a:gd name="T3" fmla="*/ 0 h 3226453"/>
              <a:gd name="T4" fmla="*/ 0 w 4448593"/>
              <a:gd name="T5" fmla="*/ 0 h 3226453"/>
              <a:gd name="T6" fmla="*/ 0 w 4448593"/>
              <a:gd name="T7" fmla="*/ 0 h 3226453"/>
              <a:gd name="T8" fmla="*/ 0 w 4448593"/>
              <a:gd name="T9" fmla="*/ 0 h 3226453"/>
              <a:gd name="T10" fmla="*/ 0 w 4448593"/>
              <a:gd name="T11" fmla="*/ 0 h 3226453"/>
              <a:gd name="T12" fmla="*/ 0 w 4448593"/>
              <a:gd name="T13" fmla="*/ 0 h 3226453"/>
              <a:gd name="T14" fmla="*/ 0 w 4448593"/>
              <a:gd name="T15" fmla="*/ 0 h 3226453"/>
              <a:gd name="T16" fmla="*/ 0 w 4448593"/>
              <a:gd name="T17" fmla="*/ 0 h 3226453"/>
              <a:gd name="T18" fmla="*/ 0 w 4448593"/>
              <a:gd name="T19" fmla="*/ 0 h 3226453"/>
              <a:gd name="T20" fmla="*/ 0 w 4448593"/>
              <a:gd name="T21" fmla="*/ 0 h 3226453"/>
              <a:gd name="T22" fmla="*/ 0 w 4448593"/>
              <a:gd name="T23" fmla="*/ 0 h 3226453"/>
              <a:gd name="T24" fmla="*/ 0 w 4448593"/>
              <a:gd name="T25" fmla="*/ 0 h 3226453"/>
              <a:gd name="T26" fmla="*/ 0 w 4448593"/>
              <a:gd name="T27" fmla="*/ 0 h 3226453"/>
              <a:gd name="T28" fmla="*/ 0 w 4448593"/>
              <a:gd name="T29" fmla="*/ 0 h 3226453"/>
              <a:gd name="T30" fmla="*/ 0 w 4448593"/>
              <a:gd name="T31" fmla="*/ 0 h 3226453"/>
              <a:gd name="T32" fmla="*/ 0 w 4448593"/>
              <a:gd name="T33" fmla="*/ 0 h 3226453"/>
              <a:gd name="T34" fmla="*/ 0 w 4448593"/>
              <a:gd name="T35" fmla="*/ 0 h 3226453"/>
              <a:gd name="T36" fmla="*/ 0 w 4448593"/>
              <a:gd name="T37" fmla="*/ 0 h 3226453"/>
              <a:gd name="T38" fmla="*/ 0 w 4448593"/>
              <a:gd name="T39" fmla="*/ 0 h 3226453"/>
              <a:gd name="T40" fmla="*/ 0 w 4448593"/>
              <a:gd name="T41" fmla="*/ 0 h 3226453"/>
              <a:gd name="T42" fmla="*/ 0 w 4448593"/>
              <a:gd name="T43" fmla="*/ 0 h 3226453"/>
              <a:gd name="T44" fmla="*/ 0 w 4448593"/>
              <a:gd name="T45" fmla="*/ 0 h 3226453"/>
              <a:gd name="T46" fmla="*/ 0 w 4448593"/>
              <a:gd name="T47" fmla="*/ 0 h 3226453"/>
              <a:gd name="T48" fmla="*/ 0 w 4448593"/>
              <a:gd name="T49" fmla="*/ 0 h 3226453"/>
              <a:gd name="T50" fmla="*/ 0 w 4448593"/>
              <a:gd name="T51" fmla="*/ 0 h 3226453"/>
              <a:gd name="T52" fmla="*/ 0 w 4448593"/>
              <a:gd name="T53" fmla="*/ 0 h 3226453"/>
              <a:gd name="T54" fmla="*/ 0 w 4448593"/>
              <a:gd name="T55" fmla="*/ 0 h 3226453"/>
              <a:gd name="T56" fmla="*/ 0 w 4448593"/>
              <a:gd name="T57" fmla="*/ 0 h 3226453"/>
              <a:gd name="T58" fmla="*/ 0 w 4448593"/>
              <a:gd name="T59" fmla="*/ 0 h 3226453"/>
              <a:gd name="T60" fmla="*/ 0 w 4448593"/>
              <a:gd name="T61" fmla="*/ 0 h 3226453"/>
              <a:gd name="T62" fmla="*/ 0 w 4448593"/>
              <a:gd name="T63" fmla="*/ 0 h 3226453"/>
              <a:gd name="T64" fmla="*/ 0 w 4448593"/>
              <a:gd name="T65" fmla="*/ 0 h 3226453"/>
              <a:gd name="T66" fmla="*/ 0 w 4448593"/>
              <a:gd name="T67" fmla="*/ 0 h 3226453"/>
              <a:gd name="T68" fmla="*/ 0 w 4448593"/>
              <a:gd name="T69" fmla="*/ 0 h 3226453"/>
              <a:gd name="T70" fmla="*/ 0 w 4448593"/>
              <a:gd name="T71" fmla="*/ 0 h 3226453"/>
              <a:gd name="T72" fmla="*/ 0 w 4448593"/>
              <a:gd name="T73" fmla="*/ 0 h 3226453"/>
              <a:gd name="T74" fmla="*/ 0 w 4448593"/>
              <a:gd name="T75" fmla="*/ 0 h 3226453"/>
              <a:gd name="T76" fmla="*/ 0 w 4448593"/>
              <a:gd name="T77" fmla="*/ 0 h 3226453"/>
              <a:gd name="T78" fmla="*/ 0 w 4448593"/>
              <a:gd name="T79" fmla="*/ 0 h 3226453"/>
              <a:gd name="T80" fmla="*/ 0 w 4448593"/>
              <a:gd name="T81" fmla="*/ 0 h 3226453"/>
              <a:gd name="T82" fmla="*/ 0 w 4448593"/>
              <a:gd name="T83" fmla="*/ 0 h 3226453"/>
              <a:gd name="T84" fmla="*/ 0 w 4448593"/>
              <a:gd name="T85" fmla="*/ 0 h 3226453"/>
              <a:gd name="T86" fmla="*/ 0 w 4448593"/>
              <a:gd name="T87" fmla="*/ 0 h 3226453"/>
              <a:gd name="T88" fmla="*/ 0 w 4448593"/>
              <a:gd name="T89" fmla="*/ 0 h 3226453"/>
              <a:gd name="T90" fmla="*/ 0 w 4448593"/>
              <a:gd name="T91" fmla="*/ 0 h 3226453"/>
              <a:gd name="T92" fmla="*/ 0 w 4448593"/>
              <a:gd name="T93" fmla="*/ 0 h 3226453"/>
              <a:gd name="T94" fmla="*/ 0 w 4448593"/>
              <a:gd name="T95" fmla="*/ 0 h 3226453"/>
              <a:gd name="T96" fmla="*/ 0 w 4448593"/>
              <a:gd name="T97" fmla="*/ 0 h 3226453"/>
              <a:gd name="T98" fmla="*/ 0 w 4448593"/>
              <a:gd name="T99" fmla="*/ 0 h 3226453"/>
              <a:gd name="T100" fmla="*/ 0 w 4448593"/>
              <a:gd name="T101" fmla="*/ 0 h 3226453"/>
              <a:gd name="T102" fmla="*/ 0 w 4448593"/>
              <a:gd name="T103" fmla="*/ 0 h 3226453"/>
              <a:gd name="T104" fmla="*/ 0 w 4448593"/>
              <a:gd name="T105" fmla="*/ 0 h 3226453"/>
              <a:gd name="T106" fmla="*/ 0 w 4448593"/>
              <a:gd name="T107" fmla="*/ 0 h 3226453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w 4448593"/>
              <a:gd name="T163" fmla="*/ 0 h 3226453"/>
              <a:gd name="T164" fmla="*/ 4448593 w 4448593"/>
              <a:gd name="T165" fmla="*/ 3226453 h 3226453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T162" t="T163" r="T164" b="T165"/>
            <a:pathLst>
              <a:path w="4448593" h="3226453">
                <a:moveTo>
                  <a:pt x="1041397" y="0"/>
                </a:moveTo>
                <a:lnTo>
                  <a:pt x="1040657" y="9721"/>
                </a:lnTo>
                <a:lnTo>
                  <a:pt x="1043751" y="5480"/>
                </a:lnTo>
                <a:cubicBezTo>
                  <a:pt x="1045031" y="19904"/>
                  <a:pt x="1041190" y="41173"/>
                  <a:pt x="1042470" y="55597"/>
                </a:cubicBezTo>
                <a:cubicBezTo>
                  <a:pt x="1050791" y="72222"/>
                  <a:pt x="1059433" y="89090"/>
                  <a:pt x="1067754" y="105715"/>
                </a:cubicBezTo>
                <a:cubicBezTo>
                  <a:pt x="1082155" y="123561"/>
                  <a:pt x="1096237" y="141653"/>
                  <a:pt x="1110639" y="159499"/>
                </a:cubicBezTo>
                <a:lnTo>
                  <a:pt x="1153524" y="195437"/>
                </a:lnTo>
                <a:cubicBezTo>
                  <a:pt x="1147443" y="215728"/>
                  <a:pt x="1141683" y="236020"/>
                  <a:pt x="1135602" y="256311"/>
                </a:cubicBezTo>
                <a:lnTo>
                  <a:pt x="1135602" y="313763"/>
                </a:lnTo>
                <a:cubicBezTo>
                  <a:pt x="1126001" y="322075"/>
                  <a:pt x="1116720" y="330387"/>
                  <a:pt x="1107118" y="338699"/>
                </a:cubicBezTo>
                <a:cubicBezTo>
                  <a:pt x="1104558" y="350679"/>
                  <a:pt x="1102318" y="362658"/>
                  <a:pt x="1099758" y="374637"/>
                </a:cubicBezTo>
                <a:lnTo>
                  <a:pt x="1099758" y="432089"/>
                </a:lnTo>
                <a:cubicBezTo>
                  <a:pt x="1097517" y="451158"/>
                  <a:pt x="1094957" y="470227"/>
                  <a:pt x="1092717" y="489296"/>
                </a:cubicBezTo>
                <a:lnTo>
                  <a:pt x="1017507" y="575351"/>
                </a:lnTo>
                <a:cubicBezTo>
                  <a:pt x="1023588" y="590998"/>
                  <a:pt x="1029349" y="606399"/>
                  <a:pt x="1035430" y="622046"/>
                </a:cubicBezTo>
                <a:lnTo>
                  <a:pt x="1071274" y="646982"/>
                </a:lnTo>
                <a:lnTo>
                  <a:pt x="1110639" y="700767"/>
                </a:lnTo>
                <a:cubicBezTo>
                  <a:pt x="1120240" y="713235"/>
                  <a:pt x="1129521" y="725948"/>
                  <a:pt x="1139123" y="738416"/>
                </a:cubicBezTo>
                <a:cubicBezTo>
                  <a:pt x="1151604" y="755774"/>
                  <a:pt x="1164406" y="773131"/>
                  <a:pt x="1176887" y="790489"/>
                </a:cubicBezTo>
                <a:lnTo>
                  <a:pt x="1248256" y="790489"/>
                </a:lnTo>
                <a:lnTo>
                  <a:pt x="1312904" y="785111"/>
                </a:lnTo>
                <a:lnTo>
                  <a:pt x="1388114" y="763597"/>
                </a:lnTo>
                <a:lnTo>
                  <a:pt x="1488286" y="795868"/>
                </a:lnTo>
                <a:cubicBezTo>
                  <a:pt x="1506848" y="819093"/>
                  <a:pt x="1525091" y="842562"/>
                  <a:pt x="1543653" y="865787"/>
                </a:cubicBezTo>
                <a:lnTo>
                  <a:pt x="1606381" y="898058"/>
                </a:lnTo>
                <a:lnTo>
                  <a:pt x="1692471" y="898058"/>
                </a:lnTo>
                <a:lnTo>
                  <a:pt x="1799685" y="889012"/>
                </a:lnTo>
                <a:cubicBezTo>
                  <a:pt x="1816327" y="911749"/>
                  <a:pt x="1833289" y="934485"/>
                  <a:pt x="1849931" y="957221"/>
                </a:cubicBezTo>
                <a:cubicBezTo>
                  <a:pt x="1851531" y="991203"/>
                  <a:pt x="1853452" y="1025430"/>
                  <a:pt x="1855052" y="1059412"/>
                </a:cubicBezTo>
                <a:lnTo>
                  <a:pt x="1898257" y="1102195"/>
                </a:lnTo>
                <a:lnTo>
                  <a:pt x="1987548" y="1182871"/>
                </a:lnTo>
                <a:lnTo>
                  <a:pt x="2043235" y="1211720"/>
                </a:lnTo>
                <a:lnTo>
                  <a:pt x="2105643" y="1193628"/>
                </a:lnTo>
                <a:lnTo>
                  <a:pt x="2148849" y="1227855"/>
                </a:lnTo>
                <a:cubicBezTo>
                  <a:pt x="2163570" y="1243990"/>
                  <a:pt x="2178612" y="1260126"/>
                  <a:pt x="2193334" y="1276261"/>
                </a:cubicBezTo>
                <a:lnTo>
                  <a:pt x="2266943" y="1328090"/>
                </a:lnTo>
                <a:lnTo>
                  <a:pt x="2331271" y="1354982"/>
                </a:lnTo>
                <a:lnTo>
                  <a:pt x="2510174" y="1419523"/>
                </a:lnTo>
                <a:lnTo>
                  <a:pt x="2744763" y="1537849"/>
                </a:lnTo>
                <a:lnTo>
                  <a:pt x="2793089" y="1591634"/>
                </a:lnTo>
                <a:cubicBezTo>
                  <a:pt x="2818052" y="1622193"/>
                  <a:pt x="2843335" y="1652508"/>
                  <a:pt x="2868298" y="1683067"/>
                </a:cubicBezTo>
                <a:lnTo>
                  <a:pt x="2950549" y="1808483"/>
                </a:lnTo>
                <a:lnTo>
                  <a:pt x="3042080" y="1867646"/>
                </a:lnTo>
                <a:lnTo>
                  <a:pt x="3160175" y="1930476"/>
                </a:lnTo>
                <a:lnTo>
                  <a:pt x="3272829" y="1978882"/>
                </a:lnTo>
                <a:lnTo>
                  <a:pt x="3362440" y="1973503"/>
                </a:lnTo>
                <a:lnTo>
                  <a:pt x="3415887" y="1953701"/>
                </a:lnTo>
                <a:lnTo>
                  <a:pt x="3469653" y="1919719"/>
                </a:lnTo>
                <a:lnTo>
                  <a:pt x="3541342" y="1916052"/>
                </a:lnTo>
                <a:lnTo>
                  <a:pt x="3573666" y="1935854"/>
                </a:lnTo>
                <a:cubicBezTo>
                  <a:pt x="3579107" y="1950767"/>
                  <a:pt x="3584228" y="1965680"/>
                  <a:pt x="3589668" y="1980593"/>
                </a:cubicBezTo>
                <a:cubicBezTo>
                  <a:pt x="3604070" y="1995995"/>
                  <a:pt x="3618152" y="2011642"/>
                  <a:pt x="3632554" y="2027044"/>
                </a:cubicBezTo>
                <a:lnTo>
                  <a:pt x="3705843" y="2048557"/>
                </a:lnTo>
                <a:lnTo>
                  <a:pt x="3749048" y="2088162"/>
                </a:lnTo>
                <a:lnTo>
                  <a:pt x="3793534" y="2113099"/>
                </a:lnTo>
                <a:cubicBezTo>
                  <a:pt x="3800255" y="2132901"/>
                  <a:pt x="3806655" y="2152459"/>
                  <a:pt x="3813376" y="2172262"/>
                </a:cubicBezTo>
                <a:lnTo>
                  <a:pt x="3850821" y="2209911"/>
                </a:lnTo>
                <a:lnTo>
                  <a:pt x="3922510" y="2233380"/>
                </a:lnTo>
                <a:lnTo>
                  <a:pt x="4001240" y="2265651"/>
                </a:lnTo>
                <a:lnTo>
                  <a:pt x="4033564" y="2313812"/>
                </a:lnTo>
                <a:cubicBezTo>
                  <a:pt x="4043165" y="2324570"/>
                  <a:pt x="4052446" y="2335326"/>
                  <a:pt x="4062047" y="2346083"/>
                </a:cubicBezTo>
                <a:lnTo>
                  <a:pt x="4135657" y="2376643"/>
                </a:lnTo>
                <a:lnTo>
                  <a:pt x="4183983" y="2421382"/>
                </a:lnTo>
                <a:cubicBezTo>
                  <a:pt x="4193700" y="2431774"/>
                  <a:pt x="4216182" y="2460197"/>
                  <a:pt x="4229359" y="2475300"/>
                </a:cubicBezTo>
                <a:lnTo>
                  <a:pt x="4235018" y="2478685"/>
                </a:lnTo>
                <a:cubicBezTo>
                  <a:pt x="4234195" y="2493631"/>
                  <a:pt x="4233230" y="2507782"/>
                  <a:pt x="4232335" y="2521755"/>
                </a:cubicBezTo>
                <a:lnTo>
                  <a:pt x="4232335" y="2576101"/>
                </a:lnTo>
                <a:lnTo>
                  <a:pt x="4257660" y="2614882"/>
                </a:lnTo>
                <a:lnTo>
                  <a:pt x="4285774" y="2614882"/>
                </a:lnTo>
                <a:lnTo>
                  <a:pt x="4319110" y="2626910"/>
                </a:lnTo>
                <a:lnTo>
                  <a:pt x="4319110" y="2650081"/>
                </a:lnTo>
                <a:lnTo>
                  <a:pt x="4361818" y="2680150"/>
                </a:lnTo>
                <a:lnTo>
                  <a:pt x="4393903" y="2699209"/>
                </a:lnTo>
                <a:lnTo>
                  <a:pt x="4404562" y="2720346"/>
                </a:lnTo>
                <a:lnTo>
                  <a:pt x="4444587" y="2730826"/>
                </a:lnTo>
                <a:cubicBezTo>
                  <a:pt x="4445946" y="2739449"/>
                  <a:pt x="4447234" y="2749310"/>
                  <a:pt x="4448593" y="2758154"/>
                </a:cubicBezTo>
                <a:lnTo>
                  <a:pt x="4401843" y="2762488"/>
                </a:lnTo>
                <a:lnTo>
                  <a:pt x="4376555" y="2793486"/>
                </a:lnTo>
                <a:lnTo>
                  <a:pt x="4376555" y="2834389"/>
                </a:lnTo>
                <a:lnTo>
                  <a:pt x="4351195" y="2834389"/>
                </a:lnTo>
                <a:lnTo>
                  <a:pt x="4257660" y="2863840"/>
                </a:lnTo>
                <a:lnTo>
                  <a:pt x="4170885" y="2899171"/>
                </a:lnTo>
                <a:lnTo>
                  <a:pt x="4091380" y="2920754"/>
                </a:lnTo>
                <a:lnTo>
                  <a:pt x="4090907" y="2923732"/>
                </a:lnTo>
                <a:lnTo>
                  <a:pt x="4029671" y="2923732"/>
                </a:lnTo>
                <a:cubicBezTo>
                  <a:pt x="4017703" y="2913995"/>
                  <a:pt x="4006134" y="2904451"/>
                  <a:pt x="3993967" y="2894779"/>
                </a:cubicBezTo>
                <a:cubicBezTo>
                  <a:pt x="3982198" y="2874153"/>
                  <a:pt x="3969831" y="2853592"/>
                  <a:pt x="3958062" y="2832902"/>
                </a:cubicBezTo>
                <a:lnTo>
                  <a:pt x="3896826" y="2818490"/>
                </a:lnTo>
                <a:lnTo>
                  <a:pt x="3839579" y="2832902"/>
                </a:lnTo>
                <a:lnTo>
                  <a:pt x="3764180" y="2880239"/>
                </a:lnTo>
                <a:cubicBezTo>
                  <a:pt x="3748422" y="2888630"/>
                  <a:pt x="3733063" y="2897149"/>
                  <a:pt x="3717505" y="2905540"/>
                </a:cubicBezTo>
                <a:cubicBezTo>
                  <a:pt x="3715111" y="2922579"/>
                  <a:pt x="3712518" y="2939489"/>
                  <a:pt x="3710124" y="2956463"/>
                </a:cubicBezTo>
                <a:lnTo>
                  <a:pt x="3659859" y="2949161"/>
                </a:lnTo>
                <a:cubicBezTo>
                  <a:pt x="3652877" y="2940706"/>
                  <a:pt x="3645497" y="2932187"/>
                  <a:pt x="3638515" y="2923732"/>
                </a:cubicBezTo>
                <a:cubicBezTo>
                  <a:pt x="3621760" y="2910408"/>
                  <a:pt x="3604805" y="2897149"/>
                  <a:pt x="3588050" y="2883826"/>
                </a:cubicBezTo>
                <a:lnTo>
                  <a:pt x="3527013" y="2883826"/>
                </a:lnTo>
                <a:cubicBezTo>
                  <a:pt x="3516242" y="2876523"/>
                  <a:pt x="3505670" y="2869157"/>
                  <a:pt x="3494899" y="2861919"/>
                </a:cubicBezTo>
                <a:lnTo>
                  <a:pt x="3494899" y="2829187"/>
                </a:lnTo>
                <a:cubicBezTo>
                  <a:pt x="3480537" y="2815928"/>
                  <a:pt x="3465976" y="2802733"/>
                  <a:pt x="3451615" y="2789473"/>
                </a:cubicBezTo>
                <a:lnTo>
                  <a:pt x="3405139" y="2796712"/>
                </a:lnTo>
                <a:lnTo>
                  <a:pt x="3376216" y="2785566"/>
                </a:lnTo>
                <a:lnTo>
                  <a:pt x="3326149" y="2792996"/>
                </a:lnTo>
                <a:cubicBezTo>
                  <a:pt x="3313783" y="2796583"/>
                  <a:pt x="3302014" y="2800299"/>
                  <a:pt x="3289847" y="2803950"/>
                </a:cubicBezTo>
                <a:lnTo>
                  <a:pt x="3225618" y="2778392"/>
                </a:lnTo>
                <a:lnTo>
                  <a:pt x="3171762" y="2771154"/>
                </a:lnTo>
                <a:cubicBezTo>
                  <a:pt x="3169368" y="2748094"/>
                  <a:pt x="3166576" y="2725163"/>
                  <a:pt x="3164381" y="2702103"/>
                </a:cubicBezTo>
                <a:lnTo>
                  <a:pt x="3128477" y="2694801"/>
                </a:lnTo>
                <a:lnTo>
                  <a:pt x="3107134" y="2687563"/>
                </a:lnTo>
                <a:lnTo>
                  <a:pt x="3081802" y="2687563"/>
                </a:lnTo>
                <a:lnTo>
                  <a:pt x="3056669" y="2680324"/>
                </a:lnTo>
                <a:lnTo>
                  <a:pt x="3013784" y="2680324"/>
                </a:lnTo>
                <a:lnTo>
                  <a:pt x="2974289" y="2669435"/>
                </a:lnTo>
                <a:lnTo>
                  <a:pt x="2927414" y="2658546"/>
                </a:lnTo>
                <a:cubicBezTo>
                  <a:pt x="2915247" y="2647593"/>
                  <a:pt x="2903478" y="2636639"/>
                  <a:pt x="2891311" y="2625750"/>
                </a:cubicBezTo>
                <a:lnTo>
                  <a:pt x="2830473" y="2611338"/>
                </a:lnTo>
                <a:lnTo>
                  <a:pt x="2783598" y="2585908"/>
                </a:lnTo>
                <a:cubicBezTo>
                  <a:pt x="2770633" y="2596862"/>
                  <a:pt x="2757269" y="2607623"/>
                  <a:pt x="2744104" y="2618640"/>
                </a:cubicBezTo>
                <a:cubicBezTo>
                  <a:pt x="2738319" y="2637920"/>
                  <a:pt x="2732335" y="2657265"/>
                  <a:pt x="2726351" y="2676673"/>
                </a:cubicBezTo>
                <a:cubicBezTo>
                  <a:pt x="2715580" y="2681542"/>
                  <a:pt x="2704609" y="2686346"/>
                  <a:pt x="2693838" y="2691214"/>
                </a:cubicBezTo>
                <a:lnTo>
                  <a:pt x="2643772" y="2702103"/>
                </a:lnTo>
                <a:cubicBezTo>
                  <a:pt x="2641179" y="2721383"/>
                  <a:pt x="2638785" y="2740920"/>
                  <a:pt x="2636391" y="2760329"/>
                </a:cubicBezTo>
                <a:cubicBezTo>
                  <a:pt x="2623227" y="2768720"/>
                  <a:pt x="2610261" y="2777175"/>
                  <a:pt x="2597096" y="2785566"/>
                </a:cubicBezTo>
                <a:cubicBezTo>
                  <a:pt x="2587522" y="2802604"/>
                  <a:pt x="2578147" y="2819579"/>
                  <a:pt x="2568373" y="2836617"/>
                </a:cubicBezTo>
                <a:cubicBezTo>
                  <a:pt x="2563586" y="2868004"/>
                  <a:pt x="2558799" y="2899455"/>
                  <a:pt x="2554011" y="2931034"/>
                </a:cubicBezTo>
                <a:cubicBezTo>
                  <a:pt x="2539650" y="2948008"/>
                  <a:pt x="2525487" y="2964919"/>
                  <a:pt x="2511126" y="2981829"/>
                </a:cubicBezTo>
                <a:cubicBezTo>
                  <a:pt x="2500355" y="2987914"/>
                  <a:pt x="2489384" y="2993999"/>
                  <a:pt x="2478613" y="3000084"/>
                </a:cubicBezTo>
                <a:cubicBezTo>
                  <a:pt x="2466645" y="2995216"/>
                  <a:pt x="2454477" y="2990412"/>
                  <a:pt x="2442509" y="2985544"/>
                </a:cubicBezTo>
                <a:lnTo>
                  <a:pt x="2406804" y="2989131"/>
                </a:lnTo>
                <a:lnTo>
                  <a:pt x="2349158" y="3007259"/>
                </a:lnTo>
                <a:lnTo>
                  <a:pt x="2327616" y="3032752"/>
                </a:lnTo>
                <a:lnTo>
                  <a:pt x="2295302" y="3050816"/>
                </a:lnTo>
                <a:lnTo>
                  <a:pt x="2270169" y="3050816"/>
                </a:lnTo>
                <a:cubicBezTo>
                  <a:pt x="2265382" y="3061769"/>
                  <a:pt x="2260595" y="3072594"/>
                  <a:pt x="2255808" y="3083548"/>
                </a:cubicBezTo>
                <a:lnTo>
                  <a:pt x="2255808" y="3134535"/>
                </a:lnTo>
                <a:lnTo>
                  <a:pt x="2183999" y="3188853"/>
                </a:lnTo>
                <a:lnTo>
                  <a:pt x="2115781" y="3210760"/>
                </a:lnTo>
                <a:cubicBezTo>
                  <a:pt x="2109199" y="3216140"/>
                  <a:pt x="2102617" y="3221265"/>
                  <a:pt x="2096234" y="3226453"/>
                </a:cubicBezTo>
                <a:lnTo>
                  <a:pt x="2093511" y="3221219"/>
                </a:lnTo>
                <a:lnTo>
                  <a:pt x="1956987" y="3188920"/>
                </a:lnTo>
                <a:lnTo>
                  <a:pt x="1824316" y="3103170"/>
                </a:lnTo>
                <a:lnTo>
                  <a:pt x="1752634" y="3049606"/>
                </a:lnTo>
                <a:lnTo>
                  <a:pt x="1593148" y="2817389"/>
                </a:lnTo>
                <a:lnTo>
                  <a:pt x="1397733" y="2561926"/>
                </a:lnTo>
                <a:lnTo>
                  <a:pt x="1311855" y="2476176"/>
                </a:lnTo>
                <a:lnTo>
                  <a:pt x="1220370" y="2444070"/>
                </a:lnTo>
                <a:lnTo>
                  <a:pt x="1182689" y="2426189"/>
                </a:lnTo>
                <a:lnTo>
                  <a:pt x="1071574" y="2438706"/>
                </a:lnTo>
                <a:lnTo>
                  <a:pt x="948016" y="2460082"/>
                </a:lnTo>
                <a:lnTo>
                  <a:pt x="849520" y="2454718"/>
                </a:lnTo>
                <a:lnTo>
                  <a:pt x="770653" y="2444070"/>
                </a:lnTo>
                <a:lnTo>
                  <a:pt x="731219" y="2422612"/>
                </a:lnTo>
                <a:lnTo>
                  <a:pt x="671981" y="2417248"/>
                </a:lnTo>
                <a:lnTo>
                  <a:pt x="612919" y="2442282"/>
                </a:lnTo>
                <a:lnTo>
                  <a:pt x="559114" y="2465447"/>
                </a:lnTo>
                <a:lnTo>
                  <a:pt x="496371" y="2458294"/>
                </a:lnTo>
                <a:lnTo>
                  <a:pt x="435556" y="2436918"/>
                </a:lnTo>
                <a:lnTo>
                  <a:pt x="365627" y="2420824"/>
                </a:lnTo>
                <a:lnTo>
                  <a:pt x="319008" y="2406519"/>
                </a:lnTo>
                <a:lnTo>
                  <a:pt x="319624" y="2405535"/>
                </a:lnTo>
                <a:lnTo>
                  <a:pt x="316675" y="2406518"/>
                </a:lnTo>
                <a:lnTo>
                  <a:pt x="298897" y="2392233"/>
                </a:lnTo>
                <a:lnTo>
                  <a:pt x="316675" y="2313279"/>
                </a:lnTo>
                <a:lnTo>
                  <a:pt x="338062" y="2266583"/>
                </a:lnTo>
                <a:lnTo>
                  <a:pt x="338062" y="2180564"/>
                </a:lnTo>
                <a:lnTo>
                  <a:pt x="248971" y="2123269"/>
                </a:lnTo>
                <a:lnTo>
                  <a:pt x="177692" y="2062288"/>
                </a:lnTo>
                <a:lnTo>
                  <a:pt x="170574" y="1997774"/>
                </a:lnTo>
                <a:lnTo>
                  <a:pt x="220500" y="1922507"/>
                </a:lnTo>
                <a:lnTo>
                  <a:pt x="248971" y="1847087"/>
                </a:lnTo>
                <a:lnTo>
                  <a:pt x="241820" y="1785952"/>
                </a:lnTo>
                <a:lnTo>
                  <a:pt x="224042" y="1739563"/>
                </a:lnTo>
                <a:lnTo>
                  <a:pt x="245396" y="1689180"/>
                </a:lnTo>
                <a:cubicBezTo>
                  <a:pt x="246576" y="1666447"/>
                  <a:pt x="247791" y="1643867"/>
                  <a:pt x="248971" y="1621133"/>
                </a:cubicBezTo>
                <a:lnTo>
                  <a:pt x="259665" y="1545866"/>
                </a:lnTo>
                <a:lnTo>
                  <a:pt x="281052" y="1506390"/>
                </a:lnTo>
                <a:lnTo>
                  <a:pt x="327402" y="1459847"/>
                </a:lnTo>
                <a:lnTo>
                  <a:pt x="316675" y="1388267"/>
                </a:lnTo>
                <a:lnTo>
                  <a:pt x="263207" y="1262618"/>
                </a:lnTo>
                <a:lnTo>
                  <a:pt x="216891" y="1158627"/>
                </a:lnTo>
                <a:lnTo>
                  <a:pt x="166998" y="1083360"/>
                </a:lnTo>
                <a:lnTo>
                  <a:pt x="74332" y="1032978"/>
                </a:lnTo>
                <a:lnTo>
                  <a:pt x="35133" y="990122"/>
                </a:lnTo>
                <a:cubicBezTo>
                  <a:pt x="36348" y="972150"/>
                  <a:pt x="37528" y="954178"/>
                  <a:pt x="38743" y="936206"/>
                </a:cubicBezTo>
                <a:lnTo>
                  <a:pt x="17322" y="896883"/>
                </a:lnTo>
                <a:cubicBezTo>
                  <a:pt x="7809" y="892121"/>
                  <a:pt x="10238" y="875225"/>
                  <a:pt x="725" y="870463"/>
                </a:cubicBezTo>
                <a:lnTo>
                  <a:pt x="2370" y="870185"/>
                </a:lnTo>
                <a:lnTo>
                  <a:pt x="0" y="868213"/>
                </a:lnTo>
                <a:cubicBezTo>
                  <a:pt x="4686" y="863351"/>
                  <a:pt x="9477" y="858316"/>
                  <a:pt x="13851" y="853367"/>
                </a:cubicBezTo>
                <a:cubicBezTo>
                  <a:pt x="30305" y="834006"/>
                  <a:pt x="45717" y="815513"/>
                  <a:pt x="61234" y="796325"/>
                </a:cubicBezTo>
                <a:lnTo>
                  <a:pt x="115074" y="735203"/>
                </a:lnTo>
                <a:cubicBezTo>
                  <a:pt x="122572" y="724784"/>
                  <a:pt x="129550" y="713498"/>
                  <a:pt x="136527" y="703079"/>
                </a:cubicBezTo>
                <a:cubicBezTo>
                  <a:pt x="134236" y="684933"/>
                  <a:pt x="131841" y="666961"/>
                  <a:pt x="129550" y="649337"/>
                </a:cubicBezTo>
                <a:cubicBezTo>
                  <a:pt x="142047" y="637095"/>
                  <a:pt x="155376" y="625287"/>
                  <a:pt x="168915" y="613393"/>
                </a:cubicBezTo>
                <a:cubicBezTo>
                  <a:pt x="177454" y="603842"/>
                  <a:pt x="185785" y="594292"/>
                  <a:pt x="194116" y="584221"/>
                </a:cubicBezTo>
                <a:lnTo>
                  <a:pt x="194116" y="527179"/>
                </a:lnTo>
                <a:lnTo>
                  <a:pt x="265869" y="495055"/>
                </a:lnTo>
                <a:cubicBezTo>
                  <a:pt x="276491" y="480556"/>
                  <a:pt x="286905" y="466057"/>
                  <a:pt x="297840" y="452079"/>
                </a:cubicBezTo>
                <a:lnTo>
                  <a:pt x="333976" y="430200"/>
                </a:lnTo>
                <a:cubicBezTo>
                  <a:pt x="343869" y="413877"/>
                  <a:pt x="353346" y="397034"/>
                  <a:pt x="362406" y="379843"/>
                </a:cubicBezTo>
                <a:cubicBezTo>
                  <a:pt x="369904" y="369512"/>
                  <a:pt x="376882" y="358919"/>
                  <a:pt x="383859" y="347893"/>
                </a:cubicBezTo>
                <a:lnTo>
                  <a:pt x="420100" y="304830"/>
                </a:lnTo>
                <a:lnTo>
                  <a:pt x="470295" y="272706"/>
                </a:lnTo>
                <a:lnTo>
                  <a:pt x="534966" y="258293"/>
                </a:lnTo>
                <a:cubicBezTo>
                  <a:pt x="532570" y="241537"/>
                  <a:pt x="530383" y="224867"/>
                  <a:pt x="527676" y="208024"/>
                </a:cubicBezTo>
                <a:cubicBezTo>
                  <a:pt x="534861" y="197345"/>
                  <a:pt x="542255" y="186579"/>
                  <a:pt x="549233" y="175726"/>
                </a:cubicBezTo>
                <a:cubicBezTo>
                  <a:pt x="562354" y="153066"/>
                  <a:pt x="576309" y="130666"/>
                  <a:pt x="589222" y="107485"/>
                </a:cubicBezTo>
                <a:lnTo>
                  <a:pt x="632232" y="100539"/>
                </a:lnTo>
                <a:cubicBezTo>
                  <a:pt x="637023" y="79268"/>
                  <a:pt x="641292" y="57736"/>
                  <a:pt x="646187" y="35684"/>
                </a:cubicBezTo>
                <a:lnTo>
                  <a:pt x="740017" y="11113"/>
                </a:lnTo>
                <a:lnTo>
                  <a:pt x="793440" y="11113"/>
                </a:lnTo>
                <a:lnTo>
                  <a:pt x="793440" y="53395"/>
                </a:lnTo>
                <a:cubicBezTo>
                  <a:pt x="801043" y="69197"/>
                  <a:pt x="807499" y="84824"/>
                  <a:pt x="814685" y="100539"/>
                </a:cubicBezTo>
                <a:lnTo>
                  <a:pt x="872795" y="85866"/>
                </a:lnTo>
                <a:lnTo>
                  <a:pt x="936841" y="64682"/>
                </a:lnTo>
                <a:cubicBezTo>
                  <a:pt x="947984" y="57563"/>
                  <a:pt x="958398" y="50183"/>
                  <a:pt x="969332" y="42890"/>
                </a:cubicBezTo>
                <a:cubicBezTo>
                  <a:pt x="978809" y="35684"/>
                  <a:pt x="988390" y="28651"/>
                  <a:pt x="998491" y="21445"/>
                </a:cubicBezTo>
                <a:close/>
              </a:path>
            </a:pathLst>
          </a:custGeom>
          <a:solidFill>
            <a:srgbClr val="70B0DF"/>
          </a:solidFill>
          <a:ln w="3175" cap="flat" cmpd="sng">
            <a:noFill/>
            <a:prstDash val="solid"/>
            <a:round/>
            <a:headEnd type="none" w="med" len="med"/>
            <a:tailEnd type="none" w="sm" len="sm"/>
          </a:ln>
        </p:spPr>
        <p:txBody>
          <a:bodyPr wrap="none" lIns="32632" tIns="32632" rIns="32632" bIns="32632" anchor="ctr"/>
          <a:lstStyle/>
          <a:p>
            <a:pPr defTabSz="891045"/>
            <a:endParaRPr lang="en-US" sz="1700" dirty="0">
              <a:solidFill>
                <a:srgbClr val="003149"/>
              </a:solidFill>
              <a:cs typeface="Arial" panose="020B0604020202020204" pitchFamily="34" charset="0"/>
            </a:endParaRPr>
          </a:p>
        </p:txBody>
      </p:sp>
      <p:sp>
        <p:nvSpPr>
          <p:cNvPr id="32" name="Freeform 749"/>
          <p:cNvSpPr>
            <a:spLocks noChangeAspect="1"/>
          </p:cNvSpPr>
          <p:nvPr>
            <p:custDataLst>
              <p:tags r:id="rId14"/>
            </p:custDataLst>
          </p:nvPr>
        </p:nvSpPr>
        <p:spPr bwMode="gray">
          <a:xfrm>
            <a:off x="4327819" y="3044441"/>
            <a:ext cx="618427" cy="1173695"/>
          </a:xfrm>
          <a:custGeom>
            <a:avLst/>
            <a:gdLst>
              <a:gd name="T0" fmla="*/ 0 w 3583909"/>
              <a:gd name="T1" fmla="*/ 0 h 5995110"/>
              <a:gd name="T2" fmla="*/ 0 w 3583909"/>
              <a:gd name="T3" fmla="*/ 0 h 5995110"/>
              <a:gd name="T4" fmla="*/ 0 w 3583909"/>
              <a:gd name="T5" fmla="*/ 0 h 5995110"/>
              <a:gd name="T6" fmla="*/ 0 w 3583909"/>
              <a:gd name="T7" fmla="*/ 0 h 5995110"/>
              <a:gd name="T8" fmla="*/ 0 w 3583909"/>
              <a:gd name="T9" fmla="*/ 0 h 5995110"/>
              <a:gd name="T10" fmla="*/ 0 w 3583909"/>
              <a:gd name="T11" fmla="*/ 0 h 5995110"/>
              <a:gd name="T12" fmla="*/ 0 w 3583909"/>
              <a:gd name="T13" fmla="*/ 0 h 5995110"/>
              <a:gd name="T14" fmla="*/ 0 w 3583909"/>
              <a:gd name="T15" fmla="*/ 0 h 5995110"/>
              <a:gd name="T16" fmla="*/ 0 w 3583909"/>
              <a:gd name="T17" fmla="*/ 0 h 5995110"/>
              <a:gd name="T18" fmla="*/ 0 w 3583909"/>
              <a:gd name="T19" fmla="*/ 0 h 5995110"/>
              <a:gd name="T20" fmla="*/ 0 w 3583909"/>
              <a:gd name="T21" fmla="*/ 0 h 5995110"/>
              <a:gd name="T22" fmla="*/ 0 w 3583909"/>
              <a:gd name="T23" fmla="*/ 0 h 5995110"/>
              <a:gd name="T24" fmla="*/ 0 w 3583909"/>
              <a:gd name="T25" fmla="*/ 0 h 5995110"/>
              <a:gd name="T26" fmla="*/ 0 w 3583909"/>
              <a:gd name="T27" fmla="*/ 0 h 5995110"/>
              <a:gd name="T28" fmla="*/ 0 w 3583909"/>
              <a:gd name="T29" fmla="*/ 0 h 5995110"/>
              <a:gd name="T30" fmla="*/ 0 w 3583909"/>
              <a:gd name="T31" fmla="*/ 0 h 5995110"/>
              <a:gd name="T32" fmla="*/ 0 w 3583909"/>
              <a:gd name="T33" fmla="*/ 0 h 5995110"/>
              <a:gd name="T34" fmla="*/ 0 w 3583909"/>
              <a:gd name="T35" fmla="*/ 0 h 5995110"/>
              <a:gd name="T36" fmla="*/ 0 w 3583909"/>
              <a:gd name="T37" fmla="*/ 0 h 5995110"/>
              <a:gd name="T38" fmla="*/ 0 w 3583909"/>
              <a:gd name="T39" fmla="*/ 0 h 5995110"/>
              <a:gd name="T40" fmla="*/ 0 w 3583909"/>
              <a:gd name="T41" fmla="*/ 0 h 5995110"/>
              <a:gd name="T42" fmla="*/ 0 w 3583909"/>
              <a:gd name="T43" fmla="*/ 0 h 5995110"/>
              <a:gd name="T44" fmla="*/ 0 w 3583909"/>
              <a:gd name="T45" fmla="*/ 0 h 5995110"/>
              <a:gd name="T46" fmla="*/ 0 w 3583909"/>
              <a:gd name="T47" fmla="*/ 0 h 5995110"/>
              <a:gd name="T48" fmla="*/ 0 w 3583909"/>
              <a:gd name="T49" fmla="*/ 0 h 5995110"/>
              <a:gd name="T50" fmla="*/ 0 w 3583909"/>
              <a:gd name="T51" fmla="*/ 0 h 5995110"/>
              <a:gd name="T52" fmla="*/ 0 w 3583909"/>
              <a:gd name="T53" fmla="*/ 0 h 5995110"/>
              <a:gd name="T54" fmla="*/ 0 w 3583909"/>
              <a:gd name="T55" fmla="*/ 0 h 5995110"/>
              <a:gd name="T56" fmla="*/ 0 w 3583909"/>
              <a:gd name="T57" fmla="*/ 0 h 5995110"/>
              <a:gd name="T58" fmla="*/ 0 w 3583909"/>
              <a:gd name="T59" fmla="*/ 0 h 5995110"/>
              <a:gd name="T60" fmla="*/ 0 w 3583909"/>
              <a:gd name="T61" fmla="*/ 0 h 5995110"/>
              <a:gd name="T62" fmla="*/ 0 w 3583909"/>
              <a:gd name="T63" fmla="*/ 0 h 5995110"/>
              <a:gd name="T64" fmla="*/ 0 w 3583909"/>
              <a:gd name="T65" fmla="*/ 0 h 5995110"/>
              <a:gd name="T66" fmla="*/ 0 w 3583909"/>
              <a:gd name="T67" fmla="*/ 0 h 5995110"/>
              <a:gd name="T68" fmla="*/ 0 w 3583909"/>
              <a:gd name="T69" fmla="*/ 0 h 5995110"/>
              <a:gd name="T70" fmla="*/ 0 w 3583909"/>
              <a:gd name="T71" fmla="*/ 0 h 5995110"/>
              <a:gd name="T72" fmla="*/ 0 w 3583909"/>
              <a:gd name="T73" fmla="*/ 0 h 5995110"/>
              <a:gd name="T74" fmla="*/ 0 w 3583909"/>
              <a:gd name="T75" fmla="*/ 0 h 5995110"/>
              <a:gd name="T76" fmla="*/ 0 w 3583909"/>
              <a:gd name="T77" fmla="*/ 0 h 5995110"/>
              <a:gd name="T78" fmla="*/ 0 w 3583909"/>
              <a:gd name="T79" fmla="*/ 0 h 5995110"/>
              <a:gd name="T80" fmla="*/ 0 w 3583909"/>
              <a:gd name="T81" fmla="*/ 0 h 5995110"/>
              <a:gd name="T82" fmla="*/ 0 w 3583909"/>
              <a:gd name="T83" fmla="*/ 0 h 5995110"/>
              <a:gd name="T84" fmla="*/ 0 w 3583909"/>
              <a:gd name="T85" fmla="*/ 0 h 5995110"/>
              <a:gd name="T86" fmla="*/ 0 w 3583909"/>
              <a:gd name="T87" fmla="*/ 0 h 5995110"/>
              <a:gd name="T88" fmla="*/ 0 w 3583909"/>
              <a:gd name="T89" fmla="*/ 0 h 5995110"/>
              <a:gd name="T90" fmla="*/ 0 w 3583909"/>
              <a:gd name="T91" fmla="*/ 0 h 5995110"/>
              <a:gd name="T92" fmla="*/ 0 w 3583909"/>
              <a:gd name="T93" fmla="*/ 0 h 5995110"/>
              <a:gd name="T94" fmla="*/ 0 w 3583909"/>
              <a:gd name="T95" fmla="*/ 0 h 5995110"/>
              <a:gd name="T96" fmla="*/ 0 w 3583909"/>
              <a:gd name="T97" fmla="*/ 0 h 5995110"/>
              <a:gd name="T98" fmla="*/ 0 w 3583909"/>
              <a:gd name="T99" fmla="*/ 0 h 5995110"/>
              <a:gd name="T100" fmla="*/ 0 w 3583909"/>
              <a:gd name="T101" fmla="*/ 0 h 5995110"/>
              <a:gd name="T102" fmla="*/ 0 w 3583909"/>
              <a:gd name="T103" fmla="*/ 0 h 5995110"/>
              <a:gd name="T104" fmla="*/ 0 w 3583909"/>
              <a:gd name="T105" fmla="*/ 0 h 5995110"/>
              <a:gd name="T106" fmla="*/ 0 w 3583909"/>
              <a:gd name="T107" fmla="*/ 0 h 5995110"/>
              <a:gd name="T108" fmla="*/ 0 w 3583909"/>
              <a:gd name="T109" fmla="*/ 0 h 5995110"/>
              <a:gd name="T110" fmla="*/ 0 w 3583909"/>
              <a:gd name="T111" fmla="*/ 0 h 5995110"/>
              <a:gd name="T112" fmla="*/ 0 w 3583909"/>
              <a:gd name="T113" fmla="*/ 0 h 5995110"/>
              <a:gd name="T114" fmla="*/ 0 w 3583909"/>
              <a:gd name="T115" fmla="*/ 0 h 5995110"/>
              <a:gd name="T116" fmla="*/ 0 w 3583909"/>
              <a:gd name="T117" fmla="*/ 0 h 5995110"/>
              <a:gd name="T118" fmla="*/ 0 w 3583909"/>
              <a:gd name="T119" fmla="*/ 0 h 5995110"/>
              <a:gd name="T120" fmla="*/ 0 w 3583909"/>
              <a:gd name="T121" fmla="*/ 0 h 5995110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w 3583909"/>
              <a:gd name="T184" fmla="*/ 0 h 5995110"/>
              <a:gd name="T185" fmla="*/ 3583909 w 3583909"/>
              <a:gd name="T186" fmla="*/ 5995110 h 5995110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T183" t="T184" r="T185" b="T186"/>
            <a:pathLst>
              <a:path w="3583909" h="5995110">
                <a:moveTo>
                  <a:pt x="330328" y="0"/>
                </a:moveTo>
                <a:lnTo>
                  <a:pt x="359759" y="18631"/>
                </a:lnTo>
                <a:lnTo>
                  <a:pt x="391807" y="29216"/>
                </a:lnTo>
                <a:lnTo>
                  <a:pt x="387576" y="37106"/>
                </a:lnTo>
                <a:lnTo>
                  <a:pt x="396876" y="34926"/>
                </a:lnTo>
                <a:lnTo>
                  <a:pt x="387351" y="76218"/>
                </a:lnTo>
                <a:lnTo>
                  <a:pt x="458709" y="140383"/>
                </a:lnTo>
                <a:lnTo>
                  <a:pt x="523399" y="183143"/>
                </a:lnTo>
                <a:lnTo>
                  <a:pt x="618490" y="176462"/>
                </a:lnTo>
                <a:cubicBezTo>
                  <a:pt x="626824" y="152410"/>
                  <a:pt x="635238" y="128331"/>
                  <a:pt x="643572" y="104279"/>
                </a:cubicBezTo>
                <a:lnTo>
                  <a:pt x="704294" y="68201"/>
                </a:lnTo>
                <a:lnTo>
                  <a:pt x="765095" y="82899"/>
                </a:lnTo>
                <a:lnTo>
                  <a:pt x="807322" y="121650"/>
                </a:lnTo>
                <a:lnTo>
                  <a:pt x="836374" y="161763"/>
                </a:lnTo>
                <a:cubicBezTo>
                  <a:pt x="840819" y="174706"/>
                  <a:pt x="845184" y="187623"/>
                  <a:pt x="849629" y="200540"/>
                </a:cubicBezTo>
                <a:lnTo>
                  <a:pt x="910351" y="236644"/>
                </a:lnTo>
                <a:lnTo>
                  <a:pt x="964484" y="268688"/>
                </a:lnTo>
                <a:lnTo>
                  <a:pt x="1017348" y="268688"/>
                </a:lnTo>
                <a:lnTo>
                  <a:pt x="1056956" y="298111"/>
                </a:lnTo>
                <a:lnTo>
                  <a:pt x="1120376" y="304818"/>
                </a:lnTo>
                <a:lnTo>
                  <a:pt x="1166572" y="315508"/>
                </a:lnTo>
                <a:lnTo>
                  <a:pt x="1181098" y="330207"/>
                </a:lnTo>
                <a:lnTo>
                  <a:pt x="1178357" y="337330"/>
                </a:lnTo>
                <a:lnTo>
                  <a:pt x="1188011" y="336558"/>
                </a:lnTo>
                <a:cubicBezTo>
                  <a:pt x="1181850" y="370589"/>
                  <a:pt x="1175945" y="404927"/>
                  <a:pt x="1169784" y="438652"/>
                </a:cubicBezTo>
                <a:lnTo>
                  <a:pt x="1093280" y="554849"/>
                </a:lnTo>
                <a:lnTo>
                  <a:pt x="1029612" y="643146"/>
                </a:lnTo>
                <a:cubicBezTo>
                  <a:pt x="1020370" y="657863"/>
                  <a:pt x="1010615" y="672272"/>
                  <a:pt x="1001373" y="686682"/>
                </a:cubicBezTo>
                <a:cubicBezTo>
                  <a:pt x="1003683" y="703851"/>
                  <a:pt x="1005994" y="721326"/>
                  <a:pt x="1008304" y="738495"/>
                </a:cubicBezTo>
                <a:lnTo>
                  <a:pt x="1081984" y="781724"/>
                </a:lnTo>
                <a:cubicBezTo>
                  <a:pt x="1094307" y="809624"/>
                  <a:pt x="1106373" y="837830"/>
                  <a:pt x="1118696" y="865729"/>
                </a:cubicBezTo>
                <a:lnTo>
                  <a:pt x="1084808" y="924901"/>
                </a:lnTo>
                <a:lnTo>
                  <a:pt x="1033977" y="942990"/>
                </a:lnTo>
                <a:cubicBezTo>
                  <a:pt x="1029356" y="965064"/>
                  <a:pt x="1024478" y="986832"/>
                  <a:pt x="1019857" y="1008906"/>
                </a:cubicBezTo>
                <a:lnTo>
                  <a:pt x="1066581" y="1111000"/>
                </a:lnTo>
                <a:lnTo>
                  <a:pt x="1159771" y="1208802"/>
                </a:lnTo>
                <a:lnTo>
                  <a:pt x="1295321" y="1288821"/>
                </a:lnTo>
                <a:lnTo>
                  <a:pt x="1361813" y="1354738"/>
                </a:lnTo>
                <a:cubicBezTo>
                  <a:pt x="1379013" y="1410537"/>
                  <a:pt x="1395701" y="1466949"/>
                  <a:pt x="1412901" y="1522748"/>
                </a:cubicBezTo>
                <a:cubicBezTo>
                  <a:pt x="1414185" y="1580080"/>
                  <a:pt x="1415725" y="1637719"/>
                  <a:pt x="1417009" y="1695051"/>
                </a:cubicBezTo>
                <a:cubicBezTo>
                  <a:pt x="1408537" y="1733987"/>
                  <a:pt x="1400065" y="1772617"/>
                  <a:pt x="1391593" y="1811554"/>
                </a:cubicBezTo>
                <a:cubicBezTo>
                  <a:pt x="1375677" y="1855396"/>
                  <a:pt x="1359503" y="1899238"/>
                  <a:pt x="1343585" y="1943081"/>
                </a:cubicBezTo>
                <a:lnTo>
                  <a:pt x="1272987" y="2027086"/>
                </a:lnTo>
                <a:lnTo>
                  <a:pt x="1214967" y="2147575"/>
                </a:lnTo>
                <a:lnTo>
                  <a:pt x="1151300" y="2318345"/>
                </a:lnTo>
                <a:lnTo>
                  <a:pt x="1151300" y="2497699"/>
                </a:lnTo>
                <a:cubicBezTo>
                  <a:pt x="1157718" y="2545220"/>
                  <a:pt x="1163622" y="2592741"/>
                  <a:pt x="1169784" y="2640262"/>
                </a:cubicBezTo>
                <a:lnTo>
                  <a:pt x="1224723" y="2749714"/>
                </a:lnTo>
                <a:lnTo>
                  <a:pt x="1318171" y="2760751"/>
                </a:lnTo>
                <a:lnTo>
                  <a:pt x="1431129" y="2811339"/>
                </a:lnTo>
                <a:lnTo>
                  <a:pt x="1497621" y="2892584"/>
                </a:lnTo>
                <a:lnTo>
                  <a:pt x="1597999" y="2917725"/>
                </a:lnTo>
                <a:lnTo>
                  <a:pt x="1701203" y="2858859"/>
                </a:lnTo>
                <a:lnTo>
                  <a:pt x="1786177" y="2797235"/>
                </a:lnTo>
                <a:lnTo>
                  <a:pt x="1815701" y="2774855"/>
                </a:lnTo>
                <a:lnTo>
                  <a:pt x="1852669" y="2781599"/>
                </a:lnTo>
                <a:lnTo>
                  <a:pt x="1910689" y="2833719"/>
                </a:lnTo>
                <a:lnTo>
                  <a:pt x="1995665" y="2892584"/>
                </a:lnTo>
                <a:cubicBezTo>
                  <a:pt x="2009271" y="2913126"/>
                  <a:pt x="2022621" y="2933667"/>
                  <a:pt x="2036483" y="2953902"/>
                </a:cubicBezTo>
                <a:cubicBezTo>
                  <a:pt x="2032633" y="2967699"/>
                  <a:pt x="2029039" y="2981188"/>
                  <a:pt x="2025189" y="2994678"/>
                </a:cubicBezTo>
                <a:lnTo>
                  <a:pt x="1988219" y="3052317"/>
                </a:lnTo>
                <a:cubicBezTo>
                  <a:pt x="1989761" y="3081443"/>
                  <a:pt x="1991301" y="3110875"/>
                  <a:pt x="1992841" y="3140307"/>
                </a:cubicBezTo>
                <a:lnTo>
                  <a:pt x="2087315" y="3227379"/>
                </a:lnTo>
                <a:lnTo>
                  <a:pt x="2245713" y="3254052"/>
                </a:lnTo>
                <a:lnTo>
                  <a:pt x="2481899" y="3235657"/>
                </a:lnTo>
                <a:lnTo>
                  <a:pt x="2626179" y="3220327"/>
                </a:lnTo>
                <a:lnTo>
                  <a:pt x="2729381" y="3208983"/>
                </a:lnTo>
                <a:lnTo>
                  <a:pt x="2798697" y="3194880"/>
                </a:lnTo>
                <a:lnTo>
                  <a:pt x="2891889" y="3179551"/>
                </a:lnTo>
                <a:lnTo>
                  <a:pt x="2979687" y="3208983"/>
                </a:lnTo>
                <a:lnTo>
                  <a:pt x="3075959" y="3256811"/>
                </a:lnTo>
                <a:lnTo>
                  <a:pt x="3172231" y="3278885"/>
                </a:lnTo>
                <a:lnTo>
                  <a:pt x="3282365" y="3322421"/>
                </a:lnTo>
                <a:lnTo>
                  <a:pt x="3369909" y="3362891"/>
                </a:lnTo>
                <a:lnTo>
                  <a:pt x="3500067" y="3402134"/>
                </a:lnTo>
                <a:cubicBezTo>
                  <a:pt x="3527369" y="3408998"/>
                  <a:pt x="3550427" y="3409726"/>
                  <a:pt x="3577085" y="3416087"/>
                </a:cubicBezTo>
                <a:lnTo>
                  <a:pt x="3583909" y="3414840"/>
                </a:lnTo>
                <a:lnTo>
                  <a:pt x="3582005" y="3416979"/>
                </a:lnTo>
                <a:cubicBezTo>
                  <a:pt x="3582343" y="3416995"/>
                  <a:pt x="3582665" y="3417076"/>
                  <a:pt x="3582989" y="3417157"/>
                </a:cubicBezTo>
                <a:lnTo>
                  <a:pt x="3581489" y="3417559"/>
                </a:lnTo>
                <a:lnTo>
                  <a:pt x="3556321" y="3445825"/>
                </a:lnTo>
                <a:lnTo>
                  <a:pt x="3509661" y="3456489"/>
                </a:lnTo>
                <a:lnTo>
                  <a:pt x="3480969" y="3467354"/>
                </a:lnTo>
                <a:lnTo>
                  <a:pt x="3480969" y="3532141"/>
                </a:lnTo>
                <a:lnTo>
                  <a:pt x="3524005" y="3578619"/>
                </a:lnTo>
                <a:cubicBezTo>
                  <a:pt x="3519277" y="3590490"/>
                  <a:pt x="3514389" y="3602562"/>
                  <a:pt x="3509661" y="3614634"/>
                </a:cubicBezTo>
                <a:lnTo>
                  <a:pt x="3480969" y="3628718"/>
                </a:lnTo>
                <a:lnTo>
                  <a:pt x="3445027" y="3671775"/>
                </a:lnTo>
                <a:cubicBezTo>
                  <a:pt x="3441401" y="3685055"/>
                  <a:pt x="3437933" y="3698133"/>
                  <a:pt x="3434309" y="3711412"/>
                </a:cubicBezTo>
                <a:lnTo>
                  <a:pt x="3366207" y="3729319"/>
                </a:lnTo>
                <a:cubicBezTo>
                  <a:pt x="3356749" y="3746220"/>
                  <a:pt x="3347133" y="3762719"/>
                  <a:pt x="3337517" y="3779419"/>
                </a:cubicBezTo>
                <a:lnTo>
                  <a:pt x="3305359" y="3808392"/>
                </a:lnTo>
                <a:lnTo>
                  <a:pt x="3265949" y="3819055"/>
                </a:lnTo>
                <a:lnTo>
                  <a:pt x="3233475" y="3851047"/>
                </a:lnTo>
                <a:cubicBezTo>
                  <a:pt x="3237257" y="3859497"/>
                  <a:pt x="3240725" y="3868149"/>
                  <a:pt x="3244351" y="3876398"/>
                </a:cubicBezTo>
                <a:cubicBezTo>
                  <a:pt x="3238361" y="3890885"/>
                  <a:pt x="3232371" y="3905170"/>
                  <a:pt x="3226381" y="3919455"/>
                </a:cubicBezTo>
                <a:lnTo>
                  <a:pt x="3204941" y="3926699"/>
                </a:lnTo>
                <a:lnTo>
                  <a:pt x="3176251" y="3919455"/>
                </a:lnTo>
                <a:cubicBezTo>
                  <a:pt x="3179877" y="3933741"/>
                  <a:pt x="3183501" y="3948227"/>
                  <a:pt x="3187127" y="3962513"/>
                </a:cubicBezTo>
                <a:cubicBezTo>
                  <a:pt x="3184763" y="3976798"/>
                  <a:pt x="3182083" y="3991285"/>
                  <a:pt x="3179719" y="4005771"/>
                </a:cubicBezTo>
                <a:lnTo>
                  <a:pt x="3204941" y="4055871"/>
                </a:lnTo>
                <a:lnTo>
                  <a:pt x="3172625" y="4070156"/>
                </a:lnTo>
                <a:lnTo>
                  <a:pt x="3154811" y="4084441"/>
                </a:lnTo>
                <a:lnTo>
                  <a:pt x="3086711" y="4045006"/>
                </a:lnTo>
                <a:cubicBezTo>
                  <a:pt x="3080721" y="4017441"/>
                  <a:pt x="3074573" y="3990077"/>
                  <a:pt x="3068583" y="3962513"/>
                </a:cubicBezTo>
                <a:lnTo>
                  <a:pt x="3018453" y="3940984"/>
                </a:lnTo>
                <a:cubicBezTo>
                  <a:pt x="3017191" y="3924485"/>
                  <a:pt x="3016087" y="3907584"/>
                  <a:pt x="3014827" y="3890885"/>
                </a:cubicBezTo>
                <a:cubicBezTo>
                  <a:pt x="3017191" y="3882434"/>
                  <a:pt x="3019713" y="3873984"/>
                  <a:pt x="3022079" y="3865734"/>
                </a:cubicBezTo>
                <a:lnTo>
                  <a:pt x="2982669" y="3851047"/>
                </a:lnTo>
                <a:lnTo>
                  <a:pt x="2925287" y="3865734"/>
                </a:lnTo>
                <a:cubicBezTo>
                  <a:pt x="2918035" y="3887263"/>
                  <a:pt x="2910785" y="3908792"/>
                  <a:pt x="2903691" y="3930320"/>
                </a:cubicBezTo>
                <a:cubicBezTo>
                  <a:pt x="2897699" y="3942191"/>
                  <a:pt x="2891867" y="3954062"/>
                  <a:pt x="2885877" y="3966134"/>
                </a:cubicBezTo>
                <a:lnTo>
                  <a:pt x="2828495" y="3966134"/>
                </a:lnTo>
                <a:lnTo>
                  <a:pt x="2799805" y="3991285"/>
                </a:lnTo>
                <a:lnTo>
                  <a:pt x="2771115" y="3998327"/>
                </a:lnTo>
                <a:lnTo>
                  <a:pt x="2731705" y="3966134"/>
                </a:lnTo>
                <a:lnTo>
                  <a:pt x="2692137" y="3966134"/>
                </a:lnTo>
                <a:lnTo>
                  <a:pt x="2642007" y="3966134"/>
                </a:lnTo>
                <a:lnTo>
                  <a:pt x="2591719" y="3955269"/>
                </a:lnTo>
                <a:cubicBezTo>
                  <a:pt x="2585729" y="3950843"/>
                  <a:pt x="2579897" y="3945813"/>
                  <a:pt x="2573907" y="3940984"/>
                </a:cubicBezTo>
                <a:cubicBezTo>
                  <a:pt x="2560821" y="3969756"/>
                  <a:pt x="2547581" y="3998327"/>
                  <a:pt x="2534497" y="4027099"/>
                </a:cubicBezTo>
                <a:lnTo>
                  <a:pt x="2480741" y="4109591"/>
                </a:lnTo>
                <a:lnTo>
                  <a:pt x="2455675" y="4178000"/>
                </a:lnTo>
                <a:cubicBezTo>
                  <a:pt x="2450947" y="4188664"/>
                  <a:pt x="2445901" y="4199328"/>
                  <a:pt x="2441173" y="4210193"/>
                </a:cubicBezTo>
                <a:lnTo>
                  <a:pt x="2441173" y="4228100"/>
                </a:lnTo>
                <a:lnTo>
                  <a:pt x="2505805" y="4246007"/>
                </a:lnTo>
                <a:lnTo>
                  <a:pt x="2505805" y="4264115"/>
                </a:lnTo>
                <a:lnTo>
                  <a:pt x="2466395" y="4278400"/>
                </a:lnTo>
                <a:lnTo>
                  <a:pt x="2494929" y="4306770"/>
                </a:lnTo>
                <a:lnTo>
                  <a:pt x="2527245" y="4299929"/>
                </a:lnTo>
                <a:cubicBezTo>
                  <a:pt x="2529609" y="4313007"/>
                  <a:pt x="2532131" y="4326286"/>
                  <a:pt x="2534497" y="4339365"/>
                </a:cubicBezTo>
                <a:cubicBezTo>
                  <a:pt x="2529767" y="4352443"/>
                  <a:pt x="2524879" y="4365722"/>
                  <a:pt x="2520151" y="4378800"/>
                </a:cubicBezTo>
                <a:lnTo>
                  <a:pt x="2545215" y="4400329"/>
                </a:lnTo>
                <a:cubicBezTo>
                  <a:pt x="2547581" y="4413407"/>
                  <a:pt x="2549945" y="4426887"/>
                  <a:pt x="2552467" y="4439966"/>
                </a:cubicBezTo>
                <a:cubicBezTo>
                  <a:pt x="2547581" y="4446002"/>
                  <a:pt x="2542693" y="4451837"/>
                  <a:pt x="2537965" y="4457873"/>
                </a:cubicBezTo>
                <a:lnTo>
                  <a:pt x="2505805" y="4457873"/>
                </a:lnTo>
                <a:lnTo>
                  <a:pt x="2473489" y="4468738"/>
                </a:lnTo>
                <a:lnTo>
                  <a:pt x="2473489" y="4504552"/>
                </a:lnTo>
                <a:cubicBezTo>
                  <a:pt x="2467499" y="4509380"/>
                  <a:pt x="2461665" y="4514209"/>
                  <a:pt x="2455675" y="4518837"/>
                </a:cubicBezTo>
                <a:lnTo>
                  <a:pt x="2455675" y="4543987"/>
                </a:lnTo>
                <a:lnTo>
                  <a:pt x="2426827" y="4583423"/>
                </a:lnTo>
                <a:lnTo>
                  <a:pt x="2387417" y="4569339"/>
                </a:lnTo>
                <a:lnTo>
                  <a:pt x="2348165" y="4583423"/>
                </a:lnTo>
                <a:cubicBezTo>
                  <a:pt x="2343435" y="4594489"/>
                  <a:pt x="2338391" y="4604951"/>
                  <a:pt x="2333661" y="4615817"/>
                </a:cubicBezTo>
                <a:cubicBezTo>
                  <a:pt x="2331297" y="4627687"/>
                  <a:pt x="2328775" y="4639759"/>
                  <a:pt x="2326411" y="4651832"/>
                </a:cubicBezTo>
                <a:lnTo>
                  <a:pt x="2297877" y="4673159"/>
                </a:lnTo>
                <a:cubicBezTo>
                  <a:pt x="2295513" y="4686439"/>
                  <a:pt x="2293149" y="4699517"/>
                  <a:pt x="2290783" y="4712796"/>
                </a:cubicBezTo>
                <a:cubicBezTo>
                  <a:pt x="2288261" y="4724667"/>
                  <a:pt x="2285739" y="4736538"/>
                  <a:pt x="2283375" y="4748610"/>
                </a:cubicBezTo>
                <a:cubicBezTo>
                  <a:pt x="2288103" y="4766517"/>
                  <a:pt x="2293149" y="4784424"/>
                  <a:pt x="2297877" y="4802532"/>
                </a:cubicBezTo>
                <a:cubicBezTo>
                  <a:pt x="2300243" y="4814403"/>
                  <a:pt x="2302607" y="4826073"/>
                  <a:pt x="2304971" y="4838346"/>
                </a:cubicBezTo>
                <a:lnTo>
                  <a:pt x="2283375" y="4841968"/>
                </a:lnTo>
                <a:lnTo>
                  <a:pt x="2251215" y="4841968"/>
                </a:lnTo>
                <a:lnTo>
                  <a:pt x="2233245" y="4866917"/>
                </a:lnTo>
                <a:cubicBezTo>
                  <a:pt x="2237029" y="4872953"/>
                  <a:pt x="2240497" y="4878989"/>
                  <a:pt x="2244123" y="4885025"/>
                </a:cubicBezTo>
                <a:cubicBezTo>
                  <a:pt x="2239393" y="4894482"/>
                  <a:pt x="2234349" y="4904139"/>
                  <a:pt x="2229619" y="4913596"/>
                </a:cubicBezTo>
                <a:cubicBezTo>
                  <a:pt x="2227255" y="4926674"/>
                  <a:pt x="2224889" y="4939953"/>
                  <a:pt x="2222525" y="4953031"/>
                </a:cubicBezTo>
                <a:cubicBezTo>
                  <a:pt x="2231983" y="4965104"/>
                  <a:pt x="2241757" y="4976773"/>
                  <a:pt x="2251215" y="4989047"/>
                </a:cubicBezTo>
                <a:lnTo>
                  <a:pt x="2229619" y="5025062"/>
                </a:lnTo>
                <a:lnTo>
                  <a:pt x="2204713" y="5050212"/>
                </a:lnTo>
                <a:lnTo>
                  <a:pt x="2204713" y="5096690"/>
                </a:lnTo>
                <a:lnTo>
                  <a:pt x="2204713" y="5121840"/>
                </a:lnTo>
                <a:lnTo>
                  <a:pt x="2168769" y="5132705"/>
                </a:lnTo>
                <a:lnTo>
                  <a:pt x="2125733" y="5114798"/>
                </a:lnTo>
                <a:cubicBezTo>
                  <a:pt x="2118641" y="5110975"/>
                  <a:pt x="2111389" y="5107555"/>
                  <a:pt x="2104295" y="5103933"/>
                </a:cubicBezTo>
                <a:lnTo>
                  <a:pt x="2079231" y="5110975"/>
                </a:lnTo>
                <a:cubicBezTo>
                  <a:pt x="2075447" y="5118017"/>
                  <a:pt x="2071979" y="5125462"/>
                  <a:pt x="2068353" y="5132705"/>
                </a:cubicBezTo>
                <a:lnTo>
                  <a:pt x="2046913" y="5136125"/>
                </a:lnTo>
                <a:lnTo>
                  <a:pt x="2014597" y="5143369"/>
                </a:lnTo>
                <a:cubicBezTo>
                  <a:pt x="2009869" y="5165903"/>
                  <a:pt x="2004981" y="5188841"/>
                  <a:pt x="2000253" y="5211576"/>
                </a:cubicBezTo>
                <a:lnTo>
                  <a:pt x="2054007" y="5268919"/>
                </a:lnTo>
                <a:lnTo>
                  <a:pt x="2111389" y="5329883"/>
                </a:lnTo>
                <a:lnTo>
                  <a:pt x="2136611" y="5379983"/>
                </a:lnTo>
                <a:lnTo>
                  <a:pt x="2165145" y="5401713"/>
                </a:lnTo>
                <a:cubicBezTo>
                  <a:pt x="2175863" y="5417205"/>
                  <a:pt x="2186583" y="5442355"/>
                  <a:pt x="2197303" y="5457848"/>
                </a:cubicBezTo>
                <a:lnTo>
                  <a:pt x="2189269" y="5454724"/>
                </a:lnTo>
                <a:lnTo>
                  <a:pt x="2193189" y="5456935"/>
                </a:lnTo>
                <a:lnTo>
                  <a:pt x="2114895" y="5459452"/>
                </a:lnTo>
                <a:lnTo>
                  <a:pt x="1984737" y="5466470"/>
                </a:lnTo>
                <a:lnTo>
                  <a:pt x="1915351" y="5488806"/>
                </a:lnTo>
                <a:lnTo>
                  <a:pt x="1805019" y="5520999"/>
                </a:lnTo>
                <a:lnTo>
                  <a:pt x="1685925" y="5540551"/>
                </a:lnTo>
                <a:cubicBezTo>
                  <a:pt x="1672709" y="5555924"/>
                  <a:pt x="1659779" y="5571351"/>
                  <a:pt x="1646561" y="5586725"/>
                </a:cubicBezTo>
                <a:cubicBezTo>
                  <a:pt x="1636505" y="5610026"/>
                  <a:pt x="1626593" y="5633327"/>
                  <a:pt x="1616681" y="5656628"/>
                </a:cubicBezTo>
                <a:lnTo>
                  <a:pt x="1545999" y="5692999"/>
                </a:lnTo>
                <a:cubicBezTo>
                  <a:pt x="1543701" y="5707462"/>
                  <a:pt x="1541115" y="5721925"/>
                  <a:pt x="1538817" y="5736387"/>
                </a:cubicBezTo>
                <a:lnTo>
                  <a:pt x="1460953" y="5788132"/>
                </a:lnTo>
                <a:lnTo>
                  <a:pt x="1347749" y="5860821"/>
                </a:lnTo>
                <a:cubicBezTo>
                  <a:pt x="1342721" y="5870623"/>
                  <a:pt x="1337405" y="5880426"/>
                  <a:pt x="1332377" y="5890228"/>
                </a:cubicBezTo>
                <a:lnTo>
                  <a:pt x="1235981" y="5908387"/>
                </a:lnTo>
                <a:cubicBezTo>
                  <a:pt x="1225351" y="5915404"/>
                  <a:pt x="1214289" y="5922368"/>
                  <a:pt x="1203514" y="5929385"/>
                </a:cubicBezTo>
                <a:lnTo>
                  <a:pt x="1132689" y="5947544"/>
                </a:lnTo>
                <a:lnTo>
                  <a:pt x="1015175" y="5983915"/>
                </a:lnTo>
                <a:lnTo>
                  <a:pt x="916193" y="5995110"/>
                </a:lnTo>
                <a:lnTo>
                  <a:pt x="879416" y="5976951"/>
                </a:lnTo>
                <a:lnTo>
                  <a:pt x="801552" y="5937795"/>
                </a:lnTo>
                <a:lnTo>
                  <a:pt x="753511" y="5910845"/>
                </a:lnTo>
                <a:lnTo>
                  <a:pt x="734534" y="5905174"/>
                </a:lnTo>
                <a:lnTo>
                  <a:pt x="716117" y="5875856"/>
                </a:lnTo>
                <a:lnTo>
                  <a:pt x="716117" y="5839511"/>
                </a:lnTo>
                <a:lnTo>
                  <a:pt x="734534" y="5784751"/>
                </a:lnTo>
                <a:lnTo>
                  <a:pt x="775596" y="5725993"/>
                </a:lnTo>
                <a:lnTo>
                  <a:pt x="840750" y="5700793"/>
                </a:lnTo>
                <a:lnTo>
                  <a:pt x="911521" y="5650516"/>
                </a:lnTo>
                <a:lnTo>
                  <a:pt x="959706" y="5595877"/>
                </a:lnTo>
                <a:lnTo>
                  <a:pt x="992254" y="5569223"/>
                </a:lnTo>
                <a:lnTo>
                  <a:pt x="1019185" y="5530092"/>
                </a:lnTo>
                <a:lnTo>
                  <a:pt x="1051733" y="5489506"/>
                </a:lnTo>
                <a:lnTo>
                  <a:pt x="1037602" y="5453040"/>
                </a:lnTo>
                <a:lnTo>
                  <a:pt x="996482" y="5409789"/>
                </a:lnTo>
                <a:lnTo>
                  <a:pt x="980961" y="5336977"/>
                </a:lnTo>
                <a:cubicBezTo>
                  <a:pt x="983799" y="5313595"/>
                  <a:pt x="986579" y="5290213"/>
                  <a:pt x="989417" y="5266831"/>
                </a:cubicBezTo>
                <a:lnTo>
                  <a:pt x="1019185" y="5248780"/>
                </a:lnTo>
                <a:cubicBezTo>
                  <a:pt x="1021559" y="5225398"/>
                  <a:pt x="1023876" y="5202016"/>
                  <a:pt x="1026250" y="5178634"/>
                </a:cubicBezTo>
                <a:lnTo>
                  <a:pt x="1007833" y="5124116"/>
                </a:lnTo>
                <a:lnTo>
                  <a:pt x="980961" y="5084863"/>
                </a:lnTo>
                <a:lnTo>
                  <a:pt x="952641" y="5033010"/>
                </a:lnTo>
                <a:lnTo>
                  <a:pt x="937062" y="4993879"/>
                </a:lnTo>
                <a:lnTo>
                  <a:pt x="918645" y="4928094"/>
                </a:lnTo>
                <a:lnTo>
                  <a:pt x="844977" y="4858190"/>
                </a:lnTo>
                <a:lnTo>
                  <a:pt x="760017" y="4792284"/>
                </a:lnTo>
                <a:lnTo>
                  <a:pt x="675056" y="4792284"/>
                </a:lnTo>
                <a:lnTo>
                  <a:pt x="612797" y="4789619"/>
                </a:lnTo>
                <a:lnTo>
                  <a:pt x="590095" y="4753152"/>
                </a:lnTo>
                <a:lnTo>
                  <a:pt x="564612" y="4708326"/>
                </a:lnTo>
                <a:lnTo>
                  <a:pt x="521648" y="4665878"/>
                </a:lnTo>
                <a:lnTo>
                  <a:pt x="513031" y="4664955"/>
                </a:lnTo>
                <a:lnTo>
                  <a:pt x="493240" y="4664955"/>
                </a:lnTo>
                <a:lnTo>
                  <a:pt x="471495" y="4668047"/>
                </a:lnTo>
                <a:lnTo>
                  <a:pt x="472617" y="4664955"/>
                </a:lnTo>
                <a:lnTo>
                  <a:pt x="472586" y="4664955"/>
                </a:lnTo>
                <a:lnTo>
                  <a:pt x="472622" y="4664942"/>
                </a:lnTo>
                <a:lnTo>
                  <a:pt x="483125" y="4635999"/>
                </a:lnTo>
                <a:lnTo>
                  <a:pt x="520906" y="4611093"/>
                </a:lnTo>
                <a:lnTo>
                  <a:pt x="562125" y="4564835"/>
                </a:lnTo>
                <a:lnTo>
                  <a:pt x="613653" y="4547034"/>
                </a:lnTo>
                <a:lnTo>
                  <a:pt x="685800" y="4529234"/>
                </a:lnTo>
                <a:lnTo>
                  <a:pt x="675490" y="4490118"/>
                </a:lnTo>
                <a:lnTo>
                  <a:pt x="651455" y="4411848"/>
                </a:lnTo>
                <a:lnTo>
                  <a:pt x="651455" y="4351342"/>
                </a:lnTo>
                <a:lnTo>
                  <a:pt x="575871" y="4290835"/>
                </a:lnTo>
                <a:lnTo>
                  <a:pt x="525118" y="4257714"/>
                </a:lnTo>
                <a:lnTo>
                  <a:pt x="528153" y="4257587"/>
                </a:lnTo>
                <a:lnTo>
                  <a:pt x="589916" y="4205075"/>
                </a:lnTo>
                <a:lnTo>
                  <a:pt x="572057" y="4165512"/>
                </a:lnTo>
                <a:lnTo>
                  <a:pt x="589916" y="4126116"/>
                </a:lnTo>
                <a:lnTo>
                  <a:pt x="604283" y="4075824"/>
                </a:lnTo>
                <a:lnTo>
                  <a:pt x="564913" y="4061575"/>
                </a:lnTo>
                <a:cubicBezTo>
                  <a:pt x="567295" y="4052019"/>
                  <a:pt x="569676" y="4042296"/>
                  <a:pt x="572057" y="4032741"/>
                </a:cubicBezTo>
                <a:lnTo>
                  <a:pt x="597140" y="4018491"/>
                </a:lnTo>
                <a:lnTo>
                  <a:pt x="629287" y="4007595"/>
                </a:lnTo>
                <a:cubicBezTo>
                  <a:pt x="631668" y="3993178"/>
                  <a:pt x="634049" y="3978928"/>
                  <a:pt x="636430" y="3964511"/>
                </a:cubicBezTo>
                <a:lnTo>
                  <a:pt x="657862" y="3935845"/>
                </a:lnTo>
                <a:lnTo>
                  <a:pt x="682944" y="3946574"/>
                </a:lnTo>
                <a:lnTo>
                  <a:pt x="711519" y="3946574"/>
                </a:lnTo>
                <a:lnTo>
                  <a:pt x="704375" y="3917907"/>
                </a:lnTo>
                <a:lnTo>
                  <a:pt x="729379" y="3885553"/>
                </a:lnTo>
                <a:lnTo>
                  <a:pt x="786608" y="3892761"/>
                </a:lnTo>
                <a:lnTo>
                  <a:pt x="793752" y="3813803"/>
                </a:lnTo>
                <a:lnTo>
                  <a:pt x="772321" y="3777928"/>
                </a:lnTo>
                <a:lnTo>
                  <a:pt x="704375" y="3770719"/>
                </a:lnTo>
                <a:lnTo>
                  <a:pt x="647146" y="3724116"/>
                </a:lnTo>
                <a:lnTo>
                  <a:pt x="554198" y="3691761"/>
                </a:lnTo>
                <a:lnTo>
                  <a:pt x="532766" y="3652198"/>
                </a:lnTo>
                <a:cubicBezTo>
                  <a:pt x="531576" y="3623532"/>
                  <a:pt x="530385" y="3594698"/>
                  <a:pt x="529194" y="3566031"/>
                </a:cubicBezTo>
                <a:lnTo>
                  <a:pt x="547054" y="3526636"/>
                </a:lnTo>
                <a:lnTo>
                  <a:pt x="586345" y="3487073"/>
                </a:lnTo>
                <a:lnTo>
                  <a:pt x="614999" y="3454886"/>
                </a:lnTo>
                <a:lnTo>
                  <a:pt x="657862" y="3426052"/>
                </a:lnTo>
                <a:lnTo>
                  <a:pt x="690088" y="3404594"/>
                </a:lnTo>
                <a:lnTo>
                  <a:pt x="736522" y="3411802"/>
                </a:lnTo>
                <a:cubicBezTo>
                  <a:pt x="737713" y="3401073"/>
                  <a:pt x="738904" y="3390177"/>
                  <a:pt x="740094" y="3379448"/>
                </a:cubicBezTo>
                <a:lnTo>
                  <a:pt x="707947" y="3332844"/>
                </a:lnTo>
                <a:lnTo>
                  <a:pt x="722235" y="3271823"/>
                </a:lnTo>
                <a:lnTo>
                  <a:pt x="657862" y="3268135"/>
                </a:lnTo>
                <a:lnTo>
                  <a:pt x="597140" y="3253885"/>
                </a:lnTo>
                <a:lnTo>
                  <a:pt x="564913" y="3185656"/>
                </a:lnTo>
                <a:lnTo>
                  <a:pt x="539910" y="3120947"/>
                </a:lnTo>
                <a:lnTo>
                  <a:pt x="479109" y="3092281"/>
                </a:lnTo>
                <a:cubicBezTo>
                  <a:pt x="476727" y="3068308"/>
                  <a:pt x="474346" y="3044503"/>
                  <a:pt x="471965" y="3020531"/>
                </a:cubicBezTo>
                <a:lnTo>
                  <a:pt x="404020" y="2998905"/>
                </a:lnTo>
                <a:lnTo>
                  <a:pt x="332503" y="2970239"/>
                </a:lnTo>
                <a:lnTo>
                  <a:pt x="239554" y="2970239"/>
                </a:lnTo>
                <a:lnTo>
                  <a:pt x="153750" y="2959510"/>
                </a:lnTo>
                <a:lnTo>
                  <a:pt x="71517" y="2952301"/>
                </a:lnTo>
                <a:lnTo>
                  <a:pt x="0" y="2916426"/>
                </a:lnTo>
                <a:lnTo>
                  <a:pt x="17859" y="2887592"/>
                </a:lnTo>
                <a:cubicBezTo>
                  <a:pt x="20241" y="2863620"/>
                  <a:pt x="22622" y="2839815"/>
                  <a:pt x="25003" y="2815842"/>
                </a:cubicBezTo>
                <a:lnTo>
                  <a:pt x="78661" y="2794384"/>
                </a:lnTo>
                <a:lnTo>
                  <a:pt x="53658" y="2701009"/>
                </a:lnTo>
                <a:lnTo>
                  <a:pt x="28575" y="2571758"/>
                </a:lnTo>
                <a:lnTo>
                  <a:pt x="46898" y="2571446"/>
                </a:lnTo>
                <a:lnTo>
                  <a:pt x="38099" y="2559071"/>
                </a:lnTo>
                <a:lnTo>
                  <a:pt x="118078" y="2537359"/>
                </a:lnTo>
                <a:lnTo>
                  <a:pt x="204853" y="2502027"/>
                </a:lnTo>
                <a:lnTo>
                  <a:pt x="298388" y="2472577"/>
                </a:lnTo>
                <a:lnTo>
                  <a:pt x="323748" y="2472577"/>
                </a:lnTo>
                <a:lnTo>
                  <a:pt x="323748" y="2431673"/>
                </a:lnTo>
                <a:lnTo>
                  <a:pt x="349036" y="2400675"/>
                </a:lnTo>
                <a:lnTo>
                  <a:pt x="395786" y="2396342"/>
                </a:lnTo>
                <a:cubicBezTo>
                  <a:pt x="394427" y="2387498"/>
                  <a:pt x="393139" y="2377637"/>
                  <a:pt x="391780" y="2369014"/>
                </a:cubicBezTo>
                <a:lnTo>
                  <a:pt x="351755" y="2358534"/>
                </a:lnTo>
                <a:lnTo>
                  <a:pt x="341096" y="2337397"/>
                </a:lnTo>
                <a:lnTo>
                  <a:pt x="309011" y="2318338"/>
                </a:lnTo>
                <a:lnTo>
                  <a:pt x="266303" y="2288269"/>
                </a:lnTo>
                <a:lnTo>
                  <a:pt x="266303" y="2265098"/>
                </a:lnTo>
                <a:lnTo>
                  <a:pt x="232967" y="2253070"/>
                </a:lnTo>
                <a:lnTo>
                  <a:pt x="204853" y="2253070"/>
                </a:lnTo>
                <a:lnTo>
                  <a:pt x="179528" y="2214289"/>
                </a:lnTo>
                <a:lnTo>
                  <a:pt x="179528" y="2159943"/>
                </a:lnTo>
                <a:cubicBezTo>
                  <a:pt x="180423" y="2145970"/>
                  <a:pt x="181388" y="2131819"/>
                  <a:pt x="182211" y="2116873"/>
                </a:cubicBezTo>
                <a:lnTo>
                  <a:pt x="182350" y="2116871"/>
                </a:lnTo>
                <a:lnTo>
                  <a:pt x="196947" y="2091711"/>
                </a:lnTo>
                <a:lnTo>
                  <a:pt x="283725" y="2026716"/>
                </a:lnTo>
                <a:lnTo>
                  <a:pt x="341026" y="1948383"/>
                </a:lnTo>
                <a:lnTo>
                  <a:pt x="391807" y="1890374"/>
                </a:lnTo>
                <a:lnTo>
                  <a:pt x="474545" y="1826225"/>
                </a:lnTo>
                <a:lnTo>
                  <a:pt x="442543" y="1768428"/>
                </a:lnTo>
                <a:lnTo>
                  <a:pt x="493186" y="1711054"/>
                </a:lnTo>
                <a:lnTo>
                  <a:pt x="457189" y="1682261"/>
                </a:lnTo>
                <a:cubicBezTo>
                  <a:pt x="454985" y="1669770"/>
                  <a:pt x="452736" y="1658338"/>
                  <a:pt x="450486" y="1646693"/>
                </a:cubicBezTo>
                <a:lnTo>
                  <a:pt x="427758" y="1646693"/>
                </a:lnTo>
                <a:lnTo>
                  <a:pt x="417106" y="1616842"/>
                </a:lnTo>
                <a:lnTo>
                  <a:pt x="463893" y="1616842"/>
                </a:lnTo>
                <a:lnTo>
                  <a:pt x="474545" y="1578522"/>
                </a:lnTo>
                <a:lnTo>
                  <a:pt x="474545" y="1544649"/>
                </a:lnTo>
                <a:lnTo>
                  <a:pt x="533269" y="1501883"/>
                </a:lnTo>
                <a:lnTo>
                  <a:pt x="605355" y="1477324"/>
                </a:lnTo>
                <a:cubicBezTo>
                  <a:pt x="608890" y="1444721"/>
                  <a:pt x="612472" y="1412329"/>
                  <a:pt x="616053" y="1379725"/>
                </a:cubicBezTo>
                <a:lnTo>
                  <a:pt x="641352" y="1271752"/>
                </a:lnTo>
                <a:cubicBezTo>
                  <a:pt x="640066" y="1255027"/>
                  <a:pt x="638689" y="1238725"/>
                  <a:pt x="637403" y="1222000"/>
                </a:cubicBezTo>
                <a:lnTo>
                  <a:pt x="601269" y="1200405"/>
                </a:lnTo>
                <a:lnTo>
                  <a:pt x="565318" y="1204428"/>
                </a:lnTo>
                <a:lnTo>
                  <a:pt x="539927" y="1219248"/>
                </a:lnTo>
                <a:lnTo>
                  <a:pt x="525234" y="1185374"/>
                </a:lnTo>
                <a:lnTo>
                  <a:pt x="507925" y="1167802"/>
                </a:lnTo>
                <a:lnTo>
                  <a:pt x="539927" y="1147266"/>
                </a:lnTo>
                <a:lnTo>
                  <a:pt x="514536" y="1132446"/>
                </a:lnTo>
                <a:lnTo>
                  <a:pt x="446537" y="1124189"/>
                </a:lnTo>
                <a:lnTo>
                  <a:pt x="406454" y="1121860"/>
                </a:lnTo>
                <a:cubicBezTo>
                  <a:pt x="408658" y="1113392"/>
                  <a:pt x="410908" y="1105347"/>
                  <a:pt x="413157" y="1096878"/>
                </a:cubicBezTo>
                <a:lnTo>
                  <a:pt x="438456" y="1035482"/>
                </a:lnTo>
                <a:lnTo>
                  <a:pt x="474545" y="1014311"/>
                </a:lnTo>
                <a:lnTo>
                  <a:pt x="497227" y="948892"/>
                </a:lnTo>
                <a:lnTo>
                  <a:pt x="474545" y="919676"/>
                </a:lnTo>
                <a:lnTo>
                  <a:pt x="450486" y="895540"/>
                </a:lnTo>
                <a:lnTo>
                  <a:pt x="467841" y="869923"/>
                </a:lnTo>
                <a:lnTo>
                  <a:pt x="442543" y="844941"/>
                </a:lnTo>
                <a:lnTo>
                  <a:pt x="399796" y="822500"/>
                </a:lnTo>
                <a:lnTo>
                  <a:pt x="363753" y="794766"/>
                </a:lnTo>
                <a:lnTo>
                  <a:pt x="374406" y="772748"/>
                </a:lnTo>
                <a:lnTo>
                  <a:pt x="355764" y="743955"/>
                </a:lnTo>
                <a:lnTo>
                  <a:pt x="366417" y="701613"/>
                </a:lnTo>
                <a:lnTo>
                  <a:pt x="389144" y="676419"/>
                </a:lnTo>
                <a:cubicBezTo>
                  <a:pt x="390062" y="662658"/>
                  <a:pt x="390889" y="649531"/>
                  <a:pt x="391807" y="636405"/>
                </a:cubicBezTo>
                <a:lnTo>
                  <a:pt x="374406" y="589405"/>
                </a:lnTo>
                <a:cubicBezTo>
                  <a:pt x="373074" y="577761"/>
                  <a:pt x="371789" y="565482"/>
                  <a:pt x="370411" y="553414"/>
                </a:cubicBezTo>
                <a:cubicBezTo>
                  <a:pt x="371789" y="540923"/>
                  <a:pt x="373120" y="526739"/>
                  <a:pt x="374406" y="513824"/>
                </a:cubicBezTo>
                <a:lnTo>
                  <a:pt x="406454" y="481432"/>
                </a:lnTo>
                <a:cubicBezTo>
                  <a:pt x="405122" y="469153"/>
                  <a:pt x="403791" y="457932"/>
                  <a:pt x="402459" y="445865"/>
                </a:cubicBezTo>
                <a:lnTo>
                  <a:pt x="374406" y="377694"/>
                </a:lnTo>
                <a:lnTo>
                  <a:pt x="330328" y="319261"/>
                </a:lnTo>
                <a:lnTo>
                  <a:pt x="302366" y="280941"/>
                </a:lnTo>
                <a:lnTo>
                  <a:pt x="309024" y="255536"/>
                </a:lnTo>
                <a:lnTo>
                  <a:pt x="334460" y="230342"/>
                </a:lnTo>
                <a:lnTo>
                  <a:pt x="355764" y="183131"/>
                </a:lnTo>
                <a:cubicBezTo>
                  <a:pt x="353469" y="168946"/>
                  <a:pt x="351311" y="154338"/>
                  <a:pt x="349107" y="139941"/>
                </a:cubicBezTo>
                <a:lnTo>
                  <a:pt x="323716" y="104162"/>
                </a:lnTo>
                <a:lnTo>
                  <a:pt x="309024" y="54410"/>
                </a:lnTo>
                <a:cubicBezTo>
                  <a:pt x="310309" y="42131"/>
                  <a:pt x="311732" y="30910"/>
                  <a:pt x="313018" y="18631"/>
                </a:cubicBezTo>
                <a:close/>
              </a:path>
            </a:pathLst>
          </a:custGeom>
          <a:solidFill>
            <a:srgbClr val="70B0DF"/>
          </a:solidFill>
          <a:ln w="3175" cap="flat" cmpd="sng">
            <a:noFill/>
            <a:prstDash val="solid"/>
            <a:round/>
            <a:headEnd type="none" w="med" len="med"/>
            <a:tailEnd type="none" w="med" len="med"/>
          </a:ln>
        </p:spPr>
        <p:txBody>
          <a:bodyPr wrap="none" lIns="32632" tIns="32632" rIns="32632" bIns="32632" anchor="ctr"/>
          <a:lstStyle/>
          <a:p>
            <a:pPr defTabSz="891045"/>
            <a:endParaRPr lang="en-US" sz="1700" dirty="0">
              <a:solidFill>
                <a:srgbClr val="003149"/>
              </a:solidFill>
              <a:cs typeface="Arial" panose="020B0604020202020204" pitchFamily="34" charset="0"/>
            </a:endParaRPr>
          </a:p>
        </p:txBody>
      </p:sp>
      <p:sp>
        <p:nvSpPr>
          <p:cNvPr id="33" name="Freeform 722"/>
          <p:cNvSpPr>
            <a:spLocks noChangeAspect="1"/>
          </p:cNvSpPr>
          <p:nvPr>
            <p:custDataLst>
              <p:tags r:id="rId15"/>
            </p:custDataLst>
          </p:nvPr>
        </p:nvSpPr>
        <p:spPr bwMode="gray">
          <a:xfrm>
            <a:off x="3973839" y="3479201"/>
            <a:ext cx="489055" cy="397449"/>
          </a:xfrm>
          <a:custGeom>
            <a:avLst/>
            <a:gdLst>
              <a:gd name="T0" fmla="*/ 0 w 2838462"/>
              <a:gd name="T1" fmla="*/ 0 h 2033617"/>
              <a:gd name="T2" fmla="*/ 0 w 2838462"/>
              <a:gd name="T3" fmla="*/ 0 h 2033617"/>
              <a:gd name="T4" fmla="*/ 0 w 2838462"/>
              <a:gd name="T5" fmla="*/ 0 h 2033617"/>
              <a:gd name="T6" fmla="*/ 0 w 2838462"/>
              <a:gd name="T7" fmla="*/ 0 h 2033617"/>
              <a:gd name="T8" fmla="*/ 0 w 2838462"/>
              <a:gd name="T9" fmla="*/ 0 h 2033617"/>
              <a:gd name="T10" fmla="*/ 0 w 2838462"/>
              <a:gd name="T11" fmla="*/ 0 h 2033617"/>
              <a:gd name="T12" fmla="*/ 0 w 2838462"/>
              <a:gd name="T13" fmla="*/ 0 h 2033617"/>
              <a:gd name="T14" fmla="*/ 0 w 2838462"/>
              <a:gd name="T15" fmla="*/ 0 h 2033617"/>
              <a:gd name="T16" fmla="*/ 0 w 2838462"/>
              <a:gd name="T17" fmla="*/ 0 h 2033617"/>
              <a:gd name="T18" fmla="*/ 0 w 2838462"/>
              <a:gd name="T19" fmla="*/ 0 h 2033617"/>
              <a:gd name="T20" fmla="*/ 0 w 2838462"/>
              <a:gd name="T21" fmla="*/ 0 h 2033617"/>
              <a:gd name="T22" fmla="*/ 0 w 2838462"/>
              <a:gd name="T23" fmla="*/ 0 h 2033617"/>
              <a:gd name="T24" fmla="*/ 0 w 2838462"/>
              <a:gd name="T25" fmla="*/ 0 h 2033617"/>
              <a:gd name="T26" fmla="*/ 0 w 2838462"/>
              <a:gd name="T27" fmla="*/ 0 h 2033617"/>
              <a:gd name="T28" fmla="*/ 0 w 2838462"/>
              <a:gd name="T29" fmla="*/ 0 h 2033617"/>
              <a:gd name="T30" fmla="*/ 0 w 2838462"/>
              <a:gd name="T31" fmla="*/ 0 h 2033617"/>
              <a:gd name="T32" fmla="*/ 0 w 2838462"/>
              <a:gd name="T33" fmla="*/ 0 h 2033617"/>
              <a:gd name="T34" fmla="*/ 0 w 2838462"/>
              <a:gd name="T35" fmla="*/ 0 h 2033617"/>
              <a:gd name="T36" fmla="*/ 0 w 2838462"/>
              <a:gd name="T37" fmla="*/ 0 h 2033617"/>
              <a:gd name="T38" fmla="*/ 0 w 2838462"/>
              <a:gd name="T39" fmla="*/ 0 h 2033617"/>
              <a:gd name="T40" fmla="*/ 0 w 2838462"/>
              <a:gd name="T41" fmla="*/ 0 h 2033617"/>
              <a:gd name="T42" fmla="*/ 0 w 2838462"/>
              <a:gd name="T43" fmla="*/ 0 h 2033617"/>
              <a:gd name="T44" fmla="*/ 0 w 2838462"/>
              <a:gd name="T45" fmla="*/ 0 h 2033617"/>
              <a:gd name="T46" fmla="*/ 0 w 2838462"/>
              <a:gd name="T47" fmla="*/ 0 h 2033617"/>
              <a:gd name="T48" fmla="*/ 0 w 2838462"/>
              <a:gd name="T49" fmla="*/ 0 h 2033617"/>
              <a:gd name="T50" fmla="*/ 0 w 2838462"/>
              <a:gd name="T51" fmla="*/ 0 h 2033617"/>
              <a:gd name="T52" fmla="*/ 0 w 2838462"/>
              <a:gd name="T53" fmla="*/ 0 h 2033617"/>
              <a:gd name="T54" fmla="*/ 0 w 2838462"/>
              <a:gd name="T55" fmla="*/ 0 h 2033617"/>
              <a:gd name="T56" fmla="*/ 0 w 2838462"/>
              <a:gd name="T57" fmla="*/ 0 h 2033617"/>
              <a:gd name="T58" fmla="*/ 0 w 2838462"/>
              <a:gd name="T59" fmla="*/ 0 h 2033617"/>
              <a:gd name="T60" fmla="*/ 0 w 2838462"/>
              <a:gd name="T61" fmla="*/ 0 h 2033617"/>
              <a:gd name="T62" fmla="*/ 0 w 2838462"/>
              <a:gd name="T63" fmla="*/ 0 h 2033617"/>
              <a:gd name="T64" fmla="*/ 0 w 2838462"/>
              <a:gd name="T65" fmla="*/ 0 h 2033617"/>
              <a:gd name="T66" fmla="*/ 0 w 2838462"/>
              <a:gd name="T67" fmla="*/ 0 h 2033617"/>
              <a:gd name="T68" fmla="*/ 0 w 2838462"/>
              <a:gd name="T69" fmla="*/ 0 h 2033617"/>
              <a:gd name="T70" fmla="*/ 0 w 2838462"/>
              <a:gd name="T71" fmla="*/ 0 h 2033617"/>
              <a:gd name="T72" fmla="*/ 0 w 2838462"/>
              <a:gd name="T73" fmla="*/ 0 h 2033617"/>
              <a:gd name="T74" fmla="*/ 0 w 2838462"/>
              <a:gd name="T75" fmla="*/ 0 h 2033617"/>
              <a:gd name="T76" fmla="*/ 0 w 2838462"/>
              <a:gd name="T77" fmla="*/ 0 h 2033617"/>
              <a:gd name="T78" fmla="*/ 0 w 2838462"/>
              <a:gd name="T79" fmla="*/ 0 h 2033617"/>
              <a:gd name="T80" fmla="*/ 0 w 2838462"/>
              <a:gd name="T81" fmla="*/ 0 h 2033617"/>
              <a:gd name="T82" fmla="*/ 0 w 2838462"/>
              <a:gd name="T83" fmla="*/ 0 h 2033617"/>
              <a:gd name="T84" fmla="*/ 0 w 2838462"/>
              <a:gd name="T85" fmla="*/ 0 h 2033617"/>
              <a:gd name="T86" fmla="*/ 0 w 2838462"/>
              <a:gd name="T87" fmla="*/ 0 h 2033617"/>
              <a:gd name="T88" fmla="*/ 0 w 2838462"/>
              <a:gd name="T89" fmla="*/ 0 h 2033617"/>
              <a:gd name="T90" fmla="*/ 0 w 2838462"/>
              <a:gd name="T91" fmla="*/ 0 h 2033617"/>
              <a:gd name="T92" fmla="*/ 0 w 2838462"/>
              <a:gd name="T93" fmla="*/ 0 h 2033617"/>
              <a:gd name="T94" fmla="*/ 0 w 2838462"/>
              <a:gd name="T95" fmla="*/ 0 h 2033617"/>
              <a:gd name="T96" fmla="*/ 0 w 2838462"/>
              <a:gd name="T97" fmla="*/ 0 h 2033617"/>
              <a:gd name="T98" fmla="*/ 0 w 2838462"/>
              <a:gd name="T99" fmla="*/ 0 h 2033617"/>
              <a:gd name="T100" fmla="*/ 0 w 2838462"/>
              <a:gd name="T101" fmla="*/ 0 h 2033617"/>
              <a:gd name="T102" fmla="*/ 0 w 2838462"/>
              <a:gd name="T103" fmla="*/ 0 h 2033617"/>
              <a:gd name="T104" fmla="*/ 0 w 2838462"/>
              <a:gd name="T105" fmla="*/ 0 h 2033617"/>
              <a:gd name="T106" fmla="*/ 0 w 2838462"/>
              <a:gd name="T107" fmla="*/ 0 h 2033617"/>
              <a:gd name="T108" fmla="*/ 0 w 2838462"/>
              <a:gd name="T109" fmla="*/ 0 h 2033617"/>
              <a:gd name="T110" fmla="*/ 0 w 2838462"/>
              <a:gd name="T111" fmla="*/ 0 h 2033617"/>
              <a:gd name="T112" fmla="*/ 0 w 2838462"/>
              <a:gd name="T113" fmla="*/ 0 h 2033617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w 2838462"/>
              <a:gd name="T172" fmla="*/ 0 h 2033617"/>
              <a:gd name="T173" fmla="*/ 2838462 w 2838462"/>
              <a:gd name="T174" fmla="*/ 2033617 h 2033617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T171" t="T172" r="T173" b="T174"/>
            <a:pathLst>
              <a:path w="2838462" h="2033617">
                <a:moveTo>
                  <a:pt x="775501" y="0"/>
                </a:moveTo>
                <a:lnTo>
                  <a:pt x="822375" y="25430"/>
                </a:lnTo>
                <a:lnTo>
                  <a:pt x="883213" y="39842"/>
                </a:lnTo>
                <a:cubicBezTo>
                  <a:pt x="895381" y="50731"/>
                  <a:pt x="907149" y="61684"/>
                  <a:pt x="919317" y="72638"/>
                </a:cubicBezTo>
                <a:lnTo>
                  <a:pt x="966191" y="83527"/>
                </a:lnTo>
                <a:lnTo>
                  <a:pt x="1005686" y="94416"/>
                </a:lnTo>
                <a:lnTo>
                  <a:pt x="1048572" y="94416"/>
                </a:lnTo>
                <a:lnTo>
                  <a:pt x="1073704" y="101654"/>
                </a:lnTo>
                <a:lnTo>
                  <a:pt x="1099037" y="101654"/>
                </a:lnTo>
                <a:lnTo>
                  <a:pt x="1120380" y="108893"/>
                </a:lnTo>
                <a:lnTo>
                  <a:pt x="1156284" y="116195"/>
                </a:lnTo>
                <a:cubicBezTo>
                  <a:pt x="1158478" y="139254"/>
                  <a:pt x="1161271" y="162186"/>
                  <a:pt x="1163664" y="185246"/>
                </a:cubicBezTo>
                <a:lnTo>
                  <a:pt x="1217521" y="192484"/>
                </a:lnTo>
                <a:lnTo>
                  <a:pt x="1281749" y="218041"/>
                </a:lnTo>
                <a:cubicBezTo>
                  <a:pt x="1293917" y="214390"/>
                  <a:pt x="1305685" y="210675"/>
                  <a:pt x="1318052" y="207088"/>
                </a:cubicBezTo>
                <a:lnTo>
                  <a:pt x="1368118" y="199658"/>
                </a:lnTo>
                <a:lnTo>
                  <a:pt x="1397041" y="210803"/>
                </a:lnTo>
                <a:lnTo>
                  <a:pt x="1443517" y="203565"/>
                </a:lnTo>
                <a:cubicBezTo>
                  <a:pt x="1457879" y="216824"/>
                  <a:pt x="1472440" y="230020"/>
                  <a:pt x="1486801" y="243279"/>
                </a:cubicBezTo>
                <a:lnTo>
                  <a:pt x="1486801" y="276011"/>
                </a:lnTo>
                <a:cubicBezTo>
                  <a:pt x="1497573" y="283249"/>
                  <a:pt x="1508145" y="290615"/>
                  <a:pt x="1518916" y="297917"/>
                </a:cubicBezTo>
                <a:lnTo>
                  <a:pt x="1579953" y="297917"/>
                </a:lnTo>
                <a:cubicBezTo>
                  <a:pt x="1596708" y="311241"/>
                  <a:pt x="1613663" y="324500"/>
                  <a:pt x="1630418" y="337823"/>
                </a:cubicBezTo>
                <a:cubicBezTo>
                  <a:pt x="1637399" y="346279"/>
                  <a:pt x="1644780" y="354798"/>
                  <a:pt x="1651761" y="363253"/>
                </a:cubicBezTo>
                <a:lnTo>
                  <a:pt x="1702027" y="370555"/>
                </a:lnTo>
                <a:cubicBezTo>
                  <a:pt x="1704420" y="353581"/>
                  <a:pt x="1707013" y="336670"/>
                  <a:pt x="1709407" y="319632"/>
                </a:cubicBezTo>
                <a:cubicBezTo>
                  <a:pt x="1724965" y="311241"/>
                  <a:pt x="1740325" y="302721"/>
                  <a:pt x="1756083" y="294330"/>
                </a:cubicBezTo>
                <a:lnTo>
                  <a:pt x="1831481" y="246994"/>
                </a:lnTo>
                <a:lnTo>
                  <a:pt x="1888728" y="232582"/>
                </a:lnTo>
                <a:lnTo>
                  <a:pt x="1949965" y="246994"/>
                </a:lnTo>
                <a:cubicBezTo>
                  <a:pt x="1961733" y="267684"/>
                  <a:pt x="1974100" y="288245"/>
                  <a:pt x="1985869" y="308871"/>
                </a:cubicBezTo>
                <a:cubicBezTo>
                  <a:pt x="1998036" y="318543"/>
                  <a:pt x="2009605" y="328087"/>
                  <a:pt x="2021574" y="337823"/>
                </a:cubicBezTo>
                <a:lnTo>
                  <a:pt x="2082810" y="337823"/>
                </a:lnTo>
                <a:lnTo>
                  <a:pt x="2075679" y="359996"/>
                </a:lnTo>
                <a:lnTo>
                  <a:pt x="2098367" y="476912"/>
                </a:lnTo>
                <a:lnTo>
                  <a:pt x="2123370" y="570287"/>
                </a:lnTo>
                <a:lnTo>
                  <a:pt x="2069713" y="591745"/>
                </a:lnTo>
                <a:cubicBezTo>
                  <a:pt x="2067332" y="615718"/>
                  <a:pt x="2064950" y="639523"/>
                  <a:pt x="2062569" y="663495"/>
                </a:cubicBezTo>
                <a:lnTo>
                  <a:pt x="2044710" y="692329"/>
                </a:lnTo>
                <a:lnTo>
                  <a:pt x="2116227" y="728204"/>
                </a:lnTo>
                <a:lnTo>
                  <a:pt x="2198459" y="735413"/>
                </a:lnTo>
                <a:lnTo>
                  <a:pt x="2284264" y="746142"/>
                </a:lnTo>
                <a:lnTo>
                  <a:pt x="2377213" y="746142"/>
                </a:lnTo>
                <a:lnTo>
                  <a:pt x="2448730" y="774808"/>
                </a:lnTo>
                <a:lnTo>
                  <a:pt x="2516675" y="796434"/>
                </a:lnTo>
                <a:cubicBezTo>
                  <a:pt x="2519056" y="820406"/>
                  <a:pt x="2521437" y="844211"/>
                  <a:pt x="2523819" y="868184"/>
                </a:cubicBezTo>
                <a:lnTo>
                  <a:pt x="2584620" y="896850"/>
                </a:lnTo>
                <a:lnTo>
                  <a:pt x="2609623" y="961559"/>
                </a:lnTo>
                <a:lnTo>
                  <a:pt x="2641849" y="1029789"/>
                </a:lnTo>
                <a:lnTo>
                  <a:pt x="2702572" y="1044038"/>
                </a:lnTo>
                <a:lnTo>
                  <a:pt x="2766945" y="1047726"/>
                </a:lnTo>
                <a:lnTo>
                  <a:pt x="2752657" y="1108747"/>
                </a:lnTo>
                <a:lnTo>
                  <a:pt x="2784804" y="1155351"/>
                </a:lnTo>
                <a:cubicBezTo>
                  <a:pt x="2783614" y="1166080"/>
                  <a:pt x="2782423" y="1176977"/>
                  <a:pt x="2781232" y="1187705"/>
                </a:cubicBezTo>
                <a:lnTo>
                  <a:pt x="2734798" y="1180497"/>
                </a:lnTo>
                <a:lnTo>
                  <a:pt x="2702572" y="1201955"/>
                </a:lnTo>
                <a:lnTo>
                  <a:pt x="2659709" y="1230789"/>
                </a:lnTo>
                <a:lnTo>
                  <a:pt x="2631055" y="1262976"/>
                </a:lnTo>
                <a:lnTo>
                  <a:pt x="2591764" y="1302539"/>
                </a:lnTo>
                <a:lnTo>
                  <a:pt x="2573904" y="1341934"/>
                </a:lnTo>
                <a:cubicBezTo>
                  <a:pt x="2575095" y="1370601"/>
                  <a:pt x="2576286" y="1399435"/>
                  <a:pt x="2577476" y="1428101"/>
                </a:cubicBezTo>
                <a:lnTo>
                  <a:pt x="2598907" y="1467664"/>
                </a:lnTo>
                <a:lnTo>
                  <a:pt x="2691856" y="1500019"/>
                </a:lnTo>
                <a:lnTo>
                  <a:pt x="2749085" y="1546623"/>
                </a:lnTo>
                <a:lnTo>
                  <a:pt x="2817031" y="1553831"/>
                </a:lnTo>
                <a:lnTo>
                  <a:pt x="2838462" y="1589706"/>
                </a:lnTo>
                <a:lnTo>
                  <a:pt x="2831318" y="1668665"/>
                </a:lnTo>
                <a:lnTo>
                  <a:pt x="2774089" y="1661456"/>
                </a:lnTo>
                <a:lnTo>
                  <a:pt x="2749085" y="1693811"/>
                </a:lnTo>
                <a:lnTo>
                  <a:pt x="2756229" y="1722477"/>
                </a:lnTo>
                <a:lnTo>
                  <a:pt x="2727654" y="1722477"/>
                </a:lnTo>
                <a:lnTo>
                  <a:pt x="2702572" y="1711748"/>
                </a:lnTo>
                <a:lnTo>
                  <a:pt x="2681140" y="1740415"/>
                </a:lnTo>
                <a:cubicBezTo>
                  <a:pt x="2678759" y="1754832"/>
                  <a:pt x="2676378" y="1769081"/>
                  <a:pt x="2673997" y="1783498"/>
                </a:cubicBezTo>
                <a:lnTo>
                  <a:pt x="2641849" y="1794395"/>
                </a:lnTo>
                <a:lnTo>
                  <a:pt x="2616767" y="1808644"/>
                </a:lnTo>
                <a:cubicBezTo>
                  <a:pt x="2614386" y="1818199"/>
                  <a:pt x="2612004" y="1827923"/>
                  <a:pt x="2609623" y="1837478"/>
                </a:cubicBezTo>
                <a:lnTo>
                  <a:pt x="2648993" y="1851727"/>
                </a:lnTo>
                <a:lnTo>
                  <a:pt x="2634626" y="1902019"/>
                </a:lnTo>
                <a:lnTo>
                  <a:pt x="2616767" y="1941415"/>
                </a:lnTo>
                <a:lnTo>
                  <a:pt x="2634626" y="1980978"/>
                </a:lnTo>
                <a:lnTo>
                  <a:pt x="2574979" y="2031691"/>
                </a:lnTo>
                <a:lnTo>
                  <a:pt x="2574916" y="2032517"/>
                </a:lnTo>
                <a:lnTo>
                  <a:pt x="2574410" y="2032175"/>
                </a:lnTo>
                <a:lnTo>
                  <a:pt x="2572714" y="2033617"/>
                </a:lnTo>
                <a:lnTo>
                  <a:pt x="2562435" y="2024078"/>
                </a:lnTo>
                <a:cubicBezTo>
                  <a:pt x="2545468" y="2012614"/>
                  <a:pt x="2528541" y="2001144"/>
                  <a:pt x="2511553" y="1989676"/>
                </a:cubicBezTo>
                <a:lnTo>
                  <a:pt x="2472047" y="1989676"/>
                </a:lnTo>
                <a:cubicBezTo>
                  <a:pt x="2458814" y="1994616"/>
                  <a:pt x="2445678" y="1999555"/>
                  <a:pt x="2432542" y="2004495"/>
                </a:cubicBezTo>
                <a:lnTo>
                  <a:pt x="2374974" y="2019295"/>
                </a:lnTo>
                <a:lnTo>
                  <a:pt x="2306781" y="2026702"/>
                </a:lnTo>
                <a:lnTo>
                  <a:pt x="2249503" y="2030399"/>
                </a:lnTo>
                <a:cubicBezTo>
                  <a:pt x="2233855" y="2024225"/>
                  <a:pt x="2218305" y="2018057"/>
                  <a:pt x="2202657" y="2011883"/>
                </a:cubicBezTo>
                <a:lnTo>
                  <a:pt x="2134561" y="1985961"/>
                </a:lnTo>
                <a:lnTo>
                  <a:pt x="2076993" y="1985961"/>
                </a:lnTo>
                <a:lnTo>
                  <a:pt x="1997982" y="1985961"/>
                </a:lnTo>
                <a:lnTo>
                  <a:pt x="1922448" y="1989676"/>
                </a:lnTo>
                <a:lnTo>
                  <a:pt x="1854352" y="2000780"/>
                </a:lnTo>
                <a:lnTo>
                  <a:pt x="1796978" y="2011883"/>
                </a:lnTo>
                <a:lnTo>
                  <a:pt x="1710723" y="2011883"/>
                </a:lnTo>
                <a:lnTo>
                  <a:pt x="1635285" y="2011883"/>
                </a:lnTo>
                <a:lnTo>
                  <a:pt x="1610280" y="2020200"/>
                </a:lnTo>
                <a:lnTo>
                  <a:pt x="1609208" y="2025718"/>
                </a:lnTo>
                <a:lnTo>
                  <a:pt x="1559901" y="1991270"/>
                </a:lnTo>
                <a:lnTo>
                  <a:pt x="1499155" y="1987698"/>
                </a:lnTo>
                <a:cubicBezTo>
                  <a:pt x="1492044" y="1999525"/>
                  <a:pt x="1484779" y="2011431"/>
                  <a:pt x="1477669" y="2023257"/>
                </a:cubicBezTo>
                <a:lnTo>
                  <a:pt x="1438409" y="2030401"/>
                </a:lnTo>
                <a:lnTo>
                  <a:pt x="1391729" y="2030401"/>
                </a:lnTo>
                <a:lnTo>
                  <a:pt x="1352313" y="1966346"/>
                </a:lnTo>
                <a:lnTo>
                  <a:pt x="1280902" y="1930707"/>
                </a:lnTo>
                <a:lnTo>
                  <a:pt x="1245042" y="1916579"/>
                </a:lnTo>
                <a:lnTo>
                  <a:pt x="1216292" y="1880940"/>
                </a:lnTo>
                <a:lnTo>
                  <a:pt x="1162656" y="1859588"/>
                </a:lnTo>
                <a:lnTo>
                  <a:pt x="1098200" y="1845301"/>
                </a:lnTo>
                <a:lnTo>
                  <a:pt x="1055230" y="1816806"/>
                </a:lnTo>
                <a:lnTo>
                  <a:pt x="1008705" y="1813393"/>
                </a:lnTo>
                <a:lnTo>
                  <a:pt x="972999" y="1767038"/>
                </a:lnTo>
                <a:lnTo>
                  <a:pt x="908543" y="1756323"/>
                </a:lnTo>
                <a:lnTo>
                  <a:pt x="865418" y="1749179"/>
                </a:lnTo>
                <a:lnTo>
                  <a:pt x="815338" y="1738543"/>
                </a:lnTo>
                <a:lnTo>
                  <a:pt x="765412" y="1685124"/>
                </a:lnTo>
                <a:lnTo>
                  <a:pt x="707912" y="1606861"/>
                </a:lnTo>
                <a:lnTo>
                  <a:pt x="654121" y="1549871"/>
                </a:lnTo>
                <a:lnTo>
                  <a:pt x="568180" y="1460972"/>
                </a:lnTo>
                <a:lnTo>
                  <a:pt x="475284" y="1432397"/>
                </a:lnTo>
                <a:lnTo>
                  <a:pt x="396453" y="1396838"/>
                </a:lnTo>
                <a:lnTo>
                  <a:pt x="331998" y="1357786"/>
                </a:lnTo>
                <a:lnTo>
                  <a:pt x="274807" y="1329211"/>
                </a:lnTo>
                <a:lnTo>
                  <a:pt x="231682" y="1300716"/>
                </a:lnTo>
                <a:lnTo>
                  <a:pt x="185311" y="1282936"/>
                </a:lnTo>
                <a:lnTo>
                  <a:pt x="131675" y="1261584"/>
                </a:lnTo>
                <a:lnTo>
                  <a:pt x="63510" y="1236661"/>
                </a:lnTo>
                <a:lnTo>
                  <a:pt x="70021" y="1224713"/>
                </a:lnTo>
                <a:lnTo>
                  <a:pt x="76211" y="1145778"/>
                </a:lnTo>
                <a:lnTo>
                  <a:pt x="59645" y="1092971"/>
                </a:lnTo>
                <a:lnTo>
                  <a:pt x="59645" y="1047164"/>
                </a:lnTo>
                <a:lnTo>
                  <a:pt x="49709" y="994357"/>
                </a:lnTo>
                <a:lnTo>
                  <a:pt x="56330" y="952070"/>
                </a:lnTo>
                <a:lnTo>
                  <a:pt x="56330" y="906304"/>
                </a:lnTo>
                <a:lnTo>
                  <a:pt x="43079" y="864059"/>
                </a:lnTo>
                <a:lnTo>
                  <a:pt x="16577" y="849935"/>
                </a:lnTo>
                <a:lnTo>
                  <a:pt x="11" y="811210"/>
                </a:lnTo>
                <a:lnTo>
                  <a:pt x="4231" y="811143"/>
                </a:lnTo>
                <a:lnTo>
                  <a:pt x="0" y="806453"/>
                </a:lnTo>
                <a:lnTo>
                  <a:pt x="39809" y="799057"/>
                </a:lnTo>
                <a:cubicBezTo>
                  <a:pt x="36700" y="790748"/>
                  <a:pt x="34730" y="782357"/>
                  <a:pt x="32489" y="773899"/>
                </a:cubicBezTo>
                <a:lnTo>
                  <a:pt x="32489" y="737448"/>
                </a:lnTo>
                <a:lnTo>
                  <a:pt x="93360" y="719173"/>
                </a:lnTo>
                <a:cubicBezTo>
                  <a:pt x="91679" y="710798"/>
                  <a:pt x="90699" y="702390"/>
                  <a:pt x="89654" y="693949"/>
                </a:cubicBezTo>
                <a:cubicBezTo>
                  <a:pt x="87665" y="679389"/>
                  <a:pt x="85107" y="664745"/>
                  <a:pt x="82773" y="650317"/>
                </a:cubicBezTo>
                <a:lnTo>
                  <a:pt x="88266" y="641036"/>
                </a:lnTo>
                <a:lnTo>
                  <a:pt x="88136" y="640545"/>
                </a:lnTo>
                <a:cubicBezTo>
                  <a:pt x="94519" y="635356"/>
                  <a:pt x="101101" y="630232"/>
                  <a:pt x="107684" y="624851"/>
                </a:cubicBezTo>
                <a:lnTo>
                  <a:pt x="175902" y="602945"/>
                </a:lnTo>
                <a:lnTo>
                  <a:pt x="247710" y="548627"/>
                </a:lnTo>
                <a:lnTo>
                  <a:pt x="247710" y="497639"/>
                </a:lnTo>
                <a:cubicBezTo>
                  <a:pt x="252497" y="486686"/>
                  <a:pt x="257284" y="475861"/>
                  <a:pt x="262072" y="464907"/>
                </a:cubicBezTo>
                <a:lnTo>
                  <a:pt x="287204" y="464907"/>
                </a:lnTo>
                <a:lnTo>
                  <a:pt x="319518" y="446844"/>
                </a:lnTo>
                <a:lnTo>
                  <a:pt x="341061" y="421350"/>
                </a:lnTo>
                <a:lnTo>
                  <a:pt x="398707" y="403223"/>
                </a:lnTo>
                <a:lnTo>
                  <a:pt x="434411" y="399636"/>
                </a:lnTo>
                <a:cubicBezTo>
                  <a:pt x="446379" y="404504"/>
                  <a:pt x="458547" y="409308"/>
                  <a:pt x="470515" y="414176"/>
                </a:cubicBezTo>
                <a:cubicBezTo>
                  <a:pt x="481286" y="408091"/>
                  <a:pt x="492257" y="402006"/>
                  <a:pt x="503028" y="395921"/>
                </a:cubicBezTo>
                <a:cubicBezTo>
                  <a:pt x="517390" y="379010"/>
                  <a:pt x="531552" y="362100"/>
                  <a:pt x="545914" y="345126"/>
                </a:cubicBezTo>
                <a:cubicBezTo>
                  <a:pt x="550701" y="313547"/>
                  <a:pt x="555488" y="282096"/>
                  <a:pt x="560275" y="250709"/>
                </a:cubicBezTo>
                <a:cubicBezTo>
                  <a:pt x="570049" y="233671"/>
                  <a:pt x="579424" y="216696"/>
                  <a:pt x="588999" y="199658"/>
                </a:cubicBezTo>
                <a:cubicBezTo>
                  <a:pt x="602163" y="191267"/>
                  <a:pt x="615129" y="182811"/>
                  <a:pt x="628294" y="174420"/>
                </a:cubicBezTo>
                <a:cubicBezTo>
                  <a:pt x="630687" y="155012"/>
                  <a:pt x="633081" y="135475"/>
                  <a:pt x="635674" y="116195"/>
                </a:cubicBezTo>
                <a:lnTo>
                  <a:pt x="685740" y="105306"/>
                </a:lnTo>
                <a:cubicBezTo>
                  <a:pt x="696512" y="100437"/>
                  <a:pt x="707482" y="95633"/>
                  <a:pt x="718254" y="90765"/>
                </a:cubicBezTo>
                <a:cubicBezTo>
                  <a:pt x="724238" y="71357"/>
                  <a:pt x="730222" y="52012"/>
                  <a:pt x="736006" y="32732"/>
                </a:cubicBezTo>
                <a:cubicBezTo>
                  <a:pt x="749171" y="21714"/>
                  <a:pt x="762535" y="10953"/>
                  <a:pt x="775501" y="0"/>
                </a:cubicBezTo>
                <a:close/>
              </a:path>
            </a:pathLst>
          </a:custGeom>
          <a:solidFill>
            <a:srgbClr val="70B0DF"/>
          </a:solidFill>
          <a:ln w="3175" cap="flat" cmpd="sng">
            <a:noFill/>
            <a:prstDash val="solid"/>
            <a:round/>
            <a:headEnd type="none" w="med" len="med"/>
            <a:tailEnd type="none" w="med" len="med"/>
          </a:ln>
        </p:spPr>
        <p:txBody>
          <a:bodyPr wrap="none" lIns="32632" tIns="32632" rIns="32632" bIns="32632" anchor="ctr"/>
          <a:lstStyle/>
          <a:p>
            <a:pPr defTabSz="891045"/>
            <a:endParaRPr lang="en-US" sz="1700" dirty="0">
              <a:solidFill>
                <a:srgbClr val="003149"/>
              </a:solidFill>
              <a:cs typeface="Arial" panose="020B0604020202020204" pitchFamily="34" charset="0"/>
            </a:endParaRPr>
          </a:p>
        </p:txBody>
      </p:sp>
      <p:sp>
        <p:nvSpPr>
          <p:cNvPr id="34" name="Freeform 755"/>
          <p:cNvSpPr>
            <a:spLocks noChangeAspect="1"/>
          </p:cNvSpPr>
          <p:nvPr>
            <p:custDataLst>
              <p:tags r:id="rId16"/>
            </p:custDataLst>
          </p:nvPr>
        </p:nvSpPr>
        <p:spPr bwMode="gray">
          <a:xfrm>
            <a:off x="4347697" y="2408803"/>
            <a:ext cx="779076" cy="700199"/>
          </a:xfrm>
          <a:custGeom>
            <a:avLst/>
            <a:gdLst>
              <a:gd name="T0" fmla="*/ 0 w 4518161"/>
              <a:gd name="T1" fmla="*/ 0 h 3574284"/>
              <a:gd name="T2" fmla="*/ 0 w 4518161"/>
              <a:gd name="T3" fmla="*/ 0 h 3574284"/>
              <a:gd name="T4" fmla="*/ 0 w 4518161"/>
              <a:gd name="T5" fmla="*/ 0 h 3574284"/>
              <a:gd name="T6" fmla="*/ 0 w 4518161"/>
              <a:gd name="T7" fmla="*/ 0 h 3574284"/>
              <a:gd name="T8" fmla="*/ 0 w 4518161"/>
              <a:gd name="T9" fmla="*/ 0 h 3574284"/>
              <a:gd name="T10" fmla="*/ 0 w 4518161"/>
              <a:gd name="T11" fmla="*/ 0 h 3574284"/>
              <a:gd name="T12" fmla="*/ 0 w 4518161"/>
              <a:gd name="T13" fmla="*/ 0 h 3574284"/>
              <a:gd name="T14" fmla="*/ 0 w 4518161"/>
              <a:gd name="T15" fmla="*/ 0 h 3574284"/>
              <a:gd name="T16" fmla="*/ 0 w 4518161"/>
              <a:gd name="T17" fmla="*/ 0 h 3574284"/>
              <a:gd name="T18" fmla="*/ 0 w 4518161"/>
              <a:gd name="T19" fmla="*/ 0 h 3574284"/>
              <a:gd name="T20" fmla="*/ 0 w 4518161"/>
              <a:gd name="T21" fmla="*/ 0 h 3574284"/>
              <a:gd name="T22" fmla="*/ 0 w 4518161"/>
              <a:gd name="T23" fmla="*/ 0 h 3574284"/>
              <a:gd name="T24" fmla="*/ 0 w 4518161"/>
              <a:gd name="T25" fmla="*/ 0 h 3574284"/>
              <a:gd name="T26" fmla="*/ 0 w 4518161"/>
              <a:gd name="T27" fmla="*/ 0 h 3574284"/>
              <a:gd name="T28" fmla="*/ 0 w 4518161"/>
              <a:gd name="T29" fmla="*/ 0 h 3574284"/>
              <a:gd name="T30" fmla="*/ 0 w 4518161"/>
              <a:gd name="T31" fmla="*/ 0 h 3574284"/>
              <a:gd name="T32" fmla="*/ 0 w 4518161"/>
              <a:gd name="T33" fmla="*/ 0 h 3574284"/>
              <a:gd name="T34" fmla="*/ 0 w 4518161"/>
              <a:gd name="T35" fmla="*/ 0 h 3574284"/>
              <a:gd name="T36" fmla="*/ 0 w 4518161"/>
              <a:gd name="T37" fmla="*/ 0 h 3574284"/>
              <a:gd name="T38" fmla="*/ 0 w 4518161"/>
              <a:gd name="T39" fmla="*/ 0 h 3574284"/>
              <a:gd name="T40" fmla="*/ 0 w 4518161"/>
              <a:gd name="T41" fmla="*/ 0 h 3574284"/>
              <a:gd name="T42" fmla="*/ 0 w 4518161"/>
              <a:gd name="T43" fmla="*/ 0 h 3574284"/>
              <a:gd name="T44" fmla="*/ 0 w 4518161"/>
              <a:gd name="T45" fmla="*/ 0 h 3574284"/>
              <a:gd name="T46" fmla="*/ 0 w 4518161"/>
              <a:gd name="T47" fmla="*/ 0 h 3574284"/>
              <a:gd name="T48" fmla="*/ 0 w 4518161"/>
              <a:gd name="T49" fmla="*/ 0 h 3574284"/>
              <a:gd name="T50" fmla="*/ 0 w 4518161"/>
              <a:gd name="T51" fmla="*/ 0 h 3574284"/>
              <a:gd name="T52" fmla="*/ 0 w 4518161"/>
              <a:gd name="T53" fmla="*/ 0 h 3574284"/>
              <a:gd name="T54" fmla="*/ 0 w 4518161"/>
              <a:gd name="T55" fmla="*/ 0 h 3574284"/>
              <a:gd name="T56" fmla="*/ 0 w 4518161"/>
              <a:gd name="T57" fmla="*/ 0 h 3574284"/>
              <a:gd name="T58" fmla="*/ 0 w 4518161"/>
              <a:gd name="T59" fmla="*/ 0 h 3574284"/>
              <a:gd name="T60" fmla="*/ 0 w 4518161"/>
              <a:gd name="T61" fmla="*/ 0 h 3574284"/>
              <a:gd name="T62" fmla="*/ 0 w 4518161"/>
              <a:gd name="T63" fmla="*/ 0 h 3574284"/>
              <a:gd name="T64" fmla="*/ 0 w 4518161"/>
              <a:gd name="T65" fmla="*/ 0 h 3574284"/>
              <a:gd name="T66" fmla="*/ 0 w 4518161"/>
              <a:gd name="T67" fmla="*/ 0 h 3574284"/>
              <a:gd name="T68" fmla="*/ 0 w 4518161"/>
              <a:gd name="T69" fmla="*/ 0 h 3574284"/>
              <a:gd name="T70" fmla="*/ 0 w 4518161"/>
              <a:gd name="T71" fmla="*/ 0 h 3574284"/>
              <a:gd name="T72" fmla="*/ 0 w 4518161"/>
              <a:gd name="T73" fmla="*/ 0 h 3574284"/>
              <a:gd name="T74" fmla="*/ 0 w 4518161"/>
              <a:gd name="T75" fmla="*/ 0 h 3574284"/>
              <a:gd name="T76" fmla="*/ 0 w 4518161"/>
              <a:gd name="T77" fmla="*/ 0 h 3574284"/>
              <a:gd name="T78" fmla="*/ 0 w 4518161"/>
              <a:gd name="T79" fmla="*/ 0 h 3574284"/>
              <a:gd name="T80" fmla="*/ 0 w 4518161"/>
              <a:gd name="T81" fmla="*/ 0 h 3574284"/>
              <a:gd name="T82" fmla="*/ 0 w 4518161"/>
              <a:gd name="T83" fmla="*/ 0 h 3574284"/>
              <a:gd name="T84" fmla="*/ 0 w 4518161"/>
              <a:gd name="T85" fmla="*/ 0 h 3574284"/>
              <a:gd name="T86" fmla="*/ 0 w 4518161"/>
              <a:gd name="T87" fmla="*/ 0 h 3574284"/>
              <a:gd name="T88" fmla="*/ 0 w 4518161"/>
              <a:gd name="T89" fmla="*/ 0 h 3574284"/>
              <a:gd name="T90" fmla="*/ 0 w 4518161"/>
              <a:gd name="T91" fmla="*/ 0 h 3574284"/>
              <a:gd name="T92" fmla="*/ 0 w 4518161"/>
              <a:gd name="T93" fmla="*/ 0 h 3574284"/>
              <a:gd name="T94" fmla="*/ 0 w 4518161"/>
              <a:gd name="T95" fmla="*/ 0 h 3574284"/>
              <a:gd name="T96" fmla="*/ 0 w 4518161"/>
              <a:gd name="T97" fmla="*/ 0 h 3574284"/>
              <a:gd name="T98" fmla="*/ 0 w 4518161"/>
              <a:gd name="T99" fmla="*/ 0 h 3574284"/>
              <a:gd name="T100" fmla="*/ 0 w 4518161"/>
              <a:gd name="T101" fmla="*/ 0 h 3574284"/>
              <a:gd name="T102" fmla="*/ 0 w 4518161"/>
              <a:gd name="T103" fmla="*/ 0 h 3574284"/>
              <a:gd name="T104" fmla="*/ 0 w 4518161"/>
              <a:gd name="T105" fmla="*/ 0 h 3574284"/>
              <a:gd name="T106" fmla="*/ 0 w 4518161"/>
              <a:gd name="T107" fmla="*/ 0 h 3574284"/>
              <a:gd name="T108" fmla="*/ 0 w 4518161"/>
              <a:gd name="T109" fmla="*/ 0 h 3574284"/>
              <a:gd name="T110" fmla="*/ 0 w 4518161"/>
              <a:gd name="T111" fmla="*/ 0 h 3574284"/>
              <a:gd name="T112" fmla="*/ 0 w 4518161"/>
              <a:gd name="T113" fmla="*/ 0 h 3574284"/>
              <a:gd name="T114" fmla="*/ 0 w 4518161"/>
              <a:gd name="T115" fmla="*/ 0 h 3574284"/>
              <a:gd name="T116" fmla="*/ 0 w 4518161"/>
              <a:gd name="T117" fmla="*/ 0 h 3574284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w 4518161"/>
              <a:gd name="T178" fmla="*/ 0 h 3574284"/>
              <a:gd name="T179" fmla="*/ 4518161 w 4518161"/>
              <a:gd name="T180" fmla="*/ 3574284 h 3574284"/>
            </a:gdLst>
            <a:ahLst/>
            <a:cxnLst>
              <a:cxn ang="T118">
                <a:pos x="T0" y="T1"/>
              </a:cxn>
              <a:cxn ang="T119">
                <a:pos x="T2" y="T3"/>
              </a:cxn>
              <a:cxn ang="T120">
                <a:pos x="T4" y="T5"/>
              </a:cxn>
              <a:cxn ang="T121">
                <a:pos x="T6" y="T7"/>
              </a:cxn>
              <a:cxn ang="T122">
                <a:pos x="T8" y="T9"/>
              </a:cxn>
              <a:cxn ang="T123">
                <a:pos x="T10" y="T11"/>
              </a:cxn>
              <a:cxn ang="T124">
                <a:pos x="T12" y="T13"/>
              </a:cxn>
              <a:cxn ang="T125">
                <a:pos x="T14" y="T15"/>
              </a:cxn>
              <a:cxn ang="T126">
                <a:pos x="T16" y="T17"/>
              </a:cxn>
              <a:cxn ang="T127">
                <a:pos x="T18" y="T19"/>
              </a:cxn>
              <a:cxn ang="T128">
                <a:pos x="T20" y="T21"/>
              </a:cxn>
              <a:cxn ang="T129">
                <a:pos x="T22" y="T23"/>
              </a:cxn>
              <a:cxn ang="T130">
                <a:pos x="T24" y="T25"/>
              </a:cxn>
              <a:cxn ang="T131">
                <a:pos x="T26" y="T27"/>
              </a:cxn>
              <a:cxn ang="T132">
                <a:pos x="T28" y="T29"/>
              </a:cxn>
              <a:cxn ang="T133">
                <a:pos x="T30" y="T31"/>
              </a:cxn>
              <a:cxn ang="T134">
                <a:pos x="T32" y="T33"/>
              </a:cxn>
              <a:cxn ang="T135">
                <a:pos x="T34" y="T35"/>
              </a:cxn>
              <a:cxn ang="T136">
                <a:pos x="T36" y="T37"/>
              </a:cxn>
              <a:cxn ang="T137">
                <a:pos x="T38" y="T39"/>
              </a:cxn>
              <a:cxn ang="T138">
                <a:pos x="T40" y="T41"/>
              </a:cxn>
              <a:cxn ang="T139">
                <a:pos x="T42" y="T43"/>
              </a:cxn>
              <a:cxn ang="T140">
                <a:pos x="T44" y="T45"/>
              </a:cxn>
              <a:cxn ang="T141">
                <a:pos x="T46" y="T47"/>
              </a:cxn>
              <a:cxn ang="T142">
                <a:pos x="T48" y="T49"/>
              </a:cxn>
              <a:cxn ang="T143">
                <a:pos x="T50" y="T51"/>
              </a:cxn>
              <a:cxn ang="T144">
                <a:pos x="T52" y="T53"/>
              </a:cxn>
              <a:cxn ang="T145">
                <a:pos x="T54" y="T55"/>
              </a:cxn>
              <a:cxn ang="T146">
                <a:pos x="T56" y="T57"/>
              </a:cxn>
              <a:cxn ang="T147">
                <a:pos x="T58" y="T59"/>
              </a:cxn>
              <a:cxn ang="T148">
                <a:pos x="T60" y="T61"/>
              </a:cxn>
              <a:cxn ang="T149">
                <a:pos x="T62" y="T63"/>
              </a:cxn>
              <a:cxn ang="T150">
                <a:pos x="T64" y="T65"/>
              </a:cxn>
              <a:cxn ang="T151">
                <a:pos x="T66" y="T67"/>
              </a:cxn>
              <a:cxn ang="T152">
                <a:pos x="T68" y="T69"/>
              </a:cxn>
              <a:cxn ang="T153">
                <a:pos x="T70" y="T71"/>
              </a:cxn>
              <a:cxn ang="T154">
                <a:pos x="T72" y="T73"/>
              </a:cxn>
              <a:cxn ang="T155">
                <a:pos x="T74" y="T75"/>
              </a:cxn>
              <a:cxn ang="T156">
                <a:pos x="T76" y="T77"/>
              </a:cxn>
              <a:cxn ang="T157">
                <a:pos x="T78" y="T79"/>
              </a:cxn>
              <a:cxn ang="T158">
                <a:pos x="T80" y="T81"/>
              </a:cxn>
              <a:cxn ang="T159">
                <a:pos x="T82" y="T83"/>
              </a:cxn>
              <a:cxn ang="T160">
                <a:pos x="T84" y="T85"/>
              </a:cxn>
              <a:cxn ang="T161">
                <a:pos x="T86" y="T87"/>
              </a:cxn>
              <a:cxn ang="T162">
                <a:pos x="T88" y="T89"/>
              </a:cxn>
              <a:cxn ang="T163">
                <a:pos x="T90" y="T91"/>
              </a:cxn>
              <a:cxn ang="T164">
                <a:pos x="T92" y="T93"/>
              </a:cxn>
              <a:cxn ang="T165">
                <a:pos x="T94" y="T95"/>
              </a:cxn>
              <a:cxn ang="T166">
                <a:pos x="T96" y="T97"/>
              </a:cxn>
              <a:cxn ang="T167">
                <a:pos x="T98" y="T99"/>
              </a:cxn>
              <a:cxn ang="T168">
                <a:pos x="T100" y="T101"/>
              </a:cxn>
              <a:cxn ang="T169">
                <a:pos x="T102" y="T103"/>
              </a:cxn>
              <a:cxn ang="T170">
                <a:pos x="T104" y="T105"/>
              </a:cxn>
              <a:cxn ang="T171">
                <a:pos x="T106" y="T107"/>
              </a:cxn>
              <a:cxn ang="T172">
                <a:pos x="T108" y="T109"/>
              </a:cxn>
              <a:cxn ang="T173">
                <a:pos x="T110" y="T111"/>
              </a:cxn>
              <a:cxn ang="T174">
                <a:pos x="T112" y="T113"/>
              </a:cxn>
              <a:cxn ang="T175">
                <a:pos x="T114" y="T115"/>
              </a:cxn>
              <a:cxn ang="T176">
                <a:pos x="T116" y="T117"/>
              </a:cxn>
            </a:cxnLst>
            <a:rect l="T177" t="T178" r="T179" b="T180"/>
            <a:pathLst>
              <a:path w="4518161" h="3574284">
                <a:moveTo>
                  <a:pt x="3256583" y="0"/>
                </a:moveTo>
                <a:lnTo>
                  <a:pt x="3283189" y="5321"/>
                </a:lnTo>
                <a:lnTo>
                  <a:pt x="3277867" y="26606"/>
                </a:lnTo>
                <a:lnTo>
                  <a:pt x="3299153" y="31928"/>
                </a:lnTo>
                <a:lnTo>
                  <a:pt x="3315117" y="10642"/>
                </a:lnTo>
                <a:lnTo>
                  <a:pt x="3331079" y="47892"/>
                </a:lnTo>
                <a:lnTo>
                  <a:pt x="3347043" y="58534"/>
                </a:lnTo>
                <a:lnTo>
                  <a:pt x="3373649" y="74498"/>
                </a:lnTo>
                <a:lnTo>
                  <a:pt x="3405577" y="58534"/>
                </a:lnTo>
                <a:lnTo>
                  <a:pt x="3432183" y="95783"/>
                </a:lnTo>
                <a:lnTo>
                  <a:pt x="3453467" y="122390"/>
                </a:lnTo>
                <a:lnTo>
                  <a:pt x="3421541" y="138354"/>
                </a:lnTo>
                <a:lnTo>
                  <a:pt x="3394935" y="180924"/>
                </a:lnTo>
                <a:lnTo>
                  <a:pt x="3368329" y="207531"/>
                </a:lnTo>
                <a:lnTo>
                  <a:pt x="3325759" y="218174"/>
                </a:lnTo>
                <a:lnTo>
                  <a:pt x="3288511" y="228816"/>
                </a:lnTo>
                <a:lnTo>
                  <a:pt x="3331079" y="234138"/>
                </a:lnTo>
                <a:lnTo>
                  <a:pt x="3357685" y="234138"/>
                </a:lnTo>
                <a:lnTo>
                  <a:pt x="3363007" y="218174"/>
                </a:lnTo>
                <a:lnTo>
                  <a:pt x="3389613" y="223495"/>
                </a:lnTo>
                <a:lnTo>
                  <a:pt x="3421541" y="212852"/>
                </a:lnTo>
                <a:lnTo>
                  <a:pt x="3426861" y="196888"/>
                </a:lnTo>
                <a:lnTo>
                  <a:pt x="3442825" y="212852"/>
                </a:lnTo>
                <a:lnTo>
                  <a:pt x="3442825" y="228816"/>
                </a:lnTo>
                <a:lnTo>
                  <a:pt x="3410897" y="255423"/>
                </a:lnTo>
                <a:lnTo>
                  <a:pt x="3394935" y="271387"/>
                </a:lnTo>
                <a:lnTo>
                  <a:pt x="3426861" y="271387"/>
                </a:lnTo>
                <a:lnTo>
                  <a:pt x="3453467" y="244780"/>
                </a:lnTo>
                <a:lnTo>
                  <a:pt x="3464111" y="228816"/>
                </a:lnTo>
                <a:lnTo>
                  <a:pt x="3506679" y="244780"/>
                </a:lnTo>
                <a:lnTo>
                  <a:pt x="3522643" y="228816"/>
                </a:lnTo>
                <a:lnTo>
                  <a:pt x="3575855" y="239459"/>
                </a:lnTo>
                <a:lnTo>
                  <a:pt x="3586497" y="260744"/>
                </a:lnTo>
                <a:lnTo>
                  <a:pt x="3607783" y="276708"/>
                </a:lnTo>
                <a:lnTo>
                  <a:pt x="3586497" y="297993"/>
                </a:lnTo>
                <a:lnTo>
                  <a:pt x="3575855" y="319279"/>
                </a:lnTo>
                <a:lnTo>
                  <a:pt x="3559891" y="340564"/>
                </a:lnTo>
                <a:lnTo>
                  <a:pt x="3538607" y="367170"/>
                </a:lnTo>
                <a:lnTo>
                  <a:pt x="3522643" y="399098"/>
                </a:lnTo>
                <a:lnTo>
                  <a:pt x="3496037" y="404420"/>
                </a:lnTo>
                <a:lnTo>
                  <a:pt x="3517323" y="436347"/>
                </a:lnTo>
                <a:lnTo>
                  <a:pt x="3570535" y="420383"/>
                </a:lnTo>
                <a:lnTo>
                  <a:pt x="3629067" y="409741"/>
                </a:lnTo>
                <a:lnTo>
                  <a:pt x="3650353" y="383134"/>
                </a:lnTo>
                <a:lnTo>
                  <a:pt x="3660995" y="367170"/>
                </a:lnTo>
                <a:lnTo>
                  <a:pt x="3645031" y="335242"/>
                </a:lnTo>
                <a:lnTo>
                  <a:pt x="3634389" y="324600"/>
                </a:lnTo>
                <a:lnTo>
                  <a:pt x="3719529" y="324600"/>
                </a:lnTo>
                <a:lnTo>
                  <a:pt x="3767419" y="319279"/>
                </a:lnTo>
                <a:lnTo>
                  <a:pt x="3783383" y="297993"/>
                </a:lnTo>
                <a:lnTo>
                  <a:pt x="3809989" y="313957"/>
                </a:lnTo>
                <a:lnTo>
                  <a:pt x="3836595" y="335242"/>
                </a:lnTo>
                <a:lnTo>
                  <a:pt x="3857879" y="308636"/>
                </a:lnTo>
                <a:lnTo>
                  <a:pt x="3911091" y="297993"/>
                </a:lnTo>
                <a:lnTo>
                  <a:pt x="3948341" y="292672"/>
                </a:lnTo>
                <a:lnTo>
                  <a:pt x="3958983" y="308636"/>
                </a:lnTo>
                <a:lnTo>
                  <a:pt x="4001553" y="297993"/>
                </a:lnTo>
                <a:lnTo>
                  <a:pt x="4006873" y="329921"/>
                </a:lnTo>
                <a:lnTo>
                  <a:pt x="4038801" y="335242"/>
                </a:lnTo>
                <a:lnTo>
                  <a:pt x="4054765" y="351206"/>
                </a:lnTo>
                <a:lnTo>
                  <a:pt x="4065407" y="383134"/>
                </a:lnTo>
                <a:lnTo>
                  <a:pt x="4070729" y="409741"/>
                </a:lnTo>
                <a:lnTo>
                  <a:pt x="4076049" y="393777"/>
                </a:lnTo>
                <a:lnTo>
                  <a:pt x="4081371" y="372492"/>
                </a:lnTo>
                <a:lnTo>
                  <a:pt x="4113297" y="388456"/>
                </a:lnTo>
                <a:lnTo>
                  <a:pt x="4134583" y="409741"/>
                </a:lnTo>
                <a:lnTo>
                  <a:pt x="4145225" y="420383"/>
                </a:lnTo>
                <a:lnTo>
                  <a:pt x="4134583" y="452311"/>
                </a:lnTo>
                <a:lnTo>
                  <a:pt x="4118619" y="452311"/>
                </a:lnTo>
                <a:lnTo>
                  <a:pt x="4139905" y="468275"/>
                </a:lnTo>
                <a:lnTo>
                  <a:pt x="4150547" y="473597"/>
                </a:lnTo>
                <a:lnTo>
                  <a:pt x="4161189" y="500203"/>
                </a:lnTo>
                <a:lnTo>
                  <a:pt x="4182473" y="484239"/>
                </a:lnTo>
                <a:lnTo>
                  <a:pt x="4177153" y="457633"/>
                </a:lnTo>
                <a:lnTo>
                  <a:pt x="4155867" y="436347"/>
                </a:lnTo>
                <a:lnTo>
                  <a:pt x="4182473" y="425705"/>
                </a:lnTo>
                <a:lnTo>
                  <a:pt x="4203759" y="441669"/>
                </a:lnTo>
                <a:lnTo>
                  <a:pt x="4214401" y="468275"/>
                </a:lnTo>
                <a:lnTo>
                  <a:pt x="4225043" y="500203"/>
                </a:lnTo>
                <a:lnTo>
                  <a:pt x="4235685" y="516167"/>
                </a:lnTo>
                <a:lnTo>
                  <a:pt x="4225043" y="537452"/>
                </a:lnTo>
                <a:lnTo>
                  <a:pt x="4251649" y="553416"/>
                </a:lnTo>
                <a:lnTo>
                  <a:pt x="4288897" y="558738"/>
                </a:lnTo>
                <a:lnTo>
                  <a:pt x="4294219" y="595987"/>
                </a:lnTo>
                <a:lnTo>
                  <a:pt x="4294219" y="611951"/>
                </a:lnTo>
                <a:lnTo>
                  <a:pt x="4288897" y="643879"/>
                </a:lnTo>
                <a:lnTo>
                  <a:pt x="4278255" y="665164"/>
                </a:lnTo>
                <a:lnTo>
                  <a:pt x="4272935" y="675807"/>
                </a:lnTo>
                <a:lnTo>
                  <a:pt x="4262291" y="659843"/>
                </a:lnTo>
                <a:lnTo>
                  <a:pt x="4246329" y="638557"/>
                </a:lnTo>
                <a:lnTo>
                  <a:pt x="4219723" y="638557"/>
                </a:lnTo>
                <a:lnTo>
                  <a:pt x="4193117" y="622593"/>
                </a:lnTo>
                <a:lnTo>
                  <a:pt x="4166509" y="606629"/>
                </a:lnTo>
                <a:lnTo>
                  <a:pt x="4145225" y="601308"/>
                </a:lnTo>
                <a:lnTo>
                  <a:pt x="4123941" y="606629"/>
                </a:lnTo>
                <a:lnTo>
                  <a:pt x="4139905" y="617272"/>
                </a:lnTo>
                <a:lnTo>
                  <a:pt x="4177153" y="627915"/>
                </a:lnTo>
                <a:lnTo>
                  <a:pt x="4193117" y="665164"/>
                </a:lnTo>
                <a:lnTo>
                  <a:pt x="4198437" y="681128"/>
                </a:lnTo>
                <a:lnTo>
                  <a:pt x="4209079" y="686449"/>
                </a:lnTo>
                <a:lnTo>
                  <a:pt x="4219723" y="665164"/>
                </a:lnTo>
                <a:lnTo>
                  <a:pt x="4241007" y="659843"/>
                </a:lnTo>
                <a:lnTo>
                  <a:pt x="4267613" y="691770"/>
                </a:lnTo>
                <a:lnTo>
                  <a:pt x="4294219" y="697092"/>
                </a:lnTo>
                <a:lnTo>
                  <a:pt x="4299541" y="723698"/>
                </a:lnTo>
                <a:lnTo>
                  <a:pt x="4310183" y="734341"/>
                </a:lnTo>
                <a:lnTo>
                  <a:pt x="4315505" y="760948"/>
                </a:lnTo>
                <a:lnTo>
                  <a:pt x="4294219" y="792875"/>
                </a:lnTo>
                <a:lnTo>
                  <a:pt x="4288897" y="819482"/>
                </a:lnTo>
                <a:lnTo>
                  <a:pt x="4272935" y="856731"/>
                </a:lnTo>
                <a:lnTo>
                  <a:pt x="4251649" y="899302"/>
                </a:lnTo>
                <a:lnTo>
                  <a:pt x="4235685" y="920587"/>
                </a:lnTo>
                <a:lnTo>
                  <a:pt x="4193117" y="931230"/>
                </a:lnTo>
                <a:lnTo>
                  <a:pt x="4171831" y="963157"/>
                </a:lnTo>
                <a:lnTo>
                  <a:pt x="4171831" y="979121"/>
                </a:lnTo>
                <a:lnTo>
                  <a:pt x="4177153" y="1005728"/>
                </a:lnTo>
                <a:lnTo>
                  <a:pt x="4155867" y="1016371"/>
                </a:lnTo>
                <a:lnTo>
                  <a:pt x="4118619" y="1016371"/>
                </a:lnTo>
                <a:lnTo>
                  <a:pt x="4092013" y="1037656"/>
                </a:lnTo>
                <a:lnTo>
                  <a:pt x="4081371" y="1058941"/>
                </a:lnTo>
                <a:lnTo>
                  <a:pt x="4070729" y="1074905"/>
                </a:lnTo>
                <a:lnTo>
                  <a:pt x="4049443" y="1101512"/>
                </a:lnTo>
                <a:lnTo>
                  <a:pt x="4022837" y="1106833"/>
                </a:lnTo>
                <a:lnTo>
                  <a:pt x="4006873" y="1144082"/>
                </a:lnTo>
                <a:lnTo>
                  <a:pt x="3974947" y="1154725"/>
                </a:lnTo>
                <a:lnTo>
                  <a:pt x="3969625" y="1181331"/>
                </a:lnTo>
                <a:lnTo>
                  <a:pt x="3990909" y="1197295"/>
                </a:lnTo>
                <a:lnTo>
                  <a:pt x="3974947" y="1223902"/>
                </a:lnTo>
                <a:lnTo>
                  <a:pt x="3969625" y="1250508"/>
                </a:lnTo>
                <a:lnTo>
                  <a:pt x="3937697" y="1277115"/>
                </a:lnTo>
                <a:lnTo>
                  <a:pt x="3911091" y="1314364"/>
                </a:lnTo>
                <a:lnTo>
                  <a:pt x="3879165" y="1319685"/>
                </a:lnTo>
                <a:lnTo>
                  <a:pt x="3868523" y="1378220"/>
                </a:lnTo>
                <a:lnTo>
                  <a:pt x="3836595" y="1394184"/>
                </a:lnTo>
                <a:lnTo>
                  <a:pt x="3825953" y="1426112"/>
                </a:lnTo>
                <a:lnTo>
                  <a:pt x="3794025" y="1436754"/>
                </a:lnTo>
                <a:lnTo>
                  <a:pt x="3788705" y="1463361"/>
                </a:lnTo>
                <a:lnTo>
                  <a:pt x="3772741" y="1468682"/>
                </a:lnTo>
                <a:lnTo>
                  <a:pt x="3746135" y="1458040"/>
                </a:lnTo>
                <a:lnTo>
                  <a:pt x="3724849" y="1463361"/>
                </a:lnTo>
                <a:lnTo>
                  <a:pt x="3714207" y="1489967"/>
                </a:lnTo>
                <a:lnTo>
                  <a:pt x="3708885" y="1516574"/>
                </a:lnTo>
                <a:lnTo>
                  <a:pt x="3703565" y="1543181"/>
                </a:lnTo>
                <a:lnTo>
                  <a:pt x="3687601" y="1559145"/>
                </a:lnTo>
                <a:lnTo>
                  <a:pt x="3655673" y="1575108"/>
                </a:lnTo>
                <a:lnTo>
                  <a:pt x="3629067" y="1585751"/>
                </a:lnTo>
                <a:lnTo>
                  <a:pt x="3602461" y="1601715"/>
                </a:lnTo>
                <a:lnTo>
                  <a:pt x="3581177" y="1649607"/>
                </a:lnTo>
                <a:lnTo>
                  <a:pt x="3565213" y="1681535"/>
                </a:lnTo>
                <a:lnTo>
                  <a:pt x="3559891" y="1708141"/>
                </a:lnTo>
                <a:lnTo>
                  <a:pt x="3554571" y="1724105"/>
                </a:lnTo>
                <a:lnTo>
                  <a:pt x="3538607" y="1750712"/>
                </a:lnTo>
                <a:lnTo>
                  <a:pt x="3501359" y="1771997"/>
                </a:lnTo>
                <a:lnTo>
                  <a:pt x="3549249" y="1771997"/>
                </a:lnTo>
                <a:lnTo>
                  <a:pt x="3575855" y="1745390"/>
                </a:lnTo>
                <a:lnTo>
                  <a:pt x="3602461" y="1718784"/>
                </a:lnTo>
                <a:lnTo>
                  <a:pt x="3623747" y="1692177"/>
                </a:lnTo>
                <a:lnTo>
                  <a:pt x="3618425" y="1681535"/>
                </a:lnTo>
                <a:lnTo>
                  <a:pt x="3613105" y="1660249"/>
                </a:lnTo>
                <a:lnTo>
                  <a:pt x="3618425" y="1638964"/>
                </a:lnTo>
                <a:lnTo>
                  <a:pt x="3634389" y="1617679"/>
                </a:lnTo>
                <a:lnTo>
                  <a:pt x="3666317" y="1623000"/>
                </a:lnTo>
                <a:lnTo>
                  <a:pt x="3735491" y="1612358"/>
                </a:lnTo>
                <a:lnTo>
                  <a:pt x="3762097" y="1607036"/>
                </a:lnTo>
                <a:lnTo>
                  <a:pt x="3799347" y="1601715"/>
                </a:lnTo>
                <a:lnTo>
                  <a:pt x="3831273" y="1591072"/>
                </a:lnTo>
                <a:lnTo>
                  <a:pt x="3863201" y="1575108"/>
                </a:lnTo>
                <a:lnTo>
                  <a:pt x="3820631" y="1564466"/>
                </a:lnTo>
                <a:lnTo>
                  <a:pt x="3841917" y="1548502"/>
                </a:lnTo>
                <a:lnTo>
                  <a:pt x="3884485" y="1543181"/>
                </a:lnTo>
                <a:lnTo>
                  <a:pt x="3921735" y="1532538"/>
                </a:lnTo>
                <a:lnTo>
                  <a:pt x="3948341" y="1516574"/>
                </a:lnTo>
                <a:lnTo>
                  <a:pt x="3943019" y="1489967"/>
                </a:lnTo>
                <a:lnTo>
                  <a:pt x="3958983" y="1489967"/>
                </a:lnTo>
                <a:lnTo>
                  <a:pt x="3943019" y="1474004"/>
                </a:lnTo>
                <a:lnTo>
                  <a:pt x="3964305" y="1458040"/>
                </a:lnTo>
                <a:lnTo>
                  <a:pt x="3996231" y="1474004"/>
                </a:lnTo>
                <a:lnTo>
                  <a:pt x="4033479" y="1463361"/>
                </a:lnTo>
                <a:lnTo>
                  <a:pt x="4049443" y="1426112"/>
                </a:lnTo>
                <a:lnTo>
                  <a:pt x="4086691" y="1399505"/>
                </a:lnTo>
                <a:lnTo>
                  <a:pt x="4113297" y="1388863"/>
                </a:lnTo>
                <a:lnTo>
                  <a:pt x="4103867" y="1405875"/>
                </a:lnTo>
                <a:lnTo>
                  <a:pt x="4117879" y="1393056"/>
                </a:lnTo>
                <a:lnTo>
                  <a:pt x="4143879" y="1418266"/>
                </a:lnTo>
                <a:cubicBezTo>
                  <a:pt x="4145665" y="1425234"/>
                  <a:pt x="4147489" y="1432201"/>
                  <a:pt x="4149293" y="1439169"/>
                </a:cubicBezTo>
                <a:lnTo>
                  <a:pt x="4127637" y="1444405"/>
                </a:lnTo>
                <a:lnTo>
                  <a:pt x="4105983" y="1454835"/>
                </a:lnTo>
                <a:lnTo>
                  <a:pt x="4095137" y="1491405"/>
                </a:lnTo>
                <a:cubicBezTo>
                  <a:pt x="4093331" y="1496641"/>
                  <a:pt x="4091509" y="1501835"/>
                  <a:pt x="4089723" y="1507114"/>
                </a:cubicBezTo>
                <a:lnTo>
                  <a:pt x="4057221" y="1517544"/>
                </a:lnTo>
                <a:lnTo>
                  <a:pt x="4035565" y="1533211"/>
                </a:lnTo>
                <a:lnTo>
                  <a:pt x="4078895" y="1538405"/>
                </a:lnTo>
                <a:lnTo>
                  <a:pt x="4100549" y="1554114"/>
                </a:lnTo>
                <a:lnTo>
                  <a:pt x="4078895" y="1564544"/>
                </a:lnTo>
                <a:lnTo>
                  <a:pt x="4089723" y="1585447"/>
                </a:lnTo>
                <a:lnTo>
                  <a:pt x="4127637" y="1569780"/>
                </a:lnTo>
                <a:lnTo>
                  <a:pt x="4138465" y="1611544"/>
                </a:lnTo>
                <a:lnTo>
                  <a:pt x="4138465" y="1642919"/>
                </a:lnTo>
                <a:lnTo>
                  <a:pt x="4122223" y="1642919"/>
                </a:lnTo>
                <a:lnTo>
                  <a:pt x="4138465" y="1726531"/>
                </a:lnTo>
                <a:lnTo>
                  <a:pt x="4165553" y="1773531"/>
                </a:lnTo>
                <a:lnTo>
                  <a:pt x="4214297" y="1789197"/>
                </a:lnTo>
                <a:cubicBezTo>
                  <a:pt x="4216083" y="1797896"/>
                  <a:pt x="4217925" y="1806638"/>
                  <a:pt x="4219711" y="1815337"/>
                </a:cubicBezTo>
                <a:cubicBezTo>
                  <a:pt x="4218517" y="1809511"/>
                  <a:pt x="4207883" y="1811029"/>
                  <a:pt x="4190617" y="1818026"/>
                </a:cubicBezTo>
                <a:lnTo>
                  <a:pt x="4220365" y="1815337"/>
                </a:lnTo>
                <a:lnTo>
                  <a:pt x="4213751" y="1858085"/>
                </a:lnTo>
                <a:lnTo>
                  <a:pt x="4262727" y="1878153"/>
                </a:lnTo>
                <a:lnTo>
                  <a:pt x="4293199" y="1891452"/>
                </a:lnTo>
                <a:lnTo>
                  <a:pt x="4332885" y="1922207"/>
                </a:lnTo>
                <a:lnTo>
                  <a:pt x="4355405" y="1932894"/>
                </a:lnTo>
                <a:lnTo>
                  <a:pt x="4397767" y="2126567"/>
                </a:lnTo>
                <a:lnTo>
                  <a:pt x="4416271" y="2180003"/>
                </a:lnTo>
                <a:lnTo>
                  <a:pt x="4450679" y="2190690"/>
                </a:lnTo>
                <a:lnTo>
                  <a:pt x="4473199" y="2202683"/>
                </a:lnTo>
                <a:lnTo>
                  <a:pt x="4518161" y="2208026"/>
                </a:lnTo>
                <a:cubicBezTo>
                  <a:pt x="4514223" y="2223582"/>
                  <a:pt x="4510207" y="2239256"/>
                  <a:pt x="4506271" y="2254812"/>
                </a:cubicBezTo>
                <a:cubicBezTo>
                  <a:pt x="4503593" y="2264193"/>
                  <a:pt x="4500995" y="2273455"/>
                  <a:pt x="4498317" y="2282835"/>
                </a:cubicBezTo>
                <a:lnTo>
                  <a:pt x="4470523" y="2328196"/>
                </a:lnTo>
                <a:lnTo>
                  <a:pt x="4433435" y="2305516"/>
                </a:lnTo>
                <a:lnTo>
                  <a:pt x="4408317" y="2345651"/>
                </a:lnTo>
                <a:lnTo>
                  <a:pt x="4371231" y="2372369"/>
                </a:lnTo>
                <a:lnTo>
                  <a:pt x="4335561" y="2404430"/>
                </a:lnTo>
                <a:lnTo>
                  <a:pt x="4265405" y="2428417"/>
                </a:lnTo>
                <a:lnTo>
                  <a:pt x="4233673" y="2451097"/>
                </a:lnTo>
                <a:lnTo>
                  <a:pt x="4205877" y="2481852"/>
                </a:lnTo>
                <a:cubicBezTo>
                  <a:pt x="4204067" y="2496101"/>
                  <a:pt x="4202333" y="2510351"/>
                  <a:pt x="4200523" y="2524600"/>
                </a:cubicBezTo>
                <a:lnTo>
                  <a:pt x="4233673" y="2563311"/>
                </a:lnTo>
                <a:cubicBezTo>
                  <a:pt x="4230995" y="2571742"/>
                  <a:pt x="4228397" y="2580291"/>
                  <a:pt x="4225719" y="2588722"/>
                </a:cubicBezTo>
                <a:lnTo>
                  <a:pt x="4183357" y="2602021"/>
                </a:lnTo>
                <a:lnTo>
                  <a:pt x="4146271" y="2616746"/>
                </a:lnTo>
                <a:cubicBezTo>
                  <a:pt x="4147609" y="2626958"/>
                  <a:pt x="4148949" y="2637289"/>
                  <a:pt x="4150287" y="2647501"/>
                </a:cubicBezTo>
                <a:lnTo>
                  <a:pt x="4118475" y="2667569"/>
                </a:lnTo>
                <a:cubicBezTo>
                  <a:pt x="4121547" y="2680512"/>
                  <a:pt x="4124697" y="2693336"/>
                  <a:pt x="4127767" y="2706279"/>
                </a:cubicBezTo>
                <a:lnTo>
                  <a:pt x="4168791" y="2734303"/>
                </a:lnTo>
                <a:cubicBezTo>
                  <a:pt x="4165247" y="2742734"/>
                  <a:pt x="4161783" y="2751284"/>
                  <a:pt x="4158239" y="2759714"/>
                </a:cubicBezTo>
                <a:cubicBezTo>
                  <a:pt x="4157373" y="2782870"/>
                  <a:pt x="4156429" y="2806025"/>
                  <a:pt x="4155563" y="2829180"/>
                </a:cubicBezTo>
                <a:lnTo>
                  <a:pt x="4127767" y="2839867"/>
                </a:lnTo>
                <a:lnTo>
                  <a:pt x="4078791" y="2839867"/>
                </a:lnTo>
                <a:cubicBezTo>
                  <a:pt x="4076113" y="2828705"/>
                  <a:pt x="4073515" y="2817543"/>
                  <a:pt x="4070839" y="2806381"/>
                </a:cubicBezTo>
                <a:lnTo>
                  <a:pt x="4017925" y="2815762"/>
                </a:lnTo>
                <a:lnTo>
                  <a:pt x="3983515" y="2815762"/>
                </a:lnTo>
                <a:lnTo>
                  <a:pt x="3992807" y="2831792"/>
                </a:lnTo>
                <a:lnTo>
                  <a:pt x="3970287" y="2890571"/>
                </a:lnTo>
                <a:lnTo>
                  <a:pt x="3927925" y="2890571"/>
                </a:lnTo>
                <a:lnTo>
                  <a:pt x="3880287" y="2905296"/>
                </a:lnTo>
                <a:lnTo>
                  <a:pt x="3851153" y="2933319"/>
                </a:lnTo>
                <a:lnTo>
                  <a:pt x="3818083" y="2944006"/>
                </a:lnTo>
                <a:lnTo>
                  <a:pt x="3773123" y="2949350"/>
                </a:lnTo>
                <a:lnTo>
                  <a:pt x="3755879" y="2938663"/>
                </a:lnTo>
                <a:lnTo>
                  <a:pt x="3747925" y="2961343"/>
                </a:lnTo>
                <a:cubicBezTo>
                  <a:pt x="3743123" y="2969418"/>
                  <a:pt x="3738241" y="2977374"/>
                  <a:pt x="3733437" y="2985448"/>
                </a:cubicBezTo>
                <a:lnTo>
                  <a:pt x="3731467" y="2998214"/>
                </a:lnTo>
                <a:cubicBezTo>
                  <a:pt x="3731353" y="3001692"/>
                  <a:pt x="3732009" y="3005033"/>
                  <a:pt x="3732691" y="3008379"/>
                </a:cubicBezTo>
                <a:cubicBezTo>
                  <a:pt x="3694161" y="2996440"/>
                  <a:pt x="3654337" y="2970219"/>
                  <a:pt x="3615807" y="2958279"/>
                </a:cubicBezTo>
                <a:lnTo>
                  <a:pt x="3554781" y="2940371"/>
                </a:lnTo>
                <a:lnTo>
                  <a:pt x="3486511" y="2947549"/>
                </a:lnTo>
                <a:lnTo>
                  <a:pt x="3428845" y="2965458"/>
                </a:lnTo>
                <a:lnTo>
                  <a:pt x="3321013" y="2965458"/>
                </a:lnTo>
                <a:lnTo>
                  <a:pt x="3249123" y="2965458"/>
                </a:lnTo>
                <a:lnTo>
                  <a:pt x="3159133" y="2929640"/>
                </a:lnTo>
                <a:lnTo>
                  <a:pt x="3069401" y="2904553"/>
                </a:lnTo>
                <a:cubicBezTo>
                  <a:pt x="3047681" y="2890271"/>
                  <a:pt x="3026475" y="2875914"/>
                  <a:pt x="3004753" y="2861632"/>
                </a:cubicBezTo>
                <a:lnTo>
                  <a:pt x="2918383" y="2840096"/>
                </a:lnTo>
                <a:lnTo>
                  <a:pt x="2857357" y="2818636"/>
                </a:lnTo>
                <a:lnTo>
                  <a:pt x="2760125" y="2832993"/>
                </a:lnTo>
                <a:lnTo>
                  <a:pt x="2663153" y="2836544"/>
                </a:lnTo>
                <a:lnTo>
                  <a:pt x="2584283" y="2818636"/>
                </a:lnTo>
                <a:lnTo>
                  <a:pt x="2494293" y="2865184"/>
                </a:lnTo>
                <a:lnTo>
                  <a:pt x="2443867" y="2890271"/>
                </a:lnTo>
                <a:lnTo>
                  <a:pt x="2289487" y="2901001"/>
                </a:lnTo>
                <a:lnTo>
                  <a:pt x="2217599" y="2922462"/>
                </a:lnTo>
                <a:lnTo>
                  <a:pt x="2062961" y="2979815"/>
                </a:lnTo>
                <a:lnTo>
                  <a:pt x="1969349" y="3026363"/>
                </a:lnTo>
                <a:cubicBezTo>
                  <a:pt x="1956421" y="3051451"/>
                  <a:pt x="1942973" y="3076463"/>
                  <a:pt x="1930043" y="3101550"/>
                </a:cubicBezTo>
                <a:cubicBezTo>
                  <a:pt x="1908321" y="3123011"/>
                  <a:pt x="1886859" y="3144547"/>
                  <a:pt x="1865137" y="3166007"/>
                </a:cubicBezTo>
                <a:lnTo>
                  <a:pt x="1682053" y="3201825"/>
                </a:lnTo>
                <a:lnTo>
                  <a:pt x="1584823" y="3241194"/>
                </a:lnTo>
                <a:lnTo>
                  <a:pt x="1523795" y="3255552"/>
                </a:lnTo>
                <a:lnTo>
                  <a:pt x="1365537" y="3359378"/>
                </a:lnTo>
                <a:lnTo>
                  <a:pt x="1110305" y="3567105"/>
                </a:lnTo>
                <a:lnTo>
                  <a:pt x="1063759" y="3574284"/>
                </a:lnTo>
                <a:lnTo>
                  <a:pt x="1049234" y="3559585"/>
                </a:lnTo>
                <a:lnTo>
                  <a:pt x="1003038" y="3548896"/>
                </a:lnTo>
                <a:lnTo>
                  <a:pt x="939617" y="3542188"/>
                </a:lnTo>
                <a:lnTo>
                  <a:pt x="900009" y="3512765"/>
                </a:lnTo>
                <a:lnTo>
                  <a:pt x="847146" y="3512765"/>
                </a:lnTo>
                <a:lnTo>
                  <a:pt x="793012" y="3480722"/>
                </a:lnTo>
                <a:lnTo>
                  <a:pt x="732290" y="3444617"/>
                </a:lnTo>
                <a:cubicBezTo>
                  <a:pt x="727845" y="3431700"/>
                  <a:pt x="723480" y="3418783"/>
                  <a:pt x="719035" y="3405840"/>
                </a:cubicBezTo>
                <a:lnTo>
                  <a:pt x="689984" y="3365727"/>
                </a:lnTo>
                <a:lnTo>
                  <a:pt x="647756" y="3326976"/>
                </a:lnTo>
                <a:lnTo>
                  <a:pt x="586955" y="3312278"/>
                </a:lnTo>
                <a:lnTo>
                  <a:pt x="526234" y="3348356"/>
                </a:lnTo>
                <a:cubicBezTo>
                  <a:pt x="517899" y="3372408"/>
                  <a:pt x="509486" y="3396487"/>
                  <a:pt x="501151" y="3420539"/>
                </a:cubicBezTo>
                <a:lnTo>
                  <a:pt x="406060" y="3427220"/>
                </a:lnTo>
                <a:lnTo>
                  <a:pt x="341370" y="3384460"/>
                </a:lnTo>
                <a:lnTo>
                  <a:pt x="270012" y="3320295"/>
                </a:lnTo>
                <a:lnTo>
                  <a:pt x="279046" y="3281133"/>
                </a:lnTo>
                <a:lnTo>
                  <a:pt x="276764" y="3280927"/>
                </a:lnTo>
                <a:cubicBezTo>
                  <a:pt x="285527" y="3266692"/>
                  <a:pt x="294495" y="3252456"/>
                  <a:pt x="303258" y="3238220"/>
                </a:cubicBezTo>
                <a:lnTo>
                  <a:pt x="367252" y="3131828"/>
                </a:lnTo>
                <a:cubicBezTo>
                  <a:pt x="370717" y="3121152"/>
                  <a:pt x="374385" y="3110662"/>
                  <a:pt x="377850" y="3099986"/>
                </a:cubicBezTo>
                <a:cubicBezTo>
                  <a:pt x="376016" y="3091182"/>
                  <a:pt x="374385" y="3082191"/>
                  <a:pt x="372551" y="3073388"/>
                </a:cubicBezTo>
                <a:cubicBezTo>
                  <a:pt x="377850" y="3064584"/>
                  <a:pt x="383149" y="3055593"/>
                  <a:pt x="388448" y="3046790"/>
                </a:cubicBezTo>
                <a:lnTo>
                  <a:pt x="431042" y="3014760"/>
                </a:lnTo>
                <a:lnTo>
                  <a:pt x="404344" y="2972240"/>
                </a:lnTo>
                <a:cubicBezTo>
                  <a:pt x="400880" y="2965122"/>
                  <a:pt x="397211" y="2958004"/>
                  <a:pt x="393746" y="2950887"/>
                </a:cubicBezTo>
                <a:cubicBezTo>
                  <a:pt x="395581" y="2942083"/>
                  <a:pt x="397211" y="2933092"/>
                  <a:pt x="399045" y="2924289"/>
                </a:cubicBezTo>
                <a:cubicBezTo>
                  <a:pt x="393746" y="2919044"/>
                  <a:pt x="388448" y="2913612"/>
                  <a:pt x="383149" y="2908367"/>
                </a:cubicBezTo>
                <a:cubicBezTo>
                  <a:pt x="390282" y="2899564"/>
                  <a:pt x="397211" y="2890573"/>
                  <a:pt x="404344" y="2881769"/>
                </a:cubicBezTo>
                <a:lnTo>
                  <a:pt x="420445" y="2865848"/>
                </a:lnTo>
                <a:cubicBezTo>
                  <a:pt x="418610" y="2860603"/>
                  <a:pt x="416980" y="2855171"/>
                  <a:pt x="415146" y="2849926"/>
                </a:cubicBezTo>
                <a:lnTo>
                  <a:pt x="393746" y="2844494"/>
                </a:lnTo>
                <a:lnTo>
                  <a:pt x="372551" y="2844494"/>
                </a:lnTo>
                <a:cubicBezTo>
                  <a:pt x="361953" y="2837377"/>
                  <a:pt x="351152" y="2830446"/>
                  <a:pt x="340554" y="2823328"/>
                </a:cubicBezTo>
                <a:lnTo>
                  <a:pt x="340554" y="2801975"/>
                </a:lnTo>
                <a:cubicBezTo>
                  <a:pt x="345853" y="2796730"/>
                  <a:pt x="351152" y="2791298"/>
                  <a:pt x="356451" y="2786054"/>
                </a:cubicBezTo>
                <a:cubicBezTo>
                  <a:pt x="360119" y="2773691"/>
                  <a:pt x="363584" y="2761142"/>
                  <a:pt x="367252" y="2748779"/>
                </a:cubicBezTo>
                <a:lnTo>
                  <a:pt x="340554" y="2738103"/>
                </a:lnTo>
                <a:cubicBezTo>
                  <a:pt x="338720" y="2748779"/>
                  <a:pt x="337089" y="2759268"/>
                  <a:pt x="335255" y="2769945"/>
                </a:cubicBezTo>
                <a:lnTo>
                  <a:pt x="313856" y="2791298"/>
                </a:lnTo>
                <a:lnTo>
                  <a:pt x="297959" y="2801975"/>
                </a:lnTo>
                <a:lnTo>
                  <a:pt x="260663" y="2775377"/>
                </a:lnTo>
                <a:lnTo>
                  <a:pt x="223571" y="2791298"/>
                </a:lnTo>
                <a:lnTo>
                  <a:pt x="196873" y="2791298"/>
                </a:lnTo>
                <a:cubicBezTo>
                  <a:pt x="195039" y="2778936"/>
                  <a:pt x="193409" y="2766386"/>
                  <a:pt x="191574" y="2754024"/>
                </a:cubicBezTo>
                <a:lnTo>
                  <a:pt x="170379" y="2732858"/>
                </a:lnTo>
                <a:lnTo>
                  <a:pt x="127784" y="2711504"/>
                </a:lnTo>
                <a:lnTo>
                  <a:pt x="90488" y="2706260"/>
                </a:lnTo>
                <a:lnTo>
                  <a:pt x="74592" y="2706260"/>
                </a:lnTo>
                <a:cubicBezTo>
                  <a:pt x="70923" y="2692024"/>
                  <a:pt x="67459" y="2677789"/>
                  <a:pt x="63790" y="2663553"/>
                </a:cubicBezTo>
                <a:cubicBezTo>
                  <a:pt x="60326" y="2651191"/>
                  <a:pt x="56657" y="2638641"/>
                  <a:pt x="53192" y="2626278"/>
                </a:cubicBezTo>
                <a:cubicBezTo>
                  <a:pt x="58491" y="2624593"/>
                  <a:pt x="63790" y="2622719"/>
                  <a:pt x="69089" y="2621034"/>
                </a:cubicBezTo>
                <a:cubicBezTo>
                  <a:pt x="65624" y="2608671"/>
                  <a:pt x="61956" y="2596121"/>
                  <a:pt x="58491" y="2583759"/>
                </a:cubicBezTo>
                <a:cubicBezTo>
                  <a:pt x="51358" y="2578514"/>
                  <a:pt x="44429" y="2573082"/>
                  <a:pt x="37296" y="2567838"/>
                </a:cubicBezTo>
                <a:lnTo>
                  <a:pt x="0" y="2525318"/>
                </a:lnTo>
                <a:cubicBezTo>
                  <a:pt x="7133" y="2516515"/>
                  <a:pt x="14062" y="2507524"/>
                  <a:pt x="21195" y="2498720"/>
                </a:cubicBezTo>
                <a:cubicBezTo>
                  <a:pt x="17731" y="2488043"/>
                  <a:pt x="14062" y="2477367"/>
                  <a:pt x="10598" y="2466690"/>
                </a:cubicBezTo>
                <a:cubicBezTo>
                  <a:pt x="19565" y="2461445"/>
                  <a:pt x="28329" y="2456013"/>
                  <a:pt x="37296" y="2450769"/>
                </a:cubicBezTo>
                <a:lnTo>
                  <a:pt x="63790" y="2450769"/>
                </a:lnTo>
                <a:lnTo>
                  <a:pt x="85189" y="2429415"/>
                </a:lnTo>
                <a:cubicBezTo>
                  <a:pt x="92323" y="2427730"/>
                  <a:pt x="99252" y="2425857"/>
                  <a:pt x="106385" y="2424171"/>
                </a:cubicBezTo>
                <a:cubicBezTo>
                  <a:pt x="104551" y="2415367"/>
                  <a:pt x="102920" y="2406376"/>
                  <a:pt x="101086" y="2397573"/>
                </a:cubicBezTo>
                <a:lnTo>
                  <a:pt x="122485" y="2386896"/>
                </a:lnTo>
                <a:cubicBezTo>
                  <a:pt x="127784" y="2392141"/>
                  <a:pt x="133083" y="2397573"/>
                  <a:pt x="138382" y="2402817"/>
                </a:cubicBezTo>
                <a:lnTo>
                  <a:pt x="164876" y="2365543"/>
                </a:lnTo>
                <a:lnTo>
                  <a:pt x="191574" y="2365543"/>
                </a:lnTo>
                <a:lnTo>
                  <a:pt x="223571" y="2355053"/>
                </a:lnTo>
                <a:cubicBezTo>
                  <a:pt x="230704" y="2347935"/>
                  <a:pt x="237634" y="2340818"/>
                  <a:pt x="244767" y="2333700"/>
                </a:cubicBezTo>
                <a:lnTo>
                  <a:pt x="271465" y="2312347"/>
                </a:lnTo>
                <a:lnTo>
                  <a:pt x="297959" y="2323023"/>
                </a:lnTo>
                <a:cubicBezTo>
                  <a:pt x="301424" y="2326582"/>
                  <a:pt x="305092" y="2330141"/>
                  <a:pt x="308557" y="2333700"/>
                </a:cubicBezTo>
                <a:cubicBezTo>
                  <a:pt x="313856" y="2331827"/>
                  <a:pt x="319359" y="2330141"/>
                  <a:pt x="324657" y="2328268"/>
                </a:cubicBezTo>
                <a:cubicBezTo>
                  <a:pt x="322823" y="2319464"/>
                  <a:pt x="321193" y="2310473"/>
                  <a:pt x="319359" y="2301670"/>
                </a:cubicBezTo>
                <a:cubicBezTo>
                  <a:pt x="326492" y="2292866"/>
                  <a:pt x="333421" y="2283875"/>
                  <a:pt x="340554" y="2275072"/>
                </a:cubicBezTo>
                <a:cubicBezTo>
                  <a:pt x="342388" y="2269827"/>
                  <a:pt x="344019" y="2264395"/>
                  <a:pt x="345853" y="2259150"/>
                </a:cubicBezTo>
                <a:cubicBezTo>
                  <a:pt x="347687" y="2250347"/>
                  <a:pt x="349317" y="2241356"/>
                  <a:pt x="351152" y="2232552"/>
                </a:cubicBezTo>
                <a:cubicBezTo>
                  <a:pt x="352986" y="2228994"/>
                  <a:pt x="354616" y="2225435"/>
                  <a:pt x="356451" y="2221876"/>
                </a:cubicBezTo>
                <a:lnTo>
                  <a:pt x="356451" y="2200710"/>
                </a:lnTo>
                <a:cubicBezTo>
                  <a:pt x="358285" y="2193592"/>
                  <a:pt x="359915" y="2186474"/>
                  <a:pt x="361749" y="2179356"/>
                </a:cubicBezTo>
                <a:lnTo>
                  <a:pt x="367252" y="2168680"/>
                </a:lnTo>
                <a:lnTo>
                  <a:pt x="367252" y="2152758"/>
                </a:lnTo>
                <a:cubicBezTo>
                  <a:pt x="370717" y="2147514"/>
                  <a:pt x="374385" y="2142082"/>
                  <a:pt x="377850" y="2136837"/>
                </a:cubicBezTo>
                <a:lnTo>
                  <a:pt x="361749" y="2126160"/>
                </a:lnTo>
                <a:lnTo>
                  <a:pt x="335255" y="2110239"/>
                </a:lnTo>
                <a:lnTo>
                  <a:pt x="303258" y="2088886"/>
                </a:lnTo>
                <a:cubicBezTo>
                  <a:pt x="296125" y="2080082"/>
                  <a:pt x="289196" y="2071091"/>
                  <a:pt x="282063" y="2062287"/>
                </a:cubicBezTo>
                <a:cubicBezTo>
                  <a:pt x="280228" y="2053483"/>
                  <a:pt x="278598" y="2044493"/>
                  <a:pt x="276764" y="2035689"/>
                </a:cubicBezTo>
                <a:cubicBezTo>
                  <a:pt x="271465" y="2028571"/>
                  <a:pt x="265962" y="2021453"/>
                  <a:pt x="260663" y="2014336"/>
                </a:cubicBezTo>
                <a:cubicBezTo>
                  <a:pt x="257199" y="2003659"/>
                  <a:pt x="253530" y="1993170"/>
                  <a:pt x="250066" y="1982493"/>
                </a:cubicBezTo>
                <a:lnTo>
                  <a:pt x="250066" y="1961140"/>
                </a:lnTo>
                <a:cubicBezTo>
                  <a:pt x="255365" y="1946904"/>
                  <a:pt x="260663" y="1932856"/>
                  <a:pt x="265962" y="1918620"/>
                </a:cubicBezTo>
                <a:cubicBezTo>
                  <a:pt x="269631" y="1911502"/>
                  <a:pt x="273095" y="1904385"/>
                  <a:pt x="276764" y="1897267"/>
                </a:cubicBezTo>
                <a:lnTo>
                  <a:pt x="313856" y="1886777"/>
                </a:lnTo>
                <a:cubicBezTo>
                  <a:pt x="324454" y="1893895"/>
                  <a:pt x="335255" y="1900826"/>
                  <a:pt x="345853" y="1907943"/>
                </a:cubicBezTo>
                <a:lnTo>
                  <a:pt x="372551" y="1886777"/>
                </a:lnTo>
                <a:lnTo>
                  <a:pt x="388448" y="1854747"/>
                </a:lnTo>
                <a:cubicBezTo>
                  <a:pt x="391912" y="1844071"/>
                  <a:pt x="395581" y="1833581"/>
                  <a:pt x="399045" y="1822905"/>
                </a:cubicBezTo>
                <a:lnTo>
                  <a:pt x="420445" y="1828149"/>
                </a:lnTo>
                <a:cubicBezTo>
                  <a:pt x="418610" y="1821032"/>
                  <a:pt x="416980" y="1813914"/>
                  <a:pt x="415146" y="1806796"/>
                </a:cubicBezTo>
                <a:lnTo>
                  <a:pt x="393746" y="1790875"/>
                </a:lnTo>
                <a:lnTo>
                  <a:pt x="393746" y="1774953"/>
                </a:lnTo>
                <a:lnTo>
                  <a:pt x="367252" y="1759032"/>
                </a:lnTo>
                <a:cubicBezTo>
                  <a:pt x="363584" y="1755473"/>
                  <a:pt x="360119" y="1751914"/>
                  <a:pt x="356451" y="1748355"/>
                </a:cubicBezTo>
                <a:lnTo>
                  <a:pt x="340554" y="1748355"/>
                </a:lnTo>
                <a:cubicBezTo>
                  <a:pt x="331587" y="1743111"/>
                  <a:pt x="322823" y="1737679"/>
                  <a:pt x="313856" y="1732434"/>
                </a:cubicBezTo>
                <a:cubicBezTo>
                  <a:pt x="310391" y="1720071"/>
                  <a:pt x="306723" y="1707522"/>
                  <a:pt x="303258" y="1695159"/>
                </a:cubicBezTo>
                <a:lnTo>
                  <a:pt x="271465" y="1700404"/>
                </a:lnTo>
                <a:cubicBezTo>
                  <a:pt x="267797" y="1693286"/>
                  <a:pt x="264332" y="1686356"/>
                  <a:pt x="260663" y="1679238"/>
                </a:cubicBezTo>
                <a:cubicBezTo>
                  <a:pt x="257199" y="1675679"/>
                  <a:pt x="253530" y="1672120"/>
                  <a:pt x="250066" y="1668561"/>
                </a:cubicBezTo>
                <a:cubicBezTo>
                  <a:pt x="251900" y="1659757"/>
                  <a:pt x="253530" y="1650767"/>
                  <a:pt x="255365" y="1641963"/>
                </a:cubicBezTo>
                <a:lnTo>
                  <a:pt x="265962" y="1641963"/>
                </a:lnTo>
                <a:cubicBezTo>
                  <a:pt x="264128" y="1631286"/>
                  <a:pt x="262498" y="1620610"/>
                  <a:pt x="260663" y="1609933"/>
                </a:cubicBezTo>
                <a:lnTo>
                  <a:pt x="282063" y="1588767"/>
                </a:lnTo>
                <a:lnTo>
                  <a:pt x="308557" y="1588767"/>
                </a:lnTo>
                <a:lnTo>
                  <a:pt x="372551" y="1615365"/>
                </a:lnTo>
                <a:lnTo>
                  <a:pt x="399045" y="1615365"/>
                </a:lnTo>
                <a:cubicBezTo>
                  <a:pt x="404344" y="1626042"/>
                  <a:pt x="409847" y="1636531"/>
                  <a:pt x="415146" y="1647208"/>
                </a:cubicBezTo>
                <a:lnTo>
                  <a:pt x="431042" y="1668561"/>
                </a:lnTo>
                <a:cubicBezTo>
                  <a:pt x="438175" y="1677365"/>
                  <a:pt x="445105" y="1686356"/>
                  <a:pt x="452238" y="1695159"/>
                </a:cubicBezTo>
                <a:lnTo>
                  <a:pt x="478936" y="1716325"/>
                </a:lnTo>
                <a:lnTo>
                  <a:pt x="516232" y="1748355"/>
                </a:lnTo>
                <a:lnTo>
                  <a:pt x="516232" y="1764277"/>
                </a:lnTo>
                <a:lnTo>
                  <a:pt x="516232" y="1780198"/>
                </a:lnTo>
                <a:cubicBezTo>
                  <a:pt x="518066" y="1790875"/>
                  <a:pt x="519696" y="1801551"/>
                  <a:pt x="521531" y="1812228"/>
                </a:cubicBezTo>
                <a:cubicBezTo>
                  <a:pt x="526829" y="1822905"/>
                  <a:pt x="532128" y="1833394"/>
                  <a:pt x="537427" y="1844071"/>
                </a:cubicBezTo>
                <a:cubicBezTo>
                  <a:pt x="540892" y="1859992"/>
                  <a:pt x="544560" y="1876101"/>
                  <a:pt x="548025" y="1892022"/>
                </a:cubicBezTo>
                <a:lnTo>
                  <a:pt x="548025" y="1913375"/>
                </a:lnTo>
                <a:lnTo>
                  <a:pt x="569424" y="1929297"/>
                </a:lnTo>
                <a:cubicBezTo>
                  <a:pt x="574723" y="1934541"/>
                  <a:pt x="580022" y="1939973"/>
                  <a:pt x="585321" y="1945218"/>
                </a:cubicBezTo>
                <a:lnTo>
                  <a:pt x="622617" y="1950463"/>
                </a:lnTo>
                <a:lnTo>
                  <a:pt x="654410" y="1945218"/>
                </a:lnTo>
                <a:lnTo>
                  <a:pt x="697005" y="1934541"/>
                </a:lnTo>
                <a:lnTo>
                  <a:pt x="713105" y="1934541"/>
                </a:lnTo>
                <a:lnTo>
                  <a:pt x="744898" y="1955895"/>
                </a:lnTo>
                <a:lnTo>
                  <a:pt x="776895" y="1966572"/>
                </a:lnTo>
                <a:cubicBezTo>
                  <a:pt x="780360" y="1970130"/>
                  <a:pt x="784028" y="1973502"/>
                  <a:pt x="787493" y="1977061"/>
                </a:cubicBezTo>
                <a:cubicBezTo>
                  <a:pt x="789327" y="1984179"/>
                  <a:pt x="790957" y="1991296"/>
                  <a:pt x="792792" y="1998414"/>
                </a:cubicBezTo>
                <a:cubicBezTo>
                  <a:pt x="785659" y="2007218"/>
                  <a:pt x="778729" y="2016209"/>
                  <a:pt x="771596" y="2025012"/>
                </a:cubicBezTo>
                <a:lnTo>
                  <a:pt x="744898" y="2035689"/>
                </a:lnTo>
                <a:cubicBezTo>
                  <a:pt x="737765" y="2037375"/>
                  <a:pt x="730836" y="2039248"/>
                  <a:pt x="723703" y="2040934"/>
                </a:cubicBezTo>
                <a:cubicBezTo>
                  <a:pt x="721869" y="2051610"/>
                  <a:pt x="720238" y="2062287"/>
                  <a:pt x="718404" y="2072964"/>
                </a:cubicBezTo>
                <a:cubicBezTo>
                  <a:pt x="714939" y="2078208"/>
                  <a:pt x="711271" y="2083640"/>
                  <a:pt x="707806" y="2088886"/>
                </a:cubicBezTo>
                <a:lnTo>
                  <a:pt x="681108" y="2088886"/>
                </a:lnTo>
                <a:cubicBezTo>
                  <a:pt x="675809" y="2087200"/>
                  <a:pt x="670510" y="2085326"/>
                  <a:pt x="665211" y="2083640"/>
                </a:cubicBezTo>
                <a:lnTo>
                  <a:pt x="643812" y="2104807"/>
                </a:lnTo>
                <a:lnTo>
                  <a:pt x="617318" y="2104807"/>
                </a:lnTo>
                <a:lnTo>
                  <a:pt x="601217" y="2115484"/>
                </a:lnTo>
                <a:lnTo>
                  <a:pt x="606720" y="2147514"/>
                </a:lnTo>
                <a:cubicBezTo>
                  <a:pt x="604886" y="2154631"/>
                  <a:pt x="603052" y="2161562"/>
                  <a:pt x="601217" y="2168680"/>
                </a:cubicBezTo>
                <a:cubicBezTo>
                  <a:pt x="594084" y="2173924"/>
                  <a:pt x="587155" y="2179356"/>
                  <a:pt x="580022" y="2184601"/>
                </a:cubicBezTo>
                <a:lnTo>
                  <a:pt x="558827" y="2195278"/>
                </a:lnTo>
                <a:cubicBezTo>
                  <a:pt x="562291" y="2204081"/>
                  <a:pt x="565960" y="2213072"/>
                  <a:pt x="569424" y="2221876"/>
                </a:cubicBezTo>
                <a:lnTo>
                  <a:pt x="569424" y="2237984"/>
                </a:lnTo>
                <a:lnTo>
                  <a:pt x="590620" y="2237984"/>
                </a:lnTo>
                <a:lnTo>
                  <a:pt x="622617" y="2227308"/>
                </a:lnTo>
                <a:lnTo>
                  <a:pt x="654410" y="2211199"/>
                </a:lnTo>
                <a:cubicBezTo>
                  <a:pt x="658078" y="2223562"/>
                  <a:pt x="661543" y="2236111"/>
                  <a:pt x="665211" y="2248474"/>
                </a:cubicBezTo>
                <a:cubicBezTo>
                  <a:pt x="663377" y="2260836"/>
                  <a:pt x="661747" y="2273386"/>
                  <a:pt x="659913" y="2285749"/>
                </a:cubicBezTo>
                <a:cubicBezTo>
                  <a:pt x="656244" y="2292866"/>
                  <a:pt x="652779" y="2299984"/>
                  <a:pt x="649111" y="2307102"/>
                </a:cubicBezTo>
                <a:cubicBezTo>
                  <a:pt x="645646" y="2319464"/>
                  <a:pt x="641978" y="2332014"/>
                  <a:pt x="638513" y="2344377"/>
                </a:cubicBezTo>
                <a:cubicBezTo>
                  <a:pt x="635049" y="2353180"/>
                  <a:pt x="631380" y="2362171"/>
                  <a:pt x="627915" y="2370975"/>
                </a:cubicBezTo>
                <a:cubicBezTo>
                  <a:pt x="626081" y="2383337"/>
                  <a:pt x="624451" y="2395887"/>
                  <a:pt x="622617" y="2408249"/>
                </a:cubicBezTo>
                <a:cubicBezTo>
                  <a:pt x="613649" y="2417053"/>
                  <a:pt x="604886" y="2426044"/>
                  <a:pt x="595919" y="2434847"/>
                </a:cubicBezTo>
                <a:lnTo>
                  <a:pt x="564125" y="2466690"/>
                </a:lnTo>
                <a:lnTo>
                  <a:pt x="548025" y="2482611"/>
                </a:lnTo>
                <a:lnTo>
                  <a:pt x="548025" y="2514642"/>
                </a:lnTo>
                <a:cubicBezTo>
                  <a:pt x="549859" y="2519886"/>
                  <a:pt x="551490" y="2525318"/>
                  <a:pt x="553324" y="2530563"/>
                </a:cubicBezTo>
                <a:lnTo>
                  <a:pt x="574723" y="2546484"/>
                </a:lnTo>
                <a:lnTo>
                  <a:pt x="612019" y="2573082"/>
                </a:lnTo>
                <a:lnTo>
                  <a:pt x="612019" y="2599680"/>
                </a:lnTo>
                <a:cubicBezTo>
                  <a:pt x="615484" y="2608484"/>
                  <a:pt x="619152" y="2617475"/>
                  <a:pt x="622617" y="2626278"/>
                </a:cubicBezTo>
                <a:cubicBezTo>
                  <a:pt x="619152" y="2635082"/>
                  <a:pt x="615484" y="2644073"/>
                  <a:pt x="612019" y="2652876"/>
                </a:cubicBezTo>
                <a:lnTo>
                  <a:pt x="612019" y="2674230"/>
                </a:lnTo>
                <a:cubicBezTo>
                  <a:pt x="617318" y="2679474"/>
                  <a:pt x="622617" y="2684906"/>
                  <a:pt x="627915" y="2690151"/>
                </a:cubicBezTo>
                <a:lnTo>
                  <a:pt x="659913" y="2706260"/>
                </a:lnTo>
                <a:cubicBezTo>
                  <a:pt x="667046" y="2715063"/>
                  <a:pt x="673975" y="2724054"/>
                  <a:pt x="681108" y="2732858"/>
                </a:cubicBezTo>
                <a:cubicBezTo>
                  <a:pt x="688241" y="2741661"/>
                  <a:pt x="695170" y="2750652"/>
                  <a:pt x="702303" y="2759456"/>
                </a:cubicBezTo>
                <a:lnTo>
                  <a:pt x="739599" y="2754024"/>
                </a:lnTo>
                <a:lnTo>
                  <a:pt x="739599" y="2732858"/>
                </a:lnTo>
                <a:lnTo>
                  <a:pt x="723703" y="2722181"/>
                </a:lnTo>
                <a:lnTo>
                  <a:pt x="702303" y="2711504"/>
                </a:lnTo>
                <a:lnTo>
                  <a:pt x="675809" y="2690151"/>
                </a:lnTo>
                <a:cubicBezTo>
                  <a:pt x="670510" y="2679474"/>
                  <a:pt x="665211" y="2668985"/>
                  <a:pt x="659913" y="2658308"/>
                </a:cubicBezTo>
                <a:cubicBezTo>
                  <a:pt x="658078" y="2653064"/>
                  <a:pt x="656244" y="2647632"/>
                  <a:pt x="654410" y="2642387"/>
                </a:cubicBezTo>
                <a:lnTo>
                  <a:pt x="659913" y="2621034"/>
                </a:lnTo>
                <a:cubicBezTo>
                  <a:pt x="656244" y="2617475"/>
                  <a:pt x="652779" y="2613916"/>
                  <a:pt x="649111" y="2610357"/>
                </a:cubicBezTo>
                <a:cubicBezTo>
                  <a:pt x="645646" y="2601553"/>
                  <a:pt x="641978" y="2592563"/>
                  <a:pt x="638513" y="2583759"/>
                </a:cubicBezTo>
                <a:cubicBezTo>
                  <a:pt x="636679" y="2574955"/>
                  <a:pt x="635049" y="2565964"/>
                  <a:pt x="633214" y="2557161"/>
                </a:cubicBezTo>
                <a:lnTo>
                  <a:pt x="612019" y="2546484"/>
                </a:lnTo>
                <a:lnTo>
                  <a:pt x="612019" y="2514642"/>
                </a:lnTo>
                <a:cubicBezTo>
                  <a:pt x="610185" y="2502279"/>
                  <a:pt x="608554" y="2489729"/>
                  <a:pt x="606720" y="2477367"/>
                </a:cubicBezTo>
                <a:lnTo>
                  <a:pt x="601217" y="2456013"/>
                </a:lnTo>
                <a:lnTo>
                  <a:pt x="643812" y="2450769"/>
                </a:lnTo>
                <a:lnTo>
                  <a:pt x="675809" y="2466690"/>
                </a:lnTo>
                <a:cubicBezTo>
                  <a:pt x="682942" y="2459572"/>
                  <a:pt x="689871" y="2452455"/>
                  <a:pt x="697005" y="2445337"/>
                </a:cubicBezTo>
                <a:lnTo>
                  <a:pt x="713105" y="2440092"/>
                </a:lnTo>
                <a:cubicBezTo>
                  <a:pt x="718404" y="2434847"/>
                  <a:pt x="723703" y="2429415"/>
                  <a:pt x="729002" y="2424171"/>
                </a:cubicBezTo>
                <a:lnTo>
                  <a:pt x="729002" y="2370975"/>
                </a:lnTo>
                <a:lnTo>
                  <a:pt x="729002" y="2328268"/>
                </a:lnTo>
                <a:cubicBezTo>
                  <a:pt x="727167" y="2310473"/>
                  <a:pt x="725537" y="2292866"/>
                  <a:pt x="723703" y="2275072"/>
                </a:cubicBezTo>
                <a:cubicBezTo>
                  <a:pt x="721869" y="2262709"/>
                  <a:pt x="720238" y="2250347"/>
                  <a:pt x="718404" y="2237984"/>
                </a:cubicBezTo>
                <a:lnTo>
                  <a:pt x="718404" y="2211199"/>
                </a:lnTo>
                <a:lnTo>
                  <a:pt x="702303" y="2211199"/>
                </a:lnTo>
                <a:cubicBezTo>
                  <a:pt x="700469" y="2204081"/>
                  <a:pt x="698839" y="2197151"/>
                  <a:pt x="697005" y="2190033"/>
                </a:cubicBezTo>
                <a:cubicBezTo>
                  <a:pt x="695170" y="2181229"/>
                  <a:pt x="693540" y="2172239"/>
                  <a:pt x="691706" y="2163435"/>
                </a:cubicBezTo>
                <a:lnTo>
                  <a:pt x="718404" y="2163435"/>
                </a:lnTo>
                <a:cubicBezTo>
                  <a:pt x="716570" y="2156317"/>
                  <a:pt x="714939" y="2149199"/>
                  <a:pt x="713105" y="2142082"/>
                </a:cubicBezTo>
                <a:cubicBezTo>
                  <a:pt x="716570" y="2138523"/>
                  <a:pt x="720238" y="2134964"/>
                  <a:pt x="723703" y="2131405"/>
                </a:cubicBezTo>
                <a:cubicBezTo>
                  <a:pt x="729002" y="2124287"/>
                  <a:pt x="734300" y="2117357"/>
                  <a:pt x="739599" y="2110239"/>
                </a:cubicBezTo>
                <a:cubicBezTo>
                  <a:pt x="744898" y="2104807"/>
                  <a:pt x="750401" y="2099562"/>
                  <a:pt x="755700" y="2094130"/>
                </a:cubicBezTo>
                <a:cubicBezTo>
                  <a:pt x="757534" y="2085326"/>
                  <a:pt x="759164" y="2076335"/>
                  <a:pt x="760999" y="2067532"/>
                </a:cubicBezTo>
                <a:cubicBezTo>
                  <a:pt x="766297" y="2065846"/>
                  <a:pt x="771596" y="2063973"/>
                  <a:pt x="776895" y="2062287"/>
                </a:cubicBezTo>
                <a:lnTo>
                  <a:pt x="798091" y="2062287"/>
                </a:lnTo>
                <a:cubicBezTo>
                  <a:pt x="801759" y="2055169"/>
                  <a:pt x="805224" y="2048051"/>
                  <a:pt x="808892" y="2040934"/>
                </a:cubicBezTo>
                <a:cubicBezTo>
                  <a:pt x="812357" y="2035689"/>
                  <a:pt x="816025" y="2030257"/>
                  <a:pt x="819490" y="2025012"/>
                </a:cubicBezTo>
                <a:cubicBezTo>
                  <a:pt x="817656" y="2010777"/>
                  <a:pt x="816025" y="1996728"/>
                  <a:pt x="814191" y="1982493"/>
                </a:cubicBezTo>
                <a:cubicBezTo>
                  <a:pt x="812357" y="1973689"/>
                  <a:pt x="810726" y="1964698"/>
                  <a:pt x="808892" y="1955895"/>
                </a:cubicBezTo>
                <a:cubicBezTo>
                  <a:pt x="810726" y="1950650"/>
                  <a:pt x="812357" y="1945218"/>
                  <a:pt x="814191" y="1939973"/>
                </a:cubicBezTo>
                <a:lnTo>
                  <a:pt x="792792" y="1923865"/>
                </a:lnTo>
                <a:cubicBezTo>
                  <a:pt x="787493" y="1920306"/>
                  <a:pt x="782194" y="1916934"/>
                  <a:pt x="776895" y="1913375"/>
                </a:cubicBezTo>
                <a:lnTo>
                  <a:pt x="755700" y="1897267"/>
                </a:lnTo>
                <a:lnTo>
                  <a:pt x="734300" y="1897267"/>
                </a:lnTo>
                <a:cubicBezTo>
                  <a:pt x="729002" y="1888463"/>
                  <a:pt x="723703" y="1879472"/>
                  <a:pt x="718404" y="1870669"/>
                </a:cubicBezTo>
                <a:cubicBezTo>
                  <a:pt x="713105" y="1863551"/>
                  <a:pt x="707602" y="1856620"/>
                  <a:pt x="702303" y="1849503"/>
                </a:cubicBezTo>
                <a:cubicBezTo>
                  <a:pt x="698839" y="1842385"/>
                  <a:pt x="695170" y="1835267"/>
                  <a:pt x="691706" y="1828149"/>
                </a:cubicBezTo>
                <a:cubicBezTo>
                  <a:pt x="688241" y="1821032"/>
                  <a:pt x="684573" y="1813914"/>
                  <a:pt x="681108" y="1806796"/>
                </a:cubicBezTo>
                <a:cubicBezTo>
                  <a:pt x="690075" y="1797992"/>
                  <a:pt x="698839" y="1789002"/>
                  <a:pt x="707806" y="1780198"/>
                </a:cubicBezTo>
                <a:lnTo>
                  <a:pt x="707806" y="1742923"/>
                </a:lnTo>
                <a:lnTo>
                  <a:pt x="697005" y="1732434"/>
                </a:lnTo>
                <a:lnTo>
                  <a:pt x="659913" y="1727002"/>
                </a:lnTo>
                <a:cubicBezTo>
                  <a:pt x="650945" y="1721757"/>
                  <a:pt x="642182" y="1716325"/>
                  <a:pt x="633214" y="1711080"/>
                </a:cubicBezTo>
                <a:lnTo>
                  <a:pt x="633214" y="1684482"/>
                </a:lnTo>
                <a:lnTo>
                  <a:pt x="601217" y="1679238"/>
                </a:lnTo>
                <a:lnTo>
                  <a:pt x="569424" y="1668561"/>
                </a:lnTo>
                <a:lnTo>
                  <a:pt x="548025" y="1647208"/>
                </a:lnTo>
                <a:cubicBezTo>
                  <a:pt x="544560" y="1641963"/>
                  <a:pt x="540892" y="1636531"/>
                  <a:pt x="537427" y="1631286"/>
                </a:cubicBezTo>
                <a:cubicBezTo>
                  <a:pt x="542726" y="1618924"/>
                  <a:pt x="548025" y="1606374"/>
                  <a:pt x="553324" y="1594012"/>
                </a:cubicBezTo>
                <a:lnTo>
                  <a:pt x="558827" y="1572658"/>
                </a:lnTo>
                <a:cubicBezTo>
                  <a:pt x="560661" y="1561982"/>
                  <a:pt x="562291" y="1551492"/>
                  <a:pt x="564125" y="1540816"/>
                </a:cubicBezTo>
                <a:cubicBezTo>
                  <a:pt x="565960" y="1533698"/>
                  <a:pt x="567590" y="1526580"/>
                  <a:pt x="569424" y="1519462"/>
                </a:cubicBezTo>
                <a:lnTo>
                  <a:pt x="601217" y="1503541"/>
                </a:lnTo>
                <a:lnTo>
                  <a:pt x="604639" y="1487000"/>
                </a:lnTo>
                <a:lnTo>
                  <a:pt x="595975" y="1474003"/>
                </a:lnTo>
                <a:lnTo>
                  <a:pt x="590654" y="1442075"/>
                </a:lnTo>
                <a:lnTo>
                  <a:pt x="590654" y="1431433"/>
                </a:lnTo>
                <a:lnTo>
                  <a:pt x="558727" y="1410147"/>
                </a:lnTo>
                <a:lnTo>
                  <a:pt x="590654" y="1404826"/>
                </a:lnTo>
                <a:lnTo>
                  <a:pt x="590654" y="1388862"/>
                </a:lnTo>
                <a:lnTo>
                  <a:pt x="580012" y="1367577"/>
                </a:lnTo>
                <a:lnTo>
                  <a:pt x="611939" y="1367577"/>
                </a:lnTo>
                <a:lnTo>
                  <a:pt x="617260" y="1351613"/>
                </a:lnTo>
                <a:lnTo>
                  <a:pt x="590654" y="1340970"/>
                </a:lnTo>
                <a:lnTo>
                  <a:pt x="590654" y="1319685"/>
                </a:lnTo>
                <a:lnTo>
                  <a:pt x="622582" y="1309043"/>
                </a:lnTo>
                <a:lnTo>
                  <a:pt x="622582" y="1293079"/>
                </a:lnTo>
                <a:lnTo>
                  <a:pt x="638545" y="1287757"/>
                </a:lnTo>
                <a:lnTo>
                  <a:pt x="627903" y="1271793"/>
                </a:lnTo>
                <a:lnTo>
                  <a:pt x="638545" y="1250508"/>
                </a:lnTo>
                <a:lnTo>
                  <a:pt x="643866" y="1234544"/>
                </a:lnTo>
                <a:lnTo>
                  <a:pt x="665151" y="1234544"/>
                </a:lnTo>
                <a:lnTo>
                  <a:pt x="702400" y="1245187"/>
                </a:lnTo>
                <a:lnTo>
                  <a:pt x="734327" y="1261151"/>
                </a:lnTo>
                <a:lnTo>
                  <a:pt x="766254" y="1250508"/>
                </a:lnTo>
                <a:lnTo>
                  <a:pt x="846073" y="1266472"/>
                </a:lnTo>
                <a:lnTo>
                  <a:pt x="888642" y="1277115"/>
                </a:lnTo>
                <a:lnTo>
                  <a:pt x="931212" y="1287757"/>
                </a:lnTo>
                <a:lnTo>
                  <a:pt x="1037636" y="1287757"/>
                </a:lnTo>
                <a:lnTo>
                  <a:pt x="1149381" y="1298400"/>
                </a:lnTo>
                <a:lnTo>
                  <a:pt x="1165345" y="1319685"/>
                </a:lnTo>
                <a:lnTo>
                  <a:pt x="1202593" y="1314364"/>
                </a:lnTo>
                <a:lnTo>
                  <a:pt x="1223879" y="1293079"/>
                </a:lnTo>
                <a:lnTo>
                  <a:pt x="1271769" y="1287757"/>
                </a:lnTo>
                <a:lnTo>
                  <a:pt x="1346267" y="1282436"/>
                </a:lnTo>
                <a:lnTo>
                  <a:pt x="1388837" y="1298400"/>
                </a:lnTo>
                <a:lnTo>
                  <a:pt x="1399479" y="1330328"/>
                </a:lnTo>
                <a:lnTo>
                  <a:pt x="1367551" y="1346292"/>
                </a:lnTo>
                <a:lnTo>
                  <a:pt x="1282413" y="1383541"/>
                </a:lnTo>
                <a:lnTo>
                  <a:pt x="1255805" y="1410147"/>
                </a:lnTo>
                <a:lnTo>
                  <a:pt x="1319661" y="1394184"/>
                </a:lnTo>
                <a:lnTo>
                  <a:pt x="1372873" y="1399505"/>
                </a:lnTo>
                <a:lnTo>
                  <a:pt x="1394157" y="1394184"/>
                </a:lnTo>
                <a:lnTo>
                  <a:pt x="1431407" y="1356934"/>
                </a:lnTo>
                <a:lnTo>
                  <a:pt x="1426085" y="1325006"/>
                </a:lnTo>
                <a:lnTo>
                  <a:pt x="1404801" y="1287757"/>
                </a:lnTo>
                <a:lnTo>
                  <a:pt x="1394157" y="1234544"/>
                </a:lnTo>
                <a:lnTo>
                  <a:pt x="1463333" y="1261151"/>
                </a:lnTo>
                <a:lnTo>
                  <a:pt x="1458013" y="1234544"/>
                </a:lnTo>
                <a:lnTo>
                  <a:pt x="1426085" y="1229223"/>
                </a:lnTo>
                <a:lnTo>
                  <a:pt x="1404801" y="1218580"/>
                </a:lnTo>
                <a:lnTo>
                  <a:pt x="1383515" y="1207938"/>
                </a:lnTo>
                <a:lnTo>
                  <a:pt x="1388837" y="1165367"/>
                </a:lnTo>
                <a:lnTo>
                  <a:pt x="1367551" y="1149403"/>
                </a:lnTo>
                <a:lnTo>
                  <a:pt x="1340945" y="1133439"/>
                </a:lnTo>
                <a:lnTo>
                  <a:pt x="1309019" y="1117475"/>
                </a:lnTo>
                <a:lnTo>
                  <a:pt x="1298375" y="1096190"/>
                </a:lnTo>
                <a:lnTo>
                  <a:pt x="1319661" y="1085547"/>
                </a:lnTo>
                <a:lnTo>
                  <a:pt x="1340945" y="1085547"/>
                </a:lnTo>
                <a:lnTo>
                  <a:pt x="1383515" y="1064262"/>
                </a:lnTo>
                <a:lnTo>
                  <a:pt x="1420763" y="1096190"/>
                </a:lnTo>
                <a:lnTo>
                  <a:pt x="1442049" y="1096190"/>
                </a:lnTo>
                <a:lnTo>
                  <a:pt x="1415443" y="1117475"/>
                </a:lnTo>
                <a:lnTo>
                  <a:pt x="1447369" y="1128118"/>
                </a:lnTo>
                <a:lnTo>
                  <a:pt x="1463333" y="1106833"/>
                </a:lnTo>
                <a:lnTo>
                  <a:pt x="1463333" y="1080226"/>
                </a:lnTo>
                <a:lnTo>
                  <a:pt x="1431407" y="1085547"/>
                </a:lnTo>
                <a:lnTo>
                  <a:pt x="1415443" y="1048298"/>
                </a:lnTo>
                <a:lnTo>
                  <a:pt x="1383515" y="1027013"/>
                </a:lnTo>
                <a:lnTo>
                  <a:pt x="1346267" y="1005728"/>
                </a:lnTo>
                <a:lnTo>
                  <a:pt x="1314339" y="989764"/>
                </a:lnTo>
                <a:lnTo>
                  <a:pt x="1319661" y="973800"/>
                </a:lnTo>
                <a:lnTo>
                  <a:pt x="1351587" y="963157"/>
                </a:lnTo>
                <a:lnTo>
                  <a:pt x="1367551" y="936551"/>
                </a:lnTo>
                <a:lnTo>
                  <a:pt x="1415443" y="947193"/>
                </a:lnTo>
                <a:lnTo>
                  <a:pt x="1410121" y="968479"/>
                </a:lnTo>
                <a:lnTo>
                  <a:pt x="1431407" y="989764"/>
                </a:lnTo>
                <a:lnTo>
                  <a:pt x="1442049" y="1016370"/>
                </a:lnTo>
                <a:lnTo>
                  <a:pt x="1458013" y="1005728"/>
                </a:lnTo>
                <a:lnTo>
                  <a:pt x="1447369" y="984442"/>
                </a:lnTo>
                <a:lnTo>
                  <a:pt x="1468655" y="973800"/>
                </a:lnTo>
                <a:lnTo>
                  <a:pt x="1495261" y="931229"/>
                </a:lnTo>
                <a:lnTo>
                  <a:pt x="1516545" y="909944"/>
                </a:lnTo>
                <a:lnTo>
                  <a:pt x="1516545" y="883338"/>
                </a:lnTo>
                <a:lnTo>
                  <a:pt x="1489939" y="872695"/>
                </a:lnTo>
                <a:lnTo>
                  <a:pt x="1489939" y="851410"/>
                </a:lnTo>
                <a:lnTo>
                  <a:pt x="1543151" y="851410"/>
                </a:lnTo>
                <a:lnTo>
                  <a:pt x="1575079" y="856731"/>
                </a:lnTo>
                <a:lnTo>
                  <a:pt x="1612327" y="878016"/>
                </a:lnTo>
                <a:lnTo>
                  <a:pt x="1660219" y="830124"/>
                </a:lnTo>
                <a:lnTo>
                  <a:pt x="1670861" y="819482"/>
                </a:lnTo>
                <a:lnTo>
                  <a:pt x="1676181" y="830124"/>
                </a:lnTo>
                <a:lnTo>
                  <a:pt x="1713431" y="792875"/>
                </a:lnTo>
                <a:lnTo>
                  <a:pt x="1761321" y="760947"/>
                </a:lnTo>
                <a:lnTo>
                  <a:pt x="1803891" y="776911"/>
                </a:lnTo>
                <a:lnTo>
                  <a:pt x="1814533" y="760947"/>
                </a:lnTo>
                <a:lnTo>
                  <a:pt x="1835819" y="760947"/>
                </a:lnTo>
                <a:lnTo>
                  <a:pt x="1846461" y="739662"/>
                </a:lnTo>
                <a:lnTo>
                  <a:pt x="1920957" y="734341"/>
                </a:lnTo>
                <a:lnTo>
                  <a:pt x="1942243" y="718377"/>
                </a:lnTo>
                <a:lnTo>
                  <a:pt x="1963527" y="734341"/>
                </a:lnTo>
                <a:lnTo>
                  <a:pt x="1990133" y="723698"/>
                </a:lnTo>
                <a:lnTo>
                  <a:pt x="2011419" y="718377"/>
                </a:lnTo>
                <a:lnTo>
                  <a:pt x="2022061" y="697092"/>
                </a:lnTo>
                <a:lnTo>
                  <a:pt x="2048667" y="713056"/>
                </a:lnTo>
                <a:lnTo>
                  <a:pt x="2133807" y="702413"/>
                </a:lnTo>
                <a:lnTo>
                  <a:pt x="2250873" y="681128"/>
                </a:lnTo>
                <a:lnTo>
                  <a:pt x="2245551" y="670485"/>
                </a:lnTo>
                <a:lnTo>
                  <a:pt x="2229589" y="665164"/>
                </a:lnTo>
                <a:lnTo>
                  <a:pt x="2202983" y="665164"/>
                </a:lnTo>
                <a:lnTo>
                  <a:pt x="2197661" y="617272"/>
                </a:lnTo>
                <a:lnTo>
                  <a:pt x="2192339" y="595987"/>
                </a:lnTo>
                <a:lnTo>
                  <a:pt x="2213625" y="595987"/>
                </a:lnTo>
                <a:lnTo>
                  <a:pt x="2229589" y="611951"/>
                </a:lnTo>
                <a:lnTo>
                  <a:pt x="2245551" y="622593"/>
                </a:lnTo>
                <a:lnTo>
                  <a:pt x="2266837" y="622593"/>
                </a:lnTo>
                <a:lnTo>
                  <a:pt x="2261515" y="606629"/>
                </a:lnTo>
                <a:lnTo>
                  <a:pt x="2234909" y="590665"/>
                </a:lnTo>
                <a:lnTo>
                  <a:pt x="2266837" y="590665"/>
                </a:lnTo>
                <a:lnTo>
                  <a:pt x="2320049" y="590665"/>
                </a:lnTo>
                <a:lnTo>
                  <a:pt x="2341333" y="622593"/>
                </a:lnTo>
                <a:lnTo>
                  <a:pt x="2341333" y="564059"/>
                </a:lnTo>
                <a:lnTo>
                  <a:pt x="2389225" y="601308"/>
                </a:lnTo>
                <a:lnTo>
                  <a:pt x="2453079" y="601308"/>
                </a:lnTo>
                <a:lnTo>
                  <a:pt x="2472761" y="601308"/>
                </a:lnTo>
                <a:lnTo>
                  <a:pt x="2479619" y="595944"/>
                </a:lnTo>
                <a:cubicBezTo>
                  <a:pt x="2484895" y="604841"/>
                  <a:pt x="2490355" y="613738"/>
                  <a:pt x="2495633" y="622636"/>
                </a:cubicBezTo>
                <a:lnTo>
                  <a:pt x="2474341" y="654484"/>
                </a:lnTo>
                <a:cubicBezTo>
                  <a:pt x="2465423" y="661561"/>
                  <a:pt x="2456689" y="668739"/>
                  <a:pt x="2447771" y="675817"/>
                </a:cubicBezTo>
                <a:cubicBezTo>
                  <a:pt x="2445951" y="686433"/>
                  <a:pt x="2444313" y="697150"/>
                  <a:pt x="2442493" y="707766"/>
                </a:cubicBezTo>
                <a:cubicBezTo>
                  <a:pt x="2451411" y="697150"/>
                  <a:pt x="2460145" y="686433"/>
                  <a:pt x="2469063" y="675817"/>
                </a:cubicBezTo>
                <a:cubicBezTo>
                  <a:pt x="2479619" y="670458"/>
                  <a:pt x="2490355" y="665201"/>
                  <a:pt x="2500911" y="659842"/>
                </a:cubicBezTo>
                <a:cubicBezTo>
                  <a:pt x="2506189" y="654484"/>
                  <a:pt x="2511647" y="649226"/>
                  <a:pt x="2516925" y="643868"/>
                </a:cubicBezTo>
                <a:lnTo>
                  <a:pt x="2538217" y="670458"/>
                </a:lnTo>
                <a:cubicBezTo>
                  <a:pt x="2536397" y="675817"/>
                  <a:pt x="2534761" y="681074"/>
                  <a:pt x="2532941" y="686433"/>
                </a:cubicBezTo>
                <a:lnTo>
                  <a:pt x="2554233" y="691791"/>
                </a:lnTo>
                <a:cubicBezTo>
                  <a:pt x="2559509" y="684714"/>
                  <a:pt x="2564787" y="677536"/>
                  <a:pt x="2570065" y="670458"/>
                </a:cubicBezTo>
                <a:lnTo>
                  <a:pt x="2575525" y="659842"/>
                </a:lnTo>
                <a:lnTo>
                  <a:pt x="2596817" y="654484"/>
                </a:lnTo>
                <a:cubicBezTo>
                  <a:pt x="2600275" y="649125"/>
                  <a:pt x="2603915" y="643868"/>
                  <a:pt x="2607373" y="638509"/>
                </a:cubicBezTo>
                <a:lnTo>
                  <a:pt x="2607373" y="665201"/>
                </a:lnTo>
                <a:cubicBezTo>
                  <a:pt x="2616289" y="661662"/>
                  <a:pt x="2625025" y="658022"/>
                  <a:pt x="2633943" y="654484"/>
                </a:cubicBezTo>
                <a:lnTo>
                  <a:pt x="2633943" y="633252"/>
                </a:lnTo>
                <a:cubicBezTo>
                  <a:pt x="2637581" y="627893"/>
                  <a:pt x="2641039" y="622636"/>
                  <a:pt x="2644679" y="617277"/>
                </a:cubicBezTo>
                <a:lnTo>
                  <a:pt x="2665971" y="622636"/>
                </a:lnTo>
                <a:cubicBezTo>
                  <a:pt x="2669429" y="617277"/>
                  <a:pt x="2673069" y="612020"/>
                  <a:pt x="2676527" y="606661"/>
                </a:cubicBezTo>
                <a:lnTo>
                  <a:pt x="2697819" y="590686"/>
                </a:lnTo>
                <a:lnTo>
                  <a:pt x="2719111" y="585328"/>
                </a:lnTo>
                <a:lnTo>
                  <a:pt x="2745681" y="564096"/>
                </a:lnTo>
                <a:cubicBezTo>
                  <a:pt x="2750959" y="562276"/>
                  <a:pt x="2756419" y="560557"/>
                  <a:pt x="2761695" y="558737"/>
                </a:cubicBezTo>
                <a:lnTo>
                  <a:pt x="2761695" y="580070"/>
                </a:lnTo>
                <a:lnTo>
                  <a:pt x="2809559" y="585328"/>
                </a:lnTo>
                <a:cubicBezTo>
                  <a:pt x="2807739" y="590686"/>
                  <a:pt x="2806101" y="595944"/>
                  <a:pt x="2804281" y="601303"/>
                </a:cubicBezTo>
                <a:lnTo>
                  <a:pt x="2836129" y="606661"/>
                </a:lnTo>
                <a:cubicBezTo>
                  <a:pt x="2834309" y="613738"/>
                  <a:pt x="2832671" y="620816"/>
                  <a:pt x="2830851" y="627893"/>
                </a:cubicBezTo>
                <a:lnTo>
                  <a:pt x="2868157" y="638509"/>
                </a:lnTo>
                <a:cubicBezTo>
                  <a:pt x="2864517" y="627893"/>
                  <a:pt x="2861061" y="617277"/>
                  <a:pt x="2857421" y="606661"/>
                </a:cubicBezTo>
                <a:lnTo>
                  <a:pt x="2836129" y="585328"/>
                </a:lnTo>
                <a:lnTo>
                  <a:pt x="2836129" y="564096"/>
                </a:lnTo>
                <a:cubicBezTo>
                  <a:pt x="2827211" y="560557"/>
                  <a:pt x="2818475" y="556917"/>
                  <a:pt x="2809559" y="553379"/>
                </a:cubicBezTo>
                <a:cubicBezTo>
                  <a:pt x="2806101" y="548020"/>
                  <a:pt x="2802461" y="542763"/>
                  <a:pt x="2799003" y="537404"/>
                </a:cubicBezTo>
                <a:lnTo>
                  <a:pt x="2772433" y="526788"/>
                </a:lnTo>
                <a:lnTo>
                  <a:pt x="2772433" y="494839"/>
                </a:lnTo>
                <a:lnTo>
                  <a:pt x="2751141" y="478966"/>
                </a:lnTo>
                <a:cubicBezTo>
                  <a:pt x="2754599" y="475427"/>
                  <a:pt x="2758239" y="471787"/>
                  <a:pt x="2761695" y="468248"/>
                </a:cubicBezTo>
                <a:lnTo>
                  <a:pt x="2820295" y="473607"/>
                </a:lnTo>
                <a:lnTo>
                  <a:pt x="2910743" y="473607"/>
                </a:lnTo>
                <a:lnTo>
                  <a:pt x="2932035" y="484223"/>
                </a:lnTo>
                <a:lnTo>
                  <a:pt x="2974619" y="462991"/>
                </a:lnTo>
                <a:lnTo>
                  <a:pt x="3017203" y="489582"/>
                </a:lnTo>
                <a:lnTo>
                  <a:pt x="3059789" y="500198"/>
                </a:lnTo>
                <a:lnTo>
                  <a:pt x="3107651" y="516172"/>
                </a:lnTo>
                <a:cubicBezTo>
                  <a:pt x="3102373" y="510814"/>
                  <a:pt x="3096913" y="505556"/>
                  <a:pt x="3091635" y="500198"/>
                </a:cubicBezTo>
                <a:lnTo>
                  <a:pt x="3070343" y="489582"/>
                </a:lnTo>
                <a:lnTo>
                  <a:pt x="3049051" y="478966"/>
                </a:lnTo>
                <a:lnTo>
                  <a:pt x="3011745" y="457632"/>
                </a:lnTo>
                <a:cubicBezTo>
                  <a:pt x="3006467" y="452274"/>
                  <a:pt x="3001189" y="447016"/>
                  <a:pt x="2995911" y="441658"/>
                </a:cubicBezTo>
                <a:cubicBezTo>
                  <a:pt x="2992271" y="431042"/>
                  <a:pt x="2988813" y="420325"/>
                  <a:pt x="2985175" y="409709"/>
                </a:cubicBezTo>
                <a:lnTo>
                  <a:pt x="3011745" y="388477"/>
                </a:lnTo>
                <a:cubicBezTo>
                  <a:pt x="3001189" y="379579"/>
                  <a:pt x="2990451" y="370783"/>
                  <a:pt x="2979897" y="361886"/>
                </a:cubicBezTo>
                <a:cubicBezTo>
                  <a:pt x="2978077" y="347731"/>
                  <a:pt x="2976439" y="333476"/>
                  <a:pt x="2974619" y="319321"/>
                </a:cubicBezTo>
                <a:cubicBezTo>
                  <a:pt x="2978077" y="312244"/>
                  <a:pt x="2981717" y="305065"/>
                  <a:pt x="2985175" y="297988"/>
                </a:cubicBezTo>
                <a:lnTo>
                  <a:pt x="3006467" y="287372"/>
                </a:lnTo>
                <a:cubicBezTo>
                  <a:pt x="3004647" y="278475"/>
                  <a:pt x="3003009" y="269678"/>
                  <a:pt x="3001189" y="260781"/>
                </a:cubicBezTo>
                <a:lnTo>
                  <a:pt x="3043773" y="191524"/>
                </a:lnTo>
                <a:lnTo>
                  <a:pt x="3086175" y="154477"/>
                </a:lnTo>
                <a:lnTo>
                  <a:pt x="3086305" y="148997"/>
                </a:lnTo>
                <a:lnTo>
                  <a:pt x="3118231" y="117069"/>
                </a:lnTo>
                <a:lnTo>
                  <a:pt x="3139517" y="85141"/>
                </a:lnTo>
                <a:lnTo>
                  <a:pt x="3160801" y="58534"/>
                </a:lnTo>
                <a:lnTo>
                  <a:pt x="3176765" y="37249"/>
                </a:lnTo>
                <a:lnTo>
                  <a:pt x="3219335" y="37249"/>
                </a:lnTo>
                <a:lnTo>
                  <a:pt x="3235297" y="15964"/>
                </a:lnTo>
                <a:close/>
              </a:path>
            </a:pathLst>
          </a:custGeom>
          <a:solidFill>
            <a:srgbClr val="70B0DF"/>
          </a:solidFill>
          <a:ln w="3175" cap="flat" cmpd="sng">
            <a:noFill/>
            <a:prstDash val="solid"/>
            <a:round/>
            <a:headEnd type="none" w="med" len="med"/>
            <a:tailEnd type="none" w="med" len="med"/>
          </a:ln>
        </p:spPr>
        <p:txBody>
          <a:bodyPr wrap="none" lIns="32632" tIns="32632" rIns="32632" bIns="32632" anchor="ctr"/>
          <a:lstStyle/>
          <a:p>
            <a:pPr defTabSz="891045"/>
            <a:endParaRPr lang="en-US" sz="1700" dirty="0">
              <a:solidFill>
                <a:srgbClr val="003149"/>
              </a:solidFill>
              <a:cs typeface="Arial" panose="020B0604020202020204" pitchFamily="34" charset="0"/>
            </a:endParaRPr>
          </a:p>
        </p:txBody>
      </p:sp>
      <p:sp>
        <p:nvSpPr>
          <p:cNvPr id="35" name="Freeform 719"/>
          <p:cNvSpPr>
            <a:spLocks noChangeAspect="1"/>
          </p:cNvSpPr>
          <p:nvPr>
            <p:custDataLst>
              <p:tags r:id="rId17"/>
            </p:custDataLst>
          </p:nvPr>
        </p:nvSpPr>
        <p:spPr bwMode="gray">
          <a:xfrm>
            <a:off x="3592806" y="3443313"/>
            <a:ext cx="398068" cy="318533"/>
          </a:xfrm>
          <a:custGeom>
            <a:avLst/>
            <a:gdLst>
              <a:gd name="T0" fmla="*/ 0 w 2309497"/>
              <a:gd name="T1" fmla="*/ 0 h 1616631"/>
              <a:gd name="T2" fmla="*/ 0 w 2309497"/>
              <a:gd name="T3" fmla="*/ 0 h 1616631"/>
              <a:gd name="T4" fmla="*/ 0 w 2309497"/>
              <a:gd name="T5" fmla="*/ 0 h 1616631"/>
              <a:gd name="T6" fmla="*/ 0 w 2309497"/>
              <a:gd name="T7" fmla="*/ 0 h 1616631"/>
              <a:gd name="T8" fmla="*/ 0 w 2309497"/>
              <a:gd name="T9" fmla="*/ 0 h 1616631"/>
              <a:gd name="T10" fmla="*/ 0 w 2309497"/>
              <a:gd name="T11" fmla="*/ 0 h 1616631"/>
              <a:gd name="T12" fmla="*/ 0 w 2309497"/>
              <a:gd name="T13" fmla="*/ 0 h 1616631"/>
              <a:gd name="T14" fmla="*/ 0 w 2309497"/>
              <a:gd name="T15" fmla="*/ 0 h 1616631"/>
              <a:gd name="T16" fmla="*/ 0 w 2309497"/>
              <a:gd name="T17" fmla="*/ 0 h 1616631"/>
              <a:gd name="T18" fmla="*/ 0 w 2309497"/>
              <a:gd name="T19" fmla="*/ 0 h 1616631"/>
              <a:gd name="T20" fmla="*/ 0 w 2309497"/>
              <a:gd name="T21" fmla="*/ 0 h 1616631"/>
              <a:gd name="T22" fmla="*/ 0 w 2309497"/>
              <a:gd name="T23" fmla="*/ 0 h 1616631"/>
              <a:gd name="T24" fmla="*/ 0 w 2309497"/>
              <a:gd name="T25" fmla="*/ 0 h 1616631"/>
              <a:gd name="T26" fmla="*/ 0 w 2309497"/>
              <a:gd name="T27" fmla="*/ 0 h 1616631"/>
              <a:gd name="T28" fmla="*/ 0 w 2309497"/>
              <a:gd name="T29" fmla="*/ 0 h 1616631"/>
              <a:gd name="T30" fmla="*/ 0 w 2309497"/>
              <a:gd name="T31" fmla="*/ 0 h 1616631"/>
              <a:gd name="T32" fmla="*/ 0 w 2309497"/>
              <a:gd name="T33" fmla="*/ 0 h 1616631"/>
              <a:gd name="T34" fmla="*/ 0 w 2309497"/>
              <a:gd name="T35" fmla="*/ 0 h 1616631"/>
              <a:gd name="T36" fmla="*/ 0 w 2309497"/>
              <a:gd name="T37" fmla="*/ 0 h 1616631"/>
              <a:gd name="T38" fmla="*/ 0 w 2309497"/>
              <a:gd name="T39" fmla="*/ 0 h 1616631"/>
              <a:gd name="T40" fmla="*/ 0 w 2309497"/>
              <a:gd name="T41" fmla="*/ 0 h 1616631"/>
              <a:gd name="T42" fmla="*/ 0 w 2309497"/>
              <a:gd name="T43" fmla="*/ 0 h 1616631"/>
              <a:gd name="T44" fmla="*/ 0 w 2309497"/>
              <a:gd name="T45" fmla="*/ 0 h 1616631"/>
              <a:gd name="T46" fmla="*/ 0 w 2309497"/>
              <a:gd name="T47" fmla="*/ 0 h 1616631"/>
              <a:gd name="T48" fmla="*/ 0 w 2309497"/>
              <a:gd name="T49" fmla="*/ 0 h 1616631"/>
              <a:gd name="T50" fmla="*/ 0 w 2309497"/>
              <a:gd name="T51" fmla="*/ 0 h 1616631"/>
              <a:gd name="T52" fmla="*/ 0 w 2309497"/>
              <a:gd name="T53" fmla="*/ 0 h 1616631"/>
              <a:gd name="T54" fmla="*/ 0 w 2309497"/>
              <a:gd name="T55" fmla="*/ 0 h 1616631"/>
              <a:gd name="T56" fmla="*/ 0 w 2309497"/>
              <a:gd name="T57" fmla="*/ 0 h 1616631"/>
              <a:gd name="T58" fmla="*/ 0 w 2309497"/>
              <a:gd name="T59" fmla="*/ 0 h 1616631"/>
              <a:gd name="T60" fmla="*/ 0 w 2309497"/>
              <a:gd name="T61" fmla="*/ 0 h 1616631"/>
              <a:gd name="T62" fmla="*/ 0 w 2309497"/>
              <a:gd name="T63" fmla="*/ 0 h 1616631"/>
              <a:gd name="T64" fmla="*/ 0 w 2309497"/>
              <a:gd name="T65" fmla="*/ 0 h 1616631"/>
              <a:gd name="T66" fmla="*/ 0 w 2309497"/>
              <a:gd name="T67" fmla="*/ 0 h 1616631"/>
              <a:gd name="T68" fmla="*/ 0 w 2309497"/>
              <a:gd name="T69" fmla="*/ 0 h 1616631"/>
              <a:gd name="T70" fmla="*/ 0 w 2309497"/>
              <a:gd name="T71" fmla="*/ 0 h 1616631"/>
              <a:gd name="T72" fmla="*/ 0 w 2309497"/>
              <a:gd name="T73" fmla="*/ 0 h 1616631"/>
              <a:gd name="T74" fmla="*/ 0 w 2309497"/>
              <a:gd name="T75" fmla="*/ 0 h 1616631"/>
              <a:gd name="T76" fmla="*/ 0 w 2309497"/>
              <a:gd name="T77" fmla="*/ 0 h 1616631"/>
              <a:gd name="T78" fmla="*/ 0 w 2309497"/>
              <a:gd name="T79" fmla="*/ 0 h 1616631"/>
              <a:gd name="T80" fmla="*/ 0 w 2309497"/>
              <a:gd name="T81" fmla="*/ 0 h 1616631"/>
              <a:gd name="T82" fmla="*/ 0 w 2309497"/>
              <a:gd name="T83" fmla="*/ 0 h 1616631"/>
              <a:gd name="T84" fmla="*/ 0 w 2309497"/>
              <a:gd name="T85" fmla="*/ 0 h 1616631"/>
              <a:gd name="T86" fmla="*/ 0 w 2309497"/>
              <a:gd name="T87" fmla="*/ 0 h 1616631"/>
              <a:gd name="T88" fmla="*/ 0 w 2309497"/>
              <a:gd name="T89" fmla="*/ 0 h 1616631"/>
              <a:gd name="T90" fmla="*/ 0 w 2309497"/>
              <a:gd name="T91" fmla="*/ 0 h 1616631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w 2309497"/>
              <a:gd name="T139" fmla="*/ 0 h 1616631"/>
              <a:gd name="T140" fmla="*/ 2309497 w 2309497"/>
              <a:gd name="T141" fmla="*/ 1616631 h 1616631"/>
            </a:gdLst>
            <a:ahLst/>
            <a:cxnLst>
              <a:cxn ang="T92">
                <a:pos x="T0" y="T1"/>
              </a:cxn>
              <a:cxn ang="T93">
                <a:pos x="T2" y="T3"/>
              </a:cxn>
              <a:cxn ang="T94">
                <a:pos x="T4" y="T5"/>
              </a:cxn>
              <a:cxn ang="T95">
                <a:pos x="T6" y="T7"/>
              </a:cxn>
              <a:cxn ang="T96">
                <a:pos x="T8" y="T9"/>
              </a:cxn>
              <a:cxn ang="T97">
                <a:pos x="T10" y="T11"/>
              </a:cxn>
              <a:cxn ang="T98">
                <a:pos x="T12" y="T13"/>
              </a:cxn>
              <a:cxn ang="T99">
                <a:pos x="T14" y="T15"/>
              </a:cxn>
              <a:cxn ang="T100">
                <a:pos x="T16" y="T17"/>
              </a:cxn>
              <a:cxn ang="T101">
                <a:pos x="T18" y="T19"/>
              </a:cxn>
              <a:cxn ang="T102">
                <a:pos x="T20" y="T21"/>
              </a:cxn>
              <a:cxn ang="T103">
                <a:pos x="T22" y="T23"/>
              </a:cxn>
              <a:cxn ang="T104">
                <a:pos x="T24" y="T25"/>
              </a:cxn>
              <a:cxn ang="T105">
                <a:pos x="T26" y="T27"/>
              </a:cxn>
              <a:cxn ang="T106">
                <a:pos x="T28" y="T29"/>
              </a:cxn>
              <a:cxn ang="T107">
                <a:pos x="T30" y="T31"/>
              </a:cxn>
              <a:cxn ang="T108">
                <a:pos x="T32" y="T33"/>
              </a:cxn>
              <a:cxn ang="T109">
                <a:pos x="T34" y="T35"/>
              </a:cxn>
              <a:cxn ang="T110">
                <a:pos x="T36" y="T37"/>
              </a:cxn>
              <a:cxn ang="T111">
                <a:pos x="T38" y="T39"/>
              </a:cxn>
              <a:cxn ang="T112">
                <a:pos x="T40" y="T41"/>
              </a:cxn>
              <a:cxn ang="T113">
                <a:pos x="T42" y="T43"/>
              </a:cxn>
              <a:cxn ang="T114">
                <a:pos x="T44" y="T45"/>
              </a:cxn>
              <a:cxn ang="T115">
                <a:pos x="T46" y="T47"/>
              </a:cxn>
              <a:cxn ang="T116">
                <a:pos x="T48" y="T49"/>
              </a:cxn>
              <a:cxn ang="T117">
                <a:pos x="T50" y="T51"/>
              </a:cxn>
              <a:cxn ang="T118">
                <a:pos x="T52" y="T53"/>
              </a:cxn>
              <a:cxn ang="T119">
                <a:pos x="T54" y="T55"/>
              </a:cxn>
              <a:cxn ang="T120">
                <a:pos x="T56" y="T57"/>
              </a:cxn>
              <a:cxn ang="T121">
                <a:pos x="T58" y="T59"/>
              </a:cxn>
              <a:cxn ang="T122">
                <a:pos x="T60" y="T61"/>
              </a:cxn>
              <a:cxn ang="T123">
                <a:pos x="T62" y="T63"/>
              </a:cxn>
              <a:cxn ang="T124">
                <a:pos x="T64" y="T65"/>
              </a:cxn>
              <a:cxn ang="T125">
                <a:pos x="T66" y="T67"/>
              </a:cxn>
              <a:cxn ang="T126">
                <a:pos x="T68" y="T69"/>
              </a:cxn>
              <a:cxn ang="T127">
                <a:pos x="T70" y="T71"/>
              </a:cxn>
              <a:cxn ang="T128">
                <a:pos x="T72" y="T73"/>
              </a:cxn>
              <a:cxn ang="T129">
                <a:pos x="T74" y="T75"/>
              </a:cxn>
              <a:cxn ang="T130">
                <a:pos x="T76" y="T77"/>
              </a:cxn>
              <a:cxn ang="T131">
                <a:pos x="T78" y="T79"/>
              </a:cxn>
              <a:cxn ang="T132">
                <a:pos x="T80" y="T81"/>
              </a:cxn>
              <a:cxn ang="T133">
                <a:pos x="T82" y="T83"/>
              </a:cxn>
              <a:cxn ang="T134">
                <a:pos x="T84" y="T85"/>
              </a:cxn>
              <a:cxn ang="T135">
                <a:pos x="T86" y="T87"/>
              </a:cxn>
              <a:cxn ang="T136">
                <a:pos x="T88" y="T89"/>
              </a:cxn>
              <a:cxn ang="T137">
                <a:pos x="T90" y="T91"/>
              </a:cxn>
            </a:cxnLst>
            <a:rect l="T138" t="T139" r="T140" b="T141"/>
            <a:pathLst>
              <a:path w="2309497" h="1616631">
                <a:moveTo>
                  <a:pt x="527048" y="0"/>
                </a:moveTo>
                <a:lnTo>
                  <a:pt x="533056" y="1844"/>
                </a:lnTo>
                <a:lnTo>
                  <a:pt x="533801" y="0"/>
                </a:lnTo>
                <a:lnTo>
                  <a:pt x="538362" y="3472"/>
                </a:lnTo>
                <a:lnTo>
                  <a:pt x="573667" y="14305"/>
                </a:lnTo>
                <a:lnTo>
                  <a:pt x="643596" y="30399"/>
                </a:lnTo>
                <a:lnTo>
                  <a:pt x="704411" y="51775"/>
                </a:lnTo>
                <a:lnTo>
                  <a:pt x="767154" y="58928"/>
                </a:lnTo>
                <a:lnTo>
                  <a:pt x="820959" y="35763"/>
                </a:lnTo>
                <a:lnTo>
                  <a:pt x="880022" y="10729"/>
                </a:lnTo>
                <a:lnTo>
                  <a:pt x="939259" y="16093"/>
                </a:lnTo>
                <a:lnTo>
                  <a:pt x="978693" y="37551"/>
                </a:lnTo>
                <a:lnTo>
                  <a:pt x="1057560" y="48199"/>
                </a:lnTo>
                <a:lnTo>
                  <a:pt x="1156056" y="53564"/>
                </a:lnTo>
                <a:lnTo>
                  <a:pt x="1279614" y="32187"/>
                </a:lnTo>
                <a:lnTo>
                  <a:pt x="1390729" y="19670"/>
                </a:lnTo>
                <a:lnTo>
                  <a:pt x="1428410" y="37551"/>
                </a:lnTo>
                <a:lnTo>
                  <a:pt x="1519896" y="69657"/>
                </a:lnTo>
                <a:lnTo>
                  <a:pt x="1605773" y="155407"/>
                </a:lnTo>
                <a:lnTo>
                  <a:pt x="1801188" y="410870"/>
                </a:lnTo>
                <a:lnTo>
                  <a:pt x="1960675" y="643087"/>
                </a:lnTo>
                <a:lnTo>
                  <a:pt x="2032356" y="696651"/>
                </a:lnTo>
                <a:lnTo>
                  <a:pt x="2165028" y="782401"/>
                </a:lnTo>
                <a:lnTo>
                  <a:pt x="2303483" y="815157"/>
                </a:lnTo>
                <a:lnTo>
                  <a:pt x="2298419" y="823259"/>
                </a:lnTo>
                <a:lnTo>
                  <a:pt x="2304652" y="820005"/>
                </a:lnTo>
                <a:cubicBezTo>
                  <a:pt x="2302084" y="823073"/>
                  <a:pt x="2300889" y="826489"/>
                  <a:pt x="2298910" y="829706"/>
                </a:cubicBezTo>
                <a:cubicBezTo>
                  <a:pt x="2301244" y="844134"/>
                  <a:pt x="2303802" y="858778"/>
                  <a:pt x="2305791" y="873338"/>
                </a:cubicBezTo>
                <a:cubicBezTo>
                  <a:pt x="2306836" y="881779"/>
                  <a:pt x="2307817" y="890187"/>
                  <a:pt x="2309497" y="898562"/>
                </a:cubicBezTo>
                <a:lnTo>
                  <a:pt x="2248626" y="916837"/>
                </a:lnTo>
                <a:lnTo>
                  <a:pt x="2248626" y="953288"/>
                </a:lnTo>
                <a:cubicBezTo>
                  <a:pt x="2250867" y="961746"/>
                  <a:pt x="2252837" y="970137"/>
                  <a:pt x="2255946" y="978446"/>
                </a:cubicBezTo>
                <a:lnTo>
                  <a:pt x="2216137" y="985842"/>
                </a:lnTo>
                <a:lnTo>
                  <a:pt x="2215266" y="984574"/>
                </a:lnTo>
                <a:lnTo>
                  <a:pt x="2194621" y="977679"/>
                </a:lnTo>
                <a:lnTo>
                  <a:pt x="2065893" y="923806"/>
                </a:lnTo>
                <a:lnTo>
                  <a:pt x="2008632" y="941728"/>
                </a:lnTo>
                <a:lnTo>
                  <a:pt x="1944196" y="909426"/>
                </a:lnTo>
                <a:lnTo>
                  <a:pt x="1901143" y="884314"/>
                </a:lnTo>
                <a:lnTo>
                  <a:pt x="1829675" y="859203"/>
                </a:lnTo>
                <a:lnTo>
                  <a:pt x="1804561" y="834091"/>
                </a:lnTo>
                <a:lnTo>
                  <a:pt x="1743713" y="826901"/>
                </a:lnTo>
                <a:lnTo>
                  <a:pt x="1697216" y="794599"/>
                </a:lnTo>
                <a:lnTo>
                  <a:pt x="1557581" y="737185"/>
                </a:lnTo>
                <a:lnTo>
                  <a:pt x="1439615" y="697693"/>
                </a:lnTo>
                <a:lnTo>
                  <a:pt x="1428852" y="651011"/>
                </a:lnTo>
                <a:cubicBezTo>
                  <a:pt x="1434736" y="645001"/>
                  <a:pt x="1440763" y="639099"/>
                  <a:pt x="1446647" y="633089"/>
                </a:cubicBezTo>
                <a:lnTo>
                  <a:pt x="1446647" y="582866"/>
                </a:lnTo>
                <a:lnTo>
                  <a:pt x="1414501" y="546915"/>
                </a:lnTo>
                <a:lnTo>
                  <a:pt x="1364416" y="543374"/>
                </a:lnTo>
                <a:lnTo>
                  <a:pt x="1285629" y="590056"/>
                </a:lnTo>
                <a:cubicBezTo>
                  <a:pt x="1276158" y="606797"/>
                  <a:pt x="1266542" y="623538"/>
                  <a:pt x="1257071" y="640279"/>
                </a:cubicBezTo>
                <a:cubicBezTo>
                  <a:pt x="1251043" y="658201"/>
                  <a:pt x="1245159" y="676230"/>
                  <a:pt x="1239132" y="694152"/>
                </a:cubicBezTo>
                <a:lnTo>
                  <a:pt x="1217606" y="747917"/>
                </a:lnTo>
                <a:lnTo>
                  <a:pt x="1153313" y="783867"/>
                </a:lnTo>
                <a:lnTo>
                  <a:pt x="1117436" y="841281"/>
                </a:lnTo>
                <a:cubicBezTo>
                  <a:pt x="1125759" y="866393"/>
                  <a:pt x="1134226" y="891504"/>
                  <a:pt x="1142550" y="916616"/>
                </a:cubicBezTo>
                <a:lnTo>
                  <a:pt x="1199810" y="916616"/>
                </a:lnTo>
                <a:cubicBezTo>
                  <a:pt x="1205694" y="930996"/>
                  <a:pt x="1211722" y="945377"/>
                  <a:pt x="1217606" y="959757"/>
                </a:cubicBezTo>
                <a:cubicBezTo>
                  <a:pt x="1221193" y="987230"/>
                  <a:pt x="1224781" y="1014810"/>
                  <a:pt x="1228369" y="1042282"/>
                </a:cubicBezTo>
                <a:lnTo>
                  <a:pt x="1260659" y="1063745"/>
                </a:lnTo>
                <a:cubicBezTo>
                  <a:pt x="1265394" y="1075765"/>
                  <a:pt x="1270130" y="1087677"/>
                  <a:pt x="1274866" y="1099696"/>
                </a:cubicBezTo>
                <a:cubicBezTo>
                  <a:pt x="1271278" y="1114076"/>
                  <a:pt x="1267834" y="1128349"/>
                  <a:pt x="1264246" y="1142729"/>
                </a:cubicBezTo>
                <a:lnTo>
                  <a:pt x="1231957" y="1149919"/>
                </a:lnTo>
                <a:lnTo>
                  <a:pt x="1174696" y="1175031"/>
                </a:lnTo>
                <a:lnTo>
                  <a:pt x="1081702" y="1210982"/>
                </a:lnTo>
                <a:lnTo>
                  <a:pt x="1042236" y="1225362"/>
                </a:lnTo>
                <a:lnTo>
                  <a:pt x="1038792" y="1275586"/>
                </a:lnTo>
                <a:cubicBezTo>
                  <a:pt x="1041088" y="1309068"/>
                  <a:pt x="1043528" y="1342550"/>
                  <a:pt x="1045824" y="1376033"/>
                </a:cubicBezTo>
                <a:lnTo>
                  <a:pt x="977944" y="1393954"/>
                </a:lnTo>
                <a:lnTo>
                  <a:pt x="913508" y="1426256"/>
                </a:lnTo>
                <a:cubicBezTo>
                  <a:pt x="907481" y="1441817"/>
                  <a:pt x="901597" y="1457378"/>
                  <a:pt x="895569" y="1472938"/>
                </a:cubicBezTo>
                <a:lnTo>
                  <a:pt x="856248" y="1516079"/>
                </a:lnTo>
                <a:lnTo>
                  <a:pt x="827546" y="1559112"/>
                </a:lnTo>
                <a:lnTo>
                  <a:pt x="781048" y="1616526"/>
                </a:lnTo>
                <a:lnTo>
                  <a:pt x="779192" y="1597711"/>
                </a:lnTo>
                <a:lnTo>
                  <a:pt x="776875" y="1616631"/>
                </a:lnTo>
                <a:cubicBezTo>
                  <a:pt x="760562" y="1595359"/>
                  <a:pt x="745577" y="1573998"/>
                  <a:pt x="728492" y="1552748"/>
                </a:cubicBezTo>
                <a:cubicBezTo>
                  <a:pt x="714783" y="1535003"/>
                  <a:pt x="700302" y="1517235"/>
                  <a:pt x="686433" y="1499358"/>
                </a:cubicBezTo>
                <a:cubicBezTo>
                  <a:pt x="674450" y="1481569"/>
                  <a:pt x="661617" y="1463801"/>
                  <a:pt x="649448" y="1446078"/>
                </a:cubicBezTo>
                <a:cubicBezTo>
                  <a:pt x="631009" y="1430118"/>
                  <a:pt x="612969" y="1414181"/>
                  <a:pt x="596442" y="1398243"/>
                </a:cubicBezTo>
                <a:lnTo>
                  <a:pt x="553533" y="1403556"/>
                </a:lnTo>
                <a:lnTo>
                  <a:pt x="514507" y="1396771"/>
                </a:lnTo>
                <a:lnTo>
                  <a:pt x="514348" y="1397000"/>
                </a:lnTo>
                <a:lnTo>
                  <a:pt x="514195" y="1396717"/>
                </a:lnTo>
                <a:lnTo>
                  <a:pt x="511181" y="1396193"/>
                </a:lnTo>
                <a:lnTo>
                  <a:pt x="511923" y="1392517"/>
                </a:lnTo>
                <a:lnTo>
                  <a:pt x="470577" y="1316101"/>
                </a:lnTo>
                <a:lnTo>
                  <a:pt x="443214" y="1244117"/>
                </a:lnTo>
                <a:lnTo>
                  <a:pt x="465125" y="1197394"/>
                </a:lnTo>
                <a:lnTo>
                  <a:pt x="421303" y="1197394"/>
                </a:lnTo>
                <a:lnTo>
                  <a:pt x="388487" y="1163218"/>
                </a:lnTo>
                <a:lnTo>
                  <a:pt x="355672" y="1163218"/>
                </a:lnTo>
                <a:lnTo>
                  <a:pt x="321005" y="1125410"/>
                </a:lnTo>
                <a:cubicBezTo>
                  <a:pt x="319770" y="1107415"/>
                  <a:pt x="318587" y="1089501"/>
                  <a:pt x="317353" y="1071505"/>
                </a:cubicBezTo>
                <a:lnTo>
                  <a:pt x="339264" y="1060691"/>
                </a:lnTo>
                <a:lnTo>
                  <a:pt x="321005" y="1028332"/>
                </a:lnTo>
                <a:lnTo>
                  <a:pt x="289989" y="1028332"/>
                </a:lnTo>
                <a:lnTo>
                  <a:pt x="289989" y="1008520"/>
                </a:lnTo>
                <a:lnTo>
                  <a:pt x="268130" y="1008520"/>
                </a:lnTo>
                <a:cubicBezTo>
                  <a:pt x="265712" y="1002493"/>
                  <a:pt x="263243" y="996550"/>
                  <a:pt x="260826" y="990524"/>
                </a:cubicBezTo>
                <a:lnTo>
                  <a:pt x="240766" y="990524"/>
                </a:lnTo>
                <a:lnTo>
                  <a:pt x="178736" y="974344"/>
                </a:lnTo>
                <a:lnTo>
                  <a:pt x="162328" y="959980"/>
                </a:lnTo>
                <a:lnTo>
                  <a:pt x="178736" y="927621"/>
                </a:lnTo>
                <a:lnTo>
                  <a:pt x="162328" y="909625"/>
                </a:lnTo>
                <a:lnTo>
                  <a:pt x="96646" y="911441"/>
                </a:lnTo>
                <a:lnTo>
                  <a:pt x="65682" y="776554"/>
                </a:lnTo>
                <a:lnTo>
                  <a:pt x="20060" y="736930"/>
                </a:lnTo>
                <a:lnTo>
                  <a:pt x="0" y="701021"/>
                </a:lnTo>
                <a:cubicBezTo>
                  <a:pt x="1234" y="684263"/>
                  <a:pt x="2417" y="667423"/>
                  <a:pt x="3652" y="650665"/>
                </a:cubicBezTo>
                <a:lnTo>
                  <a:pt x="32815" y="598494"/>
                </a:lnTo>
                <a:lnTo>
                  <a:pt x="52032" y="572634"/>
                </a:lnTo>
                <a:lnTo>
                  <a:pt x="50800" y="571500"/>
                </a:lnTo>
                <a:lnTo>
                  <a:pt x="131613" y="559041"/>
                </a:lnTo>
                <a:cubicBezTo>
                  <a:pt x="130988" y="548926"/>
                  <a:pt x="130415" y="538867"/>
                  <a:pt x="129790" y="528752"/>
                </a:cubicBezTo>
                <a:lnTo>
                  <a:pt x="102870" y="526980"/>
                </a:lnTo>
                <a:lnTo>
                  <a:pt x="102870" y="491376"/>
                </a:lnTo>
                <a:lnTo>
                  <a:pt x="126197" y="464687"/>
                </a:lnTo>
                <a:lnTo>
                  <a:pt x="126197" y="425482"/>
                </a:lnTo>
                <a:cubicBezTo>
                  <a:pt x="128020" y="408279"/>
                  <a:pt x="129790" y="391077"/>
                  <a:pt x="131613" y="373875"/>
                </a:cubicBezTo>
                <a:lnTo>
                  <a:pt x="163896" y="345415"/>
                </a:lnTo>
                <a:lnTo>
                  <a:pt x="196231" y="329355"/>
                </a:lnTo>
                <a:lnTo>
                  <a:pt x="189046" y="307981"/>
                </a:lnTo>
                <a:cubicBezTo>
                  <a:pt x="189671" y="299066"/>
                  <a:pt x="190243" y="290208"/>
                  <a:pt x="190868" y="281292"/>
                </a:cubicBezTo>
                <a:lnTo>
                  <a:pt x="237523" y="267062"/>
                </a:lnTo>
                <a:lnTo>
                  <a:pt x="330885" y="270605"/>
                </a:lnTo>
                <a:cubicBezTo>
                  <a:pt x="332082" y="279521"/>
                  <a:pt x="333280" y="288379"/>
                  <a:pt x="334477" y="297294"/>
                </a:cubicBezTo>
                <a:lnTo>
                  <a:pt x="368583" y="307981"/>
                </a:lnTo>
                <a:lnTo>
                  <a:pt x="379362" y="286664"/>
                </a:lnTo>
                <a:lnTo>
                  <a:pt x="400919" y="283064"/>
                </a:lnTo>
                <a:lnTo>
                  <a:pt x="508651" y="275977"/>
                </a:lnTo>
                <a:cubicBezTo>
                  <a:pt x="508079" y="265290"/>
                  <a:pt x="507454" y="254603"/>
                  <a:pt x="506881" y="243916"/>
                </a:cubicBezTo>
                <a:lnTo>
                  <a:pt x="523023" y="195853"/>
                </a:lnTo>
                <a:lnTo>
                  <a:pt x="539165" y="153105"/>
                </a:lnTo>
                <a:lnTo>
                  <a:pt x="571500" y="83668"/>
                </a:lnTo>
                <a:lnTo>
                  <a:pt x="535572" y="56979"/>
                </a:lnTo>
                <a:cubicBezTo>
                  <a:pt x="531406" y="46863"/>
                  <a:pt x="527188" y="36805"/>
                  <a:pt x="523023" y="26689"/>
                </a:cubicBezTo>
                <a:lnTo>
                  <a:pt x="531259" y="6296"/>
                </a:lnTo>
                <a:close/>
              </a:path>
            </a:pathLst>
          </a:custGeom>
          <a:solidFill>
            <a:srgbClr val="70B0DF"/>
          </a:solidFill>
          <a:ln w="3175" cap="flat" cmpd="sng">
            <a:noFill/>
            <a:prstDash val="solid"/>
            <a:round/>
            <a:headEnd type="none" w="med" len="med"/>
            <a:tailEnd type="none" w="med" len="med"/>
          </a:ln>
        </p:spPr>
        <p:txBody>
          <a:bodyPr wrap="none" lIns="32632" tIns="32632" rIns="32632" bIns="32632" anchor="ctr"/>
          <a:lstStyle/>
          <a:p>
            <a:pPr defTabSz="891045"/>
            <a:endParaRPr lang="en-US" sz="1700" dirty="0">
              <a:solidFill>
                <a:srgbClr val="003149"/>
              </a:solidFill>
              <a:cs typeface="Arial" panose="020B0604020202020204" pitchFamily="34" charset="0"/>
            </a:endParaRPr>
          </a:p>
        </p:txBody>
      </p:sp>
      <p:sp>
        <p:nvSpPr>
          <p:cNvPr id="36" name="Freeform 713"/>
          <p:cNvSpPr>
            <a:spLocks noChangeAspect="1"/>
          </p:cNvSpPr>
          <p:nvPr>
            <p:custDataLst>
              <p:tags r:id="rId18"/>
            </p:custDataLst>
          </p:nvPr>
        </p:nvSpPr>
        <p:spPr bwMode="gray">
          <a:xfrm>
            <a:off x="3447781" y="3505022"/>
            <a:ext cx="233154" cy="223834"/>
          </a:xfrm>
          <a:custGeom>
            <a:avLst/>
            <a:gdLst>
              <a:gd name="T0" fmla="*/ 0 w 1346198"/>
              <a:gd name="T1" fmla="*/ 0 h 1145638"/>
              <a:gd name="T2" fmla="*/ 0 w 1346198"/>
              <a:gd name="T3" fmla="*/ 0 h 1145638"/>
              <a:gd name="T4" fmla="*/ 0 w 1346198"/>
              <a:gd name="T5" fmla="*/ 0 h 1145638"/>
              <a:gd name="T6" fmla="*/ 0 w 1346198"/>
              <a:gd name="T7" fmla="*/ 0 h 1145638"/>
              <a:gd name="T8" fmla="*/ 0 w 1346198"/>
              <a:gd name="T9" fmla="*/ 0 h 1145638"/>
              <a:gd name="T10" fmla="*/ 0 w 1346198"/>
              <a:gd name="T11" fmla="*/ 0 h 1145638"/>
              <a:gd name="T12" fmla="*/ 0 w 1346198"/>
              <a:gd name="T13" fmla="*/ 0 h 1145638"/>
              <a:gd name="T14" fmla="*/ 0 w 1346198"/>
              <a:gd name="T15" fmla="*/ 0 h 1145638"/>
              <a:gd name="T16" fmla="*/ 0 w 1346198"/>
              <a:gd name="T17" fmla="*/ 0 h 1145638"/>
              <a:gd name="T18" fmla="*/ 0 w 1346198"/>
              <a:gd name="T19" fmla="*/ 0 h 1145638"/>
              <a:gd name="T20" fmla="*/ 0 w 1346198"/>
              <a:gd name="T21" fmla="*/ 0 h 1145638"/>
              <a:gd name="T22" fmla="*/ 0 w 1346198"/>
              <a:gd name="T23" fmla="*/ 0 h 1145638"/>
              <a:gd name="T24" fmla="*/ 0 w 1346198"/>
              <a:gd name="T25" fmla="*/ 0 h 1145638"/>
              <a:gd name="T26" fmla="*/ 0 w 1346198"/>
              <a:gd name="T27" fmla="*/ 0 h 1145638"/>
              <a:gd name="T28" fmla="*/ 0 w 1346198"/>
              <a:gd name="T29" fmla="*/ 0 h 1145638"/>
              <a:gd name="T30" fmla="*/ 0 w 1346198"/>
              <a:gd name="T31" fmla="*/ 0 h 1145638"/>
              <a:gd name="T32" fmla="*/ 0 w 1346198"/>
              <a:gd name="T33" fmla="*/ 0 h 1145638"/>
              <a:gd name="T34" fmla="*/ 0 w 1346198"/>
              <a:gd name="T35" fmla="*/ 0 h 1145638"/>
              <a:gd name="T36" fmla="*/ 0 w 1346198"/>
              <a:gd name="T37" fmla="*/ 0 h 1145638"/>
              <a:gd name="T38" fmla="*/ 0 w 1346198"/>
              <a:gd name="T39" fmla="*/ 0 h 1145638"/>
              <a:gd name="T40" fmla="*/ 0 w 1346198"/>
              <a:gd name="T41" fmla="*/ 0 h 1145638"/>
              <a:gd name="T42" fmla="*/ 0 w 1346198"/>
              <a:gd name="T43" fmla="*/ 0 h 1145638"/>
              <a:gd name="T44" fmla="*/ 0 w 1346198"/>
              <a:gd name="T45" fmla="*/ 0 h 1145638"/>
              <a:gd name="T46" fmla="*/ 0 w 1346198"/>
              <a:gd name="T47" fmla="*/ 0 h 1145638"/>
              <a:gd name="T48" fmla="*/ 0 w 1346198"/>
              <a:gd name="T49" fmla="*/ 0 h 1145638"/>
              <a:gd name="T50" fmla="*/ 0 w 1346198"/>
              <a:gd name="T51" fmla="*/ 0 h 1145638"/>
              <a:gd name="T52" fmla="*/ 0 w 1346198"/>
              <a:gd name="T53" fmla="*/ 0 h 1145638"/>
              <a:gd name="T54" fmla="*/ 0 w 1346198"/>
              <a:gd name="T55" fmla="*/ 0 h 1145638"/>
              <a:gd name="T56" fmla="*/ 0 w 1346198"/>
              <a:gd name="T57" fmla="*/ 0 h 1145638"/>
              <a:gd name="T58" fmla="*/ 0 w 1346198"/>
              <a:gd name="T59" fmla="*/ 0 h 1145638"/>
              <a:gd name="T60" fmla="*/ 0 w 1346198"/>
              <a:gd name="T61" fmla="*/ 0 h 1145638"/>
              <a:gd name="T62" fmla="*/ 0 w 1346198"/>
              <a:gd name="T63" fmla="*/ 0 h 1145638"/>
              <a:gd name="T64" fmla="*/ 0 w 1346198"/>
              <a:gd name="T65" fmla="*/ 0 h 1145638"/>
              <a:gd name="T66" fmla="*/ 0 w 1346198"/>
              <a:gd name="T67" fmla="*/ 0 h 1145638"/>
              <a:gd name="T68" fmla="*/ 0 w 1346198"/>
              <a:gd name="T69" fmla="*/ 0 h 1145638"/>
              <a:gd name="T70" fmla="*/ 0 w 1346198"/>
              <a:gd name="T71" fmla="*/ 0 h 1145638"/>
              <a:gd name="T72" fmla="*/ 0 w 1346198"/>
              <a:gd name="T73" fmla="*/ 0 h 1145638"/>
              <a:gd name="T74" fmla="*/ 0 w 1346198"/>
              <a:gd name="T75" fmla="*/ 0 h 1145638"/>
              <a:gd name="T76" fmla="*/ 0 w 1346198"/>
              <a:gd name="T77" fmla="*/ 0 h 1145638"/>
              <a:gd name="T78" fmla="*/ 0 w 1346198"/>
              <a:gd name="T79" fmla="*/ 0 h 1145638"/>
              <a:gd name="T80" fmla="*/ 0 w 1346198"/>
              <a:gd name="T81" fmla="*/ 0 h 1145638"/>
              <a:gd name="T82" fmla="*/ 0 w 1346198"/>
              <a:gd name="T83" fmla="*/ 0 h 1145638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w 1346198"/>
              <a:gd name="T127" fmla="*/ 0 h 1145638"/>
              <a:gd name="T128" fmla="*/ 1346198 w 1346198"/>
              <a:gd name="T129" fmla="*/ 1145638 h 1145638"/>
            </a:gdLst>
            <a:ahLst/>
            <a:cxnLst>
              <a:cxn ang="T84">
                <a:pos x="T0" y="T1"/>
              </a:cxn>
              <a:cxn ang="T85">
                <a:pos x="T2" y="T3"/>
              </a:cxn>
              <a:cxn ang="T86">
                <a:pos x="T4" y="T5"/>
              </a:cxn>
              <a:cxn ang="T87">
                <a:pos x="T6" y="T7"/>
              </a:cxn>
              <a:cxn ang="T88">
                <a:pos x="T8" y="T9"/>
              </a:cxn>
              <a:cxn ang="T89">
                <a:pos x="T10" y="T11"/>
              </a:cxn>
              <a:cxn ang="T90">
                <a:pos x="T12" y="T13"/>
              </a:cxn>
              <a:cxn ang="T91">
                <a:pos x="T14" y="T15"/>
              </a:cxn>
              <a:cxn ang="T92">
                <a:pos x="T16" y="T17"/>
              </a:cxn>
              <a:cxn ang="T93">
                <a:pos x="T18" y="T19"/>
              </a:cxn>
              <a:cxn ang="T94">
                <a:pos x="T20" y="T21"/>
              </a:cxn>
              <a:cxn ang="T95">
                <a:pos x="T22" y="T23"/>
              </a:cxn>
              <a:cxn ang="T96">
                <a:pos x="T24" y="T25"/>
              </a:cxn>
              <a:cxn ang="T97">
                <a:pos x="T26" y="T27"/>
              </a:cxn>
              <a:cxn ang="T98">
                <a:pos x="T28" y="T29"/>
              </a:cxn>
              <a:cxn ang="T99">
                <a:pos x="T30" y="T31"/>
              </a:cxn>
              <a:cxn ang="T100">
                <a:pos x="T32" y="T33"/>
              </a:cxn>
              <a:cxn ang="T101">
                <a:pos x="T34" y="T35"/>
              </a:cxn>
              <a:cxn ang="T102">
                <a:pos x="T36" y="T37"/>
              </a:cxn>
              <a:cxn ang="T103">
                <a:pos x="T38" y="T39"/>
              </a:cxn>
              <a:cxn ang="T104">
                <a:pos x="T40" y="T41"/>
              </a:cxn>
              <a:cxn ang="T105">
                <a:pos x="T42" y="T43"/>
              </a:cxn>
              <a:cxn ang="T106">
                <a:pos x="T44" y="T45"/>
              </a:cxn>
              <a:cxn ang="T107">
                <a:pos x="T46" y="T47"/>
              </a:cxn>
              <a:cxn ang="T108">
                <a:pos x="T48" y="T49"/>
              </a:cxn>
              <a:cxn ang="T109">
                <a:pos x="T50" y="T51"/>
              </a:cxn>
              <a:cxn ang="T110">
                <a:pos x="T52" y="T53"/>
              </a:cxn>
              <a:cxn ang="T111">
                <a:pos x="T54" y="T55"/>
              </a:cxn>
              <a:cxn ang="T112">
                <a:pos x="T56" y="T57"/>
              </a:cxn>
              <a:cxn ang="T113">
                <a:pos x="T58" y="T59"/>
              </a:cxn>
              <a:cxn ang="T114">
                <a:pos x="T60" y="T61"/>
              </a:cxn>
              <a:cxn ang="T115">
                <a:pos x="T62" y="T63"/>
              </a:cxn>
              <a:cxn ang="T116">
                <a:pos x="T64" y="T65"/>
              </a:cxn>
              <a:cxn ang="T117">
                <a:pos x="T66" y="T67"/>
              </a:cxn>
              <a:cxn ang="T118">
                <a:pos x="T68" y="T69"/>
              </a:cxn>
              <a:cxn ang="T119">
                <a:pos x="T70" y="T71"/>
              </a:cxn>
              <a:cxn ang="T120">
                <a:pos x="T72" y="T73"/>
              </a:cxn>
              <a:cxn ang="T121">
                <a:pos x="T74" y="T75"/>
              </a:cxn>
              <a:cxn ang="T122">
                <a:pos x="T76" y="T77"/>
              </a:cxn>
              <a:cxn ang="T123">
                <a:pos x="T78" y="T79"/>
              </a:cxn>
              <a:cxn ang="T124">
                <a:pos x="T80" y="T81"/>
              </a:cxn>
              <a:cxn ang="T125">
                <a:pos x="T82" y="T83"/>
              </a:cxn>
            </a:cxnLst>
            <a:rect l="T126" t="T127" r="T128" b="T129"/>
            <a:pathLst>
              <a:path w="1346198" h="1145638">
                <a:moveTo>
                  <a:pt x="363356" y="0"/>
                </a:moveTo>
                <a:lnTo>
                  <a:pt x="460742" y="25306"/>
                </a:lnTo>
                <a:lnTo>
                  <a:pt x="554506" y="79562"/>
                </a:lnTo>
                <a:lnTo>
                  <a:pt x="646459" y="168133"/>
                </a:lnTo>
                <a:lnTo>
                  <a:pt x="716738" y="249491"/>
                </a:lnTo>
                <a:lnTo>
                  <a:pt x="749220" y="260348"/>
                </a:lnTo>
                <a:lnTo>
                  <a:pt x="817746" y="247695"/>
                </a:lnTo>
                <a:lnTo>
                  <a:pt x="868221" y="244076"/>
                </a:lnTo>
                <a:lnTo>
                  <a:pt x="882651" y="254932"/>
                </a:lnTo>
                <a:lnTo>
                  <a:pt x="872093" y="268633"/>
                </a:lnTo>
                <a:lnTo>
                  <a:pt x="884724" y="260348"/>
                </a:lnTo>
                <a:lnTo>
                  <a:pt x="864665" y="287342"/>
                </a:lnTo>
                <a:lnTo>
                  <a:pt x="835501" y="339513"/>
                </a:lnTo>
                <a:cubicBezTo>
                  <a:pt x="834267" y="356271"/>
                  <a:pt x="833084" y="373111"/>
                  <a:pt x="831849" y="389869"/>
                </a:cubicBezTo>
                <a:lnTo>
                  <a:pt x="851909" y="425778"/>
                </a:lnTo>
                <a:lnTo>
                  <a:pt x="897532" y="465402"/>
                </a:lnTo>
                <a:lnTo>
                  <a:pt x="928496" y="600289"/>
                </a:lnTo>
                <a:lnTo>
                  <a:pt x="994178" y="598473"/>
                </a:lnTo>
                <a:lnTo>
                  <a:pt x="1010586" y="616469"/>
                </a:lnTo>
                <a:lnTo>
                  <a:pt x="994178" y="648828"/>
                </a:lnTo>
                <a:lnTo>
                  <a:pt x="1010586" y="663192"/>
                </a:lnTo>
                <a:lnTo>
                  <a:pt x="1072616" y="679372"/>
                </a:lnTo>
                <a:lnTo>
                  <a:pt x="1092676" y="679372"/>
                </a:lnTo>
                <a:cubicBezTo>
                  <a:pt x="1095093" y="685398"/>
                  <a:pt x="1097562" y="691342"/>
                  <a:pt x="1099979" y="697368"/>
                </a:cubicBezTo>
                <a:lnTo>
                  <a:pt x="1121839" y="697368"/>
                </a:lnTo>
                <a:lnTo>
                  <a:pt x="1121839" y="717180"/>
                </a:lnTo>
                <a:lnTo>
                  <a:pt x="1152854" y="717180"/>
                </a:lnTo>
                <a:lnTo>
                  <a:pt x="1171114" y="749539"/>
                </a:lnTo>
                <a:lnTo>
                  <a:pt x="1149202" y="760353"/>
                </a:lnTo>
                <a:cubicBezTo>
                  <a:pt x="1150437" y="778349"/>
                  <a:pt x="1151620" y="796263"/>
                  <a:pt x="1152854" y="814259"/>
                </a:cubicBezTo>
                <a:lnTo>
                  <a:pt x="1187522" y="852066"/>
                </a:lnTo>
                <a:lnTo>
                  <a:pt x="1220337" y="852066"/>
                </a:lnTo>
                <a:lnTo>
                  <a:pt x="1253152" y="886242"/>
                </a:lnTo>
                <a:lnTo>
                  <a:pt x="1296975" y="886242"/>
                </a:lnTo>
                <a:lnTo>
                  <a:pt x="1275064" y="932965"/>
                </a:lnTo>
                <a:lnTo>
                  <a:pt x="1302427" y="1004949"/>
                </a:lnTo>
                <a:lnTo>
                  <a:pt x="1346198" y="1085848"/>
                </a:lnTo>
                <a:lnTo>
                  <a:pt x="1342311" y="1084216"/>
                </a:lnTo>
                <a:lnTo>
                  <a:pt x="1342968" y="1085100"/>
                </a:lnTo>
                <a:cubicBezTo>
                  <a:pt x="1333432" y="1083954"/>
                  <a:pt x="1325327" y="1082809"/>
                  <a:pt x="1315791" y="1081755"/>
                </a:cubicBezTo>
                <a:lnTo>
                  <a:pt x="1273834" y="1081755"/>
                </a:lnTo>
                <a:lnTo>
                  <a:pt x="1209824" y="1076350"/>
                </a:lnTo>
                <a:lnTo>
                  <a:pt x="1209824" y="1119022"/>
                </a:lnTo>
                <a:lnTo>
                  <a:pt x="1145458" y="1145638"/>
                </a:lnTo>
                <a:cubicBezTo>
                  <a:pt x="1133419" y="1129673"/>
                  <a:pt x="1121142" y="1113685"/>
                  <a:pt x="1108983" y="1097743"/>
                </a:cubicBezTo>
                <a:lnTo>
                  <a:pt x="1039610" y="1119022"/>
                </a:lnTo>
                <a:lnTo>
                  <a:pt x="985972" y="1097743"/>
                </a:lnTo>
                <a:lnTo>
                  <a:pt x="853305" y="1076350"/>
                </a:lnTo>
                <a:lnTo>
                  <a:pt x="746623" y="1044374"/>
                </a:lnTo>
                <a:lnTo>
                  <a:pt x="661158" y="1028318"/>
                </a:lnTo>
                <a:cubicBezTo>
                  <a:pt x="645186" y="1019499"/>
                  <a:pt x="629452" y="1010635"/>
                  <a:pt x="614194" y="1001771"/>
                </a:cubicBezTo>
                <a:lnTo>
                  <a:pt x="512877" y="1001771"/>
                </a:lnTo>
                <a:cubicBezTo>
                  <a:pt x="494878" y="1012444"/>
                  <a:pt x="476521" y="1023095"/>
                  <a:pt x="459357" y="1033678"/>
                </a:cubicBezTo>
                <a:cubicBezTo>
                  <a:pt x="444100" y="1021263"/>
                  <a:pt x="427174" y="1008871"/>
                  <a:pt x="411440" y="996411"/>
                </a:cubicBezTo>
                <a:lnTo>
                  <a:pt x="336703" y="996411"/>
                </a:lnTo>
                <a:cubicBezTo>
                  <a:pt x="325975" y="983996"/>
                  <a:pt x="315724" y="971582"/>
                  <a:pt x="304758" y="959075"/>
                </a:cubicBezTo>
                <a:cubicBezTo>
                  <a:pt x="294149" y="948493"/>
                  <a:pt x="283779" y="937842"/>
                  <a:pt x="272694" y="927146"/>
                </a:cubicBezTo>
                <a:lnTo>
                  <a:pt x="187467" y="948493"/>
                </a:lnTo>
                <a:cubicBezTo>
                  <a:pt x="175071" y="937842"/>
                  <a:pt x="162913" y="927146"/>
                  <a:pt x="150993" y="916586"/>
                </a:cubicBezTo>
                <a:lnTo>
                  <a:pt x="155389" y="913534"/>
                </a:lnTo>
                <a:lnTo>
                  <a:pt x="147673" y="914400"/>
                </a:lnTo>
                <a:lnTo>
                  <a:pt x="147673" y="883869"/>
                </a:lnTo>
                <a:lnTo>
                  <a:pt x="163479" y="873035"/>
                </a:lnTo>
                <a:lnTo>
                  <a:pt x="168769" y="835251"/>
                </a:lnTo>
                <a:lnTo>
                  <a:pt x="175801" y="795766"/>
                </a:lnTo>
                <a:lnTo>
                  <a:pt x="216219" y="757982"/>
                </a:lnTo>
                <a:lnTo>
                  <a:pt x="247863" y="732823"/>
                </a:lnTo>
                <a:lnTo>
                  <a:pt x="217993" y="716617"/>
                </a:lnTo>
                <a:lnTo>
                  <a:pt x="195123" y="689667"/>
                </a:lnTo>
                <a:lnTo>
                  <a:pt x="163479" y="678833"/>
                </a:lnTo>
                <a:lnTo>
                  <a:pt x="105480" y="639348"/>
                </a:lnTo>
                <a:lnTo>
                  <a:pt x="57999" y="617770"/>
                </a:lnTo>
                <a:lnTo>
                  <a:pt x="17580" y="576405"/>
                </a:lnTo>
                <a:lnTo>
                  <a:pt x="0" y="531458"/>
                </a:lnTo>
                <a:cubicBezTo>
                  <a:pt x="1742" y="517043"/>
                  <a:pt x="3516" y="502717"/>
                  <a:pt x="5258" y="488302"/>
                </a:cubicBezTo>
                <a:lnTo>
                  <a:pt x="86127" y="446937"/>
                </a:lnTo>
                <a:lnTo>
                  <a:pt x="189865" y="393037"/>
                </a:lnTo>
                <a:lnTo>
                  <a:pt x="244347" y="339047"/>
                </a:lnTo>
                <a:lnTo>
                  <a:pt x="253153" y="268941"/>
                </a:lnTo>
                <a:lnTo>
                  <a:pt x="275991" y="204207"/>
                </a:lnTo>
                <a:cubicBezTo>
                  <a:pt x="277765" y="179047"/>
                  <a:pt x="279507" y="153888"/>
                  <a:pt x="281281" y="128729"/>
                </a:cubicBezTo>
                <a:lnTo>
                  <a:pt x="302377" y="101779"/>
                </a:lnTo>
                <a:lnTo>
                  <a:pt x="311152" y="63995"/>
                </a:lnTo>
                <a:lnTo>
                  <a:pt x="302587" y="20123"/>
                </a:lnTo>
                <a:lnTo>
                  <a:pt x="298451" y="16272"/>
                </a:lnTo>
                <a:close/>
              </a:path>
            </a:pathLst>
          </a:custGeom>
          <a:solidFill>
            <a:srgbClr val="70B0DF"/>
          </a:solidFill>
          <a:ln w="3175" cap="flat" cmpd="sng">
            <a:noFill/>
            <a:prstDash val="solid"/>
            <a:round/>
            <a:headEnd type="none" w="med" len="med"/>
            <a:tailEnd type="none" w="med" len="med"/>
          </a:ln>
        </p:spPr>
        <p:txBody>
          <a:bodyPr wrap="none" lIns="32632" tIns="32632" rIns="32632" bIns="32632" anchor="ctr"/>
          <a:lstStyle/>
          <a:p>
            <a:pPr defTabSz="891045"/>
            <a:endParaRPr lang="en-US" sz="1700" dirty="0">
              <a:solidFill>
                <a:srgbClr val="003149"/>
              </a:solidFill>
              <a:cs typeface="Arial" panose="020B0604020202020204" pitchFamily="34" charset="0"/>
            </a:endParaRPr>
          </a:p>
        </p:txBody>
      </p:sp>
      <p:sp>
        <p:nvSpPr>
          <p:cNvPr id="37" name="Freeform 707"/>
          <p:cNvSpPr>
            <a:spLocks noChangeAspect="1"/>
          </p:cNvSpPr>
          <p:nvPr>
            <p:custDataLst>
              <p:tags r:id="rId19"/>
            </p:custDataLst>
          </p:nvPr>
        </p:nvSpPr>
        <p:spPr bwMode="gray">
          <a:xfrm>
            <a:off x="3345420" y="3143422"/>
            <a:ext cx="344044" cy="413232"/>
          </a:xfrm>
          <a:custGeom>
            <a:avLst/>
            <a:gdLst>
              <a:gd name="T0" fmla="*/ 0 w 2000252"/>
              <a:gd name="T1" fmla="*/ 0 h 2109711"/>
              <a:gd name="T2" fmla="*/ 0 w 2000252"/>
              <a:gd name="T3" fmla="*/ 0 h 2109711"/>
              <a:gd name="T4" fmla="*/ 0 w 2000252"/>
              <a:gd name="T5" fmla="*/ 0 h 2109711"/>
              <a:gd name="T6" fmla="*/ 0 w 2000252"/>
              <a:gd name="T7" fmla="*/ 0 h 2109711"/>
              <a:gd name="T8" fmla="*/ 0 w 2000252"/>
              <a:gd name="T9" fmla="*/ 0 h 2109711"/>
              <a:gd name="T10" fmla="*/ 0 w 2000252"/>
              <a:gd name="T11" fmla="*/ 0 h 2109711"/>
              <a:gd name="T12" fmla="*/ 0 w 2000252"/>
              <a:gd name="T13" fmla="*/ 0 h 2109711"/>
              <a:gd name="T14" fmla="*/ 0 w 2000252"/>
              <a:gd name="T15" fmla="*/ 0 h 2109711"/>
              <a:gd name="T16" fmla="*/ 0 w 2000252"/>
              <a:gd name="T17" fmla="*/ 0 h 2109711"/>
              <a:gd name="T18" fmla="*/ 0 w 2000252"/>
              <a:gd name="T19" fmla="*/ 0 h 2109711"/>
              <a:gd name="T20" fmla="*/ 0 w 2000252"/>
              <a:gd name="T21" fmla="*/ 0 h 2109711"/>
              <a:gd name="T22" fmla="*/ 0 w 2000252"/>
              <a:gd name="T23" fmla="*/ 0 h 2109711"/>
              <a:gd name="T24" fmla="*/ 0 w 2000252"/>
              <a:gd name="T25" fmla="*/ 0 h 2109711"/>
              <a:gd name="T26" fmla="*/ 0 w 2000252"/>
              <a:gd name="T27" fmla="*/ 0 h 2109711"/>
              <a:gd name="T28" fmla="*/ 0 w 2000252"/>
              <a:gd name="T29" fmla="*/ 0 h 2109711"/>
              <a:gd name="T30" fmla="*/ 0 w 2000252"/>
              <a:gd name="T31" fmla="*/ 0 h 2109711"/>
              <a:gd name="T32" fmla="*/ 0 w 2000252"/>
              <a:gd name="T33" fmla="*/ 0 h 2109711"/>
              <a:gd name="T34" fmla="*/ 0 w 2000252"/>
              <a:gd name="T35" fmla="*/ 0 h 2109711"/>
              <a:gd name="T36" fmla="*/ 0 w 2000252"/>
              <a:gd name="T37" fmla="*/ 0 h 2109711"/>
              <a:gd name="T38" fmla="*/ 0 w 2000252"/>
              <a:gd name="T39" fmla="*/ 0 h 2109711"/>
              <a:gd name="T40" fmla="*/ 0 w 2000252"/>
              <a:gd name="T41" fmla="*/ 0 h 2109711"/>
              <a:gd name="T42" fmla="*/ 0 w 2000252"/>
              <a:gd name="T43" fmla="*/ 0 h 2109711"/>
              <a:gd name="T44" fmla="*/ 0 w 2000252"/>
              <a:gd name="T45" fmla="*/ 0 h 2109711"/>
              <a:gd name="T46" fmla="*/ 0 w 2000252"/>
              <a:gd name="T47" fmla="*/ 0 h 2109711"/>
              <a:gd name="T48" fmla="*/ 0 w 2000252"/>
              <a:gd name="T49" fmla="*/ 0 h 2109711"/>
              <a:gd name="T50" fmla="*/ 0 w 2000252"/>
              <a:gd name="T51" fmla="*/ 0 h 2109711"/>
              <a:gd name="T52" fmla="*/ 0 w 2000252"/>
              <a:gd name="T53" fmla="*/ 0 h 2109711"/>
              <a:gd name="T54" fmla="*/ 0 w 2000252"/>
              <a:gd name="T55" fmla="*/ 0 h 2109711"/>
              <a:gd name="T56" fmla="*/ 0 w 2000252"/>
              <a:gd name="T57" fmla="*/ 0 h 2109711"/>
              <a:gd name="T58" fmla="*/ 0 w 2000252"/>
              <a:gd name="T59" fmla="*/ 0 h 2109711"/>
              <a:gd name="T60" fmla="*/ 0 w 2000252"/>
              <a:gd name="T61" fmla="*/ 0 h 2109711"/>
              <a:gd name="T62" fmla="*/ 0 w 2000252"/>
              <a:gd name="T63" fmla="*/ 0 h 2109711"/>
              <a:gd name="T64" fmla="*/ 0 w 2000252"/>
              <a:gd name="T65" fmla="*/ 0 h 2109711"/>
              <a:gd name="T66" fmla="*/ 0 w 2000252"/>
              <a:gd name="T67" fmla="*/ 0 h 2109711"/>
              <a:gd name="T68" fmla="*/ 0 w 2000252"/>
              <a:gd name="T69" fmla="*/ 0 h 2109711"/>
              <a:gd name="T70" fmla="*/ 0 w 2000252"/>
              <a:gd name="T71" fmla="*/ 0 h 2109711"/>
              <a:gd name="T72" fmla="*/ 0 w 2000252"/>
              <a:gd name="T73" fmla="*/ 0 h 2109711"/>
              <a:gd name="T74" fmla="*/ 0 w 2000252"/>
              <a:gd name="T75" fmla="*/ 0 h 2109711"/>
              <a:gd name="T76" fmla="*/ 0 w 2000252"/>
              <a:gd name="T77" fmla="*/ 0 h 2109711"/>
              <a:gd name="T78" fmla="*/ 0 w 2000252"/>
              <a:gd name="T79" fmla="*/ 0 h 2109711"/>
              <a:gd name="T80" fmla="*/ 0 w 2000252"/>
              <a:gd name="T81" fmla="*/ 0 h 2109711"/>
              <a:gd name="T82" fmla="*/ 0 w 2000252"/>
              <a:gd name="T83" fmla="*/ 0 h 2109711"/>
              <a:gd name="T84" fmla="*/ 0 w 2000252"/>
              <a:gd name="T85" fmla="*/ 0 h 2109711"/>
              <a:gd name="T86" fmla="*/ 0 w 2000252"/>
              <a:gd name="T87" fmla="*/ 0 h 2109711"/>
              <a:gd name="T88" fmla="*/ 0 w 2000252"/>
              <a:gd name="T89" fmla="*/ 0 h 2109711"/>
              <a:gd name="T90" fmla="*/ 0 w 2000252"/>
              <a:gd name="T91" fmla="*/ 0 h 2109711"/>
              <a:gd name="T92" fmla="*/ 0 w 2000252"/>
              <a:gd name="T93" fmla="*/ 0 h 2109711"/>
              <a:gd name="T94" fmla="*/ 0 w 2000252"/>
              <a:gd name="T95" fmla="*/ 0 h 2109711"/>
              <a:gd name="T96" fmla="*/ 0 w 2000252"/>
              <a:gd name="T97" fmla="*/ 0 h 2109711"/>
              <a:gd name="T98" fmla="*/ 0 w 2000252"/>
              <a:gd name="T99" fmla="*/ 0 h 2109711"/>
              <a:gd name="T100" fmla="*/ 0 w 2000252"/>
              <a:gd name="T101" fmla="*/ 0 h 2109711"/>
              <a:gd name="T102" fmla="*/ 0 w 2000252"/>
              <a:gd name="T103" fmla="*/ 0 h 2109711"/>
              <a:gd name="T104" fmla="*/ 0 w 2000252"/>
              <a:gd name="T105" fmla="*/ 0 h 2109711"/>
              <a:gd name="T106" fmla="*/ 0 w 2000252"/>
              <a:gd name="T107" fmla="*/ 0 h 2109711"/>
              <a:gd name="T108" fmla="*/ 0 w 2000252"/>
              <a:gd name="T109" fmla="*/ 0 h 2109711"/>
              <a:gd name="T110" fmla="*/ 0 w 2000252"/>
              <a:gd name="T111" fmla="*/ 0 h 2109711"/>
              <a:gd name="T112" fmla="*/ 0 w 2000252"/>
              <a:gd name="T113" fmla="*/ 0 h 2109711"/>
              <a:gd name="T114" fmla="*/ 0 w 2000252"/>
              <a:gd name="T115" fmla="*/ 0 h 2109711"/>
              <a:gd name="T116" fmla="*/ 0 w 2000252"/>
              <a:gd name="T117" fmla="*/ 0 h 2109711"/>
              <a:gd name="T118" fmla="*/ 0 w 2000252"/>
              <a:gd name="T119" fmla="*/ 0 h 2109711"/>
              <a:gd name="T120" fmla="*/ 0 w 2000252"/>
              <a:gd name="T121" fmla="*/ 0 h 2109711"/>
              <a:gd name="T122" fmla="*/ 0 w 2000252"/>
              <a:gd name="T123" fmla="*/ 0 h 2109711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w 2000252"/>
              <a:gd name="T187" fmla="*/ 0 h 2109711"/>
              <a:gd name="T188" fmla="*/ 2000252 w 2000252"/>
              <a:gd name="T189" fmla="*/ 2109711 h 2109711"/>
            </a:gdLst>
            <a:ahLst/>
            <a:cxnLst>
              <a:cxn ang="T124">
                <a:pos x="T0" y="T1"/>
              </a:cxn>
              <a:cxn ang="T125">
                <a:pos x="T2" y="T3"/>
              </a:cxn>
              <a:cxn ang="T126">
                <a:pos x="T4" y="T5"/>
              </a:cxn>
              <a:cxn ang="T127">
                <a:pos x="T6" y="T7"/>
              </a:cxn>
              <a:cxn ang="T128">
                <a:pos x="T8" y="T9"/>
              </a:cxn>
              <a:cxn ang="T129">
                <a:pos x="T10" y="T11"/>
              </a:cxn>
              <a:cxn ang="T130">
                <a:pos x="T12" y="T13"/>
              </a:cxn>
              <a:cxn ang="T131">
                <a:pos x="T14" y="T15"/>
              </a:cxn>
              <a:cxn ang="T132">
                <a:pos x="T16" y="T17"/>
              </a:cxn>
              <a:cxn ang="T133">
                <a:pos x="T18" y="T19"/>
              </a:cxn>
              <a:cxn ang="T134">
                <a:pos x="T20" y="T21"/>
              </a:cxn>
              <a:cxn ang="T135">
                <a:pos x="T22" y="T23"/>
              </a:cxn>
              <a:cxn ang="T136">
                <a:pos x="T24" y="T25"/>
              </a:cxn>
              <a:cxn ang="T137">
                <a:pos x="T26" y="T27"/>
              </a:cxn>
              <a:cxn ang="T138">
                <a:pos x="T28" y="T29"/>
              </a:cxn>
              <a:cxn ang="T139">
                <a:pos x="T30" y="T31"/>
              </a:cxn>
              <a:cxn ang="T140">
                <a:pos x="T32" y="T33"/>
              </a:cxn>
              <a:cxn ang="T141">
                <a:pos x="T34" y="T35"/>
              </a:cxn>
              <a:cxn ang="T142">
                <a:pos x="T36" y="T37"/>
              </a:cxn>
              <a:cxn ang="T143">
                <a:pos x="T38" y="T39"/>
              </a:cxn>
              <a:cxn ang="T144">
                <a:pos x="T40" y="T41"/>
              </a:cxn>
              <a:cxn ang="T145">
                <a:pos x="T42" y="T43"/>
              </a:cxn>
              <a:cxn ang="T146">
                <a:pos x="T44" y="T45"/>
              </a:cxn>
              <a:cxn ang="T147">
                <a:pos x="T46" y="T47"/>
              </a:cxn>
              <a:cxn ang="T148">
                <a:pos x="T48" y="T49"/>
              </a:cxn>
              <a:cxn ang="T149">
                <a:pos x="T50" y="T51"/>
              </a:cxn>
              <a:cxn ang="T150">
                <a:pos x="T52" y="T53"/>
              </a:cxn>
              <a:cxn ang="T151">
                <a:pos x="T54" y="T55"/>
              </a:cxn>
              <a:cxn ang="T152">
                <a:pos x="T56" y="T57"/>
              </a:cxn>
              <a:cxn ang="T153">
                <a:pos x="T58" y="T59"/>
              </a:cxn>
              <a:cxn ang="T154">
                <a:pos x="T60" y="T61"/>
              </a:cxn>
              <a:cxn ang="T155">
                <a:pos x="T62" y="T63"/>
              </a:cxn>
              <a:cxn ang="T156">
                <a:pos x="T64" y="T65"/>
              </a:cxn>
              <a:cxn ang="T157">
                <a:pos x="T66" y="T67"/>
              </a:cxn>
              <a:cxn ang="T158">
                <a:pos x="T68" y="T69"/>
              </a:cxn>
              <a:cxn ang="T159">
                <a:pos x="T70" y="T71"/>
              </a:cxn>
              <a:cxn ang="T160">
                <a:pos x="T72" y="T73"/>
              </a:cxn>
              <a:cxn ang="T161">
                <a:pos x="T74" y="T75"/>
              </a:cxn>
              <a:cxn ang="T162">
                <a:pos x="T76" y="T77"/>
              </a:cxn>
              <a:cxn ang="T163">
                <a:pos x="T78" y="T79"/>
              </a:cxn>
              <a:cxn ang="T164">
                <a:pos x="T80" y="T81"/>
              </a:cxn>
              <a:cxn ang="T165">
                <a:pos x="T82" y="T83"/>
              </a:cxn>
              <a:cxn ang="T166">
                <a:pos x="T84" y="T85"/>
              </a:cxn>
              <a:cxn ang="T167">
                <a:pos x="T86" y="T87"/>
              </a:cxn>
              <a:cxn ang="T168">
                <a:pos x="T88" y="T89"/>
              </a:cxn>
              <a:cxn ang="T169">
                <a:pos x="T90" y="T91"/>
              </a:cxn>
              <a:cxn ang="T170">
                <a:pos x="T92" y="T93"/>
              </a:cxn>
              <a:cxn ang="T171">
                <a:pos x="T94" y="T95"/>
              </a:cxn>
              <a:cxn ang="T172">
                <a:pos x="T96" y="T97"/>
              </a:cxn>
              <a:cxn ang="T173">
                <a:pos x="T98" y="T99"/>
              </a:cxn>
              <a:cxn ang="T174">
                <a:pos x="T100" y="T101"/>
              </a:cxn>
              <a:cxn ang="T175">
                <a:pos x="T102" y="T103"/>
              </a:cxn>
              <a:cxn ang="T176">
                <a:pos x="T104" y="T105"/>
              </a:cxn>
              <a:cxn ang="T177">
                <a:pos x="T106" y="T107"/>
              </a:cxn>
              <a:cxn ang="T178">
                <a:pos x="T108" y="T109"/>
              </a:cxn>
              <a:cxn ang="T179">
                <a:pos x="T110" y="T111"/>
              </a:cxn>
              <a:cxn ang="T180">
                <a:pos x="T112" y="T113"/>
              </a:cxn>
              <a:cxn ang="T181">
                <a:pos x="T114" y="T115"/>
              </a:cxn>
              <a:cxn ang="T182">
                <a:pos x="T116" y="T117"/>
              </a:cxn>
              <a:cxn ang="T183">
                <a:pos x="T118" y="T119"/>
              </a:cxn>
              <a:cxn ang="T184">
                <a:pos x="T120" y="T121"/>
              </a:cxn>
              <a:cxn ang="T185">
                <a:pos x="T122" y="T123"/>
              </a:cxn>
            </a:cxnLst>
            <a:rect l="T186" t="T187" r="T188" b="T189"/>
            <a:pathLst>
              <a:path w="2000252" h="2109711">
                <a:moveTo>
                  <a:pt x="1636873" y="0"/>
                </a:moveTo>
                <a:lnTo>
                  <a:pt x="1637485" y="2342"/>
                </a:lnTo>
                <a:lnTo>
                  <a:pt x="1637515" y="2155"/>
                </a:lnTo>
                <a:cubicBezTo>
                  <a:pt x="1647028" y="6917"/>
                  <a:pt x="1644599" y="23813"/>
                  <a:pt x="1654112" y="28575"/>
                </a:cubicBezTo>
                <a:lnTo>
                  <a:pt x="1675533" y="67898"/>
                </a:lnTo>
                <a:cubicBezTo>
                  <a:pt x="1674318" y="85870"/>
                  <a:pt x="1673138" y="103842"/>
                  <a:pt x="1671923" y="121814"/>
                </a:cubicBezTo>
                <a:lnTo>
                  <a:pt x="1711122" y="164670"/>
                </a:lnTo>
                <a:lnTo>
                  <a:pt x="1803788" y="215052"/>
                </a:lnTo>
                <a:lnTo>
                  <a:pt x="1853680" y="290319"/>
                </a:lnTo>
                <a:lnTo>
                  <a:pt x="1899997" y="394310"/>
                </a:lnTo>
                <a:lnTo>
                  <a:pt x="1953465" y="519959"/>
                </a:lnTo>
                <a:lnTo>
                  <a:pt x="1964192" y="591539"/>
                </a:lnTo>
                <a:lnTo>
                  <a:pt x="1917842" y="638082"/>
                </a:lnTo>
                <a:lnTo>
                  <a:pt x="1896455" y="677558"/>
                </a:lnTo>
                <a:lnTo>
                  <a:pt x="1885761" y="752825"/>
                </a:lnTo>
                <a:cubicBezTo>
                  <a:pt x="1884581" y="775559"/>
                  <a:pt x="1883366" y="798139"/>
                  <a:pt x="1882185" y="820872"/>
                </a:cubicBezTo>
                <a:lnTo>
                  <a:pt x="1860832" y="871255"/>
                </a:lnTo>
                <a:lnTo>
                  <a:pt x="1878610" y="917644"/>
                </a:lnTo>
                <a:lnTo>
                  <a:pt x="1885761" y="978779"/>
                </a:lnTo>
                <a:lnTo>
                  <a:pt x="1857290" y="1054199"/>
                </a:lnTo>
                <a:lnTo>
                  <a:pt x="1807364" y="1129466"/>
                </a:lnTo>
                <a:lnTo>
                  <a:pt x="1814482" y="1193980"/>
                </a:lnTo>
                <a:lnTo>
                  <a:pt x="1885761" y="1254961"/>
                </a:lnTo>
                <a:lnTo>
                  <a:pt x="1974852" y="1312256"/>
                </a:lnTo>
                <a:lnTo>
                  <a:pt x="1974852" y="1398275"/>
                </a:lnTo>
                <a:lnTo>
                  <a:pt x="1953465" y="1444971"/>
                </a:lnTo>
                <a:lnTo>
                  <a:pt x="1935687" y="1523924"/>
                </a:lnTo>
                <a:lnTo>
                  <a:pt x="1948840" y="1534494"/>
                </a:lnTo>
                <a:lnTo>
                  <a:pt x="1962553" y="1538211"/>
                </a:lnTo>
                <a:lnTo>
                  <a:pt x="1951775" y="1564900"/>
                </a:lnTo>
                <a:cubicBezTo>
                  <a:pt x="1955941" y="1575015"/>
                  <a:pt x="1960158" y="1585074"/>
                  <a:pt x="1964324" y="1595189"/>
                </a:cubicBezTo>
                <a:lnTo>
                  <a:pt x="2000252" y="1621878"/>
                </a:lnTo>
                <a:lnTo>
                  <a:pt x="1967917" y="1691316"/>
                </a:lnTo>
                <a:lnTo>
                  <a:pt x="1951775" y="1734064"/>
                </a:lnTo>
                <a:lnTo>
                  <a:pt x="1935633" y="1782127"/>
                </a:lnTo>
                <a:cubicBezTo>
                  <a:pt x="1936206" y="1792814"/>
                  <a:pt x="1936831" y="1803501"/>
                  <a:pt x="1937404" y="1814188"/>
                </a:cubicBezTo>
                <a:lnTo>
                  <a:pt x="1829671" y="1821275"/>
                </a:lnTo>
                <a:lnTo>
                  <a:pt x="1808114" y="1824875"/>
                </a:lnTo>
                <a:lnTo>
                  <a:pt x="1797335" y="1846192"/>
                </a:lnTo>
                <a:lnTo>
                  <a:pt x="1763230" y="1835505"/>
                </a:lnTo>
                <a:cubicBezTo>
                  <a:pt x="1762032" y="1826590"/>
                  <a:pt x="1760834" y="1817731"/>
                  <a:pt x="1759637" y="1808816"/>
                </a:cubicBezTo>
                <a:lnTo>
                  <a:pt x="1666275" y="1805273"/>
                </a:lnTo>
                <a:lnTo>
                  <a:pt x="1619621" y="1819503"/>
                </a:lnTo>
                <a:cubicBezTo>
                  <a:pt x="1618996" y="1828418"/>
                  <a:pt x="1618423" y="1837277"/>
                  <a:pt x="1617798" y="1846192"/>
                </a:cubicBezTo>
                <a:lnTo>
                  <a:pt x="1624984" y="1867566"/>
                </a:lnTo>
                <a:lnTo>
                  <a:pt x="1592648" y="1883625"/>
                </a:lnTo>
                <a:lnTo>
                  <a:pt x="1560365" y="1912086"/>
                </a:lnTo>
                <a:cubicBezTo>
                  <a:pt x="1558543" y="1929288"/>
                  <a:pt x="1556772" y="1946490"/>
                  <a:pt x="1554950" y="1963693"/>
                </a:cubicBezTo>
                <a:lnTo>
                  <a:pt x="1554950" y="2002898"/>
                </a:lnTo>
                <a:lnTo>
                  <a:pt x="1531622" y="2029587"/>
                </a:lnTo>
                <a:lnTo>
                  <a:pt x="1531622" y="2065191"/>
                </a:lnTo>
                <a:lnTo>
                  <a:pt x="1558543" y="2066963"/>
                </a:lnTo>
                <a:cubicBezTo>
                  <a:pt x="1559167" y="2077078"/>
                  <a:pt x="1559740" y="2087137"/>
                  <a:pt x="1560365" y="2097252"/>
                </a:cubicBezTo>
                <a:lnTo>
                  <a:pt x="1479552" y="2109711"/>
                </a:lnTo>
                <a:lnTo>
                  <a:pt x="1474499" y="2100493"/>
                </a:lnTo>
                <a:lnTo>
                  <a:pt x="1465122" y="2093438"/>
                </a:lnTo>
                <a:lnTo>
                  <a:pt x="1414647" y="2097057"/>
                </a:lnTo>
                <a:lnTo>
                  <a:pt x="1346121" y="2109710"/>
                </a:lnTo>
                <a:lnTo>
                  <a:pt x="1313639" y="2098854"/>
                </a:lnTo>
                <a:lnTo>
                  <a:pt x="1243360" y="2017495"/>
                </a:lnTo>
                <a:lnTo>
                  <a:pt x="1151407" y="1928924"/>
                </a:lnTo>
                <a:lnTo>
                  <a:pt x="1057643" y="1874668"/>
                </a:lnTo>
                <a:lnTo>
                  <a:pt x="960256" y="1849362"/>
                </a:lnTo>
                <a:lnTo>
                  <a:pt x="895970" y="1865479"/>
                </a:lnTo>
                <a:lnTo>
                  <a:pt x="895353" y="1868410"/>
                </a:lnTo>
                <a:lnTo>
                  <a:pt x="877464" y="1868410"/>
                </a:lnTo>
                <a:lnTo>
                  <a:pt x="845355" y="1828900"/>
                </a:lnTo>
                <a:lnTo>
                  <a:pt x="773856" y="1789363"/>
                </a:lnTo>
                <a:lnTo>
                  <a:pt x="706083" y="1789363"/>
                </a:lnTo>
                <a:lnTo>
                  <a:pt x="677472" y="1760638"/>
                </a:lnTo>
                <a:lnTo>
                  <a:pt x="645363" y="1757034"/>
                </a:lnTo>
                <a:cubicBezTo>
                  <a:pt x="642992" y="1746248"/>
                  <a:pt x="640566" y="1735490"/>
                  <a:pt x="638196" y="1724705"/>
                </a:cubicBezTo>
                <a:lnTo>
                  <a:pt x="591753" y="1692376"/>
                </a:lnTo>
                <a:lnTo>
                  <a:pt x="552477" y="1685167"/>
                </a:lnTo>
                <a:lnTo>
                  <a:pt x="505977" y="1642080"/>
                </a:lnTo>
                <a:cubicBezTo>
                  <a:pt x="498867" y="1630094"/>
                  <a:pt x="491700" y="1618134"/>
                  <a:pt x="484590" y="1606147"/>
                </a:cubicBezTo>
                <a:lnTo>
                  <a:pt x="420315" y="1595362"/>
                </a:lnTo>
                <a:lnTo>
                  <a:pt x="359595" y="1598966"/>
                </a:lnTo>
                <a:lnTo>
                  <a:pt x="331041" y="1627691"/>
                </a:lnTo>
                <a:lnTo>
                  <a:pt x="290568" y="1691070"/>
                </a:lnTo>
                <a:cubicBezTo>
                  <a:pt x="297259" y="1704251"/>
                  <a:pt x="276243" y="1712034"/>
                  <a:pt x="268297" y="1712829"/>
                </a:cubicBezTo>
                <a:cubicBezTo>
                  <a:pt x="260248" y="1713657"/>
                  <a:pt x="245683" y="1704575"/>
                  <a:pt x="239841" y="1702593"/>
                </a:cubicBezTo>
                <a:lnTo>
                  <a:pt x="230930" y="1686663"/>
                </a:lnTo>
                <a:lnTo>
                  <a:pt x="202286" y="1670758"/>
                </a:lnTo>
                <a:lnTo>
                  <a:pt x="184384" y="1651291"/>
                </a:lnTo>
                <a:lnTo>
                  <a:pt x="152132" y="1630067"/>
                </a:lnTo>
                <a:lnTo>
                  <a:pt x="121711" y="1619431"/>
                </a:lnTo>
                <a:lnTo>
                  <a:pt x="93067" y="1608844"/>
                </a:lnTo>
                <a:lnTo>
                  <a:pt x="75164" y="1587596"/>
                </a:lnTo>
                <a:lnTo>
                  <a:pt x="60869" y="1561054"/>
                </a:lnTo>
                <a:lnTo>
                  <a:pt x="12545" y="1564616"/>
                </a:lnTo>
                <a:lnTo>
                  <a:pt x="7134" y="1546955"/>
                </a:lnTo>
                <a:lnTo>
                  <a:pt x="0" y="1538074"/>
                </a:lnTo>
                <a:lnTo>
                  <a:pt x="17903" y="1507995"/>
                </a:lnTo>
                <a:cubicBezTo>
                  <a:pt x="17310" y="1500921"/>
                  <a:pt x="16691" y="1493871"/>
                  <a:pt x="16099" y="1486772"/>
                </a:cubicBezTo>
                <a:lnTo>
                  <a:pt x="30421" y="1462011"/>
                </a:lnTo>
                <a:lnTo>
                  <a:pt x="31857" y="1462222"/>
                </a:lnTo>
                <a:cubicBezTo>
                  <a:pt x="33103" y="1457071"/>
                  <a:pt x="34170" y="1445934"/>
                  <a:pt x="35381" y="1441161"/>
                </a:cubicBezTo>
                <a:cubicBezTo>
                  <a:pt x="37748" y="1433979"/>
                  <a:pt x="40273" y="1426796"/>
                  <a:pt x="42640" y="1419476"/>
                </a:cubicBezTo>
                <a:cubicBezTo>
                  <a:pt x="47374" y="1411051"/>
                  <a:pt x="52108" y="1402626"/>
                  <a:pt x="57000" y="1394200"/>
                </a:cubicBezTo>
                <a:cubicBezTo>
                  <a:pt x="61734" y="1390609"/>
                  <a:pt x="66626" y="1387156"/>
                  <a:pt x="71202" y="1383427"/>
                </a:cubicBezTo>
                <a:lnTo>
                  <a:pt x="96451" y="1376245"/>
                </a:lnTo>
                <a:lnTo>
                  <a:pt x="114598" y="1365471"/>
                </a:lnTo>
                <a:cubicBezTo>
                  <a:pt x="115702" y="1356908"/>
                  <a:pt x="116965" y="1348621"/>
                  <a:pt x="118069" y="1340057"/>
                </a:cubicBezTo>
                <a:cubicBezTo>
                  <a:pt x="119332" y="1332875"/>
                  <a:pt x="120437" y="1325693"/>
                  <a:pt x="121699" y="1318372"/>
                </a:cubicBezTo>
                <a:lnTo>
                  <a:pt x="121699" y="1293097"/>
                </a:lnTo>
                <a:cubicBezTo>
                  <a:pt x="126433" y="1288262"/>
                  <a:pt x="131325" y="1283428"/>
                  <a:pt x="136059" y="1278594"/>
                </a:cubicBezTo>
                <a:lnTo>
                  <a:pt x="154048" y="1271412"/>
                </a:lnTo>
                <a:lnTo>
                  <a:pt x="172038" y="1285914"/>
                </a:lnTo>
                <a:lnTo>
                  <a:pt x="186398" y="1296688"/>
                </a:lnTo>
                <a:lnTo>
                  <a:pt x="208016" y="1311190"/>
                </a:lnTo>
                <a:lnTo>
                  <a:pt x="233107" y="1311190"/>
                </a:lnTo>
                <a:lnTo>
                  <a:pt x="251254" y="1300279"/>
                </a:lnTo>
                <a:cubicBezTo>
                  <a:pt x="254726" y="1301522"/>
                  <a:pt x="258355" y="1302627"/>
                  <a:pt x="261985" y="1304008"/>
                </a:cubicBezTo>
                <a:lnTo>
                  <a:pt x="294334" y="1300279"/>
                </a:lnTo>
                <a:lnTo>
                  <a:pt x="312323" y="1296688"/>
                </a:lnTo>
                <a:cubicBezTo>
                  <a:pt x="318320" y="1295445"/>
                  <a:pt x="324474" y="1294340"/>
                  <a:pt x="330313" y="1293097"/>
                </a:cubicBezTo>
                <a:lnTo>
                  <a:pt x="359033" y="1278594"/>
                </a:lnTo>
                <a:cubicBezTo>
                  <a:pt x="361400" y="1273760"/>
                  <a:pt x="363924" y="1269064"/>
                  <a:pt x="366291" y="1264230"/>
                </a:cubicBezTo>
                <a:lnTo>
                  <a:pt x="366291" y="1242683"/>
                </a:lnTo>
                <a:cubicBezTo>
                  <a:pt x="362662" y="1237711"/>
                  <a:pt x="359033" y="1233015"/>
                  <a:pt x="355403" y="1228180"/>
                </a:cubicBezTo>
                <a:cubicBezTo>
                  <a:pt x="359033" y="1224589"/>
                  <a:pt x="362662" y="1220860"/>
                  <a:pt x="366291" y="1217269"/>
                </a:cubicBezTo>
                <a:lnTo>
                  <a:pt x="380809" y="1206496"/>
                </a:lnTo>
                <a:cubicBezTo>
                  <a:pt x="381914" y="1201523"/>
                  <a:pt x="383018" y="1196827"/>
                  <a:pt x="384281" y="1191993"/>
                </a:cubicBezTo>
                <a:cubicBezTo>
                  <a:pt x="385543" y="1184811"/>
                  <a:pt x="386648" y="1177491"/>
                  <a:pt x="387910" y="1170308"/>
                </a:cubicBezTo>
                <a:lnTo>
                  <a:pt x="405900" y="1166717"/>
                </a:lnTo>
                <a:lnTo>
                  <a:pt x="423889" y="1163126"/>
                </a:lnTo>
                <a:cubicBezTo>
                  <a:pt x="429885" y="1158154"/>
                  <a:pt x="435882" y="1153458"/>
                  <a:pt x="441878" y="1148624"/>
                </a:cubicBezTo>
                <a:lnTo>
                  <a:pt x="459710" y="1145032"/>
                </a:lnTo>
                <a:lnTo>
                  <a:pt x="477857" y="1155806"/>
                </a:lnTo>
                <a:lnTo>
                  <a:pt x="495847" y="1163126"/>
                </a:lnTo>
                <a:lnTo>
                  <a:pt x="495847" y="1177491"/>
                </a:lnTo>
                <a:cubicBezTo>
                  <a:pt x="493479" y="1181082"/>
                  <a:pt x="490955" y="1184811"/>
                  <a:pt x="488588" y="1188402"/>
                </a:cubicBezTo>
                <a:cubicBezTo>
                  <a:pt x="487325" y="1194341"/>
                  <a:pt x="486221" y="1200418"/>
                  <a:pt x="484958" y="1206496"/>
                </a:cubicBezTo>
                <a:lnTo>
                  <a:pt x="499476" y="1217269"/>
                </a:lnTo>
                <a:cubicBezTo>
                  <a:pt x="504210" y="1218512"/>
                  <a:pt x="509102" y="1219617"/>
                  <a:pt x="513678" y="1220860"/>
                </a:cubicBezTo>
                <a:lnTo>
                  <a:pt x="538926" y="1217269"/>
                </a:lnTo>
                <a:lnTo>
                  <a:pt x="567646" y="1217269"/>
                </a:lnTo>
                <a:lnTo>
                  <a:pt x="592895" y="1217269"/>
                </a:lnTo>
                <a:cubicBezTo>
                  <a:pt x="598891" y="1211192"/>
                  <a:pt x="605045" y="1205253"/>
                  <a:pt x="611042" y="1199175"/>
                </a:cubicBezTo>
                <a:cubicBezTo>
                  <a:pt x="612304" y="1194341"/>
                  <a:pt x="613409" y="1189645"/>
                  <a:pt x="614513" y="1184811"/>
                </a:cubicBezTo>
                <a:cubicBezTo>
                  <a:pt x="612304" y="1177491"/>
                  <a:pt x="609779" y="1170308"/>
                  <a:pt x="607412" y="1163126"/>
                </a:cubicBezTo>
                <a:cubicBezTo>
                  <a:pt x="606150" y="1158154"/>
                  <a:pt x="605045" y="1153458"/>
                  <a:pt x="603783" y="1148624"/>
                </a:cubicBezTo>
                <a:lnTo>
                  <a:pt x="603783" y="1098072"/>
                </a:lnTo>
                <a:cubicBezTo>
                  <a:pt x="607412" y="1092133"/>
                  <a:pt x="611042" y="1086056"/>
                  <a:pt x="614513" y="1080116"/>
                </a:cubicBezTo>
                <a:lnTo>
                  <a:pt x="639604" y="1072796"/>
                </a:lnTo>
                <a:lnTo>
                  <a:pt x="675740" y="1065614"/>
                </a:lnTo>
                <a:lnTo>
                  <a:pt x="711719" y="1058293"/>
                </a:lnTo>
                <a:cubicBezTo>
                  <a:pt x="714086" y="1062023"/>
                  <a:pt x="716611" y="1065614"/>
                  <a:pt x="718820" y="1069205"/>
                </a:cubicBezTo>
                <a:lnTo>
                  <a:pt x="740439" y="1069205"/>
                </a:lnTo>
                <a:lnTo>
                  <a:pt x="769159" y="1069205"/>
                </a:lnTo>
                <a:lnTo>
                  <a:pt x="805138" y="1069205"/>
                </a:lnTo>
                <a:cubicBezTo>
                  <a:pt x="810029" y="1062023"/>
                  <a:pt x="814764" y="1054702"/>
                  <a:pt x="819655" y="1047520"/>
                </a:cubicBezTo>
                <a:lnTo>
                  <a:pt x="862735" y="1043929"/>
                </a:lnTo>
                <a:lnTo>
                  <a:pt x="880725" y="1025835"/>
                </a:lnTo>
                <a:lnTo>
                  <a:pt x="902186" y="1011333"/>
                </a:lnTo>
                <a:lnTo>
                  <a:pt x="902186" y="978875"/>
                </a:lnTo>
                <a:lnTo>
                  <a:pt x="884354" y="968101"/>
                </a:lnTo>
                <a:cubicBezTo>
                  <a:pt x="881987" y="959676"/>
                  <a:pt x="879462" y="951251"/>
                  <a:pt x="877095" y="942826"/>
                </a:cubicBezTo>
                <a:cubicBezTo>
                  <a:pt x="879462" y="934262"/>
                  <a:pt x="881987" y="925975"/>
                  <a:pt x="884354" y="917550"/>
                </a:cubicBezTo>
                <a:lnTo>
                  <a:pt x="905815" y="906638"/>
                </a:lnTo>
                <a:lnTo>
                  <a:pt x="923962" y="892136"/>
                </a:lnTo>
                <a:lnTo>
                  <a:pt x="923962" y="866860"/>
                </a:lnTo>
                <a:lnTo>
                  <a:pt x="956154" y="830672"/>
                </a:lnTo>
                <a:lnTo>
                  <a:pt x="988661" y="801944"/>
                </a:lnTo>
                <a:cubicBezTo>
                  <a:pt x="985031" y="793380"/>
                  <a:pt x="981402" y="785093"/>
                  <a:pt x="977773" y="776668"/>
                </a:cubicBezTo>
                <a:cubicBezTo>
                  <a:pt x="970514" y="768242"/>
                  <a:pt x="963413" y="759679"/>
                  <a:pt x="956154" y="751254"/>
                </a:cubicBezTo>
                <a:lnTo>
                  <a:pt x="923962" y="715205"/>
                </a:lnTo>
                <a:cubicBezTo>
                  <a:pt x="928696" y="705536"/>
                  <a:pt x="933430" y="696006"/>
                  <a:pt x="938322" y="686338"/>
                </a:cubicBezTo>
                <a:cubicBezTo>
                  <a:pt x="935955" y="681503"/>
                  <a:pt x="933430" y="676807"/>
                  <a:pt x="931063" y="671835"/>
                </a:cubicBezTo>
                <a:lnTo>
                  <a:pt x="931063" y="650150"/>
                </a:lnTo>
                <a:lnTo>
                  <a:pt x="977773" y="606781"/>
                </a:lnTo>
                <a:lnTo>
                  <a:pt x="1024640" y="588687"/>
                </a:lnTo>
                <a:lnTo>
                  <a:pt x="1067877" y="570593"/>
                </a:lnTo>
                <a:lnTo>
                  <a:pt x="1110957" y="552638"/>
                </a:lnTo>
                <a:lnTo>
                  <a:pt x="1164925" y="483992"/>
                </a:lnTo>
                <a:lnTo>
                  <a:pt x="1215264" y="422529"/>
                </a:lnTo>
                <a:lnTo>
                  <a:pt x="1290851" y="364795"/>
                </a:lnTo>
                <a:lnTo>
                  <a:pt x="1326830" y="346702"/>
                </a:lnTo>
                <a:lnTo>
                  <a:pt x="1373539" y="303332"/>
                </a:lnTo>
                <a:lnTo>
                  <a:pt x="1409518" y="256510"/>
                </a:lnTo>
                <a:lnTo>
                  <a:pt x="1463486" y="213140"/>
                </a:lnTo>
                <a:lnTo>
                  <a:pt x="1567951" y="115628"/>
                </a:lnTo>
                <a:lnTo>
                  <a:pt x="1609768" y="74468"/>
                </a:lnTo>
                <a:lnTo>
                  <a:pt x="1614901" y="84523"/>
                </a:lnTo>
                <a:lnTo>
                  <a:pt x="1610872" y="73711"/>
                </a:lnTo>
                <a:cubicBezTo>
                  <a:pt x="1603427" y="60421"/>
                  <a:pt x="1601095" y="45074"/>
                  <a:pt x="1593839" y="31806"/>
                </a:cubicBezTo>
                <a:cubicBezTo>
                  <a:pt x="1597497" y="24443"/>
                  <a:pt x="1601095" y="17514"/>
                  <a:pt x="1604430" y="10379"/>
                </a:cubicBezTo>
                <a:close/>
              </a:path>
            </a:pathLst>
          </a:custGeom>
          <a:solidFill>
            <a:srgbClr val="70B0DF"/>
          </a:solidFill>
          <a:ln w="3175" cap="flat" cmpd="sng">
            <a:noFill/>
            <a:prstDash val="solid"/>
            <a:round/>
            <a:headEnd type="none" w="med" len="med"/>
            <a:tailEnd type="none" w="sm" len="sm"/>
          </a:ln>
        </p:spPr>
        <p:txBody>
          <a:bodyPr wrap="none" lIns="32632" tIns="32632" rIns="32632" bIns="32632" anchor="ctr"/>
          <a:lstStyle/>
          <a:p>
            <a:pPr defTabSz="891045"/>
            <a:endParaRPr lang="en-US" sz="1700" dirty="0">
              <a:solidFill>
                <a:srgbClr val="003149"/>
              </a:solidFill>
              <a:cs typeface="Arial" panose="020B0604020202020204" pitchFamily="34" charset="0"/>
            </a:endParaRPr>
          </a:p>
        </p:txBody>
      </p:sp>
      <p:sp>
        <p:nvSpPr>
          <p:cNvPr id="38" name="Freeform 382"/>
          <p:cNvSpPr>
            <a:spLocks noChangeAspect="1"/>
          </p:cNvSpPr>
          <p:nvPr/>
        </p:nvSpPr>
        <p:spPr bwMode="gray">
          <a:xfrm>
            <a:off x="3250168" y="3111868"/>
            <a:ext cx="372478" cy="322838"/>
          </a:xfrm>
          <a:custGeom>
            <a:avLst/>
            <a:gdLst>
              <a:gd name="T0" fmla="*/ 0 w 2168726"/>
              <a:gd name="T1" fmla="*/ 0 h 1657967"/>
              <a:gd name="T2" fmla="*/ 0 w 2168726"/>
              <a:gd name="T3" fmla="*/ 0 h 1657967"/>
              <a:gd name="T4" fmla="*/ 0 w 2168726"/>
              <a:gd name="T5" fmla="*/ 0 h 1657967"/>
              <a:gd name="T6" fmla="*/ 0 w 2168726"/>
              <a:gd name="T7" fmla="*/ 0 h 1657967"/>
              <a:gd name="T8" fmla="*/ 0 w 2168726"/>
              <a:gd name="T9" fmla="*/ 0 h 1657967"/>
              <a:gd name="T10" fmla="*/ 0 w 2168726"/>
              <a:gd name="T11" fmla="*/ 0 h 1657967"/>
              <a:gd name="T12" fmla="*/ 0 w 2168726"/>
              <a:gd name="T13" fmla="*/ 0 h 1657967"/>
              <a:gd name="T14" fmla="*/ 0 w 2168726"/>
              <a:gd name="T15" fmla="*/ 0 h 1657967"/>
              <a:gd name="T16" fmla="*/ 0 w 2168726"/>
              <a:gd name="T17" fmla="*/ 0 h 1657967"/>
              <a:gd name="T18" fmla="*/ 0 w 2168726"/>
              <a:gd name="T19" fmla="*/ 0 h 1657967"/>
              <a:gd name="T20" fmla="*/ 0 w 2168726"/>
              <a:gd name="T21" fmla="*/ 0 h 1657967"/>
              <a:gd name="T22" fmla="*/ 0 w 2168726"/>
              <a:gd name="T23" fmla="*/ 0 h 1657967"/>
              <a:gd name="T24" fmla="*/ 0 w 2168726"/>
              <a:gd name="T25" fmla="*/ 0 h 1657967"/>
              <a:gd name="T26" fmla="*/ 0 w 2168726"/>
              <a:gd name="T27" fmla="*/ 0 h 1657967"/>
              <a:gd name="T28" fmla="*/ 0 w 2168726"/>
              <a:gd name="T29" fmla="*/ 0 h 1657967"/>
              <a:gd name="T30" fmla="*/ 0 w 2168726"/>
              <a:gd name="T31" fmla="*/ 0 h 1657967"/>
              <a:gd name="T32" fmla="*/ 0 w 2168726"/>
              <a:gd name="T33" fmla="*/ 0 h 1657967"/>
              <a:gd name="T34" fmla="*/ 0 w 2168726"/>
              <a:gd name="T35" fmla="*/ 0 h 1657967"/>
              <a:gd name="T36" fmla="*/ 0 w 2168726"/>
              <a:gd name="T37" fmla="*/ 0 h 1657967"/>
              <a:gd name="T38" fmla="*/ 0 w 2168726"/>
              <a:gd name="T39" fmla="*/ 0 h 1657967"/>
              <a:gd name="T40" fmla="*/ 0 w 2168726"/>
              <a:gd name="T41" fmla="*/ 0 h 1657967"/>
              <a:gd name="T42" fmla="*/ 0 w 2168726"/>
              <a:gd name="T43" fmla="*/ 0 h 1657967"/>
              <a:gd name="T44" fmla="*/ 0 w 2168726"/>
              <a:gd name="T45" fmla="*/ 0 h 1657967"/>
              <a:gd name="T46" fmla="*/ 0 w 2168726"/>
              <a:gd name="T47" fmla="*/ 0 h 1657967"/>
              <a:gd name="T48" fmla="*/ 0 w 2168726"/>
              <a:gd name="T49" fmla="*/ 0 h 1657967"/>
              <a:gd name="T50" fmla="*/ 0 w 2168726"/>
              <a:gd name="T51" fmla="*/ 0 h 1657967"/>
              <a:gd name="T52" fmla="*/ 0 w 2168726"/>
              <a:gd name="T53" fmla="*/ 0 h 1657967"/>
              <a:gd name="T54" fmla="*/ 0 w 2168726"/>
              <a:gd name="T55" fmla="*/ 0 h 1657967"/>
              <a:gd name="T56" fmla="*/ 0 w 2168726"/>
              <a:gd name="T57" fmla="*/ 0 h 1657967"/>
              <a:gd name="T58" fmla="*/ 0 w 2168726"/>
              <a:gd name="T59" fmla="*/ 0 h 1657967"/>
              <a:gd name="T60" fmla="*/ 0 w 2168726"/>
              <a:gd name="T61" fmla="*/ 0 h 1657967"/>
              <a:gd name="T62" fmla="*/ 0 w 2168726"/>
              <a:gd name="T63" fmla="*/ 0 h 1657967"/>
              <a:gd name="T64" fmla="*/ 0 w 2168726"/>
              <a:gd name="T65" fmla="*/ 0 h 1657967"/>
              <a:gd name="T66" fmla="*/ 0 w 2168726"/>
              <a:gd name="T67" fmla="*/ 0 h 1657967"/>
              <a:gd name="T68" fmla="*/ 0 w 2168726"/>
              <a:gd name="T69" fmla="*/ 0 h 1657967"/>
              <a:gd name="T70" fmla="*/ 0 w 2168726"/>
              <a:gd name="T71" fmla="*/ 0 h 1657967"/>
              <a:gd name="T72" fmla="*/ 0 w 2168726"/>
              <a:gd name="T73" fmla="*/ 0 h 1657967"/>
              <a:gd name="T74" fmla="*/ 0 w 2168726"/>
              <a:gd name="T75" fmla="*/ 0 h 1657967"/>
              <a:gd name="T76" fmla="*/ 0 w 2168726"/>
              <a:gd name="T77" fmla="*/ 0 h 1657967"/>
              <a:gd name="T78" fmla="*/ 0 w 2168726"/>
              <a:gd name="T79" fmla="*/ 0 h 1657967"/>
              <a:gd name="T80" fmla="*/ 0 w 2168726"/>
              <a:gd name="T81" fmla="*/ 0 h 1657967"/>
              <a:gd name="T82" fmla="*/ 0 w 2168726"/>
              <a:gd name="T83" fmla="*/ 0 h 1657967"/>
              <a:gd name="T84" fmla="*/ 0 w 2168726"/>
              <a:gd name="T85" fmla="*/ 0 h 1657967"/>
              <a:gd name="T86" fmla="*/ 0 w 2168726"/>
              <a:gd name="T87" fmla="*/ 0 h 1657967"/>
              <a:gd name="T88" fmla="*/ 0 w 2168726"/>
              <a:gd name="T89" fmla="*/ 0 h 1657967"/>
              <a:gd name="T90" fmla="*/ 0 w 2168726"/>
              <a:gd name="T91" fmla="*/ 0 h 1657967"/>
              <a:gd name="T92" fmla="*/ 0 w 2168726"/>
              <a:gd name="T93" fmla="*/ 0 h 1657967"/>
              <a:gd name="T94" fmla="*/ 0 w 2168726"/>
              <a:gd name="T95" fmla="*/ 0 h 1657967"/>
              <a:gd name="T96" fmla="*/ 0 w 2168726"/>
              <a:gd name="T97" fmla="*/ 0 h 1657967"/>
              <a:gd name="T98" fmla="*/ 0 w 2168726"/>
              <a:gd name="T99" fmla="*/ 0 h 1657967"/>
              <a:gd name="T100" fmla="*/ 0 w 2168726"/>
              <a:gd name="T101" fmla="*/ 0 h 1657967"/>
              <a:gd name="T102" fmla="*/ 0 w 2168726"/>
              <a:gd name="T103" fmla="*/ 0 h 1657967"/>
              <a:gd name="T104" fmla="*/ 0 w 2168726"/>
              <a:gd name="T105" fmla="*/ 0 h 1657967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w 2168726"/>
              <a:gd name="T160" fmla="*/ 0 h 1657967"/>
              <a:gd name="T161" fmla="*/ 2168726 w 2168726"/>
              <a:gd name="T162" fmla="*/ 1657967 h 1657967"/>
            </a:gdLst>
            <a:ahLst/>
            <a:cxnLst>
              <a:cxn ang="T106">
                <a:pos x="T0" y="T1"/>
              </a:cxn>
              <a:cxn ang="T107">
                <a:pos x="T2" y="T3"/>
              </a:cxn>
              <a:cxn ang="T108">
                <a:pos x="T4" y="T5"/>
              </a:cxn>
              <a:cxn ang="T109">
                <a:pos x="T6" y="T7"/>
              </a:cxn>
              <a:cxn ang="T110">
                <a:pos x="T8" y="T9"/>
              </a:cxn>
              <a:cxn ang="T111">
                <a:pos x="T10" y="T11"/>
              </a:cxn>
              <a:cxn ang="T112">
                <a:pos x="T12" y="T13"/>
              </a:cxn>
              <a:cxn ang="T113">
                <a:pos x="T14" y="T15"/>
              </a:cxn>
              <a:cxn ang="T114">
                <a:pos x="T16" y="T17"/>
              </a:cxn>
              <a:cxn ang="T115">
                <a:pos x="T18" y="T19"/>
              </a:cxn>
              <a:cxn ang="T116">
                <a:pos x="T20" y="T21"/>
              </a:cxn>
              <a:cxn ang="T117">
                <a:pos x="T22" y="T23"/>
              </a:cxn>
              <a:cxn ang="T118">
                <a:pos x="T24" y="T25"/>
              </a:cxn>
              <a:cxn ang="T119">
                <a:pos x="T26" y="T27"/>
              </a:cxn>
              <a:cxn ang="T120">
                <a:pos x="T28" y="T29"/>
              </a:cxn>
              <a:cxn ang="T121">
                <a:pos x="T30" y="T31"/>
              </a:cxn>
              <a:cxn ang="T122">
                <a:pos x="T32" y="T33"/>
              </a:cxn>
              <a:cxn ang="T123">
                <a:pos x="T34" y="T35"/>
              </a:cxn>
              <a:cxn ang="T124">
                <a:pos x="T36" y="T37"/>
              </a:cxn>
              <a:cxn ang="T125">
                <a:pos x="T38" y="T39"/>
              </a:cxn>
              <a:cxn ang="T126">
                <a:pos x="T40" y="T41"/>
              </a:cxn>
              <a:cxn ang="T127">
                <a:pos x="T42" y="T43"/>
              </a:cxn>
              <a:cxn ang="T128">
                <a:pos x="T44" y="T45"/>
              </a:cxn>
              <a:cxn ang="T129">
                <a:pos x="T46" y="T47"/>
              </a:cxn>
              <a:cxn ang="T130">
                <a:pos x="T48" y="T49"/>
              </a:cxn>
              <a:cxn ang="T131">
                <a:pos x="T50" y="T51"/>
              </a:cxn>
              <a:cxn ang="T132">
                <a:pos x="T52" y="T53"/>
              </a:cxn>
              <a:cxn ang="T133">
                <a:pos x="T54" y="T55"/>
              </a:cxn>
              <a:cxn ang="T134">
                <a:pos x="T56" y="T57"/>
              </a:cxn>
              <a:cxn ang="T135">
                <a:pos x="T58" y="T59"/>
              </a:cxn>
              <a:cxn ang="T136">
                <a:pos x="T60" y="T61"/>
              </a:cxn>
              <a:cxn ang="T137">
                <a:pos x="T62" y="T63"/>
              </a:cxn>
              <a:cxn ang="T138">
                <a:pos x="T64" y="T65"/>
              </a:cxn>
              <a:cxn ang="T139">
                <a:pos x="T66" y="T67"/>
              </a:cxn>
              <a:cxn ang="T140">
                <a:pos x="T68" y="T69"/>
              </a:cxn>
              <a:cxn ang="T141">
                <a:pos x="T70" y="T71"/>
              </a:cxn>
              <a:cxn ang="T142">
                <a:pos x="T72" y="T73"/>
              </a:cxn>
              <a:cxn ang="T143">
                <a:pos x="T74" y="T75"/>
              </a:cxn>
              <a:cxn ang="T144">
                <a:pos x="T76" y="T77"/>
              </a:cxn>
              <a:cxn ang="T145">
                <a:pos x="T78" y="T79"/>
              </a:cxn>
              <a:cxn ang="T146">
                <a:pos x="T80" y="T81"/>
              </a:cxn>
              <a:cxn ang="T147">
                <a:pos x="T82" y="T83"/>
              </a:cxn>
              <a:cxn ang="T148">
                <a:pos x="T84" y="T85"/>
              </a:cxn>
              <a:cxn ang="T149">
                <a:pos x="T86" y="T87"/>
              </a:cxn>
              <a:cxn ang="T150">
                <a:pos x="T88" y="T89"/>
              </a:cxn>
              <a:cxn ang="T151">
                <a:pos x="T90" y="T91"/>
              </a:cxn>
              <a:cxn ang="T152">
                <a:pos x="T92" y="T93"/>
              </a:cxn>
              <a:cxn ang="T153">
                <a:pos x="T94" y="T95"/>
              </a:cxn>
              <a:cxn ang="T154">
                <a:pos x="T96" y="T97"/>
              </a:cxn>
              <a:cxn ang="T155">
                <a:pos x="T98" y="T99"/>
              </a:cxn>
              <a:cxn ang="T156">
                <a:pos x="T100" y="T101"/>
              </a:cxn>
              <a:cxn ang="T157">
                <a:pos x="T102" y="T103"/>
              </a:cxn>
              <a:cxn ang="T158">
                <a:pos x="T104" y="T105"/>
              </a:cxn>
            </a:cxnLst>
            <a:rect l="T159" t="T160" r="T161" b="T162"/>
            <a:pathLst>
              <a:path w="2168726" h="1657967">
                <a:moveTo>
                  <a:pt x="1417264" y="0"/>
                </a:moveTo>
                <a:lnTo>
                  <a:pt x="1442544" y="17889"/>
                </a:lnTo>
                <a:lnTo>
                  <a:pt x="1471247" y="39516"/>
                </a:lnTo>
                <a:lnTo>
                  <a:pt x="1492840" y="35911"/>
                </a:lnTo>
                <a:lnTo>
                  <a:pt x="1514433" y="32307"/>
                </a:lnTo>
                <a:lnTo>
                  <a:pt x="1535939" y="46769"/>
                </a:lnTo>
                <a:lnTo>
                  <a:pt x="1564730" y="75427"/>
                </a:lnTo>
                <a:lnTo>
                  <a:pt x="1589922" y="68396"/>
                </a:lnTo>
                <a:cubicBezTo>
                  <a:pt x="1591063" y="62300"/>
                  <a:pt x="1592380" y="56292"/>
                  <a:pt x="1593521" y="50285"/>
                </a:cubicBezTo>
                <a:lnTo>
                  <a:pt x="1622224" y="28658"/>
                </a:lnTo>
                <a:lnTo>
                  <a:pt x="1643817" y="21449"/>
                </a:lnTo>
                <a:cubicBezTo>
                  <a:pt x="1647328" y="26299"/>
                  <a:pt x="1651015" y="31061"/>
                  <a:pt x="1654614" y="35911"/>
                </a:cubicBezTo>
                <a:lnTo>
                  <a:pt x="1683405" y="35911"/>
                </a:lnTo>
                <a:lnTo>
                  <a:pt x="1712108" y="53889"/>
                </a:lnTo>
                <a:lnTo>
                  <a:pt x="1748009" y="79165"/>
                </a:lnTo>
                <a:lnTo>
                  <a:pt x="1787684" y="97054"/>
                </a:lnTo>
                <a:lnTo>
                  <a:pt x="1845179" y="133143"/>
                </a:lnTo>
                <a:lnTo>
                  <a:pt x="1902673" y="169055"/>
                </a:lnTo>
                <a:lnTo>
                  <a:pt x="1963766" y="197846"/>
                </a:lnTo>
                <a:lnTo>
                  <a:pt x="2035655" y="230197"/>
                </a:lnTo>
                <a:lnTo>
                  <a:pt x="2089639" y="248309"/>
                </a:lnTo>
                <a:lnTo>
                  <a:pt x="2118429" y="248309"/>
                </a:lnTo>
                <a:lnTo>
                  <a:pt x="2147133" y="248309"/>
                </a:lnTo>
                <a:lnTo>
                  <a:pt x="2168726" y="237451"/>
                </a:lnTo>
                <a:lnTo>
                  <a:pt x="2158366" y="243851"/>
                </a:lnTo>
                <a:lnTo>
                  <a:pt x="2168568" y="238671"/>
                </a:lnTo>
                <a:lnTo>
                  <a:pt x="2126751" y="279831"/>
                </a:lnTo>
                <a:lnTo>
                  <a:pt x="2022286" y="377343"/>
                </a:lnTo>
                <a:lnTo>
                  <a:pt x="1968318" y="420713"/>
                </a:lnTo>
                <a:lnTo>
                  <a:pt x="1932339" y="467535"/>
                </a:lnTo>
                <a:lnTo>
                  <a:pt x="1885630" y="510905"/>
                </a:lnTo>
                <a:lnTo>
                  <a:pt x="1849651" y="528998"/>
                </a:lnTo>
                <a:lnTo>
                  <a:pt x="1774064" y="586732"/>
                </a:lnTo>
                <a:lnTo>
                  <a:pt x="1723725" y="648196"/>
                </a:lnTo>
                <a:lnTo>
                  <a:pt x="1669757" y="716841"/>
                </a:lnTo>
                <a:lnTo>
                  <a:pt x="1626677" y="734797"/>
                </a:lnTo>
                <a:lnTo>
                  <a:pt x="1583439" y="752890"/>
                </a:lnTo>
                <a:lnTo>
                  <a:pt x="1536572" y="770984"/>
                </a:lnTo>
                <a:lnTo>
                  <a:pt x="1489863" y="814353"/>
                </a:lnTo>
                <a:lnTo>
                  <a:pt x="1489863" y="836038"/>
                </a:lnTo>
                <a:cubicBezTo>
                  <a:pt x="1492230" y="841010"/>
                  <a:pt x="1494755" y="845707"/>
                  <a:pt x="1497122" y="850541"/>
                </a:cubicBezTo>
                <a:cubicBezTo>
                  <a:pt x="1492230" y="860209"/>
                  <a:pt x="1487496" y="869739"/>
                  <a:pt x="1482762" y="879408"/>
                </a:cubicBezTo>
                <a:lnTo>
                  <a:pt x="1514954" y="915457"/>
                </a:lnTo>
                <a:cubicBezTo>
                  <a:pt x="1522213" y="923882"/>
                  <a:pt x="1529313" y="932446"/>
                  <a:pt x="1536572" y="940871"/>
                </a:cubicBezTo>
                <a:cubicBezTo>
                  <a:pt x="1540202" y="949296"/>
                  <a:pt x="1543831" y="957583"/>
                  <a:pt x="1547461" y="966147"/>
                </a:cubicBezTo>
                <a:lnTo>
                  <a:pt x="1514954" y="994876"/>
                </a:lnTo>
                <a:lnTo>
                  <a:pt x="1482762" y="1031063"/>
                </a:lnTo>
                <a:lnTo>
                  <a:pt x="1482762" y="1056339"/>
                </a:lnTo>
                <a:lnTo>
                  <a:pt x="1464615" y="1070842"/>
                </a:lnTo>
                <a:lnTo>
                  <a:pt x="1443154" y="1081753"/>
                </a:lnTo>
                <a:cubicBezTo>
                  <a:pt x="1440787" y="1090178"/>
                  <a:pt x="1438262" y="1098465"/>
                  <a:pt x="1435895" y="1107029"/>
                </a:cubicBezTo>
                <a:cubicBezTo>
                  <a:pt x="1438262" y="1115454"/>
                  <a:pt x="1440787" y="1123879"/>
                  <a:pt x="1443154" y="1132305"/>
                </a:cubicBezTo>
                <a:lnTo>
                  <a:pt x="1460985" y="1143078"/>
                </a:lnTo>
                <a:lnTo>
                  <a:pt x="1460985" y="1175536"/>
                </a:lnTo>
                <a:lnTo>
                  <a:pt x="1439524" y="1190039"/>
                </a:lnTo>
                <a:lnTo>
                  <a:pt x="1421535" y="1208132"/>
                </a:lnTo>
                <a:lnTo>
                  <a:pt x="1378455" y="1211723"/>
                </a:lnTo>
                <a:cubicBezTo>
                  <a:pt x="1373563" y="1218906"/>
                  <a:pt x="1368829" y="1226226"/>
                  <a:pt x="1363937" y="1233408"/>
                </a:cubicBezTo>
                <a:lnTo>
                  <a:pt x="1327959" y="1233408"/>
                </a:lnTo>
                <a:lnTo>
                  <a:pt x="1299239" y="1233408"/>
                </a:lnTo>
                <a:lnTo>
                  <a:pt x="1277620" y="1233408"/>
                </a:lnTo>
                <a:cubicBezTo>
                  <a:pt x="1275411" y="1229817"/>
                  <a:pt x="1272886" y="1226226"/>
                  <a:pt x="1270519" y="1222497"/>
                </a:cubicBezTo>
                <a:lnTo>
                  <a:pt x="1234540" y="1229817"/>
                </a:lnTo>
                <a:lnTo>
                  <a:pt x="1198403" y="1236999"/>
                </a:lnTo>
                <a:lnTo>
                  <a:pt x="1173313" y="1244320"/>
                </a:lnTo>
                <a:cubicBezTo>
                  <a:pt x="1169841" y="1250259"/>
                  <a:pt x="1166212" y="1256336"/>
                  <a:pt x="1162583" y="1262275"/>
                </a:cubicBezTo>
                <a:lnTo>
                  <a:pt x="1162583" y="1312827"/>
                </a:lnTo>
                <a:cubicBezTo>
                  <a:pt x="1163845" y="1317661"/>
                  <a:pt x="1164950" y="1322357"/>
                  <a:pt x="1166212" y="1327330"/>
                </a:cubicBezTo>
                <a:cubicBezTo>
                  <a:pt x="1168579" y="1334512"/>
                  <a:pt x="1171104" y="1341694"/>
                  <a:pt x="1173313" y="1349014"/>
                </a:cubicBezTo>
                <a:cubicBezTo>
                  <a:pt x="1172208" y="1353848"/>
                  <a:pt x="1171104" y="1358545"/>
                  <a:pt x="1169841" y="1363379"/>
                </a:cubicBezTo>
                <a:cubicBezTo>
                  <a:pt x="1163845" y="1369456"/>
                  <a:pt x="1157691" y="1375395"/>
                  <a:pt x="1151694" y="1381472"/>
                </a:cubicBezTo>
                <a:lnTo>
                  <a:pt x="1126446" y="1381472"/>
                </a:lnTo>
                <a:lnTo>
                  <a:pt x="1097726" y="1381472"/>
                </a:lnTo>
                <a:lnTo>
                  <a:pt x="1072478" y="1385064"/>
                </a:lnTo>
                <a:cubicBezTo>
                  <a:pt x="1067901" y="1383820"/>
                  <a:pt x="1063010" y="1382716"/>
                  <a:pt x="1058276" y="1381472"/>
                </a:cubicBezTo>
                <a:lnTo>
                  <a:pt x="1043758" y="1370699"/>
                </a:lnTo>
                <a:cubicBezTo>
                  <a:pt x="1045020" y="1364622"/>
                  <a:pt x="1046125" y="1358545"/>
                  <a:pt x="1047387" y="1352606"/>
                </a:cubicBezTo>
                <a:cubicBezTo>
                  <a:pt x="1049754" y="1349014"/>
                  <a:pt x="1052279" y="1345285"/>
                  <a:pt x="1054646" y="1341694"/>
                </a:cubicBezTo>
                <a:lnTo>
                  <a:pt x="1054646" y="1327330"/>
                </a:lnTo>
                <a:lnTo>
                  <a:pt x="1036657" y="1320009"/>
                </a:lnTo>
                <a:lnTo>
                  <a:pt x="1018510" y="1309236"/>
                </a:lnTo>
                <a:lnTo>
                  <a:pt x="1000678" y="1312827"/>
                </a:lnTo>
                <a:cubicBezTo>
                  <a:pt x="994682" y="1317661"/>
                  <a:pt x="988685" y="1322357"/>
                  <a:pt x="982689" y="1327330"/>
                </a:cubicBezTo>
                <a:lnTo>
                  <a:pt x="964699" y="1330921"/>
                </a:lnTo>
                <a:lnTo>
                  <a:pt x="946710" y="1334512"/>
                </a:lnTo>
                <a:cubicBezTo>
                  <a:pt x="945447" y="1341694"/>
                  <a:pt x="944343" y="1349014"/>
                  <a:pt x="943080" y="1356196"/>
                </a:cubicBezTo>
                <a:cubicBezTo>
                  <a:pt x="941818" y="1361031"/>
                  <a:pt x="940713" y="1365727"/>
                  <a:pt x="939609" y="1370699"/>
                </a:cubicBezTo>
                <a:lnTo>
                  <a:pt x="925091" y="1381472"/>
                </a:lnTo>
                <a:cubicBezTo>
                  <a:pt x="921462" y="1385064"/>
                  <a:pt x="917832" y="1388793"/>
                  <a:pt x="914203" y="1392384"/>
                </a:cubicBezTo>
                <a:cubicBezTo>
                  <a:pt x="917832" y="1397218"/>
                  <a:pt x="921462" y="1401914"/>
                  <a:pt x="925091" y="1406886"/>
                </a:cubicBezTo>
                <a:lnTo>
                  <a:pt x="925091" y="1428433"/>
                </a:lnTo>
                <a:cubicBezTo>
                  <a:pt x="922724" y="1433267"/>
                  <a:pt x="920199" y="1437963"/>
                  <a:pt x="917832" y="1442798"/>
                </a:cubicBezTo>
                <a:lnTo>
                  <a:pt x="889112" y="1457300"/>
                </a:lnTo>
                <a:cubicBezTo>
                  <a:pt x="883274" y="1458543"/>
                  <a:pt x="877119" y="1459648"/>
                  <a:pt x="871123" y="1460891"/>
                </a:cubicBezTo>
                <a:lnTo>
                  <a:pt x="853133" y="1464482"/>
                </a:lnTo>
                <a:lnTo>
                  <a:pt x="820784" y="1468212"/>
                </a:lnTo>
                <a:cubicBezTo>
                  <a:pt x="817155" y="1466830"/>
                  <a:pt x="813525" y="1465725"/>
                  <a:pt x="810054" y="1464482"/>
                </a:cubicBezTo>
                <a:lnTo>
                  <a:pt x="791906" y="1475394"/>
                </a:lnTo>
                <a:lnTo>
                  <a:pt x="766816" y="1475394"/>
                </a:lnTo>
                <a:lnTo>
                  <a:pt x="745197" y="1460891"/>
                </a:lnTo>
                <a:lnTo>
                  <a:pt x="730837" y="1450118"/>
                </a:lnTo>
                <a:lnTo>
                  <a:pt x="712848" y="1435615"/>
                </a:lnTo>
                <a:lnTo>
                  <a:pt x="694858" y="1442798"/>
                </a:lnTo>
                <a:cubicBezTo>
                  <a:pt x="690124" y="1447632"/>
                  <a:pt x="685233" y="1452466"/>
                  <a:pt x="680498" y="1457300"/>
                </a:cubicBezTo>
                <a:lnTo>
                  <a:pt x="680498" y="1482576"/>
                </a:lnTo>
                <a:cubicBezTo>
                  <a:pt x="679236" y="1489896"/>
                  <a:pt x="678131" y="1497078"/>
                  <a:pt x="676869" y="1504261"/>
                </a:cubicBezTo>
                <a:cubicBezTo>
                  <a:pt x="675764" y="1512824"/>
                  <a:pt x="674502" y="1521111"/>
                  <a:pt x="673397" y="1529675"/>
                </a:cubicBezTo>
                <a:lnTo>
                  <a:pt x="655250" y="1540448"/>
                </a:lnTo>
                <a:lnTo>
                  <a:pt x="630002" y="1547630"/>
                </a:lnTo>
                <a:cubicBezTo>
                  <a:pt x="625426" y="1551360"/>
                  <a:pt x="620534" y="1554812"/>
                  <a:pt x="615800" y="1558404"/>
                </a:cubicBezTo>
                <a:cubicBezTo>
                  <a:pt x="610908" y="1566829"/>
                  <a:pt x="606174" y="1575254"/>
                  <a:pt x="601440" y="1583680"/>
                </a:cubicBezTo>
                <a:cubicBezTo>
                  <a:pt x="599073" y="1591000"/>
                  <a:pt x="596548" y="1598182"/>
                  <a:pt x="594181" y="1605364"/>
                </a:cubicBezTo>
                <a:cubicBezTo>
                  <a:pt x="592919" y="1610337"/>
                  <a:pt x="591814" y="1622215"/>
                  <a:pt x="590552" y="1627049"/>
                </a:cubicBezTo>
                <a:lnTo>
                  <a:pt x="588062" y="1626677"/>
                </a:lnTo>
                <a:lnTo>
                  <a:pt x="568997" y="1634613"/>
                </a:lnTo>
                <a:lnTo>
                  <a:pt x="536694" y="1647192"/>
                </a:lnTo>
                <a:lnTo>
                  <a:pt x="493642" y="1657967"/>
                </a:lnTo>
                <a:lnTo>
                  <a:pt x="450532" y="1648995"/>
                </a:lnTo>
                <a:lnTo>
                  <a:pt x="421831" y="1620231"/>
                </a:lnTo>
                <a:cubicBezTo>
                  <a:pt x="419410" y="1606480"/>
                  <a:pt x="417048" y="1592684"/>
                  <a:pt x="414627" y="1578933"/>
                </a:cubicBezTo>
                <a:cubicBezTo>
                  <a:pt x="415808" y="1567571"/>
                  <a:pt x="417048" y="1556165"/>
                  <a:pt x="418229" y="1544803"/>
                </a:cubicBezTo>
                <a:lnTo>
                  <a:pt x="434410" y="1530421"/>
                </a:lnTo>
                <a:lnTo>
                  <a:pt x="455906" y="1523253"/>
                </a:lnTo>
                <a:lnTo>
                  <a:pt x="466713" y="1505309"/>
                </a:lnTo>
                <a:lnTo>
                  <a:pt x="437953" y="1508870"/>
                </a:lnTo>
                <a:lnTo>
                  <a:pt x="407481" y="1505309"/>
                </a:lnTo>
                <a:lnTo>
                  <a:pt x="369745" y="1505309"/>
                </a:lnTo>
                <a:lnTo>
                  <a:pt x="337441" y="1494533"/>
                </a:lnTo>
                <a:cubicBezTo>
                  <a:pt x="336851" y="1487320"/>
                  <a:pt x="336260" y="1480151"/>
                  <a:pt x="335670" y="1472938"/>
                </a:cubicBezTo>
                <a:cubicBezTo>
                  <a:pt x="337441" y="1468745"/>
                  <a:pt x="339272" y="1464597"/>
                  <a:pt x="341044" y="1460404"/>
                </a:cubicBezTo>
                <a:cubicBezTo>
                  <a:pt x="339272" y="1453821"/>
                  <a:pt x="337441" y="1447194"/>
                  <a:pt x="335670" y="1440611"/>
                </a:cubicBezTo>
                <a:cubicBezTo>
                  <a:pt x="336851" y="1435246"/>
                  <a:pt x="338091" y="1429836"/>
                  <a:pt x="339272" y="1424471"/>
                </a:cubicBezTo>
                <a:cubicBezTo>
                  <a:pt x="338682" y="1419061"/>
                  <a:pt x="338032" y="1413696"/>
                  <a:pt x="337441" y="1408285"/>
                </a:cubicBezTo>
                <a:lnTo>
                  <a:pt x="310512" y="1392145"/>
                </a:lnTo>
                <a:lnTo>
                  <a:pt x="271063" y="1383128"/>
                </a:lnTo>
                <a:lnTo>
                  <a:pt x="227953" y="1381370"/>
                </a:lnTo>
                <a:lnTo>
                  <a:pt x="211831" y="1358015"/>
                </a:lnTo>
                <a:lnTo>
                  <a:pt x="193878" y="1343633"/>
                </a:lnTo>
                <a:lnTo>
                  <a:pt x="172323" y="1334661"/>
                </a:lnTo>
                <a:lnTo>
                  <a:pt x="161575" y="1318476"/>
                </a:lnTo>
                <a:cubicBezTo>
                  <a:pt x="159154" y="1301118"/>
                  <a:pt x="156792" y="1283760"/>
                  <a:pt x="154370" y="1266402"/>
                </a:cubicBezTo>
                <a:cubicBezTo>
                  <a:pt x="153189" y="1260406"/>
                  <a:pt x="151949" y="1254410"/>
                  <a:pt x="150768" y="1248413"/>
                </a:cubicBezTo>
                <a:lnTo>
                  <a:pt x="125669" y="1241245"/>
                </a:lnTo>
                <a:lnTo>
                  <a:pt x="105886" y="1253824"/>
                </a:lnTo>
                <a:lnTo>
                  <a:pt x="93366" y="1250217"/>
                </a:lnTo>
                <a:lnTo>
                  <a:pt x="78957" y="1248413"/>
                </a:lnTo>
                <a:lnTo>
                  <a:pt x="69980" y="1264599"/>
                </a:lnTo>
                <a:cubicBezTo>
                  <a:pt x="68209" y="1273571"/>
                  <a:pt x="66378" y="1282588"/>
                  <a:pt x="64606" y="1291560"/>
                </a:cubicBezTo>
                <a:lnTo>
                  <a:pt x="41280" y="1289756"/>
                </a:lnTo>
                <a:cubicBezTo>
                  <a:pt x="35315" y="1275374"/>
                  <a:pt x="29291" y="1260992"/>
                  <a:pt x="23327" y="1246610"/>
                </a:cubicBezTo>
                <a:lnTo>
                  <a:pt x="0" y="1207115"/>
                </a:lnTo>
                <a:lnTo>
                  <a:pt x="5448" y="1205564"/>
                </a:lnTo>
                <a:lnTo>
                  <a:pt x="0" y="1200767"/>
                </a:lnTo>
                <a:lnTo>
                  <a:pt x="65095" y="1171868"/>
                </a:lnTo>
                <a:lnTo>
                  <a:pt x="97643" y="1150158"/>
                </a:lnTo>
                <a:cubicBezTo>
                  <a:pt x="94039" y="1138105"/>
                  <a:pt x="90380" y="1126052"/>
                  <a:pt x="86775" y="1113999"/>
                </a:cubicBezTo>
                <a:lnTo>
                  <a:pt x="61491" y="1081506"/>
                </a:lnTo>
                <a:cubicBezTo>
                  <a:pt x="56685" y="1060995"/>
                  <a:pt x="51825" y="1040554"/>
                  <a:pt x="47019" y="1020043"/>
                </a:cubicBezTo>
                <a:lnTo>
                  <a:pt x="115719" y="991144"/>
                </a:lnTo>
                <a:lnTo>
                  <a:pt x="151871" y="976694"/>
                </a:lnTo>
                <a:lnTo>
                  <a:pt x="191681" y="973029"/>
                </a:lnTo>
                <a:lnTo>
                  <a:pt x="235096" y="954985"/>
                </a:lnTo>
                <a:lnTo>
                  <a:pt x="271248" y="907971"/>
                </a:lnTo>
                <a:lnTo>
                  <a:pt x="329080" y="839319"/>
                </a:lnTo>
                <a:lnTo>
                  <a:pt x="368891" y="788710"/>
                </a:lnTo>
                <a:lnTo>
                  <a:pt x="383363" y="741697"/>
                </a:lnTo>
                <a:lnTo>
                  <a:pt x="412306" y="716393"/>
                </a:lnTo>
                <a:lnTo>
                  <a:pt x="412306" y="687494"/>
                </a:lnTo>
                <a:lnTo>
                  <a:pt x="448458" y="629625"/>
                </a:lnTo>
                <a:cubicBezTo>
                  <a:pt x="449659" y="607916"/>
                  <a:pt x="450861" y="586277"/>
                  <a:pt x="452062" y="564568"/>
                </a:cubicBezTo>
                <a:lnTo>
                  <a:pt x="470138" y="535669"/>
                </a:lnTo>
                <a:lnTo>
                  <a:pt x="546101" y="495915"/>
                </a:lnTo>
                <a:lnTo>
                  <a:pt x="549655" y="506052"/>
                </a:lnTo>
                <a:lnTo>
                  <a:pt x="552452" y="487917"/>
                </a:lnTo>
                <a:lnTo>
                  <a:pt x="566764" y="505903"/>
                </a:lnTo>
                <a:lnTo>
                  <a:pt x="581151" y="531019"/>
                </a:lnTo>
                <a:lnTo>
                  <a:pt x="606252" y="570589"/>
                </a:lnTo>
                <a:lnTo>
                  <a:pt x="649262" y="653261"/>
                </a:lnTo>
                <a:lnTo>
                  <a:pt x="685078" y="667585"/>
                </a:lnTo>
                <a:lnTo>
                  <a:pt x="735281" y="663988"/>
                </a:lnTo>
                <a:lnTo>
                  <a:pt x="771173" y="663988"/>
                </a:lnTo>
                <a:lnTo>
                  <a:pt x="781888" y="671182"/>
                </a:lnTo>
                <a:lnTo>
                  <a:pt x="803393" y="689169"/>
                </a:lnTo>
                <a:lnTo>
                  <a:pt x="882294" y="692766"/>
                </a:lnTo>
                <a:lnTo>
                  <a:pt x="900202" y="671182"/>
                </a:lnTo>
                <a:lnTo>
                  <a:pt x="1014920" y="656859"/>
                </a:lnTo>
                <a:lnTo>
                  <a:pt x="1032828" y="642469"/>
                </a:lnTo>
                <a:cubicBezTo>
                  <a:pt x="1035226" y="644889"/>
                  <a:pt x="1037624" y="647244"/>
                  <a:pt x="1040021" y="649664"/>
                </a:cubicBezTo>
                <a:lnTo>
                  <a:pt x="1065123" y="635275"/>
                </a:lnTo>
                <a:lnTo>
                  <a:pt x="1140427" y="613691"/>
                </a:lnTo>
                <a:lnTo>
                  <a:pt x="1158336" y="602899"/>
                </a:lnTo>
                <a:lnTo>
                  <a:pt x="1169126" y="577784"/>
                </a:lnTo>
                <a:cubicBezTo>
                  <a:pt x="1172722" y="570589"/>
                  <a:pt x="1176244" y="563394"/>
                  <a:pt x="1179841" y="556200"/>
                </a:cubicBezTo>
                <a:lnTo>
                  <a:pt x="1161932" y="520292"/>
                </a:lnTo>
                <a:lnTo>
                  <a:pt x="1108133" y="498709"/>
                </a:lnTo>
                <a:lnTo>
                  <a:pt x="1083031" y="462801"/>
                </a:lnTo>
                <a:lnTo>
                  <a:pt x="1061526" y="459204"/>
                </a:lnTo>
                <a:cubicBezTo>
                  <a:pt x="1059128" y="442395"/>
                  <a:pt x="1056806" y="425651"/>
                  <a:pt x="1054408" y="408842"/>
                </a:cubicBezTo>
                <a:cubicBezTo>
                  <a:pt x="1061601" y="392098"/>
                  <a:pt x="1068719" y="375289"/>
                  <a:pt x="1075913" y="358545"/>
                </a:cubicBezTo>
                <a:lnTo>
                  <a:pt x="1093821" y="315443"/>
                </a:lnTo>
                <a:cubicBezTo>
                  <a:pt x="1097418" y="301054"/>
                  <a:pt x="1100939" y="286665"/>
                  <a:pt x="1104536" y="272276"/>
                </a:cubicBezTo>
                <a:lnTo>
                  <a:pt x="1129637" y="232771"/>
                </a:lnTo>
                <a:lnTo>
                  <a:pt x="1151142" y="225576"/>
                </a:lnTo>
                <a:lnTo>
                  <a:pt x="1183437" y="171682"/>
                </a:lnTo>
                <a:lnTo>
                  <a:pt x="1201345" y="139307"/>
                </a:lnTo>
                <a:lnTo>
                  <a:pt x="1208539" y="114191"/>
                </a:lnTo>
                <a:lnTo>
                  <a:pt x="1222850" y="96205"/>
                </a:lnTo>
                <a:lnTo>
                  <a:pt x="1255145" y="71089"/>
                </a:lnTo>
                <a:lnTo>
                  <a:pt x="1280247" y="56700"/>
                </a:lnTo>
                <a:lnTo>
                  <a:pt x="1301751" y="38714"/>
                </a:lnTo>
                <a:lnTo>
                  <a:pt x="1302103" y="38700"/>
                </a:lnTo>
                <a:cubicBezTo>
                  <a:pt x="1302131" y="37770"/>
                  <a:pt x="1302159" y="36841"/>
                  <a:pt x="1302188" y="35911"/>
                </a:cubicBezTo>
                <a:lnTo>
                  <a:pt x="1331066" y="14373"/>
                </a:lnTo>
                <a:lnTo>
                  <a:pt x="1370566" y="10769"/>
                </a:lnTo>
                <a:lnTo>
                  <a:pt x="1388560" y="3515"/>
                </a:lnTo>
                <a:close/>
              </a:path>
            </a:pathLst>
          </a:custGeom>
          <a:solidFill>
            <a:srgbClr val="70B0DF"/>
          </a:solidFill>
          <a:ln w="9525">
            <a:noFill/>
            <a:round/>
            <a:headEnd/>
            <a:tailEnd/>
          </a:ln>
        </p:spPr>
        <p:txBody>
          <a:bodyPr wrap="none" lIns="32632" tIns="32632" rIns="32632" bIns="32632" anchor="ctr"/>
          <a:lstStyle/>
          <a:p>
            <a:pPr defTabSz="891045"/>
            <a:endParaRPr lang="en-US" sz="1700" dirty="0">
              <a:solidFill>
                <a:srgbClr val="003149"/>
              </a:solidFill>
              <a:cs typeface="Arial" panose="020B0604020202020204" pitchFamily="34" charset="0"/>
            </a:endParaRPr>
          </a:p>
        </p:txBody>
      </p:sp>
      <p:sp>
        <p:nvSpPr>
          <p:cNvPr id="39" name="Freeform 708"/>
          <p:cNvSpPr>
            <a:spLocks noChangeAspect="1"/>
          </p:cNvSpPr>
          <p:nvPr>
            <p:custDataLst>
              <p:tags r:id="rId20"/>
            </p:custDataLst>
          </p:nvPr>
        </p:nvSpPr>
        <p:spPr bwMode="gray">
          <a:xfrm>
            <a:off x="3342579" y="3054461"/>
            <a:ext cx="132215" cy="192268"/>
          </a:xfrm>
          <a:custGeom>
            <a:avLst/>
            <a:gdLst>
              <a:gd name="T0" fmla="*/ 0 w 759379"/>
              <a:gd name="T1" fmla="*/ 0 h 977899"/>
              <a:gd name="T2" fmla="*/ 0 w 759379"/>
              <a:gd name="T3" fmla="*/ 0 h 977899"/>
              <a:gd name="T4" fmla="*/ 0 w 759379"/>
              <a:gd name="T5" fmla="*/ 0 h 977899"/>
              <a:gd name="T6" fmla="*/ 0 w 759379"/>
              <a:gd name="T7" fmla="*/ 0 h 977899"/>
              <a:gd name="T8" fmla="*/ 0 w 759379"/>
              <a:gd name="T9" fmla="*/ 0 h 977899"/>
              <a:gd name="T10" fmla="*/ 0 w 759379"/>
              <a:gd name="T11" fmla="*/ 0 h 977899"/>
              <a:gd name="T12" fmla="*/ 0 w 759379"/>
              <a:gd name="T13" fmla="*/ 0 h 977899"/>
              <a:gd name="T14" fmla="*/ 0 w 759379"/>
              <a:gd name="T15" fmla="*/ 0 h 977899"/>
              <a:gd name="T16" fmla="*/ 0 w 759379"/>
              <a:gd name="T17" fmla="*/ 0 h 977899"/>
              <a:gd name="T18" fmla="*/ 0 w 759379"/>
              <a:gd name="T19" fmla="*/ 0 h 977899"/>
              <a:gd name="T20" fmla="*/ 0 w 759379"/>
              <a:gd name="T21" fmla="*/ 0 h 977899"/>
              <a:gd name="T22" fmla="*/ 0 w 759379"/>
              <a:gd name="T23" fmla="*/ 0 h 977899"/>
              <a:gd name="T24" fmla="*/ 0 w 759379"/>
              <a:gd name="T25" fmla="*/ 0 h 977899"/>
              <a:gd name="T26" fmla="*/ 0 w 759379"/>
              <a:gd name="T27" fmla="*/ 0 h 977899"/>
              <a:gd name="T28" fmla="*/ 0 w 759379"/>
              <a:gd name="T29" fmla="*/ 0 h 977899"/>
              <a:gd name="T30" fmla="*/ 0 w 759379"/>
              <a:gd name="T31" fmla="*/ 0 h 977899"/>
              <a:gd name="T32" fmla="*/ 0 w 759379"/>
              <a:gd name="T33" fmla="*/ 0 h 977899"/>
              <a:gd name="T34" fmla="*/ 0 w 759379"/>
              <a:gd name="T35" fmla="*/ 0 h 977899"/>
              <a:gd name="T36" fmla="*/ 0 w 759379"/>
              <a:gd name="T37" fmla="*/ 0 h 977899"/>
              <a:gd name="T38" fmla="*/ 0 w 759379"/>
              <a:gd name="T39" fmla="*/ 0 h 977899"/>
              <a:gd name="T40" fmla="*/ 0 w 759379"/>
              <a:gd name="T41" fmla="*/ 0 h 977899"/>
              <a:gd name="T42" fmla="*/ 0 w 759379"/>
              <a:gd name="T43" fmla="*/ 0 h 977899"/>
              <a:gd name="T44" fmla="*/ 0 w 759379"/>
              <a:gd name="T45" fmla="*/ 0 h 977899"/>
              <a:gd name="T46" fmla="*/ 0 w 759379"/>
              <a:gd name="T47" fmla="*/ 0 h 977899"/>
              <a:gd name="T48" fmla="*/ 0 w 759379"/>
              <a:gd name="T49" fmla="*/ 0 h 977899"/>
              <a:gd name="T50" fmla="*/ 0 w 759379"/>
              <a:gd name="T51" fmla="*/ 0 h 977899"/>
              <a:gd name="T52" fmla="*/ 0 w 759379"/>
              <a:gd name="T53" fmla="*/ 0 h 977899"/>
              <a:gd name="T54" fmla="*/ 0 w 759379"/>
              <a:gd name="T55" fmla="*/ 0 h 977899"/>
              <a:gd name="T56" fmla="*/ 0 w 759379"/>
              <a:gd name="T57" fmla="*/ 0 h 977899"/>
              <a:gd name="T58" fmla="*/ 0 w 759379"/>
              <a:gd name="T59" fmla="*/ 0 h 977899"/>
              <a:gd name="T60" fmla="*/ 0 w 759379"/>
              <a:gd name="T61" fmla="*/ 0 h 977899"/>
              <a:gd name="T62" fmla="*/ 0 w 759379"/>
              <a:gd name="T63" fmla="*/ 0 h 977899"/>
              <a:gd name="T64" fmla="*/ 0 w 759379"/>
              <a:gd name="T65" fmla="*/ 0 h 977899"/>
              <a:gd name="T66" fmla="*/ 0 w 759379"/>
              <a:gd name="T67" fmla="*/ 0 h 977899"/>
              <a:gd name="T68" fmla="*/ 0 w 759379"/>
              <a:gd name="T69" fmla="*/ 0 h 977899"/>
              <a:gd name="T70" fmla="*/ 0 w 759379"/>
              <a:gd name="T71" fmla="*/ 0 h 977899"/>
              <a:gd name="T72" fmla="*/ 0 w 759379"/>
              <a:gd name="T73" fmla="*/ 0 h 977899"/>
              <a:gd name="T74" fmla="*/ 0 w 759379"/>
              <a:gd name="T75" fmla="*/ 0 h 977899"/>
              <a:gd name="T76" fmla="*/ 0 w 759379"/>
              <a:gd name="T77" fmla="*/ 0 h 977899"/>
              <a:gd name="T78" fmla="*/ 0 w 759379"/>
              <a:gd name="T79" fmla="*/ 0 h 977899"/>
              <a:gd name="T80" fmla="*/ 0 w 759379"/>
              <a:gd name="T81" fmla="*/ 0 h 977899"/>
              <a:gd name="T82" fmla="*/ 0 w 759379"/>
              <a:gd name="T83" fmla="*/ 0 h 977899"/>
              <a:gd name="T84" fmla="*/ 0 w 759379"/>
              <a:gd name="T85" fmla="*/ 0 h 977899"/>
              <a:gd name="T86" fmla="*/ 0 w 759379"/>
              <a:gd name="T87" fmla="*/ 0 h 977899"/>
              <a:gd name="T88" fmla="*/ 0 w 759379"/>
              <a:gd name="T89" fmla="*/ 0 h 977899"/>
              <a:gd name="T90" fmla="*/ 0 w 759379"/>
              <a:gd name="T91" fmla="*/ 0 h 977899"/>
              <a:gd name="T92" fmla="*/ 0 w 759379"/>
              <a:gd name="T93" fmla="*/ 0 h 977899"/>
              <a:gd name="T94" fmla="*/ 0 w 759379"/>
              <a:gd name="T95" fmla="*/ 0 h 977899"/>
              <a:gd name="T96" fmla="*/ 0 w 759379"/>
              <a:gd name="T97" fmla="*/ 0 h 977899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w 759379"/>
              <a:gd name="T148" fmla="*/ 0 h 977899"/>
              <a:gd name="T149" fmla="*/ 759379 w 759379"/>
              <a:gd name="T150" fmla="*/ 977899 h 977899"/>
            </a:gdLst>
            <a:ahLst/>
            <a:cxnLst>
              <a:cxn ang="T98">
                <a:pos x="T0" y="T1"/>
              </a:cxn>
              <a:cxn ang="T99">
                <a:pos x="T2" y="T3"/>
              </a:cxn>
              <a:cxn ang="T100">
                <a:pos x="T4" y="T5"/>
              </a:cxn>
              <a:cxn ang="T101">
                <a:pos x="T6" y="T7"/>
              </a:cxn>
              <a:cxn ang="T102">
                <a:pos x="T8" y="T9"/>
              </a:cxn>
              <a:cxn ang="T103">
                <a:pos x="T10" y="T11"/>
              </a:cxn>
              <a:cxn ang="T104">
                <a:pos x="T12" y="T13"/>
              </a:cxn>
              <a:cxn ang="T105">
                <a:pos x="T14" y="T15"/>
              </a:cxn>
              <a:cxn ang="T106">
                <a:pos x="T16" y="T17"/>
              </a:cxn>
              <a:cxn ang="T107">
                <a:pos x="T18" y="T19"/>
              </a:cxn>
              <a:cxn ang="T108">
                <a:pos x="T20" y="T21"/>
              </a:cxn>
              <a:cxn ang="T109">
                <a:pos x="T22" y="T23"/>
              </a:cxn>
              <a:cxn ang="T110">
                <a:pos x="T24" y="T25"/>
              </a:cxn>
              <a:cxn ang="T111">
                <a:pos x="T26" y="T27"/>
              </a:cxn>
              <a:cxn ang="T112">
                <a:pos x="T28" y="T29"/>
              </a:cxn>
              <a:cxn ang="T113">
                <a:pos x="T30" y="T31"/>
              </a:cxn>
              <a:cxn ang="T114">
                <a:pos x="T32" y="T33"/>
              </a:cxn>
              <a:cxn ang="T115">
                <a:pos x="T34" y="T35"/>
              </a:cxn>
              <a:cxn ang="T116">
                <a:pos x="T36" y="T37"/>
              </a:cxn>
              <a:cxn ang="T117">
                <a:pos x="T38" y="T39"/>
              </a:cxn>
              <a:cxn ang="T118">
                <a:pos x="T40" y="T41"/>
              </a:cxn>
              <a:cxn ang="T119">
                <a:pos x="T42" y="T43"/>
              </a:cxn>
              <a:cxn ang="T120">
                <a:pos x="T44" y="T45"/>
              </a:cxn>
              <a:cxn ang="T121">
                <a:pos x="T46" y="T47"/>
              </a:cxn>
              <a:cxn ang="T122">
                <a:pos x="T48" y="T49"/>
              </a:cxn>
              <a:cxn ang="T123">
                <a:pos x="T50" y="T51"/>
              </a:cxn>
              <a:cxn ang="T124">
                <a:pos x="T52" y="T53"/>
              </a:cxn>
              <a:cxn ang="T125">
                <a:pos x="T54" y="T55"/>
              </a:cxn>
              <a:cxn ang="T126">
                <a:pos x="T56" y="T57"/>
              </a:cxn>
              <a:cxn ang="T127">
                <a:pos x="T58" y="T59"/>
              </a:cxn>
              <a:cxn ang="T128">
                <a:pos x="T60" y="T61"/>
              </a:cxn>
              <a:cxn ang="T129">
                <a:pos x="T62" y="T63"/>
              </a:cxn>
              <a:cxn ang="T130">
                <a:pos x="T64" y="T65"/>
              </a:cxn>
              <a:cxn ang="T131">
                <a:pos x="T66" y="T67"/>
              </a:cxn>
              <a:cxn ang="T132">
                <a:pos x="T68" y="T69"/>
              </a:cxn>
              <a:cxn ang="T133">
                <a:pos x="T70" y="T71"/>
              </a:cxn>
              <a:cxn ang="T134">
                <a:pos x="T72" y="T73"/>
              </a:cxn>
              <a:cxn ang="T135">
                <a:pos x="T74" y="T75"/>
              </a:cxn>
              <a:cxn ang="T136">
                <a:pos x="T76" y="T77"/>
              </a:cxn>
              <a:cxn ang="T137">
                <a:pos x="T78" y="T79"/>
              </a:cxn>
              <a:cxn ang="T138">
                <a:pos x="T80" y="T81"/>
              </a:cxn>
              <a:cxn ang="T139">
                <a:pos x="T82" y="T83"/>
              </a:cxn>
              <a:cxn ang="T140">
                <a:pos x="T84" y="T85"/>
              </a:cxn>
              <a:cxn ang="T141">
                <a:pos x="T86" y="T87"/>
              </a:cxn>
              <a:cxn ang="T142">
                <a:pos x="T88" y="T89"/>
              </a:cxn>
              <a:cxn ang="T143">
                <a:pos x="T90" y="T91"/>
              </a:cxn>
              <a:cxn ang="T144">
                <a:pos x="T92" y="T93"/>
              </a:cxn>
              <a:cxn ang="T145">
                <a:pos x="T94" y="T95"/>
              </a:cxn>
              <a:cxn ang="T146">
                <a:pos x="T96" y="T97"/>
              </a:cxn>
            </a:cxnLst>
            <a:rect l="T147" t="T148" r="T149" b="T150"/>
            <a:pathLst>
              <a:path w="759379" h="977899">
                <a:moveTo>
                  <a:pt x="288745" y="0"/>
                </a:moveTo>
                <a:lnTo>
                  <a:pt x="303220" y="0"/>
                </a:lnTo>
                <a:lnTo>
                  <a:pt x="317535" y="7174"/>
                </a:lnTo>
                <a:cubicBezTo>
                  <a:pt x="319939" y="14349"/>
                  <a:pt x="322342" y="21553"/>
                  <a:pt x="324693" y="28728"/>
                </a:cubicBezTo>
                <a:lnTo>
                  <a:pt x="346272" y="46664"/>
                </a:lnTo>
                <a:lnTo>
                  <a:pt x="357115" y="43046"/>
                </a:lnTo>
                <a:lnTo>
                  <a:pt x="385799" y="28728"/>
                </a:lnTo>
                <a:lnTo>
                  <a:pt x="407378" y="35902"/>
                </a:lnTo>
                <a:lnTo>
                  <a:pt x="421693" y="50251"/>
                </a:lnTo>
                <a:lnTo>
                  <a:pt x="443326" y="71804"/>
                </a:lnTo>
                <a:cubicBezTo>
                  <a:pt x="445676" y="68217"/>
                  <a:pt x="448080" y="64599"/>
                  <a:pt x="450484" y="61012"/>
                </a:cubicBezTo>
                <a:lnTo>
                  <a:pt x="475642" y="57455"/>
                </a:lnTo>
                <a:lnTo>
                  <a:pt x="497221" y="61012"/>
                </a:lnTo>
                <a:cubicBezTo>
                  <a:pt x="500800" y="63383"/>
                  <a:pt x="504325" y="65815"/>
                  <a:pt x="507904" y="68187"/>
                </a:cubicBezTo>
                <a:lnTo>
                  <a:pt x="522326" y="82566"/>
                </a:lnTo>
                <a:lnTo>
                  <a:pt x="536748" y="93297"/>
                </a:lnTo>
                <a:lnTo>
                  <a:pt x="536748" y="104089"/>
                </a:lnTo>
                <a:lnTo>
                  <a:pt x="518694" y="132816"/>
                </a:lnTo>
                <a:lnTo>
                  <a:pt x="518694" y="157927"/>
                </a:lnTo>
                <a:cubicBezTo>
                  <a:pt x="522379" y="167502"/>
                  <a:pt x="525905" y="177048"/>
                  <a:pt x="529483" y="186624"/>
                </a:cubicBezTo>
                <a:cubicBezTo>
                  <a:pt x="535573" y="193798"/>
                  <a:pt x="541448" y="201003"/>
                  <a:pt x="547537" y="208147"/>
                </a:cubicBezTo>
                <a:lnTo>
                  <a:pt x="561906" y="208147"/>
                </a:lnTo>
                <a:lnTo>
                  <a:pt x="583379" y="197416"/>
                </a:lnTo>
                <a:lnTo>
                  <a:pt x="612169" y="193829"/>
                </a:lnTo>
                <a:lnTo>
                  <a:pt x="655274" y="229731"/>
                </a:lnTo>
                <a:lnTo>
                  <a:pt x="759379" y="323058"/>
                </a:lnTo>
                <a:lnTo>
                  <a:pt x="755007" y="323143"/>
                </a:lnTo>
                <a:lnTo>
                  <a:pt x="758619" y="323847"/>
                </a:lnTo>
                <a:lnTo>
                  <a:pt x="737114" y="341833"/>
                </a:lnTo>
                <a:lnTo>
                  <a:pt x="712013" y="356222"/>
                </a:lnTo>
                <a:lnTo>
                  <a:pt x="679718" y="381338"/>
                </a:lnTo>
                <a:lnTo>
                  <a:pt x="665406" y="399324"/>
                </a:lnTo>
                <a:lnTo>
                  <a:pt x="658213" y="424440"/>
                </a:lnTo>
                <a:lnTo>
                  <a:pt x="640305" y="456816"/>
                </a:lnTo>
                <a:lnTo>
                  <a:pt x="608010" y="510709"/>
                </a:lnTo>
                <a:lnTo>
                  <a:pt x="586505" y="517904"/>
                </a:lnTo>
                <a:lnTo>
                  <a:pt x="561403" y="557409"/>
                </a:lnTo>
                <a:cubicBezTo>
                  <a:pt x="557807" y="571798"/>
                  <a:pt x="554285" y="586187"/>
                  <a:pt x="550688" y="600576"/>
                </a:cubicBezTo>
                <a:lnTo>
                  <a:pt x="532780" y="643678"/>
                </a:lnTo>
                <a:cubicBezTo>
                  <a:pt x="525587" y="660422"/>
                  <a:pt x="518468" y="677231"/>
                  <a:pt x="511275" y="693975"/>
                </a:cubicBezTo>
                <a:cubicBezTo>
                  <a:pt x="513673" y="710784"/>
                  <a:pt x="515996" y="727528"/>
                  <a:pt x="518393" y="744337"/>
                </a:cubicBezTo>
                <a:lnTo>
                  <a:pt x="539898" y="747934"/>
                </a:lnTo>
                <a:lnTo>
                  <a:pt x="565000" y="783842"/>
                </a:lnTo>
                <a:lnTo>
                  <a:pt x="618800" y="805425"/>
                </a:lnTo>
                <a:lnTo>
                  <a:pt x="636708" y="841333"/>
                </a:lnTo>
                <a:cubicBezTo>
                  <a:pt x="633111" y="848527"/>
                  <a:pt x="629590" y="855722"/>
                  <a:pt x="625993" y="862917"/>
                </a:cubicBezTo>
                <a:lnTo>
                  <a:pt x="615203" y="888032"/>
                </a:lnTo>
                <a:lnTo>
                  <a:pt x="597295" y="898824"/>
                </a:lnTo>
                <a:lnTo>
                  <a:pt x="521990" y="920408"/>
                </a:lnTo>
                <a:lnTo>
                  <a:pt x="496888" y="934797"/>
                </a:lnTo>
                <a:cubicBezTo>
                  <a:pt x="494491" y="932377"/>
                  <a:pt x="492093" y="930022"/>
                  <a:pt x="489695" y="927602"/>
                </a:cubicBezTo>
                <a:lnTo>
                  <a:pt x="471787" y="941992"/>
                </a:lnTo>
                <a:lnTo>
                  <a:pt x="357069" y="956315"/>
                </a:lnTo>
                <a:lnTo>
                  <a:pt x="339161" y="977899"/>
                </a:lnTo>
                <a:lnTo>
                  <a:pt x="260260" y="974302"/>
                </a:lnTo>
                <a:lnTo>
                  <a:pt x="238755" y="956315"/>
                </a:lnTo>
                <a:lnTo>
                  <a:pt x="228040" y="949121"/>
                </a:lnTo>
                <a:lnTo>
                  <a:pt x="192148" y="949121"/>
                </a:lnTo>
                <a:lnTo>
                  <a:pt x="141945" y="952718"/>
                </a:lnTo>
                <a:lnTo>
                  <a:pt x="106129" y="938394"/>
                </a:lnTo>
                <a:lnTo>
                  <a:pt x="63119" y="855722"/>
                </a:lnTo>
                <a:lnTo>
                  <a:pt x="38017" y="816152"/>
                </a:lnTo>
                <a:lnTo>
                  <a:pt x="23631" y="791036"/>
                </a:lnTo>
                <a:lnTo>
                  <a:pt x="13146" y="777859"/>
                </a:lnTo>
                <a:lnTo>
                  <a:pt x="0" y="784061"/>
                </a:lnTo>
                <a:lnTo>
                  <a:pt x="35928" y="719457"/>
                </a:lnTo>
                <a:lnTo>
                  <a:pt x="75476" y="697903"/>
                </a:lnTo>
                <a:lnTo>
                  <a:pt x="89840" y="676407"/>
                </a:lnTo>
                <a:lnTo>
                  <a:pt x="100660" y="665601"/>
                </a:lnTo>
                <a:cubicBezTo>
                  <a:pt x="99441" y="651271"/>
                  <a:pt x="98260" y="636882"/>
                  <a:pt x="97041" y="622551"/>
                </a:cubicBezTo>
                <a:lnTo>
                  <a:pt x="79057" y="604580"/>
                </a:lnTo>
                <a:cubicBezTo>
                  <a:pt x="80277" y="595046"/>
                  <a:pt x="81458" y="585453"/>
                  <a:pt x="82677" y="575919"/>
                </a:cubicBezTo>
                <a:lnTo>
                  <a:pt x="100660" y="547199"/>
                </a:lnTo>
                <a:lnTo>
                  <a:pt x="129388" y="518480"/>
                </a:lnTo>
                <a:lnTo>
                  <a:pt x="212064" y="489761"/>
                </a:lnTo>
                <a:lnTo>
                  <a:pt x="312725" y="417992"/>
                </a:lnTo>
                <a:lnTo>
                  <a:pt x="381000" y="371301"/>
                </a:lnTo>
                <a:lnTo>
                  <a:pt x="352234" y="346165"/>
                </a:lnTo>
                <a:lnTo>
                  <a:pt x="276758" y="288784"/>
                </a:lnTo>
                <a:lnTo>
                  <a:pt x="251612" y="263647"/>
                </a:lnTo>
                <a:lnTo>
                  <a:pt x="237210" y="245676"/>
                </a:lnTo>
                <a:lnTo>
                  <a:pt x="213449" y="213031"/>
                </a:lnTo>
                <a:lnTo>
                  <a:pt x="209745" y="211764"/>
                </a:lnTo>
                <a:cubicBezTo>
                  <a:pt x="210225" y="211143"/>
                  <a:pt x="210701" y="210521"/>
                  <a:pt x="211158" y="209884"/>
                </a:cubicBezTo>
                <a:lnTo>
                  <a:pt x="208483" y="206209"/>
                </a:lnTo>
                <a:lnTo>
                  <a:pt x="213688" y="206520"/>
                </a:lnTo>
                <a:lnTo>
                  <a:pt x="220534" y="197416"/>
                </a:lnTo>
                <a:lnTo>
                  <a:pt x="224060" y="190211"/>
                </a:lnTo>
                <a:cubicBezTo>
                  <a:pt x="225288" y="186624"/>
                  <a:pt x="226624" y="183067"/>
                  <a:pt x="227745" y="179450"/>
                </a:cubicBezTo>
                <a:lnTo>
                  <a:pt x="242114" y="168718"/>
                </a:lnTo>
                <a:cubicBezTo>
                  <a:pt x="240939" y="165101"/>
                  <a:pt x="239710" y="161544"/>
                  <a:pt x="238535" y="157927"/>
                </a:cubicBezTo>
                <a:cubicBezTo>
                  <a:pt x="237253" y="145979"/>
                  <a:pt x="236078" y="133972"/>
                  <a:pt x="234850" y="122055"/>
                </a:cubicBezTo>
                <a:lnTo>
                  <a:pt x="213430" y="86153"/>
                </a:lnTo>
                <a:cubicBezTo>
                  <a:pt x="210973" y="80164"/>
                  <a:pt x="208516" y="74175"/>
                  <a:pt x="206166" y="68187"/>
                </a:cubicBezTo>
                <a:cubicBezTo>
                  <a:pt x="207395" y="64599"/>
                  <a:pt x="208516" y="61012"/>
                  <a:pt x="209745" y="57455"/>
                </a:cubicBezTo>
                <a:lnTo>
                  <a:pt x="224060" y="39489"/>
                </a:lnTo>
                <a:lnTo>
                  <a:pt x="245693" y="21523"/>
                </a:lnTo>
                <a:lnTo>
                  <a:pt x="267272" y="10762"/>
                </a:lnTo>
                <a:close/>
              </a:path>
            </a:pathLst>
          </a:custGeom>
          <a:solidFill>
            <a:srgbClr val="70B0DF"/>
          </a:solidFill>
          <a:ln w="3175" cap="flat" cmpd="sng">
            <a:noFill/>
            <a:prstDash val="solid"/>
            <a:round/>
            <a:headEnd type="none" w="med" len="med"/>
            <a:tailEnd type="none" w="sm" len="sm"/>
          </a:ln>
        </p:spPr>
        <p:txBody>
          <a:bodyPr wrap="none" lIns="32632" tIns="32632" rIns="32632" bIns="32632" anchor="ctr"/>
          <a:lstStyle/>
          <a:p>
            <a:pPr defTabSz="891045"/>
            <a:endParaRPr lang="en-US" sz="1700" dirty="0">
              <a:solidFill>
                <a:srgbClr val="003149"/>
              </a:solidFill>
              <a:cs typeface="Arial" panose="020B0604020202020204" pitchFamily="34" charset="0"/>
            </a:endParaRPr>
          </a:p>
        </p:txBody>
      </p:sp>
      <p:sp>
        <p:nvSpPr>
          <p:cNvPr id="40" name="Freeform 714"/>
          <p:cNvSpPr>
            <a:spLocks noChangeAspect="1"/>
          </p:cNvSpPr>
          <p:nvPr>
            <p:custDataLst>
              <p:tags r:id="rId21"/>
            </p:custDataLst>
          </p:nvPr>
        </p:nvSpPr>
        <p:spPr bwMode="gray">
          <a:xfrm>
            <a:off x="3238796" y="3454778"/>
            <a:ext cx="263009" cy="285532"/>
          </a:xfrm>
          <a:custGeom>
            <a:avLst/>
            <a:gdLst>
              <a:gd name="T0" fmla="*/ 0 w 1523999"/>
              <a:gd name="T1" fmla="*/ 0 h 1451780"/>
              <a:gd name="T2" fmla="*/ 0 w 1523999"/>
              <a:gd name="T3" fmla="*/ 0 h 1451780"/>
              <a:gd name="T4" fmla="*/ 0 w 1523999"/>
              <a:gd name="T5" fmla="*/ 0 h 1451780"/>
              <a:gd name="T6" fmla="*/ 0 w 1523999"/>
              <a:gd name="T7" fmla="*/ 0 h 1451780"/>
              <a:gd name="T8" fmla="*/ 0 w 1523999"/>
              <a:gd name="T9" fmla="*/ 0 h 1451780"/>
              <a:gd name="T10" fmla="*/ 0 w 1523999"/>
              <a:gd name="T11" fmla="*/ 0 h 1451780"/>
              <a:gd name="T12" fmla="*/ 0 w 1523999"/>
              <a:gd name="T13" fmla="*/ 0 h 1451780"/>
              <a:gd name="T14" fmla="*/ 0 w 1523999"/>
              <a:gd name="T15" fmla="*/ 0 h 1451780"/>
              <a:gd name="T16" fmla="*/ 0 w 1523999"/>
              <a:gd name="T17" fmla="*/ 0 h 1451780"/>
              <a:gd name="T18" fmla="*/ 0 w 1523999"/>
              <a:gd name="T19" fmla="*/ 0 h 1451780"/>
              <a:gd name="T20" fmla="*/ 0 w 1523999"/>
              <a:gd name="T21" fmla="*/ 0 h 1451780"/>
              <a:gd name="T22" fmla="*/ 0 w 1523999"/>
              <a:gd name="T23" fmla="*/ 0 h 1451780"/>
              <a:gd name="T24" fmla="*/ 0 w 1523999"/>
              <a:gd name="T25" fmla="*/ 0 h 1451780"/>
              <a:gd name="T26" fmla="*/ 0 w 1523999"/>
              <a:gd name="T27" fmla="*/ 0 h 1451780"/>
              <a:gd name="T28" fmla="*/ 0 w 1523999"/>
              <a:gd name="T29" fmla="*/ 0 h 1451780"/>
              <a:gd name="T30" fmla="*/ 0 w 1523999"/>
              <a:gd name="T31" fmla="*/ 0 h 1451780"/>
              <a:gd name="T32" fmla="*/ 0 w 1523999"/>
              <a:gd name="T33" fmla="*/ 0 h 1451780"/>
              <a:gd name="T34" fmla="*/ 0 w 1523999"/>
              <a:gd name="T35" fmla="*/ 0 h 1451780"/>
              <a:gd name="T36" fmla="*/ 0 w 1523999"/>
              <a:gd name="T37" fmla="*/ 0 h 1451780"/>
              <a:gd name="T38" fmla="*/ 0 w 1523999"/>
              <a:gd name="T39" fmla="*/ 0 h 1451780"/>
              <a:gd name="T40" fmla="*/ 0 w 1523999"/>
              <a:gd name="T41" fmla="*/ 0 h 1451780"/>
              <a:gd name="T42" fmla="*/ 0 w 1523999"/>
              <a:gd name="T43" fmla="*/ 0 h 1451780"/>
              <a:gd name="T44" fmla="*/ 0 w 1523999"/>
              <a:gd name="T45" fmla="*/ 0 h 1451780"/>
              <a:gd name="T46" fmla="*/ 0 w 1523999"/>
              <a:gd name="T47" fmla="*/ 0 h 1451780"/>
              <a:gd name="T48" fmla="*/ 0 w 1523999"/>
              <a:gd name="T49" fmla="*/ 0 h 1451780"/>
              <a:gd name="T50" fmla="*/ 0 w 1523999"/>
              <a:gd name="T51" fmla="*/ 0 h 1451780"/>
              <a:gd name="T52" fmla="*/ 0 w 1523999"/>
              <a:gd name="T53" fmla="*/ 0 h 1451780"/>
              <a:gd name="T54" fmla="*/ 0 w 1523999"/>
              <a:gd name="T55" fmla="*/ 0 h 1451780"/>
              <a:gd name="T56" fmla="*/ 0 w 1523999"/>
              <a:gd name="T57" fmla="*/ 0 h 1451780"/>
              <a:gd name="T58" fmla="*/ 0 w 1523999"/>
              <a:gd name="T59" fmla="*/ 0 h 1451780"/>
              <a:gd name="T60" fmla="*/ 0 w 1523999"/>
              <a:gd name="T61" fmla="*/ 0 h 1451780"/>
              <a:gd name="T62" fmla="*/ 0 w 1523999"/>
              <a:gd name="T63" fmla="*/ 0 h 1451780"/>
              <a:gd name="T64" fmla="*/ 0 w 1523999"/>
              <a:gd name="T65" fmla="*/ 0 h 1451780"/>
              <a:gd name="T66" fmla="*/ 0 w 1523999"/>
              <a:gd name="T67" fmla="*/ 0 h 1451780"/>
              <a:gd name="T68" fmla="*/ 0 w 1523999"/>
              <a:gd name="T69" fmla="*/ 0 h 1451780"/>
              <a:gd name="T70" fmla="*/ 0 w 1523999"/>
              <a:gd name="T71" fmla="*/ 0 h 1451780"/>
              <a:gd name="T72" fmla="*/ 0 w 1523999"/>
              <a:gd name="T73" fmla="*/ 0 h 1451780"/>
              <a:gd name="T74" fmla="*/ 0 w 1523999"/>
              <a:gd name="T75" fmla="*/ 0 h 1451780"/>
              <a:gd name="T76" fmla="*/ 0 w 1523999"/>
              <a:gd name="T77" fmla="*/ 0 h 1451780"/>
              <a:gd name="T78" fmla="*/ 0 w 1523999"/>
              <a:gd name="T79" fmla="*/ 0 h 1451780"/>
              <a:gd name="T80" fmla="*/ 0 w 1523999"/>
              <a:gd name="T81" fmla="*/ 0 h 1451780"/>
              <a:gd name="T82" fmla="*/ 0 w 1523999"/>
              <a:gd name="T83" fmla="*/ 0 h 1451780"/>
              <a:gd name="T84" fmla="*/ 0 w 1523999"/>
              <a:gd name="T85" fmla="*/ 0 h 1451780"/>
              <a:gd name="T86" fmla="*/ 0 w 1523999"/>
              <a:gd name="T87" fmla="*/ 0 h 1451780"/>
              <a:gd name="T88" fmla="*/ 0 w 1523999"/>
              <a:gd name="T89" fmla="*/ 0 h 1451780"/>
              <a:gd name="T90" fmla="*/ 0 w 1523999"/>
              <a:gd name="T91" fmla="*/ 0 h 1451780"/>
              <a:gd name="T92" fmla="*/ 0 w 1523999"/>
              <a:gd name="T93" fmla="*/ 0 h 1451780"/>
              <a:gd name="T94" fmla="*/ 0 w 1523999"/>
              <a:gd name="T95" fmla="*/ 0 h 1451780"/>
              <a:gd name="T96" fmla="*/ 0 w 1523999"/>
              <a:gd name="T97" fmla="*/ 0 h 1451780"/>
              <a:gd name="T98" fmla="*/ 0 w 1523999"/>
              <a:gd name="T99" fmla="*/ 0 h 1451780"/>
              <a:gd name="T100" fmla="*/ 0 w 1523999"/>
              <a:gd name="T101" fmla="*/ 0 h 1451780"/>
              <a:gd name="T102" fmla="*/ 0 w 1523999"/>
              <a:gd name="T103" fmla="*/ 0 h 1451780"/>
              <a:gd name="T104" fmla="*/ 0 w 1523999"/>
              <a:gd name="T105" fmla="*/ 0 h 1451780"/>
              <a:gd name="T106" fmla="*/ 0 w 1523999"/>
              <a:gd name="T107" fmla="*/ 0 h 1451780"/>
              <a:gd name="T108" fmla="*/ 0 w 1523999"/>
              <a:gd name="T109" fmla="*/ 0 h 1451780"/>
              <a:gd name="T110" fmla="*/ 0 w 1523999"/>
              <a:gd name="T111" fmla="*/ 0 h 1451780"/>
              <a:gd name="T112" fmla="*/ 0 w 1523999"/>
              <a:gd name="T113" fmla="*/ 0 h 1451780"/>
              <a:gd name="T114" fmla="*/ 0 w 1523999"/>
              <a:gd name="T115" fmla="*/ 0 h 1451780"/>
              <a:gd name="T116" fmla="*/ 0 w 1523999"/>
              <a:gd name="T117" fmla="*/ 0 h 1451780"/>
              <a:gd name="T118" fmla="*/ 0 w 1523999"/>
              <a:gd name="T119" fmla="*/ 0 h 1451780"/>
              <a:gd name="T120" fmla="*/ 0 w 1523999"/>
              <a:gd name="T121" fmla="*/ 0 h 1451780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w 1523999"/>
              <a:gd name="T184" fmla="*/ 0 h 1451780"/>
              <a:gd name="T185" fmla="*/ 1523999 w 1523999"/>
              <a:gd name="T186" fmla="*/ 1451780 h 1451780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T183" t="T184" r="T185" b="T186"/>
            <a:pathLst>
              <a:path w="1523999" h="1451780">
                <a:moveTo>
                  <a:pt x="908428" y="90123"/>
                </a:moveTo>
                <a:lnTo>
                  <a:pt x="909416" y="91165"/>
                </a:lnTo>
                <a:lnTo>
                  <a:pt x="906414" y="95867"/>
                </a:lnTo>
                <a:close/>
                <a:moveTo>
                  <a:pt x="1036263" y="0"/>
                </a:moveTo>
                <a:lnTo>
                  <a:pt x="1100538" y="10785"/>
                </a:lnTo>
                <a:cubicBezTo>
                  <a:pt x="1107648" y="22772"/>
                  <a:pt x="1114815" y="34732"/>
                  <a:pt x="1121925" y="46719"/>
                </a:cubicBezTo>
                <a:lnTo>
                  <a:pt x="1168425" y="89805"/>
                </a:lnTo>
                <a:lnTo>
                  <a:pt x="1207701" y="97014"/>
                </a:lnTo>
                <a:lnTo>
                  <a:pt x="1254144" y="129343"/>
                </a:lnTo>
                <a:cubicBezTo>
                  <a:pt x="1256514" y="140128"/>
                  <a:pt x="1258940" y="150886"/>
                  <a:pt x="1261311" y="161672"/>
                </a:cubicBezTo>
                <a:lnTo>
                  <a:pt x="1293420" y="165276"/>
                </a:lnTo>
                <a:lnTo>
                  <a:pt x="1322031" y="194001"/>
                </a:lnTo>
                <a:lnTo>
                  <a:pt x="1389805" y="194001"/>
                </a:lnTo>
                <a:lnTo>
                  <a:pt x="1461303" y="233538"/>
                </a:lnTo>
                <a:lnTo>
                  <a:pt x="1493412" y="273048"/>
                </a:lnTo>
                <a:lnTo>
                  <a:pt x="1511301" y="273048"/>
                </a:lnTo>
                <a:cubicBezTo>
                  <a:pt x="1511183" y="274688"/>
                  <a:pt x="1511066" y="276328"/>
                  <a:pt x="1510948" y="277968"/>
                </a:cubicBezTo>
                <a:lnTo>
                  <a:pt x="1515225" y="273048"/>
                </a:lnTo>
                <a:lnTo>
                  <a:pt x="1523999" y="317995"/>
                </a:lnTo>
                <a:lnTo>
                  <a:pt x="1515225" y="355779"/>
                </a:lnTo>
                <a:lnTo>
                  <a:pt x="1494128" y="382729"/>
                </a:lnTo>
                <a:cubicBezTo>
                  <a:pt x="1492355" y="407888"/>
                  <a:pt x="1490612" y="433048"/>
                  <a:pt x="1488839" y="458207"/>
                </a:cubicBezTo>
                <a:lnTo>
                  <a:pt x="1466000" y="522941"/>
                </a:lnTo>
                <a:lnTo>
                  <a:pt x="1457195" y="593047"/>
                </a:lnTo>
                <a:lnTo>
                  <a:pt x="1402712" y="647037"/>
                </a:lnTo>
                <a:lnTo>
                  <a:pt x="1298974" y="700937"/>
                </a:lnTo>
                <a:lnTo>
                  <a:pt x="1218106" y="742302"/>
                </a:lnTo>
                <a:cubicBezTo>
                  <a:pt x="1216364" y="756717"/>
                  <a:pt x="1214590" y="771043"/>
                  <a:pt x="1212848" y="785458"/>
                </a:cubicBezTo>
                <a:lnTo>
                  <a:pt x="1230428" y="830405"/>
                </a:lnTo>
                <a:lnTo>
                  <a:pt x="1270846" y="871770"/>
                </a:lnTo>
                <a:lnTo>
                  <a:pt x="1318328" y="893348"/>
                </a:lnTo>
                <a:lnTo>
                  <a:pt x="1376327" y="932833"/>
                </a:lnTo>
                <a:lnTo>
                  <a:pt x="1407971" y="943667"/>
                </a:lnTo>
                <a:lnTo>
                  <a:pt x="1430840" y="970617"/>
                </a:lnTo>
                <a:lnTo>
                  <a:pt x="1460711" y="986823"/>
                </a:lnTo>
                <a:lnTo>
                  <a:pt x="1429067" y="1011982"/>
                </a:lnTo>
                <a:lnTo>
                  <a:pt x="1388648" y="1049766"/>
                </a:lnTo>
                <a:lnTo>
                  <a:pt x="1381616" y="1089251"/>
                </a:lnTo>
                <a:lnTo>
                  <a:pt x="1376327" y="1127035"/>
                </a:lnTo>
                <a:lnTo>
                  <a:pt x="1360520" y="1137869"/>
                </a:lnTo>
                <a:lnTo>
                  <a:pt x="1360520" y="1168400"/>
                </a:lnTo>
                <a:lnTo>
                  <a:pt x="1356907" y="1163924"/>
                </a:lnTo>
                <a:lnTo>
                  <a:pt x="1357270" y="1169540"/>
                </a:lnTo>
                <a:lnTo>
                  <a:pt x="1284261" y="1143813"/>
                </a:lnTo>
                <a:cubicBezTo>
                  <a:pt x="1258055" y="1135782"/>
                  <a:pt x="1227044" y="1134810"/>
                  <a:pt x="1200838" y="1126780"/>
                </a:cubicBezTo>
                <a:lnTo>
                  <a:pt x="1152433" y="1105451"/>
                </a:lnTo>
                <a:lnTo>
                  <a:pt x="1099907" y="1105451"/>
                </a:lnTo>
                <a:lnTo>
                  <a:pt x="1046009" y="1116141"/>
                </a:lnTo>
                <a:lnTo>
                  <a:pt x="1046009" y="1078751"/>
                </a:lnTo>
                <a:lnTo>
                  <a:pt x="1046009" y="1046834"/>
                </a:lnTo>
                <a:lnTo>
                  <a:pt x="1014311" y="1046834"/>
                </a:lnTo>
                <a:cubicBezTo>
                  <a:pt x="1003554" y="1050415"/>
                  <a:pt x="993484" y="1053995"/>
                  <a:pt x="982383" y="1057576"/>
                </a:cubicBezTo>
                <a:cubicBezTo>
                  <a:pt x="975060" y="1055734"/>
                  <a:pt x="968651" y="1053944"/>
                  <a:pt x="961328" y="1052154"/>
                </a:cubicBezTo>
                <a:lnTo>
                  <a:pt x="961328" y="1009547"/>
                </a:lnTo>
                <a:cubicBezTo>
                  <a:pt x="947138" y="1020186"/>
                  <a:pt x="933177" y="1030876"/>
                  <a:pt x="918529" y="1041515"/>
                </a:cubicBezTo>
                <a:cubicBezTo>
                  <a:pt x="925281" y="1027295"/>
                  <a:pt x="933177" y="1013127"/>
                  <a:pt x="939585" y="998857"/>
                </a:cubicBezTo>
                <a:lnTo>
                  <a:pt x="870696" y="1014866"/>
                </a:lnTo>
                <a:cubicBezTo>
                  <a:pt x="874472" y="997169"/>
                  <a:pt x="877676" y="979369"/>
                  <a:pt x="881453" y="961620"/>
                </a:cubicBezTo>
                <a:cubicBezTo>
                  <a:pt x="872527" y="954511"/>
                  <a:pt x="863029" y="947401"/>
                  <a:pt x="854675" y="940291"/>
                </a:cubicBezTo>
                <a:cubicBezTo>
                  <a:pt x="840599" y="950930"/>
                  <a:pt x="826066" y="961620"/>
                  <a:pt x="812678" y="972259"/>
                </a:cubicBezTo>
                <a:lnTo>
                  <a:pt x="769879" y="982949"/>
                </a:lnTo>
                <a:cubicBezTo>
                  <a:pt x="767018" y="997169"/>
                  <a:pt x="766103" y="1011337"/>
                  <a:pt x="764272" y="1025505"/>
                </a:cubicBezTo>
                <a:lnTo>
                  <a:pt x="705224" y="1020186"/>
                </a:lnTo>
                <a:cubicBezTo>
                  <a:pt x="716324" y="1032666"/>
                  <a:pt x="726623" y="1045095"/>
                  <a:pt x="737723" y="1057576"/>
                </a:cubicBezTo>
                <a:cubicBezTo>
                  <a:pt x="748709" y="1062895"/>
                  <a:pt x="758665" y="1068215"/>
                  <a:pt x="769879" y="1073534"/>
                </a:cubicBezTo>
                <a:cubicBezTo>
                  <a:pt x="780407" y="1084173"/>
                  <a:pt x="790821" y="1094812"/>
                  <a:pt x="800891" y="1105451"/>
                </a:cubicBezTo>
                <a:cubicBezTo>
                  <a:pt x="799174" y="1116141"/>
                  <a:pt x="797915" y="1126780"/>
                  <a:pt x="796085" y="1137470"/>
                </a:cubicBezTo>
                <a:lnTo>
                  <a:pt x="731658" y="1126780"/>
                </a:lnTo>
                <a:lnTo>
                  <a:pt x="694467" y="1137470"/>
                </a:lnTo>
                <a:cubicBezTo>
                  <a:pt x="689661" y="1148109"/>
                  <a:pt x="684397" y="1158799"/>
                  <a:pt x="679934" y="1169438"/>
                </a:cubicBezTo>
                <a:cubicBezTo>
                  <a:pt x="691492" y="1187187"/>
                  <a:pt x="704079" y="1204935"/>
                  <a:pt x="716324" y="1222684"/>
                </a:cubicBezTo>
                <a:cubicBezTo>
                  <a:pt x="733832" y="1236904"/>
                  <a:pt x="751684" y="1251072"/>
                  <a:pt x="769879" y="1265291"/>
                </a:cubicBezTo>
                <a:cubicBezTo>
                  <a:pt x="774800" y="1275930"/>
                  <a:pt x="780407" y="1286620"/>
                  <a:pt x="784870" y="1297259"/>
                </a:cubicBezTo>
                <a:cubicBezTo>
                  <a:pt x="797915" y="1307898"/>
                  <a:pt x="810160" y="1318639"/>
                  <a:pt x="822404" y="1329278"/>
                </a:cubicBezTo>
                <a:cubicBezTo>
                  <a:pt x="810160" y="1345288"/>
                  <a:pt x="797915" y="1361195"/>
                  <a:pt x="784870" y="1377205"/>
                </a:cubicBezTo>
                <a:lnTo>
                  <a:pt x="721588" y="1345288"/>
                </a:lnTo>
                <a:cubicBezTo>
                  <a:pt x="700303" y="1334598"/>
                  <a:pt x="678675" y="1323959"/>
                  <a:pt x="657848" y="1313218"/>
                </a:cubicBezTo>
                <a:cubicBezTo>
                  <a:pt x="652470" y="1300840"/>
                  <a:pt x="647091" y="1288359"/>
                  <a:pt x="641713" y="1275930"/>
                </a:cubicBezTo>
                <a:lnTo>
                  <a:pt x="604522" y="1265291"/>
                </a:lnTo>
                <a:lnTo>
                  <a:pt x="540553" y="1259921"/>
                </a:lnTo>
                <a:lnTo>
                  <a:pt x="466056" y="1275930"/>
                </a:lnTo>
                <a:cubicBezTo>
                  <a:pt x="459076" y="1293679"/>
                  <a:pt x="451638" y="1311530"/>
                  <a:pt x="445000" y="1329278"/>
                </a:cubicBezTo>
                <a:cubicBezTo>
                  <a:pt x="448319" y="1350607"/>
                  <a:pt x="451638" y="1371885"/>
                  <a:pt x="455872" y="1393215"/>
                </a:cubicBezTo>
                <a:lnTo>
                  <a:pt x="375997" y="1451780"/>
                </a:lnTo>
                <a:lnTo>
                  <a:pt x="253209" y="1441090"/>
                </a:lnTo>
                <a:lnTo>
                  <a:pt x="165770" y="1410181"/>
                </a:lnTo>
                <a:lnTo>
                  <a:pt x="159602" y="1411700"/>
                </a:lnTo>
                <a:lnTo>
                  <a:pt x="159602" y="1375663"/>
                </a:lnTo>
                <a:lnTo>
                  <a:pt x="150425" y="1357568"/>
                </a:lnTo>
                <a:cubicBezTo>
                  <a:pt x="149196" y="1352745"/>
                  <a:pt x="147983" y="1347937"/>
                  <a:pt x="146754" y="1343113"/>
                </a:cubicBezTo>
                <a:lnTo>
                  <a:pt x="128416" y="1330487"/>
                </a:lnTo>
                <a:lnTo>
                  <a:pt x="117403" y="1308797"/>
                </a:lnTo>
                <a:lnTo>
                  <a:pt x="111897" y="1292514"/>
                </a:lnTo>
                <a:lnTo>
                  <a:pt x="80711" y="1288889"/>
                </a:lnTo>
                <a:lnTo>
                  <a:pt x="53195" y="1281685"/>
                </a:lnTo>
                <a:lnTo>
                  <a:pt x="25696" y="1276247"/>
                </a:lnTo>
                <a:lnTo>
                  <a:pt x="7326" y="1261792"/>
                </a:lnTo>
                <a:lnTo>
                  <a:pt x="0" y="1250948"/>
                </a:lnTo>
                <a:lnTo>
                  <a:pt x="4073" y="1248108"/>
                </a:lnTo>
                <a:lnTo>
                  <a:pt x="22085" y="1192539"/>
                </a:lnTo>
                <a:cubicBezTo>
                  <a:pt x="19691" y="1189534"/>
                  <a:pt x="17297" y="1186645"/>
                  <a:pt x="14903" y="1183640"/>
                </a:cubicBezTo>
                <a:cubicBezTo>
                  <a:pt x="16100" y="1177746"/>
                  <a:pt x="17297" y="1171736"/>
                  <a:pt x="18494" y="1165842"/>
                </a:cubicBezTo>
                <a:lnTo>
                  <a:pt x="36449" y="1167576"/>
                </a:lnTo>
                <a:lnTo>
                  <a:pt x="45380" y="1169425"/>
                </a:lnTo>
                <a:lnTo>
                  <a:pt x="59744" y="1158677"/>
                </a:lnTo>
                <a:cubicBezTo>
                  <a:pt x="57350" y="1153939"/>
                  <a:pt x="54956" y="1149085"/>
                  <a:pt x="52562" y="1144346"/>
                </a:cubicBezTo>
                <a:cubicBezTo>
                  <a:pt x="53114" y="1139030"/>
                  <a:pt x="53759" y="1133598"/>
                  <a:pt x="54311" y="1128282"/>
                </a:cubicBezTo>
                <a:lnTo>
                  <a:pt x="66833" y="1113951"/>
                </a:lnTo>
                <a:lnTo>
                  <a:pt x="82947" y="1099736"/>
                </a:lnTo>
                <a:cubicBezTo>
                  <a:pt x="87182" y="1091993"/>
                  <a:pt x="91325" y="1084250"/>
                  <a:pt x="95561" y="1076507"/>
                </a:cubicBezTo>
                <a:lnTo>
                  <a:pt x="111674" y="1055011"/>
                </a:lnTo>
                <a:lnTo>
                  <a:pt x="134969" y="1044378"/>
                </a:lnTo>
                <a:lnTo>
                  <a:pt x="151082" y="1028314"/>
                </a:lnTo>
                <a:lnTo>
                  <a:pt x="172535" y="1026465"/>
                </a:lnTo>
                <a:cubicBezTo>
                  <a:pt x="175574" y="1022304"/>
                  <a:pt x="178520" y="1018144"/>
                  <a:pt x="181559" y="1013983"/>
                </a:cubicBezTo>
                <a:lnTo>
                  <a:pt x="181559" y="990754"/>
                </a:lnTo>
                <a:lnTo>
                  <a:pt x="242420" y="912166"/>
                </a:lnTo>
                <a:cubicBezTo>
                  <a:pt x="244170" y="904423"/>
                  <a:pt x="246011" y="896680"/>
                  <a:pt x="247761" y="888937"/>
                </a:cubicBezTo>
                <a:cubicBezTo>
                  <a:pt x="253101" y="881771"/>
                  <a:pt x="258533" y="874721"/>
                  <a:pt x="263874" y="867556"/>
                </a:cubicBezTo>
                <a:lnTo>
                  <a:pt x="283578" y="847794"/>
                </a:lnTo>
                <a:lnTo>
                  <a:pt x="357053" y="797867"/>
                </a:lnTo>
                <a:lnTo>
                  <a:pt x="382190" y="787119"/>
                </a:lnTo>
                <a:lnTo>
                  <a:pt x="401894" y="779954"/>
                </a:lnTo>
                <a:lnTo>
                  <a:pt x="423347" y="771055"/>
                </a:lnTo>
                <a:lnTo>
                  <a:pt x="441302" y="767473"/>
                </a:lnTo>
                <a:lnTo>
                  <a:pt x="468096" y="758574"/>
                </a:lnTo>
                <a:lnTo>
                  <a:pt x="489641" y="751408"/>
                </a:lnTo>
                <a:lnTo>
                  <a:pt x="516527" y="760307"/>
                </a:lnTo>
                <a:lnTo>
                  <a:pt x="527208" y="772789"/>
                </a:lnTo>
                <a:lnTo>
                  <a:pt x="543321" y="778221"/>
                </a:lnTo>
                <a:cubicBezTo>
                  <a:pt x="545715" y="781803"/>
                  <a:pt x="548109" y="785270"/>
                  <a:pt x="550503" y="788853"/>
                </a:cubicBezTo>
                <a:lnTo>
                  <a:pt x="564867" y="801450"/>
                </a:lnTo>
                <a:lnTo>
                  <a:pt x="580980" y="799601"/>
                </a:lnTo>
                <a:lnTo>
                  <a:pt x="580980" y="785386"/>
                </a:lnTo>
                <a:lnTo>
                  <a:pt x="597093" y="781803"/>
                </a:lnTo>
                <a:lnTo>
                  <a:pt x="611456" y="778221"/>
                </a:lnTo>
                <a:cubicBezTo>
                  <a:pt x="613206" y="773482"/>
                  <a:pt x="615047" y="768628"/>
                  <a:pt x="616797" y="763890"/>
                </a:cubicBezTo>
                <a:cubicBezTo>
                  <a:pt x="614403" y="756725"/>
                  <a:pt x="612009" y="749675"/>
                  <a:pt x="609615" y="742509"/>
                </a:cubicBezTo>
                <a:cubicBezTo>
                  <a:pt x="610259" y="737078"/>
                  <a:pt x="610812" y="731761"/>
                  <a:pt x="611456" y="726330"/>
                </a:cubicBezTo>
                <a:cubicBezTo>
                  <a:pt x="614403" y="718586"/>
                  <a:pt x="617441" y="710959"/>
                  <a:pt x="620388" y="703216"/>
                </a:cubicBezTo>
                <a:lnTo>
                  <a:pt x="649023" y="694201"/>
                </a:lnTo>
                <a:lnTo>
                  <a:pt x="686682" y="685302"/>
                </a:lnTo>
                <a:lnTo>
                  <a:pt x="724248" y="667389"/>
                </a:lnTo>
                <a:lnTo>
                  <a:pt x="751134" y="649591"/>
                </a:lnTo>
                <a:lnTo>
                  <a:pt x="778020" y="624628"/>
                </a:lnTo>
                <a:cubicBezTo>
                  <a:pt x="779769" y="612724"/>
                  <a:pt x="781611" y="600705"/>
                  <a:pt x="783360" y="588801"/>
                </a:cubicBezTo>
                <a:lnTo>
                  <a:pt x="756567" y="569154"/>
                </a:lnTo>
                <a:lnTo>
                  <a:pt x="740453" y="545925"/>
                </a:lnTo>
                <a:lnTo>
                  <a:pt x="718908" y="540609"/>
                </a:lnTo>
                <a:lnTo>
                  <a:pt x="692022" y="554939"/>
                </a:lnTo>
                <a:lnTo>
                  <a:pt x="670569" y="554939"/>
                </a:lnTo>
                <a:lnTo>
                  <a:pt x="650865" y="567421"/>
                </a:lnTo>
                <a:lnTo>
                  <a:pt x="607865" y="587068"/>
                </a:lnTo>
                <a:lnTo>
                  <a:pt x="580980" y="594233"/>
                </a:lnTo>
                <a:lnTo>
                  <a:pt x="554094" y="581752"/>
                </a:lnTo>
                <a:lnTo>
                  <a:pt x="521868" y="578169"/>
                </a:lnTo>
                <a:lnTo>
                  <a:pt x="473528" y="571004"/>
                </a:lnTo>
                <a:lnTo>
                  <a:pt x="455574" y="579902"/>
                </a:lnTo>
                <a:lnTo>
                  <a:pt x="425097" y="567421"/>
                </a:lnTo>
                <a:cubicBezTo>
                  <a:pt x="422703" y="558522"/>
                  <a:pt x="420401" y="549507"/>
                  <a:pt x="418007" y="540609"/>
                </a:cubicBezTo>
                <a:lnTo>
                  <a:pt x="403643" y="522811"/>
                </a:lnTo>
                <a:lnTo>
                  <a:pt x="360644" y="517379"/>
                </a:lnTo>
                <a:lnTo>
                  <a:pt x="344531" y="522811"/>
                </a:lnTo>
                <a:lnTo>
                  <a:pt x="317645" y="533443"/>
                </a:lnTo>
                <a:lnTo>
                  <a:pt x="290760" y="531710"/>
                </a:lnTo>
                <a:cubicBezTo>
                  <a:pt x="287813" y="516223"/>
                  <a:pt x="284775" y="500737"/>
                  <a:pt x="281828" y="485251"/>
                </a:cubicBezTo>
                <a:cubicBezTo>
                  <a:pt x="283025" y="482246"/>
                  <a:pt x="284222" y="479357"/>
                  <a:pt x="285419" y="476352"/>
                </a:cubicBezTo>
                <a:cubicBezTo>
                  <a:pt x="286616" y="466182"/>
                  <a:pt x="287813" y="456127"/>
                  <a:pt x="289010" y="445957"/>
                </a:cubicBezTo>
                <a:lnTo>
                  <a:pt x="289010" y="428043"/>
                </a:lnTo>
                <a:cubicBezTo>
                  <a:pt x="287169" y="413713"/>
                  <a:pt x="285419" y="399498"/>
                  <a:pt x="283578" y="385167"/>
                </a:cubicBezTo>
                <a:cubicBezTo>
                  <a:pt x="284222" y="378002"/>
                  <a:pt x="284775" y="370952"/>
                  <a:pt x="285419" y="363787"/>
                </a:cubicBezTo>
                <a:cubicBezTo>
                  <a:pt x="282473" y="353039"/>
                  <a:pt x="279434" y="342406"/>
                  <a:pt x="276488" y="331658"/>
                </a:cubicBezTo>
                <a:cubicBezTo>
                  <a:pt x="273449" y="314438"/>
                  <a:pt x="270503" y="297103"/>
                  <a:pt x="267465" y="279883"/>
                </a:cubicBezTo>
                <a:lnTo>
                  <a:pt x="283578" y="272717"/>
                </a:lnTo>
                <a:lnTo>
                  <a:pt x="303282" y="263703"/>
                </a:lnTo>
                <a:cubicBezTo>
                  <a:pt x="303926" y="255960"/>
                  <a:pt x="304479" y="248217"/>
                  <a:pt x="305123" y="240473"/>
                </a:cubicBezTo>
                <a:cubicBezTo>
                  <a:pt x="306320" y="233308"/>
                  <a:pt x="307517" y="226258"/>
                  <a:pt x="308714" y="219093"/>
                </a:cubicBezTo>
                <a:lnTo>
                  <a:pt x="322986" y="194130"/>
                </a:lnTo>
                <a:lnTo>
                  <a:pt x="344531" y="163735"/>
                </a:lnTo>
                <a:lnTo>
                  <a:pt x="365985" y="158419"/>
                </a:lnTo>
                <a:lnTo>
                  <a:pt x="392871" y="165468"/>
                </a:lnTo>
                <a:lnTo>
                  <a:pt x="410825" y="183382"/>
                </a:lnTo>
                <a:lnTo>
                  <a:pt x="428688" y="197712"/>
                </a:lnTo>
                <a:lnTo>
                  <a:pt x="446642" y="215510"/>
                </a:lnTo>
                <a:lnTo>
                  <a:pt x="471687" y="231574"/>
                </a:lnTo>
                <a:lnTo>
                  <a:pt x="487800" y="256653"/>
                </a:lnTo>
                <a:cubicBezTo>
                  <a:pt x="487247" y="263818"/>
                  <a:pt x="486603" y="270868"/>
                  <a:pt x="486050" y="278034"/>
                </a:cubicBezTo>
                <a:lnTo>
                  <a:pt x="461006" y="279883"/>
                </a:lnTo>
                <a:lnTo>
                  <a:pt x="435870" y="285199"/>
                </a:lnTo>
                <a:cubicBezTo>
                  <a:pt x="433476" y="295369"/>
                  <a:pt x="431082" y="305424"/>
                  <a:pt x="428688" y="315594"/>
                </a:cubicBezTo>
                <a:lnTo>
                  <a:pt x="410825" y="331658"/>
                </a:lnTo>
                <a:lnTo>
                  <a:pt x="403643" y="345873"/>
                </a:lnTo>
                <a:cubicBezTo>
                  <a:pt x="406590" y="355465"/>
                  <a:pt x="409628" y="364942"/>
                  <a:pt x="412575" y="374535"/>
                </a:cubicBezTo>
                <a:lnTo>
                  <a:pt x="441302" y="365520"/>
                </a:lnTo>
                <a:lnTo>
                  <a:pt x="457415" y="353039"/>
                </a:lnTo>
                <a:lnTo>
                  <a:pt x="473528" y="336974"/>
                </a:lnTo>
                <a:lnTo>
                  <a:pt x="489641" y="324493"/>
                </a:lnTo>
                <a:lnTo>
                  <a:pt x="521868" y="326226"/>
                </a:lnTo>
                <a:lnTo>
                  <a:pt x="529049" y="336974"/>
                </a:lnTo>
                <a:cubicBezTo>
                  <a:pt x="528405" y="341713"/>
                  <a:pt x="527852" y="346567"/>
                  <a:pt x="527208" y="351305"/>
                </a:cubicBezTo>
                <a:cubicBezTo>
                  <a:pt x="528405" y="358470"/>
                  <a:pt x="529602" y="365520"/>
                  <a:pt x="530799" y="372685"/>
                </a:cubicBezTo>
                <a:lnTo>
                  <a:pt x="546912" y="387016"/>
                </a:lnTo>
                <a:lnTo>
                  <a:pt x="534390" y="399498"/>
                </a:lnTo>
                <a:cubicBezTo>
                  <a:pt x="531996" y="408397"/>
                  <a:pt x="529602" y="417411"/>
                  <a:pt x="527208" y="426310"/>
                </a:cubicBezTo>
                <a:lnTo>
                  <a:pt x="537981" y="449539"/>
                </a:lnTo>
                <a:lnTo>
                  <a:pt x="572048" y="451273"/>
                </a:lnTo>
                <a:lnTo>
                  <a:pt x="606024" y="449539"/>
                </a:lnTo>
                <a:cubicBezTo>
                  <a:pt x="608418" y="444223"/>
                  <a:pt x="610812" y="438791"/>
                  <a:pt x="613206" y="433475"/>
                </a:cubicBezTo>
                <a:cubicBezTo>
                  <a:pt x="616244" y="420994"/>
                  <a:pt x="619191" y="408397"/>
                  <a:pt x="622229" y="395915"/>
                </a:cubicBezTo>
                <a:lnTo>
                  <a:pt x="586320" y="363787"/>
                </a:lnTo>
                <a:cubicBezTo>
                  <a:pt x="588161" y="360204"/>
                  <a:pt x="589911" y="356621"/>
                  <a:pt x="591752" y="353039"/>
                </a:cubicBezTo>
                <a:lnTo>
                  <a:pt x="606024" y="358470"/>
                </a:lnTo>
                <a:lnTo>
                  <a:pt x="627570" y="360204"/>
                </a:lnTo>
                <a:lnTo>
                  <a:pt x="623979" y="336974"/>
                </a:lnTo>
                <a:lnTo>
                  <a:pt x="632910" y="331658"/>
                </a:lnTo>
                <a:lnTo>
                  <a:pt x="654455" y="340557"/>
                </a:lnTo>
                <a:lnTo>
                  <a:pt x="677750" y="333392"/>
                </a:lnTo>
                <a:lnTo>
                  <a:pt x="677750" y="367369"/>
                </a:lnTo>
                <a:lnTo>
                  <a:pt x="729681" y="367369"/>
                </a:lnTo>
                <a:cubicBezTo>
                  <a:pt x="736218" y="357199"/>
                  <a:pt x="742847" y="347144"/>
                  <a:pt x="749385" y="336974"/>
                </a:cubicBezTo>
                <a:lnTo>
                  <a:pt x="783360" y="342291"/>
                </a:lnTo>
                <a:lnTo>
                  <a:pt x="797724" y="342291"/>
                </a:lnTo>
                <a:lnTo>
                  <a:pt x="821019" y="336974"/>
                </a:lnTo>
                <a:cubicBezTo>
                  <a:pt x="822768" y="341713"/>
                  <a:pt x="824610" y="346567"/>
                  <a:pt x="826359" y="351305"/>
                </a:cubicBezTo>
                <a:lnTo>
                  <a:pt x="855087" y="347722"/>
                </a:lnTo>
                <a:cubicBezTo>
                  <a:pt x="858678" y="340557"/>
                  <a:pt x="862176" y="333392"/>
                  <a:pt x="865767" y="326226"/>
                </a:cubicBezTo>
                <a:lnTo>
                  <a:pt x="847905" y="315594"/>
                </a:lnTo>
                <a:lnTo>
                  <a:pt x="821019" y="306579"/>
                </a:lnTo>
                <a:cubicBezTo>
                  <a:pt x="822768" y="297681"/>
                  <a:pt x="824610" y="288782"/>
                  <a:pt x="826359" y="279883"/>
                </a:cubicBezTo>
                <a:lnTo>
                  <a:pt x="847905" y="265552"/>
                </a:lnTo>
                <a:lnTo>
                  <a:pt x="869358" y="245905"/>
                </a:lnTo>
                <a:lnTo>
                  <a:pt x="860427" y="244056"/>
                </a:lnTo>
                <a:lnTo>
                  <a:pt x="846063" y="226258"/>
                </a:lnTo>
                <a:lnTo>
                  <a:pt x="858678" y="215510"/>
                </a:lnTo>
                <a:lnTo>
                  <a:pt x="871200" y="217359"/>
                </a:lnTo>
                <a:cubicBezTo>
                  <a:pt x="875343" y="214932"/>
                  <a:pt x="879579" y="212621"/>
                  <a:pt x="883722" y="210194"/>
                </a:cubicBezTo>
                <a:lnTo>
                  <a:pt x="880131" y="188698"/>
                </a:lnTo>
                <a:cubicBezTo>
                  <a:pt x="881880" y="184537"/>
                  <a:pt x="883722" y="180377"/>
                  <a:pt x="885471" y="176216"/>
                </a:cubicBezTo>
                <a:lnTo>
                  <a:pt x="901677" y="167318"/>
                </a:lnTo>
                <a:lnTo>
                  <a:pt x="915948" y="167318"/>
                </a:lnTo>
                <a:cubicBezTo>
                  <a:pt x="918342" y="164891"/>
                  <a:pt x="920736" y="162579"/>
                  <a:pt x="923130" y="160152"/>
                </a:cubicBezTo>
                <a:cubicBezTo>
                  <a:pt x="917790" y="139350"/>
                  <a:pt x="912357" y="118431"/>
                  <a:pt x="907017" y="97629"/>
                </a:cubicBezTo>
                <a:lnTo>
                  <a:pt x="914171" y="96247"/>
                </a:lnTo>
                <a:cubicBezTo>
                  <a:pt x="912494" y="93884"/>
                  <a:pt x="910797" y="92256"/>
                  <a:pt x="909416" y="91165"/>
                </a:cubicBezTo>
                <a:lnTo>
                  <a:pt x="946988" y="32329"/>
                </a:lnTo>
                <a:lnTo>
                  <a:pt x="975543" y="3604"/>
                </a:lnTo>
                <a:close/>
              </a:path>
            </a:pathLst>
          </a:custGeom>
          <a:solidFill>
            <a:srgbClr val="70B0DF"/>
          </a:solidFill>
          <a:ln w="3175" cap="flat" cmpd="sng">
            <a:noFill/>
            <a:prstDash val="solid"/>
            <a:round/>
            <a:headEnd type="none" w="med" len="med"/>
            <a:tailEnd type="none" w="med" len="med"/>
          </a:ln>
        </p:spPr>
        <p:txBody>
          <a:bodyPr wrap="none" lIns="32632" tIns="32632" rIns="32632" bIns="32632" anchor="ctr"/>
          <a:lstStyle/>
          <a:p>
            <a:pPr defTabSz="891045"/>
            <a:endParaRPr lang="en-US" sz="1700" dirty="0">
              <a:solidFill>
                <a:srgbClr val="003149"/>
              </a:solidFill>
              <a:cs typeface="Arial" panose="020B0604020202020204" pitchFamily="34" charset="0"/>
            </a:endParaRPr>
          </a:p>
        </p:txBody>
      </p:sp>
      <p:sp>
        <p:nvSpPr>
          <p:cNvPr id="41" name="Freeform 698"/>
          <p:cNvSpPr>
            <a:spLocks noChangeAspect="1"/>
          </p:cNvSpPr>
          <p:nvPr>
            <p:custDataLst>
              <p:tags r:id="rId22"/>
            </p:custDataLst>
          </p:nvPr>
        </p:nvSpPr>
        <p:spPr bwMode="gray">
          <a:xfrm>
            <a:off x="3127919" y="3345730"/>
            <a:ext cx="271539" cy="374492"/>
          </a:xfrm>
          <a:custGeom>
            <a:avLst/>
            <a:gdLst>
              <a:gd name="T0" fmla="*/ 0 w 1570828"/>
              <a:gd name="T1" fmla="*/ 0 h 1917700"/>
              <a:gd name="T2" fmla="*/ 0 w 1570828"/>
              <a:gd name="T3" fmla="*/ 0 h 1917700"/>
              <a:gd name="T4" fmla="*/ 0 w 1570828"/>
              <a:gd name="T5" fmla="*/ 0 h 1917700"/>
              <a:gd name="T6" fmla="*/ 0 w 1570828"/>
              <a:gd name="T7" fmla="*/ 0 h 1917700"/>
              <a:gd name="T8" fmla="*/ 0 w 1570828"/>
              <a:gd name="T9" fmla="*/ 0 h 1917700"/>
              <a:gd name="T10" fmla="*/ 0 w 1570828"/>
              <a:gd name="T11" fmla="*/ 0 h 1917700"/>
              <a:gd name="T12" fmla="*/ 0 w 1570828"/>
              <a:gd name="T13" fmla="*/ 0 h 1917700"/>
              <a:gd name="T14" fmla="*/ 0 w 1570828"/>
              <a:gd name="T15" fmla="*/ 0 h 1917700"/>
              <a:gd name="T16" fmla="*/ 0 w 1570828"/>
              <a:gd name="T17" fmla="*/ 0 h 1917700"/>
              <a:gd name="T18" fmla="*/ 0 w 1570828"/>
              <a:gd name="T19" fmla="*/ 0 h 1917700"/>
              <a:gd name="T20" fmla="*/ 0 w 1570828"/>
              <a:gd name="T21" fmla="*/ 0 h 1917700"/>
              <a:gd name="T22" fmla="*/ 0 w 1570828"/>
              <a:gd name="T23" fmla="*/ 0 h 1917700"/>
              <a:gd name="T24" fmla="*/ 0 w 1570828"/>
              <a:gd name="T25" fmla="*/ 0 h 1917700"/>
              <a:gd name="T26" fmla="*/ 0 w 1570828"/>
              <a:gd name="T27" fmla="*/ 0 h 1917700"/>
              <a:gd name="T28" fmla="*/ 0 w 1570828"/>
              <a:gd name="T29" fmla="*/ 0 h 1917700"/>
              <a:gd name="T30" fmla="*/ 0 w 1570828"/>
              <a:gd name="T31" fmla="*/ 0 h 1917700"/>
              <a:gd name="T32" fmla="*/ 0 w 1570828"/>
              <a:gd name="T33" fmla="*/ 0 h 1917700"/>
              <a:gd name="T34" fmla="*/ 0 w 1570828"/>
              <a:gd name="T35" fmla="*/ 0 h 1917700"/>
              <a:gd name="T36" fmla="*/ 0 w 1570828"/>
              <a:gd name="T37" fmla="*/ 0 h 1917700"/>
              <a:gd name="T38" fmla="*/ 0 w 1570828"/>
              <a:gd name="T39" fmla="*/ 0 h 1917700"/>
              <a:gd name="T40" fmla="*/ 0 w 1570828"/>
              <a:gd name="T41" fmla="*/ 0 h 1917700"/>
              <a:gd name="T42" fmla="*/ 0 w 1570828"/>
              <a:gd name="T43" fmla="*/ 0 h 1917700"/>
              <a:gd name="T44" fmla="*/ 0 w 1570828"/>
              <a:gd name="T45" fmla="*/ 0 h 1917700"/>
              <a:gd name="T46" fmla="*/ 0 w 1570828"/>
              <a:gd name="T47" fmla="*/ 0 h 1917700"/>
              <a:gd name="T48" fmla="*/ 0 w 1570828"/>
              <a:gd name="T49" fmla="*/ 0 h 1917700"/>
              <a:gd name="T50" fmla="*/ 0 w 1570828"/>
              <a:gd name="T51" fmla="*/ 0 h 1917700"/>
              <a:gd name="T52" fmla="*/ 0 w 1570828"/>
              <a:gd name="T53" fmla="*/ 0 h 1917700"/>
              <a:gd name="T54" fmla="*/ 0 w 1570828"/>
              <a:gd name="T55" fmla="*/ 0 h 1917700"/>
              <a:gd name="T56" fmla="*/ 0 w 1570828"/>
              <a:gd name="T57" fmla="*/ 0 h 1917700"/>
              <a:gd name="T58" fmla="*/ 0 w 1570828"/>
              <a:gd name="T59" fmla="*/ 0 h 1917700"/>
              <a:gd name="T60" fmla="*/ 0 w 1570828"/>
              <a:gd name="T61" fmla="*/ 0 h 1917700"/>
              <a:gd name="T62" fmla="*/ 0 w 1570828"/>
              <a:gd name="T63" fmla="*/ 0 h 1917700"/>
              <a:gd name="T64" fmla="*/ 0 w 1570828"/>
              <a:gd name="T65" fmla="*/ 0 h 1917700"/>
              <a:gd name="T66" fmla="*/ 0 w 1570828"/>
              <a:gd name="T67" fmla="*/ 0 h 1917700"/>
              <a:gd name="T68" fmla="*/ 0 w 1570828"/>
              <a:gd name="T69" fmla="*/ 0 h 1917700"/>
              <a:gd name="T70" fmla="*/ 0 w 1570828"/>
              <a:gd name="T71" fmla="*/ 0 h 1917700"/>
              <a:gd name="T72" fmla="*/ 0 w 1570828"/>
              <a:gd name="T73" fmla="*/ 0 h 1917700"/>
              <a:gd name="T74" fmla="*/ 0 w 1570828"/>
              <a:gd name="T75" fmla="*/ 0 h 1917700"/>
              <a:gd name="T76" fmla="*/ 0 w 1570828"/>
              <a:gd name="T77" fmla="*/ 0 h 1917700"/>
              <a:gd name="T78" fmla="*/ 0 w 1570828"/>
              <a:gd name="T79" fmla="*/ 0 h 1917700"/>
              <a:gd name="T80" fmla="*/ 0 w 1570828"/>
              <a:gd name="T81" fmla="*/ 0 h 1917700"/>
              <a:gd name="T82" fmla="*/ 0 w 1570828"/>
              <a:gd name="T83" fmla="*/ 0 h 1917700"/>
              <a:gd name="T84" fmla="*/ 0 w 1570828"/>
              <a:gd name="T85" fmla="*/ 0 h 1917700"/>
              <a:gd name="T86" fmla="*/ 0 w 1570828"/>
              <a:gd name="T87" fmla="*/ 0 h 1917700"/>
              <a:gd name="T88" fmla="*/ 0 w 1570828"/>
              <a:gd name="T89" fmla="*/ 0 h 1917700"/>
              <a:gd name="T90" fmla="*/ 0 w 1570828"/>
              <a:gd name="T91" fmla="*/ 0 h 1917700"/>
              <a:gd name="T92" fmla="*/ 0 w 1570828"/>
              <a:gd name="T93" fmla="*/ 0 h 1917700"/>
              <a:gd name="T94" fmla="*/ 0 w 1570828"/>
              <a:gd name="T95" fmla="*/ 0 h 1917700"/>
              <a:gd name="T96" fmla="*/ 0 w 1570828"/>
              <a:gd name="T97" fmla="*/ 0 h 1917700"/>
              <a:gd name="T98" fmla="*/ 0 w 1570828"/>
              <a:gd name="T99" fmla="*/ 0 h 1917700"/>
              <a:gd name="T100" fmla="*/ 0 w 1570828"/>
              <a:gd name="T101" fmla="*/ 0 h 1917700"/>
              <a:gd name="T102" fmla="*/ 0 w 1570828"/>
              <a:gd name="T103" fmla="*/ 0 h 1917700"/>
              <a:gd name="T104" fmla="*/ 0 w 1570828"/>
              <a:gd name="T105" fmla="*/ 0 h 1917700"/>
              <a:gd name="T106" fmla="*/ 0 w 1570828"/>
              <a:gd name="T107" fmla="*/ 0 h 1917700"/>
              <a:gd name="T108" fmla="*/ 0 w 1570828"/>
              <a:gd name="T109" fmla="*/ 0 h 1917700"/>
              <a:gd name="T110" fmla="*/ 0 w 1570828"/>
              <a:gd name="T111" fmla="*/ 0 h 1917700"/>
              <a:gd name="T112" fmla="*/ 0 w 1570828"/>
              <a:gd name="T113" fmla="*/ 0 h 1917700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w 1570828"/>
              <a:gd name="T172" fmla="*/ 0 h 1917700"/>
              <a:gd name="T173" fmla="*/ 1570828 w 1570828"/>
              <a:gd name="T174" fmla="*/ 1917700 h 1917700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T171" t="T172" r="T173" b="T174"/>
            <a:pathLst>
              <a:path w="1570828" h="1917700">
                <a:moveTo>
                  <a:pt x="1291580" y="429029"/>
                </a:moveTo>
                <a:lnTo>
                  <a:pt x="1282135" y="439300"/>
                </a:lnTo>
                <a:cubicBezTo>
                  <a:pt x="1287181" y="435782"/>
                  <a:pt x="1290724" y="432469"/>
                  <a:pt x="1291580" y="429029"/>
                </a:cubicBezTo>
                <a:close/>
                <a:moveTo>
                  <a:pt x="704847" y="0"/>
                </a:moveTo>
                <a:lnTo>
                  <a:pt x="707794" y="11336"/>
                </a:lnTo>
                <a:lnTo>
                  <a:pt x="728175" y="45844"/>
                </a:lnTo>
                <a:cubicBezTo>
                  <a:pt x="734139" y="60226"/>
                  <a:pt x="740163" y="74608"/>
                  <a:pt x="746128" y="88990"/>
                </a:cubicBezTo>
                <a:lnTo>
                  <a:pt x="769454" y="90794"/>
                </a:lnTo>
                <a:cubicBezTo>
                  <a:pt x="771226" y="81822"/>
                  <a:pt x="773057" y="72805"/>
                  <a:pt x="774828" y="63833"/>
                </a:cubicBezTo>
                <a:lnTo>
                  <a:pt x="783805" y="47647"/>
                </a:lnTo>
                <a:lnTo>
                  <a:pt x="798214" y="49450"/>
                </a:lnTo>
                <a:lnTo>
                  <a:pt x="810734" y="53057"/>
                </a:lnTo>
                <a:lnTo>
                  <a:pt x="830517" y="40478"/>
                </a:lnTo>
                <a:lnTo>
                  <a:pt x="855616" y="47647"/>
                </a:lnTo>
                <a:cubicBezTo>
                  <a:pt x="856797" y="53643"/>
                  <a:pt x="858037" y="59640"/>
                  <a:pt x="859218" y="65636"/>
                </a:cubicBezTo>
                <a:cubicBezTo>
                  <a:pt x="861640" y="82994"/>
                  <a:pt x="864002" y="100352"/>
                  <a:pt x="866423" y="117709"/>
                </a:cubicBezTo>
                <a:lnTo>
                  <a:pt x="877171" y="133895"/>
                </a:lnTo>
                <a:lnTo>
                  <a:pt x="898726" y="142867"/>
                </a:lnTo>
                <a:lnTo>
                  <a:pt x="916679" y="157249"/>
                </a:lnTo>
                <a:lnTo>
                  <a:pt x="932801" y="180603"/>
                </a:lnTo>
                <a:lnTo>
                  <a:pt x="975911" y="182362"/>
                </a:lnTo>
                <a:lnTo>
                  <a:pt x="1015360" y="191379"/>
                </a:lnTo>
                <a:lnTo>
                  <a:pt x="1042289" y="207519"/>
                </a:lnTo>
                <a:cubicBezTo>
                  <a:pt x="1042880" y="212929"/>
                  <a:pt x="1043530" y="218295"/>
                  <a:pt x="1044120" y="223705"/>
                </a:cubicBezTo>
                <a:cubicBezTo>
                  <a:pt x="1042939" y="229070"/>
                  <a:pt x="1041699" y="234480"/>
                  <a:pt x="1040518" y="239845"/>
                </a:cubicBezTo>
                <a:cubicBezTo>
                  <a:pt x="1042289" y="246428"/>
                  <a:pt x="1044120" y="253055"/>
                  <a:pt x="1045892" y="259638"/>
                </a:cubicBezTo>
                <a:cubicBezTo>
                  <a:pt x="1044120" y="263831"/>
                  <a:pt x="1042289" y="267978"/>
                  <a:pt x="1040518" y="272171"/>
                </a:cubicBezTo>
                <a:cubicBezTo>
                  <a:pt x="1041108" y="279385"/>
                  <a:pt x="1041699" y="286554"/>
                  <a:pt x="1042289" y="293767"/>
                </a:cubicBezTo>
                <a:lnTo>
                  <a:pt x="1074593" y="304543"/>
                </a:lnTo>
                <a:lnTo>
                  <a:pt x="1112329" y="304543"/>
                </a:lnTo>
                <a:lnTo>
                  <a:pt x="1142801" y="308104"/>
                </a:lnTo>
                <a:lnTo>
                  <a:pt x="1171561" y="304543"/>
                </a:lnTo>
                <a:lnTo>
                  <a:pt x="1160754" y="322486"/>
                </a:lnTo>
                <a:lnTo>
                  <a:pt x="1139258" y="329655"/>
                </a:lnTo>
                <a:lnTo>
                  <a:pt x="1123077" y="344037"/>
                </a:lnTo>
                <a:cubicBezTo>
                  <a:pt x="1121896" y="355399"/>
                  <a:pt x="1120656" y="366805"/>
                  <a:pt x="1119475" y="378167"/>
                </a:cubicBezTo>
                <a:cubicBezTo>
                  <a:pt x="1121896" y="391918"/>
                  <a:pt x="1124258" y="405714"/>
                  <a:pt x="1126679" y="419465"/>
                </a:cubicBezTo>
                <a:lnTo>
                  <a:pt x="1155380" y="448229"/>
                </a:lnTo>
                <a:lnTo>
                  <a:pt x="1198490" y="457201"/>
                </a:lnTo>
                <a:lnTo>
                  <a:pt x="1241542" y="446426"/>
                </a:lnTo>
                <a:lnTo>
                  <a:pt x="1273845" y="433847"/>
                </a:lnTo>
                <a:lnTo>
                  <a:pt x="1295400" y="424875"/>
                </a:lnTo>
                <a:lnTo>
                  <a:pt x="1292707" y="427804"/>
                </a:lnTo>
                <a:lnTo>
                  <a:pt x="1279747" y="450210"/>
                </a:lnTo>
                <a:cubicBezTo>
                  <a:pt x="1280339" y="457309"/>
                  <a:pt x="1280958" y="464359"/>
                  <a:pt x="1281551" y="471433"/>
                </a:cubicBezTo>
                <a:lnTo>
                  <a:pt x="1263648" y="501512"/>
                </a:lnTo>
                <a:lnTo>
                  <a:pt x="1270782" y="510393"/>
                </a:lnTo>
                <a:lnTo>
                  <a:pt x="1276193" y="528054"/>
                </a:lnTo>
                <a:lnTo>
                  <a:pt x="1324517" y="524492"/>
                </a:lnTo>
                <a:lnTo>
                  <a:pt x="1338812" y="551034"/>
                </a:lnTo>
                <a:lnTo>
                  <a:pt x="1356715" y="572282"/>
                </a:lnTo>
                <a:lnTo>
                  <a:pt x="1385359" y="582869"/>
                </a:lnTo>
                <a:lnTo>
                  <a:pt x="1415780" y="593506"/>
                </a:lnTo>
                <a:lnTo>
                  <a:pt x="1448032" y="614729"/>
                </a:lnTo>
                <a:lnTo>
                  <a:pt x="1465935" y="634197"/>
                </a:lnTo>
                <a:lnTo>
                  <a:pt x="1494579" y="650102"/>
                </a:lnTo>
                <a:lnTo>
                  <a:pt x="1503490" y="666032"/>
                </a:lnTo>
                <a:cubicBezTo>
                  <a:pt x="1509332" y="668014"/>
                  <a:pt x="1523896" y="677095"/>
                  <a:pt x="1531945" y="676268"/>
                </a:cubicBezTo>
                <a:cubicBezTo>
                  <a:pt x="1536031" y="675859"/>
                  <a:pt x="1544193" y="670311"/>
                  <a:pt x="1549926" y="664820"/>
                </a:cubicBezTo>
                <a:cubicBezTo>
                  <a:pt x="1550919" y="661808"/>
                  <a:pt x="1552075" y="659275"/>
                  <a:pt x="1553851" y="657908"/>
                </a:cubicBezTo>
                <a:lnTo>
                  <a:pt x="1554182" y="654041"/>
                </a:lnTo>
                <a:cubicBezTo>
                  <a:pt x="1556873" y="654267"/>
                  <a:pt x="1556911" y="656074"/>
                  <a:pt x="1555242" y="658473"/>
                </a:cubicBezTo>
                <a:cubicBezTo>
                  <a:pt x="1560411" y="678601"/>
                  <a:pt x="1565663" y="698831"/>
                  <a:pt x="1570828" y="718952"/>
                </a:cubicBezTo>
                <a:cubicBezTo>
                  <a:pt x="1568434" y="721379"/>
                  <a:pt x="1566040" y="723690"/>
                  <a:pt x="1563646" y="726117"/>
                </a:cubicBezTo>
                <a:lnTo>
                  <a:pt x="1549375" y="726117"/>
                </a:lnTo>
                <a:lnTo>
                  <a:pt x="1533169" y="735016"/>
                </a:lnTo>
                <a:cubicBezTo>
                  <a:pt x="1531420" y="739177"/>
                  <a:pt x="1529579" y="743337"/>
                  <a:pt x="1527829" y="747498"/>
                </a:cubicBezTo>
                <a:lnTo>
                  <a:pt x="1531420" y="768994"/>
                </a:lnTo>
                <a:cubicBezTo>
                  <a:pt x="1527277" y="771421"/>
                  <a:pt x="1523041" y="773732"/>
                  <a:pt x="1518898" y="776159"/>
                </a:cubicBezTo>
                <a:lnTo>
                  <a:pt x="1506376" y="774310"/>
                </a:lnTo>
                <a:lnTo>
                  <a:pt x="1493761" y="785058"/>
                </a:lnTo>
                <a:lnTo>
                  <a:pt x="1508125" y="802856"/>
                </a:lnTo>
                <a:lnTo>
                  <a:pt x="1517056" y="804705"/>
                </a:lnTo>
                <a:lnTo>
                  <a:pt x="1495603" y="824352"/>
                </a:lnTo>
                <a:lnTo>
                  <a:pt x="1474057" y="838683"/>
                </a:lnTo>
                <a:cubicBezTo>
                  <a:pt x="1472308" y="847582"/>
                  <a:pt x="1470467" y="856480"/>
                  <a:pt x="1468717" y="865379"/>
                </a:cubicBezTo>
                <a:lnTo>
                  <a:pt x="1495603" y="874394"/>
                </a:lnTo>
                <a:lnTo>
                  <a:pt x="1513465" y="885026"/>
                </a:lnTo>
                <a:cubicBezTo>
                  <a:pt x="1509875" y="892192"/>
                  <a:pt x="1506376" y="899357"/>
                  <a:pt x="1502785" y="906522"/>
                </a:cubicBezTo>
                <a:lnTo>
                  <a:pt x="1474057" y="910105"/>
                </a:lnTo>
                <a:cubicBezTo>
                  <a:pt x="1472308" y="905367"/>
                  <a:pt x="1470467" y="900513"/>
                  <a:pt x="1468717" y="895774"/>
                </a:cubicBezTo>
                <a:lnTo>
                  <a:pt x="1445422" y="901090"/>
                </a:lnTo>
                <a:lnTo>
                  <a:pt x="1431059" y="901090"/>
                </a:lnTo>
                <a:lnTo>
                  <a:pt x="1397083" y="895774"/>
                </a:lnTo>
                <a:cubicBezTo>
                  <a:pt x="1390546" y="905944"/>
                  <a:pt x="1383916" y="915999"/>
                  <a:pt x="1377379" y="926169"/>
                </a:cubicBezTo>
                <a:lnTo>
                  <a:pt x="1325449" y="926169"/>
                </a:lnTo>
                <a:lnTo>
                  <a:pt x="1325449" y="892192"/>
                </a:lnTo>
                <a:lnTo>
                  <a:pt x="1302154" y="899357"/>
                </a:lnTo>
                <a:lnTo>
                  <a:pt x="1280608" y="890458"/>
                </a:lnTo>
                <a:lnTo>
                  <a:pt x="1271677" y="895774"/>
                </a:lnTo>
                <a:lnTo>
                  <a:pt x="1275268" y="919004"/>
                </a:lnTo>
                <a:lnTo>
                  <a:pt x="1253722" y="917270"/>
                </a:lnTo>
                <a:lnTo>
                  <a:pt x="1239451" y="911838"/>
                </a:lnTo>
                <a:cubicBezTo>
                  <a:pt x="1237609" y="915421"/>
                  <a:pt x="1235860" y="919004"/>
                  <a:pt x="1234018" y="922586"/>
                </a:cubicBezTo>
                <a:lnTo>
                  <a:pt x="1269927" y="954715"/>
                </a:lnTo>
                <a:cubicBezTo>
                  <a:pt x="1266889" y="967197"/>
                  <a:pt x="1263943" y="979794"/>
                  <a:pt x="1260904" y="992275"/>
                </a:cubicBezTo>
                <a:cubicBezTo>
                  <a:pt x="1258510" y="997591"/>
                  <a:pt x="1256116" y="1003023"/>
                  <a:pt x="1253722" y="1008339"/>
                </a:cubicBezTo>
                <a:lnTo>
                  <a:pt x="1219747" y="1010073"/>
                </a:lnTo>
                <a:lnTo>
                  <a:pt x="1185679" y="1008339"/>
                </a:lnTo>
                <a:lnTo>
                  <a:pt x="1174906" y="985110"/>
                </a:lnTo>
                <a:cubicBezTo>
                  <a:pt x="1177300" y="976211"/>
                  <a:pt x="1179694" y="967197"/>
                  <a:pt x="1182088" y="958298"/>
                </a:cubicBezTo>
                <a:lnTo>
                  <a:pt x="1194610" y="945816"/>
                </a:lnTo>
                <a:lnTo>
                  <a:pt x="1178497" y="931485"/>
                </a:lnTo>
                <a:cubicBezTo>
                  <a:pt x="1177300" y="924320"/>
                  <a:pt x="1176103" y="917270"/>
                  <a:pt x="1174906" y="910105"/>
                </a:cubicBezTo>
                <a:cubicBezTo>
                  <a:pt x="1175551" y="905367"/>
                  <a:pt x="1176103" y="900513"/>
                  <a:pt x="1176748" y="895774"/>
                </a:cubicBezTo>
                <a:lnTo>
                  <a:pt x="1169566" y="885026"/>
                </a:lnTo>
                <a:lnTo>
                  <a:pt x="1137340" y="883293"/>
                </a:lnTo>
                <a:lnTo>
                  <a:pt x="1121227" y="895774"/>
                </a:lnTo>
                <a:lnTo>
                  <a:pt x="1105114" y="911838"/>
                </a:lnTo>
                <a:lnTo>
                  <a:pt x="1089001" y="924320"/>
                </a:lnTo>
                <a:lnTo>
                  <a:pt x="1060273" y="933334"/>
                </a:lnTo>
                <a:cubicBezTo>
                  <a:pt x="1057327" y="923742"/>
                  <a:pt x="1054288" y="914265"/>
                  <a:pt x="1051342" y="904673"/>
                </a:cubicBezTo>
                <a:lnTo>
                  <a:pt x="1058524" y="890458"/>
                </a:lnTo>
                <a:lnTo>
                  <a:pt x="1076386" y="874394"/>
                </a:lnTo>
                <a:cubicBezTo>
                  <a:pt x="1078780" y="864224"/>
                  <a:pt x="1081174" y="854169"/>
                  <a:pt x="1083568" y="843999"/>
                </a:cubicBezTo>
                <a:lnTo>
                  <a:pt x="1108705" y="838683"/>
                </a:lnTo>
                <a:lnTo>
                  <a:pt x="1133749" y="836834"/>
                </a:lnTo>
                <a:cubicBezTo>
                  <a:pt x="1134301" y="829668"/>
                  <a:pt x="1134946" y="822618"/>
                  <a:pt x="1135498" y="815453"/>
                </a:cubicBezTo>
                <a:lnTo>
                  <a:pt x="1119385" y="790374"/>
                </a:lnTo>
                <a:lnTo>
                  <a:pt x="1094341" y="774310"/>
                </a:lnTo>
                <a:lnTo>
                  <a:pt x="1076386" y="756512"/>
                </a:lnTo>
                <a:lnTo>
                  <a:pt x="1058524" y="742182"/>
                </a:lnTo>
                <a:lnTo>
                  <a:pt x="1040569" y="724268"/>
                </a:lnTo>
                <a:lnTo>
                  <a:pt x="1013683" y="717219"/>
                </a:lnTo>
                <a:lnTo>
                  <a:pt x="992230" y="722535"/>
                </a:lnTo>
                <a:lnTo>
                  <a:pt x="970684" y="752930"/>
                </a:lnTo>
                <a:lnTo>
                  <a:pt x="956413" y="777893"/>
                </a:lnTo>
                <a:cubicBezTo>
                  <a:pt x="955216" y="785058"/>
                  <a:pt x="954019" y="792108"/>
                  <a:pt x="952822" y="799273"/>
                </a:cubicBezTo>
                <a:cubicBezTo>
                  <a:pt x="952177" y="807016"/>
                  <a:pt x="951625" y="814760"/>
                  <a:pt x="950980" y="822503"/>
                </a:cubicBezTo>
                <a:lnTo>
                  <a:pt x="931276" y="831517"/>
                </a:lnTo>
                <a:lnTo>
                  <a:pt x="915163" y="838683"/>
                </a:lnTo>
                <a:cubicBezTo>
                  <a:pt x="918202" y="855903"/>
                  <a:pt x="921148" y="873238"/>
                  <a:pt x="924187" y="890458"/>
                </a:cubicBezTo>
                <a:cubicBezTo>
                  <a:pt x="927133" y="901206"/>
                  <a:pt x="930171" y="911838"/>
                  <a:pt x="933118" y="922586"/>
                </a:cubicBezTo>
                <a:cubicBezTo>
                  <a:pt x="932473" y="929752"/>
                  <a:pt x="931921" y="936802"/>
                  <a:pt x="931276" y="943967"/>
                </a:cubicBezTo>
                <a:cubicBezTo>
                  <a:pt x="933118" y="958298"/>
                  <a:pt x="934867" y="972513"/>
                  <a:pt x="936709" y="986843"/>
                </a:cubicBezTo>
                <a:lnTo>
                  <a:pt x="936709" y="1004757"/>
                </a:lnTo>
                <a:cubicBezTo>
                  <a:pt x="935512" y="1014927"/>
                  <a:pt x="934315" y="1024982"/>
                  <a:pt x="933118" y="1035152"/>
                </a:cubicBezTo>
                <a:cubicBezTo>
                  <a:pt x="931921" y="1038156"/>
                  <a:pt x="930724" y="1041046"/>
                  <a:pt x="929527" y="1044051"/>
                </a:cubicBezTo>
                <a:cubicBezTo>
                  <a:pt x="932473" y="1059537"/>
                  <a:pt x="935512" y="1075023"/>
                  <a:pt x="938458" y="1090510"/>
                </a:cubicBezTo>
                <a:lnTo>
                  <a:pt x="965344" y="1092243"/>
                </a:lnTo>
                <a:lnTo>
                  <a:pt x="992230" y="1081611"/>
                </a:lnTo>
                <a:lnTo>
                  <a:pt x="1008343" y="1076179"/>
                </a:lnTo>
                <a:lnTo>
                  <a:pt x="1051342" y="1081611"/>
                </a:lnTo>
                <a:lnTo>
                  <a:pt x="1065706" y="1099409"/>
                </a:lnTo>
                <a:cubicBezTo>
                  <a:pt x="1068100" y="1108308"/>
                  <a:pt x="1070401" y="1117322"/>
                  <a:pt x="1072795" y="1126221"/>
                </a:cubicBezTo>
                <a:lnTo>
                  <a:pt x="1103272" y="1138702"/>
                </a:lnTo>
                <a:lnTo>
                  <a:pt x="1121227" y="1129804"/>
                </a:lnTo>
                <a:lnTo>
                  <a:pt x="1169566" y="1136969"/>
                </a:lnTo>
                <a:lnTo>
                  <a:pt x="1201792" y="1140552"/>
                </a:lnTo>
                <a:lnTo>
                  <a:pt x="1228678" y="1153033"/>
                </a:lnTo>
                <a:lnTo>
                  <a:pt x="1255564" y="1145868"/>
                </a:lnTo>
                <a:lnTo>
                  <a:pt x="1298563" y="1126221"/>
                </a:lnTo>
                <a:lnTo>
                  <a:pt x="1318267" y="1113739"/>
                </a:lnTo>
                <a:lnTo>
                  <a:pt x="1339720" y="1113739"/>
                </a:lnTo>
                <a:lnTo>
                  <a:pt x="1366606" y="1099409"/>
                </a:lnTo>
                <a:lnTo>
                  <a:pt x="1388152" y="1104725"/>
                </a:lnTo>
                <a:lnTo>
                  <a:pt x="1404265" y="1127954"/>
                </a:lnTo>
                <a:lnTo>
                  <a:pt x="1431059" y="1147601"/>
                </a:lnTo>
                <a:cubicBezTo>
                  <a:pt x="1429309" y="1159505"/>
                  <a:pt x="1427467" y="1171524"/>
                  <a:pt x="1425718" y="1183428"/>
                </a:cubicBezTo>
                <a:lnTo>
                  <a:pt x="1398832" y="1208391"/>
                </a:lnTo>
                <a:lnTo>
                  <a:pt x="1371946" y="1226189"/>
                </a:lnTo>
                <a:lnTo>
                  <a:pt x="1334380" y="1244102"/>
                </a:lnTo>
                <a:lnTo>
                  <a:pt x="1296721" y="1253001"/>
                </a:lnTo>
                <a:lnTo>
                  <a:pt x="1268086" y="1262016"/>
                </a:lnTo>
                <a:cubicBezTo>
                  <a:pt x="1265140" y="1269759"/>
                  <a:pt x="1262101" y="1277386"/>
                  <a:pt x="1259155" y="1285130"/>
                </a:cubicBezTo>
                <a:cubicBezTo>
                  <a:pt x="1258510" y="1290562"/>
                  <a:pt x="1257958" y="1295878"/>
                  <a:pt x="1257313" y="1301310"/>
                </a:cubicBezTo>
                <a:cubicBezTo>
                  <a:pt x="1259707" y="1308475"/>
                  <a:pt x="1262101" y="1315525"/>
                  <a:pt x="1264495" y="1322690"/>
                </a:cubicBezTo>
                <a:cubicBezTo>
                  <a:pt x="1262746" y="1327428"/>
                  <a:pt x="1260904" y="1332282"/>
                  <a:pt x="1259155" y="1337021"/>
                </a:cubicBezTo>
                <a:lnTo>
                  <a:pt x="1244791" y="1340603"/>
                </a:lnTo>
                <a:lnTo>
                  <a:pt x="1228678" y="1344186"/>
                </a:lnTo>
                <a:lnTo>
                  <a:pt x="1228678" y="1358401"/>
                </a:lnTo>
                <a:lnTo>
                  <a:pt x="1212565" y="1360250"/>
                </a:lnTo>
                <a:lnTo>
                  <a:pt x="1198201" y="1347653"/>
                </a:lnTo>
                <a:cubicBezTo>
                  <a:pt x="1195807" y="1344070"/>
                  <a:pt x="1193413" y="1340603"/>
                  <a:pt x="1191019" y="1337021"/>
                </a:cubicBezTo>
                <a:lnTo>
                  <a:pt x="1174906" y="1331589"/>
                </a:lnTo>
                <a:lnTo>
                  <a:pt x="1164226" y="1319107"/>
                </a:lnTo>
                <a:lnTo>
                  <a:pt x="1137340" y="1310208"/>
                </a:lnTo>
                <a:lnTo>
                  <a:pt x="1115794" y="1317374"/>
                </a:lnTo>
                <a:lnTo>
                  <a:pt x="1089001" y="1326273"/>
                </a:lnTo>
                <a:lnTo>
                  <a:pt x="1071046" y="1329855"/>
                </a:lnTo>
                <a:lnTo>
                  <a:pt x="1049593" y="1338754"/>
                </a:lnTo>
                <a:lnTo>
                  <a:pt x="1029889" y="1345920"/>
                </a:lnTo>
                <a:lnTo>
                  <a:pt x="1004752" y="1356668"/>
                </a:lnTo>
                <a:lnTo>
                  <a:pt x="931276" y="1406594"/>
                </a:lnTo>
                <a:lnTo>
                  <a:pt x="911572" y="1426356"/>
                </a:lnTo>
                <a:cubicBezTo>
                  <a:pt x="906232" y="1433522"/>
                  <a:pt x="900800" y="1440571"/>
                  <a:pt x="895459" y="1447737"/>
                </a:cubicBezTo>
                <a:cubicBezTo>
                  <a:pt x="893710" y="1455480"/>
                  <a:pt x="891868" y="1463223"/>
                  <a:pt x="890119" y="1470966"/>
                </a:cubicBezTo>
                <a:lnTo>
                  <a:pt x="829257" y="1549554"/>
                </a:lnTo>
                <a:lnTo>
                  <a:pt x="829257" y="1572784"/>
                </a:lnTo>
                <a:cubicBezTo>
                  <a:pt x="826219" y="1576944"/>
                  <a:pt x="823273" y="1581104"/>
                  <a:pt x="820234" y="1585265"/>
                </a:cubicBezTo>
                <a:lnTo>
                  <a:pt x="798781" y="1587114"/>
                </a:lnTo>
                <a:lnTo>
                  <a:pt x="782668" y="1603178"/>
                </a:lnTo>
                <a:lnTo>
                  <a:pt x="759373" y="1613811"/>
                </a:lnTo>
                <a:lnTo>
                  <a:pt x="743260" y="1635307"/>
                </a:lnTo>
                <a:cubicBezTo>
                  <a:pt x="739024" y="1643050"/>
                  <a:pt x="734881" y="1650793"/>
                  <a:pt x="730645" y="1658536"/>
                </a:cubicBezTo>
                <a:lnTo>
                  <a:pt x="714532" y="1672752"/>
                </a:lnTo>
                <a:lnTo>
                  <a:pt x="702010" y="1687082"/>
                </a:lnTo>
                <a:cubicBezTo>
                  <a:pt x="701458" y="1692398"/>
                  <a:pt x="700813" y="1697830"/>
                  <a:pt x="700261" y="1703146"/>
                </a:cubicBezTo>
                <a:cubicBezTo>
                  <a:pt x="702655" y="1707885"/>
                  <a:pt x="705049" y="1712739"/>
                  <a:pt x="707443" y="1717477"/>
                </a:cubicBezTo>
                <a:lnTo>
                  <a:pt x="693079" y="1728225"/>
                </a:lnTo>
                <a:lnTo>
                  <a:pt x="684148" y="1726376"/>
                </a:lnTo>
                <a:lnTo>
                  <a:pt x="666193" y="1724642"/>
                </a:lnTo>
                <a:cubicBezTo>
                  <a:pt x="664996" y="1730536"/>
                  <a:pt x="663799" y="1736546"/>
                  <a:pt x="662602" y="1742440"/>
                </a:cubicBezTo>
                <a:cubicBezTo>
                  <a:pt x="664996" y="1745445"/>
                  <a:pt x="667390" y="1748334"/>
                  <a:pt x="669784" y="1751339"/>
                </a:cubicBezTo>
                <a:lnTo>
                  <a:pt x="650080" y="1812129"/>
                </a:lnTo>
                <a:lnTo>
                  <a:pt x="647775" y="1808723"/>
                </a:lnTo>
                <a:cubicBezTo>
                  <a:pt x="647750" y="1809268"/>
                  <a:pt x="647725" y="1809812"/>
                  <a:pt x="647700" y="1810357"/>
                </a:cubicBezTo>
                <a:lnTo>
                  <a:pt x="633462" y="1808584"/>
                </a:lnTo>
                <a:lnTo>
                  <a:pt x="620956" y="1801405"/>
                </a:lnTo>
                <a:lnTo>
                  <a:pt x="606718" y="1788906"/>
                </a:lnTo>
                <a:lnTo>
                  <a:pt x="588888" y="1788906"/>
                </a:lnTo>
                <a:lnTo>
                  <a:pt x="563939" y="1788906"/>
                </a:lnTo>
                <a:lnTo>
                  <a:pt x="553293" y="1803179"/>
                </a:lnTo>
                <a:lnTo>
                  <a:pt x="553293" y="1822857"/>
                </a:lnTo>
                <a:cubicBezTo>
                  <a:pt x="552716" y="1828262"/>
                  <a:pt x="552075" y="1833583"/>
                  <a:pt x="551497" y="1838988"/>
                </a:cubicBezTo>
                <a:cubicBezTo>
                  <a:pt x="553293" y="1843126"/>
                  <a:pt x="555025" y="1847349"/>
                  <a:pt x="556821" y="1851487"/>
                </a:cubicBezTo>
                <a:lnTo>
                  <a:pt x="549701" y="1862213"/>
                </a:lnTo>
                <a:lnTo>
                  <a:pt x="524753" y="1856892"/>
                </a:lnTo>
                <a:lnTo>
                  <a:pt x="508719" y="1871165"/>
                </a:lnTo>
                <a:cubicBezTo>
                  <a:pt x="506923" y="1880117"/>
                  <a:pt x="505192" y="1889070"/>
                  <a:pt x="503396" y="1898022"/>
                </a:cubicBezTo>
                <a:lnTo>
                  <a:pt x="482039" y="1914153"/>
                </a:lnTo>
                <a:lnTo>
                  <a:pt x="457090" y="1917700"/>
                </a:lnTo>
                <a:lnTo>
                  <a:pt x="432142" y="1915926"/>
                </a:lnTo>
                <a:lnTo>
                  <a:pt x="414312" y="1905201"/>
                </a:lnTo>
                <a:lnTo>
                  <a:pt x="376921" y="1892617"/>
                </a:lnTo>
                <a:lnTo>
                  <a:pt x="351973" y="1885523"/>
                </a:lnTo>
                <a:lnTo>
                  <a:pt x="351973" y="1846166"/>
                </a:lnTo>
                <a:cubicBezTo>
                  <a:pt x="349022" y="1838397"/>
                  <a:pt x="346008" y="1830627"/>
                  <a:pt x="343058" y="1822857"/>
                </a:cubicBezTo>
                <a:cubicBezTo>
                  <a:pt x="340108" y="1816269"/>
                  <a:pt x="337093" y="1809766"/>
                  <a:pt x="334143" y="1803179"/>
                </a:cubicBezTo>
                <a:lnTo>
                  <a:pt x="319905" y="1792453"/>
                </a:lnTo>
                <a:lnTo>
                  <a:pt x="293161" y="1783501"/>
                </a:lnTo>
                <a:lnTo>
                  <a:pt x="278923" y="1787048"/>
                </a:lnTo>
                <a:lnTo>
                  <a:pt x="264685" y="1790679"/>
                </a:lnTo>
                <a:lnTo>
                  <a:pt x="245059" y="1790679"/>
                </a:lnTo>
                <a:lnTo>
                  <a:pt x="232617" y="1781727"/>
                </a:lnTo>
                <a:lnTo>
                  <a:pt x="221906" y="1776322"/>
                </a:lnTo>
                <a:lnTo>
                  <a:pt x="207668" y="1774548"/>
                </a:lnTo>
                <a:lnTo>
                  <a:pt x="198754" y="1779954"/>
                </a:lnTo>
                <a:lnTo>
                  <a:pt x="198754" y="1794226"/>
                </a:lnTo>
                <a:lnTo>
                  <a:pt x="189839" y="1801405"/>
                </a:lnTo>
                <a:lnTo>
                  <a:pt x="175601" y="1801405"/>
                </a:lnTo>
                <a:lnTo>
                  <a:pt x="161363" y="1790679"/>
                </a:lnTo>
                <a:lnTo>
                  <a:pt x="145329" y="1787048"/>
                </a:lnTo>
                <a:cubicBezTo>
                  <a:pt x="144110" y="1782910"/>
                  <a:pt x="142956" y="1778687"/>
                  <a:pt x="141737" y="1774548"/>
                </a:cubicBezTo>
                <a:cubicBezTo>
                  <a:pt x="143533" y="1767961"/>
                  <a:pt x="145265" y="1761458"/>
                  <a:pt x="147061" y="1754870"/>
                </a:cubicBezTo>
                <a:lnTo>
                  <a:pt x="161363" y="1754870"/>
                </a:lnTo>
                <a:cubicBezTo>
                  <a:pt x="160144" y="1751323"/>
                  <a:pt x="158990" y="1747692"/>
                  <a:pt x="157771" y="1744145"/>
                </a:cubicBezTo>
                <a:lnTo>
                  <a:pt x="148856" y="1738739"/>
                </a:lnTo>
                <a:cubicBezTo>
                  <a:pt x="147702" y="1732743"/>
                  <a:pt x="146483" y="1726831"/>
                  <a:pt x="145329" y="1720835"/>
                </a:cubicBezTo>
                <a:cubicBezTo>
                  <a:pt x="147125" y="1714247"/>
                  <a:pt x="148856" y="1707744"/>
                  <a:pt x="150652" y="1701157"/>
                </a:cubicBezTo>
                <a:cubicBezTo>
                  <a:pt x="150075" y="1693978"/>
                  <a:pt x="149434" y="1686884"/>
                  <a:pt x="148856" y="1679705"/>
                </a:cubicBezTo>
                <a:lnTo>
                  <a:pt x="129295" y="1668979"/>
                </a:lnTo>
                <a:lnTo>
                  <a:pt x="114993" y="1667206"/>
                </a:lnTo>
                <a:cubicBezTo>
                  <a:pt x="113197" y="1672611"/>
                  <a:pt x="111466" y="1677932"/>
                  <a:pt x="109670" y="1683337"/>
                </a:cubicBezTo>
                <a:cubicBezTo>
                  <a:pt x="107874" y="1687475"/>
                  <a:pt x="106142" y="1691698"/>
                  <a:pt x="104347" y="1695836"/>
                </a:cubicBezTo>
                <a:lnTo>
                  <a:pt x="104347" y="1717288"/>
                </a:lnTo>
                <a:cubicBezTo>
                  <a:pt x="103128" y="1720835"/>
                  <a:pt x="101974" y="1724466"/>
                  <a:pt x="100755" y="1728014"/>
                </a:cubicBezTo>
                <a:lnTo>
                  <a:pt x="90109" y="1731645"/>
                </a:lnTo>
                <a:lnTo>
                  <a:pt x="79398" y="1728014"/>
                </a:lnTo>
                <a:cubicBezTo>
                  <a:pt x="78821" y="1719061"/>
                  <a:pt x="78179" y="1710109"/>
                  <a:pt x="77602" y="1701157"/>
                </a:cubicBezTo>
                <a:lnTo>
                  <a:pt x="90109" y="1676158"/>
                </a:lnTo>
                <a:lnTo>
                  <a:pt x="97228" y="1656480"/>
                </a:lnTo>
                <a:lnTo>
                  <a:pt x="97228" y="1642123"/>
                </a:lnTo>
                <a:lnTo>
                  <a:pt x="104347" y="1631397"/>
                </a:lnTo>
                <a:lnTo>
                  <a:pt x="113261" y="1624218"/>
                </a:lnTo>
                <a:lnTo>
                  <a:pt x="129295" y="1624218"/>
                </a:lnTo>
                <a:lnTo>
                  <a:pt x="145329" y="1618897"/>
                </a:lnTo>
                <a:lnTo>
                  <a:pt x="145329" y="1599219"/>
                </a:lnTo>
                <a:lnTo>
                  <a:pt x="166686" y="1574136"/>
                </a:lnTo>
                <a:cubicBezTo>
                  <a:pt x="167263" y="1568816"/>
                  <a:pt x="167905" y="1563410"/>
                  <a:pt x="168482" y="1558090"/>
                </a:cubicBezTo>
                <a:lnTo>
                  <a:pt x="157771" y="1550911"/>
                </a:lnTo>
                <a:lnTo>
                  <a:pt x="139942" y="1540185"/>
                </a:lnTo>
                <a:lnTo>
                  <a:pt x="139942" y="1525828"/>
                </a:lnTo>
                <a:lnTo>
                  <a:pt x="129295" y="1518649"/>
                </a:lnTo>
                <a:lnTo>
                  <a:pt x="111466" y="1518649"/>
                </a:lnTo>
                <a:lnTo>
                  <a:pt x="97228" y="1515102"/>
                </a:lnTo>
                <a:cubicBezTo>
                  <a:pt x="95432" y="1508514"/>
                  <a:pt x="93636" y="1502011"/>
                  <a:pt x="91840" y="1495424"/>
                </a:cubicBezTo>
                <a:cubicBezTo>
                  <a:pt x="93636" y="1490019"/>
                  <a:pt x="95432" y="1484698"/>
                  <a:pt x="97228" y="1479293"/>
                </a:cubicBezTo>
                <a:lnTo>
                  <a:pt x="129295" y="1477519"/>
                </a:lnTo>
                <a:lnTo>
                  <a:pt x="155975" y="1477519"/>
                </a:lnTo>
                <a:lnTo>
                  <a:pt x="170278" y="1463246"/>
                </a:lnTo>
                <a:lnTo>
                  <a:pt x="195162" y="1459615"/>
                </a:lnTo>
                <a:cubicBezTo>
                  <a:pt x="198754" y="1454885"/>
                  <a:pt x="202281" y="1450072"/>
                  <a:pt x="205873" y="1445342"/>
                </a:cubicBezTo>
                <a:lnTo>
                  <a:pt x="220111" y="1430985"/>
                </a:lnTo>
                <a:lnTo>
                  <a:pt x="227230" y="1414938"/>
                </a:lnTo>
                <a:lnTo>
                  <a:pt x="218379" y="1409533"/>
                </a:lnTo>
                <a:lnTo>
                  <a:pt x="204077" y="1414938"/>
                </a:lnTo>
                <a:cubicBezTo>
                  <a:pt x="202922" y="1419076"/>
                  <a:pt x="201704" y="1423299"/>
                  <a:pt x="200549" y="1427438"/>
                </a:cubicBezTo>
                <a:lnTo>
                  <a:pt x="193430" y="1432758"/>
                </a:lnTo>
                <a:cubicBezTo>
                  <a:pt x="191635" y="1428029"/>
                  <a:pt x="189839" y="1423215"/>
                  <a:pt x="188043" y="1418485"/>
                </a:cubicBezTo>
                <a:cubicBezTo>
                  <a:pt x="189839" y="1414938"/>
                  <a:pt x="191635" y="1411307"/>
                  <a:pt x="193430" y="1407759"/>
                </a:cubicBezTo>
                <a:lnTo>
                  <a:pt x="193430" y="1393402"/>
                </a:lnTo>
                <a:lnTo>
                  <a:pt x="204077" y="1391628"/>
                </a:lnTo>
                <a:lnTo>
                  <a:pt x="214787" y="1386308"/>
                </a:lnTo>
                <a:lnTo>
                  <a:pt x="214787" y="1373724"/>
                </a:lnTo>
                <a:lnTo>
                  <a:pt x="202345" y="1370177"/>
                </a:lnTo>
                <a:lnTo>
                  <a:pt x="184516" y="1346952"/>
                </a:lnTo>
                <a:lnTo>
                  <a:pt x="177397" y="1336141"/>
                </a:lnTo>
                <a:lnTo>
                  <a:pt x="155975" y="1337999"/>
                </a:lnTo>
                <a:lnTo>
                  <a:pt x="145329" y="1350499"/>
                </a:lnTo>
                <a:lnTo>
                  <a:pt x="129295" y="1352272"/>
                </a:lnTo>
                <a:lnTo>
                  <a:pt x="118585" y="1352272"/>
                </a:lnTo>
                <a:cubicBezTo>
                  <a:pt x="114993" y="1355820"/>
                  <a:pt x="111466" y="1359451"/>
                  <a:pt x="107874" y="1362998"/>
                </a:cubicBezTo>
                <a:cubicBezTo>
                  <a:pt x="104924" y="1367812"/>
                  <a:pt x="101909" y="1372542"/>
                  <a:pt x="98959" y="1377356"/>
                </a:cubicBezTo>
                <a:lnTo>
                  <a:pt x="70483" y="1382676"/>
                </a:lnTo>
                <a:lnTo>
                  <a:pt x="52654" y="1382676"/>
                </a:lnTo>
                <a:lnTo>
                  <a:pt x="36620" y="1362998"/>
                </a:lnTo>
                <a:lnTo>
                  <a:pt x="20586" y="1361225"/>
                </a:lnTo>
                <a:lnTo>
                  <a:pt x="6348" y="1357678"/>
                </a:lnTo>
                <a:cubicBezTo>
                  <a:pt x="6925" y="1349316"/>
                  <a:pt x="7567" y="1340955"/>
                  <a:pt x="8144" y="1332594"/>
                </a:cubicBezTo>
                <a:cubicBezTo>
                  <a:pt x="11671" y="1324233"/>
                  <a:pt x="15263" y="1315872"/>
                  <a:pt x="18790" y="1307511"/>
                </a:cubicBezTo>
                <a:lnTo>
                  <a:pt x="27705" y="1298559"/>
                </a:lnTo>
                <a:lnTo>
                  <a:pt x="45535" y="1293238"/>
                </a:lnTo>
                <a:lnTo>
                  <a:pt x="59773" y="1282512"/>
                </a:lnTo>
                <a:cubicBezTo>
                  <a:pt x="61568" y="1278965"/>
                  <a:pt x="63364" y="1275334"/>
                  <a:pt x="65160" y="1271787"/>
                </a:cubicBezTo>
                <a:cubicBezTo>
                  <a:pt x="63364" y="1268831"/>
                  <a:pt x="61568" y="1265790"/>
                  <a:pt x="59773" y="1262834"/>
                </a:cubicBezTo>
                <a:cubicBezTo>
                  <a:pt x="56822" y="1256838"/>
                  <a:pt x="53808" y="1250926"/>
                  <a:pt x="50858" y="1244930"/>
                </a:cubicBezTo>
                <a:lnTo>
                  <a:pt x="34824" y="1244930"/>
                </a:lnTo>
                <a:lnTo>
                  <a:pt x="27705" y="1248477"/>
                </a:lnTo>
                <a:cubicBezTo>
                  <a:pt x="26551" y="1244930"/>
                  <a:pt x="25332" y="1241298"/>
                  <a:pt x="24178" y="1237751"/>
                </a:cubicBezTo>
                <a:lnTo>
                  <a:pt x="42007" y="1212752"/>
                </a:lnTo>
                <a:lnTo>
                  <a:pt x="50858" y="1201942"/>
                </a:lnTo>
                <a:lnTo>
                  <a:pt x="66892" y="1219847"/>
                </a:lnTo>
                <a:lnTo>
                  <a:pt x="81194" y="1227025"/>
                </a:lnTo>
                <a:cubicBezTo>
                  <a:pt x="82990" y="1223478"/>
                  <a:pt x="84721" y="1219847"/>
                  <a:pt x="86517" y="1216300"/>
                </a:cubicBezTo>
                <a:lnTo>
                  <a:pt x="86517" y="1198395"/>
                </a:lnTo>
                <a:lnTo>
                  <a:pt x="93636" y="1191216"/>
                </a:lnTo>
                <a:lnTo>
                  <a:pt x="107874" y="1191216"/>
                </a:lnTo>
                <a:lnTo>
                  <a:pt x="116789" y="1191216"/>
                </a:lnTo>
                <a:lnTo>
                  <a:pt x="116789" y="1178717"/>
                </a:lnTo>
                <a:lnTo>
                  <a:pt x="107874" y="1175170"/>
                </a:lnTo>
                <a:lnTo>
                  <a:pt x="97228" y="1169765"/>
                </a:lnTo>
                <a:lnTo>
                  <a:pt x="84721" y="1164444"/>
                </a:lnTo>
                <a:lnTo>
                  <a:pt x="65160" y="1164444"/>
                </a:lnTo>
                <a:lnTo>
                  <a:pt x="45535" y="1164444"/>
                </a:lnTo>
                <a:lnTo>
                  <a:pt x="58041" y="1119683"/>
                </a:lnTo>
                <a:cubicBezTo>
                  <a:pt x="59837" y="1111322"/>
                  <a:pt x="61568" y="1102961"/>
                  <a:pt x="63364" y="1094600"/>
                </a:cubicBezTo>
                <a:cubicBezTo>
                  <a:pt x="65737" y="1087421"/>
                  <a:pt x="60991" y="1080327"/>
                  <a:pt x="63364" y="1073148"/>
                </a:cubicBezTo>
                <a:lnTo>
                  <a:pt x="65338" y="1072204"/>
                </a:lnTo>
                <a:lnTo>
                  <a:pt x="79038" y="1035203"/>
                </a:lnTo>
                <a:lnTo>
                  <a:pt x="82546" y="991786"/>
                </a:lnTo>
                <a:lnTo>
                  <a:pt x="82546" y="971925"/>
                </a:lnTo>
                <a:lnTo>
                  <a:pt x="63238" y="966504"/>
                </a:lnTo>
                <a:lnTo>
                  <a:pt x="47423" y="961035"/>
                </a:lnTo>
                <a:lnTo>
                  <a:pt x="42156" y="941222"/>
                </a:lnTo>
                <a:lnTo>
                  <a:pt x="54447" y="919538"/>
                </a:lnTo>
                <a:lnTo>
                  <a:pt x="54447" y="892336"/>
                </a:lnTo>
                <a:lnTo>
                  <a:pt x="38640" y="874298"/>
                </a:lnTo>
                <a:lnTo>
                  <a:pt x="21074" y="870652"/>
                </a:lnTo>
                <a:lnTo>
                  <a:pt x="5266" y="863408"/>
                </a:lnTo>
                <a:lnTo>
                  <a:pt x="0" y="830834"/>
                </a:lnTo>
                <a:lnTo>
                  <a:pt x="10541" y="805648"/>
                </a:lnTo>
                <a:lnTo>
                  <a:pt x="24590" y="785691"/>
                </a:lnTo>
                <a:lnTo>
                  <a:pt x="24590" y="754987"/>
                </a:lnTo>
                <a:lnTo>
                  <a:pt x="24590" y="726107"/>
                </a:lnTo>
                <a:lnTo>
                  <a:pt x="12291" y="711667"/>
                </a:lnTo>
                <a:lnTo>
                  <a:pt x="5266" y="691758"/>
                </a:lnTo>
                <a:lnTo>
                  <a:pt x="5266" y="668251"/>
                </a:lnTo>
                <a:lnTo>
                  <a:pt x="17566" y="653763"/>
                </a:lnTo>
                <a:lnTo>
                  <a:pt x="42156" y="619413"/>
                </a:lnTo>
                <a:lnTo>
                  <a:pt x="57886" y="595593"/>
                </a:lnTo>
                <a:lnTo>
                  <a:pt x="57148" y="590548"/>
                </a:lnTo>
                <a:lnTo>
                  <a:pt x="73114" y="568888"/>
                </a:lnTo>
                <a:lnTo>
                  <a:pt x="87367" y="549057"/>
                </a:lnTo>
                <a:lnTo>
                  <a:pt x="99797" y="518425"/>
                </a:lnTo>
                <a:lnTo>
                  <a:pt x="115763" y="489564"/>
                </a:lnTo>
                <a:lnTo>
                  <a:pt x="126425" y="476991"/>
                </a:lnTo>
                <a:lnTo>
                  <a:pt x="142391" y="464361"/>
                </a:lnTo>
                <a:lnTo>
                  <a:pt x="160180" y="444530"/>
                </a:lnTo>
                <a:lnTo>
                  <a:pt x="185041" y="426470"/>
                </a:lnTo>
                <a:lnTo>
                  <a:pt x="213492" y="422870"/>
                </a:lnTo>
                <a:lnTo>
                  <a:pt x="250782" y="412069"/>
                </a:lnTo>
                <a:lnTo>
                  <a:pt x="279178" y="376007"/>
                </a:lnTo>
                <a:cubicBezTo>
                  <a:pt x="278018" y="366406"/>
                  <a:pt x="276803" y="356747"/>
                  <a:pt x="275643" y="347146"/>
                </a:cubicBezTo>
                <a:cubicBezTo>
                  <a:pt x="279178" y="338117"/>
                  <a:pt x="282769" y="329144"/>
                  <a:pt x="286305" y="320114"/>
                </a:cubicBezTo>
                <a:cubicBezTo>
                  <a:pt x="282769" y="306913"/>
                  <a:pt x="279178" y="293654"/>
                  <a:pt x="275643" y="280452"/>
                </a:cubicBezTo>
                <a:lnTo>
                  <a:pt x="249015" y="269651"/>
                </a:lnTo>
                <a:cubicBezTo>
                  <a:pt x="250782" y="263021"/>
                  <a:pt x="252550" y="256449"/>
                  <a:pt x="254318" y="249820"/>
                </a:cubicBezTo>
                <a:lnTo>
                  <a:pt x="275643" y="242619"/>
                </a:lnTo>
                <a:lnTo>
                  <a:pt x="291609" y="242619"/>
                </a:lnTo>
                <a:lnTo>
                  <a:pt x="318292" y="253420"/>
                </a:lnTo>
                <a:lnTo>
                  <a:pt x="341384" y="262450"/>
                </a:lnTo>
                <a:lnTo>
                  <a:pt x="360886" y="264222"/>
                </a:lnTo>
                <a:lnTo>
                  <a:pt x="396409" y="255192"/>
                </a:lnTo>
                <a:lnTo>
                  <a:pt x="426628" y="255192"/>
                </a:lnTo>
                <a:lnTo>
                  <a:pt x="463918" y="264222"/>
                </a:lnTo>
                <a:lnTo>
                  <a:pt x="483475" y="247991"/>
                </a:lnTo>
                <a:lnTo>
                  <a:pt x="506568" y="233589"/>
                </a:lnTo>
                <a:lnTo>
                  <a:pt x="531428" y="235361"/>
                </a:lnTo>
                <a:lnTo>
                  <a:pt x="574077" y="229989"/>
                </a:lnTo>
                <a:lnTo>
                  <a:pt x="597170" y="211929"/>
                </a:lnTo>
                <a:cubicBezTo>
                  <a:pt x="596562" y="203528"/>
                  <a:pt x="596010" y="195127"/>
                  <a:pt x="595402" y="186726"/>
                </a:cubicBezTo>
                <a:cubicBezTo>
                  <a:pt x="594794" y="178325"/>
                  <a:pt x="594242" y="169867"/>
                  <a:pt x="593634" y="161466"/>
                </a:cubicBezTo>
                <a:lnTo>
                  <a:pt x="566951" y="134434"/>
                </a:lnTo>
                <a:cubicBezTo>
                  <a:pt x="562199" y="121232"/>
                  <a:pt x="557504" y="107973"/>
                  <a:pt x="552753" y="94772"/>
                </a:cubicBezTo>
                <a:lnTo>
                  <a:pt x="581204" y="47909"/>
                </a:lnTo>
                <a:lnTo>
                  <a:pt x="609600" y="19048"/>
                </a:lnTo>
                <a:lnTo>
                  <a:pt x="611051" y="27167"/>
                </a:lnTo>
                <a:lnTo>
                  <a:pt x="627239" y="67132"/>
                </a:lnTo>
                <a:lnTo>
                  <a:pt x="658985" y="76200"/>
                </a:lnTo>
                <a:lnTo>
                  <a:pt x="704847" y="61684"/>
                </a:lnTo>
                <a:close/>
              </a:path>
            </a:pathLst>
          </a:custGeom>
          <a:solidFill>
            <a:srgbClr val="70B0DF"/>
          </a:solidFill>
          <a:ln w="3175" cap="flat" cmpd="sng">
            <a:noFill/>
            <a:prstDash val="solid"/>
            <a:round/>
            <a:headEnd type="none" w="med" len="med"/>
            <a:tailEnd type="none" w="med" len="med"/>
          </a:ln>
        </p:spPr>
        <p:txBody>
          <a:bodyPr wrap="none" lIns="32632" tIns="32632" rIns="32632" bIns="32632" anchor="ctr"/>
          <a:lstStyle/>
          <a:p>
            <a:pPr defTabSz="891045"/>
            <a:endParaRPr lang="en-US" sz="1700" dirty="0">
              <a:solidFill>
                <a:srgbClr val="003149"/>
              </a:solidFill>
              <a:cs typeface="Arial" panose="020B0604020202020204" pitchFamily="34" charset="0"/>
            </a:endParaRPr>
          </a:p>
        </p:txBody>
      </p:sp>
      <p:sp>
        <p:nvSpPr>
          <p:cNvPr id="42" name="Freeform 686"/>
          <p:cNvSpPr>
            <a:spLocks noChangeAspect="1"/>
          </p:cNvSpPr>
          <p:nvPr>
            <p:custDataLst>
              <p:tags r:id="rId23"/>
            </p:custDataLst>
          </p:nvPr>
        </p:nvSpPr>
        <p:spPr bwMode="gray">
          <a:xfrm>
            <a:off x="2950234" y="3416062"/>
            <a:ext cx="342623" cy="431885"/>
          </a:xfrm>
          <a:custGeom>
            <a:avLst/>
            <a:gdLst>
              <a:gd name="T0" fmla="*/ 0 w 1980032"/>
              <a:gd name="T1" fmla="*/ 0 h 2215566"/>
              <a:gd name="T2" fmla="*/ 0 w 1980032"/>
              <a:gd name="T3" fmla="*/ 0 h 2215566"/>
              <a:gd name="T4" fmla="*/ 0 w 1980032"/>
              <a:gd name="T5" fmla="*/ 0 h 2215566"/>
              <a:gd name="T6" fmla="*/ 0 w 1980032"/>
              <a:gd name="T7" fmla="*/ 0 h 2215566"/>
              <a:gd name="T8" fmla="*/ 0 w 1980032"/>
              <a:gd name="T9" fmla="*/ 0 h 2215566"/>
              <a:gd name="T10" fmla="*/ 0 w 1980032"/>
              <a:gd name="T11" fmla="*/ 0 h 2215566"/>
              <a:gd name="T12" fmla="*/ 0 w 1980032"/>
              <a:gd name="T13" fmla="*/ 0 h 2215566"/>
              <a:gd name="T14" fmla="*/ 0 w 1980032"/>
              <a:gd name="T15" fmla="*/ 0 h 2215566"/>
              <a:gd name="T16" fmla="*/ 0 w 1980032"/>
              <a:gd name="T17" fmla="*/ 0 h 2215566"/>
              <a:gd name="T18" fmla="*/ 0 w 1980032"/>
              <a:gd name="T19" fmla="*/ 0 h 2215566"/>
              <a:gd name="T20" fmla="*/ 0 w 1980032"/>
              <a:gd name="T21" fmla="*/ 0 h 2215566"/>
              <a:gd name="T22" fmla="*/ 0 w 1980032"/>
              <a:gd name="T23" fmla="*/ 0 h 2215566"/>
              <a:gd name="T24" fmla="*/ 0 w 1980032"/>
              <a:gd name="T25" fmla="*/ 0 h 2215566"/>
              <a:gd name="T26" fmla="*/ 0 w 1980032"/>
              <a:gd name="T27" fmla="*/ 0 h 2215566"/>
              <a:gd name="T28" fmla="*/ 0 w 1980032"/>
              <a:gd name="T29" fmla="*/ 0 h 2215566"/>
              <a:gd name="T30" fmla="*/ 0 w 1980032"/>
              <a:gd name="T31" fmla="*/ 0 h 2215566"/>
              <a:gd name="T32" fmla="*/ 0 w 1980032"/>
              <a:gd name="T33" fmla="*/ 0 h 2215566"/>
              <a:gd name="T34" fmla="*/ 0 w 1980032"/>
              <a:gd name="T35" fmla="*/ 0 h 2215566"/>
              <a:gd name="T36" fmla="*/ 0 w 1980032"/>
              <a:gd name="T37" fmla="*/ 0 h 2215566"/>
              <a:gd name="T38" fmla="*/ 0 w 1980032"/>
              <a:gd name="T39" fmla="*/ 0 h 2215566"/>
              <a:gd name="T40" fmla="*/ 0 w 1980032"/>
              <a:gd name="T41" fmla="*/ 0 h 2215566"/>
              <a:gd name="T42" fmla="*/ 0 w 1980032"/>
              <a:gd name="T43" fmla="*/ 0 h 2215566"/>
              <a:gd name="T44" fmla="*/ 0 w 1980032"/>
              <a:gd name="T45" fmla="*/ 0 h 2215566"/>
              <a:gd name="T46" fmla="*/ 0 w 1980032"/>
              <a:gd name="T47" fmla="*/ 0 h 2215566"/>
              <a:gd name="T48" fmla="*/ 0 w 1980032"/>
              <a:gd name="T49" fmla="*/ 0 h 2215566"/>
              <a:gd name="T50" fmla="*/ 0 w 1980032"/>
              <a:gd name="T51" fmla="*/ 0 h 2215566"/>
              <a:gd name="T52" fmla="*/ 0 w 1980032"/>
              <a:gd name="T53" fmla="*/ 0 h 2215566"/>
              <a:gd name="T54" fmla="*/ 0 w 1980032"/>
              <a:gd name="T55" fmla="*/ 0 h 2215566"/>
              <a:gd name="T56" fmla="*/ 0 w 1980032"/>
              <a:gd name="T57" fmla="*/ 0 h 2215566"/>
              <a:gd name="T58" fmla="*/ 0 w 1980032"/>
              <a:gd name="T59" fmla="*/ 0 h 2215566"/>
              <a:gd name="T60" fmla="*/ 0 w 1980032"/>
              <a:gd name="T61" fmla="*/ 0 h 2215566"/>
              <a:gd name="T62" fmla="*/ 0 w 1980032"/>
              <a:gd name="T63" fmla="*/ 0 h 2215566"/>
              <a:gd name="T64" fmla="*/ 0 w 1980032"/>
              <a:gd name="T65" fmla="*/ 0 h 2215566"/>
              <a:gd name="T66" fmla="*/ 0 w 1980032"/>
              <a:gd name="T67" fmla="*/ 0 h 2215566"/>
              <a:gd name="T68" fmla="*/ 0 w 1980032"/>
              <a:gd name="T69" fmla="*/ 0 h 2215566"/>
              <a:gd name="T70" fmla="*/ 0 w 1980032"/>
              <a:gd name="T71" fmla="*/ 0 h 2215566"/>
              <a:gd name="T72" fmla="*/ 0 w 1980032"/>
              <a:gd name="T73" fmla="*/ 0 h 2215566"/>
              <a:gd name="T74" fmla="*/ 0 w 1980032"/>
              <a:gd name="T75" fmla="*/ 0 h 2215566"/>
              <a:gd name="T76" fmla="*/ 0 w 1980032"/>
              <a:gd name="T77" fmla="*/ 0 h 2215566"/>
              <a:gd name="T78" fmla="*/ 0 w 1980032"/>
              <a:gd name="T79" fmla="*/ 0 h 2215566"/>
              <a:gd name="T80" fmla="*/ 0 w 1980032"/>
              <a:gd name="T81" fmla="*/ 0 h 2215566"/>
              <a:gd name="T82" fmla="*/ 0 w 1980032"/>
              <a:gd name="T83" fmla="*/ 0 h 2215566"/>
              <a:gd name="T84" fmla="*/ 0 w 1980032"/>
              <a:gd name="T85" fmla="*/ 0 h 2215566"/>
              <a:gd name="T86" fmla="*/ 0 w 1980032"/>
              <a:gd name="T87" fmla="*/ 0 h 2215566"/>
              <a:gd name="T88" fmla="*/ 0 w 1980032"/>
              <a:gd name="T89" fmla="*/ 0 h 2215566"/>
              <a:gd name="T90" fmla="*/ 0 w 1980032"/>
              <a:gd name="T91" fmla="*/ 0 h 2215566"/>
              <a:gd name="T92" fmla="*/ 0 w 1980032"/>
              <a:gd name="T93" fmla="*/ 0 h 2215566"/>
              <a:gd name="T94" fmla="*/ 0 w 1980032"/>
              <a:gd name="T95" fmla="*/ 0 h 2215566"/>
              <a:gd name="T96" fmla="*/ 0 w 1980032"/>
              <a:gd name="T97" fmla="*/ 0 h 2215566"/>
              <a:gd name="T98" fmla="*/ 0 w 1980032"/>
              <a:gd name="T99" fmla="*/ 0 h 2215566"/>
              <a:gd name="T100" fmla="*/ 0 w 1980032"/>
              <a:gd name="T101" fmla="*/ 0 h 2215566"/>
              <a:gd name="T102" fmla="*/ 0 w 1980032"/>
              <a:gd name="T103" fmla="*/ 0 h 2215566"/>
              <a:gd name="T104" fmla="*/ 0 w 1980032"/>
              <a:gd name="T105" fmla="*/ 0 h 2215566"/>
              <a:gd name="T106" fmla="*/ 0 w 1980032"/>
              <a:gd name="T107" fmla="*/ 0 h 2215566"/>
              <a:gd name="T108" fmla="*/ 0 w 1980032"/>
              <a:gd name="T109" fmla="*/ 0 h 2215566"/>
              <a:gd name="T110" fmla="*/ 0 w 1980032"/>
              <a:gd name="T111" fmla="*/ 0 h 2215566"/>
              <a:gd name="T112" fmla="*/ 0 w 1980032"/>
              <a:gd name="T113" fmla="*/ 0 h 2215566"/>
              <a:gd name="T114" fmla="*/ 0 w 1980032"/>
              <a:gd name="T115" fmla="*/ 0 h 2215566"/>
              <a:gd name="T116" fmla="*/ 0 w 1980032"/>
              <a:gd name="T117" fmla="*/ 0 h 2215566"/>
              <a:gd name="T118" fmla="*/ 0 w 1980032"/>
              <a:gd name="T119" fmla="*/ 0 h 221556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w 1980032"/>
              <a:gd name="T181" fmla="*/ 0 h 2215566"/>
              <a:gd name="T182" fmla="*/ 1980032 w 1980032"/>
              <a:gd name="T183" fmla="*/ 2215566 h 2215566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T180" t="T181" r="T182" b="T183"/>
            <a:pathLst>
              <a:path w="1980032" h="2215566">
                <a:moveTo>
                  <a:pt x="1003338" y="0"/>
                </a:moveTo>
                <a:lnTo>
                  <a:pt x="1003130" y="1033"/>
                </a:lnTo>
                <a:lnTo>
                  <a:pt x="1003337" y="788"/>
                </a:lnTo>
                <a:cubicBezTo>
                  <a:pt x="1005113" y="7211"/>
                  <a:pt x="1006881" y="25524"/>
                  <a:pt x="1008656" y="31947"/>
                </a:cubicBezTo>
                <a:cubicBezTo>
                  <a:pt x="1009243" y="39526"/>
                  <a:pt x="1009837" y="47127"/>
                  <a:pt x="1010424" y="54705"/>
                </a:cubicBezTo>
                <a:lnTo>
                  <a:pt x="1021062" y="75708"/>
                </a:lnTo>
                <a:lnTo>
                  <a:pt x="1026373" y="89709"/>
                </a:lnTo>
                <a:lnTo>
                  <a:pt x="1042322" y="96710"/>
                </a:lnTo>
                <a:lnTo>
                  <a:pt x="1058270" y="93199"/>
                </a:lnTo>
                <a:lnTo>
                  <a:pt x="1068908" y="101955"/>
                </a:lnTo>
                <a:cubicBezTo>
                  <a:pt x="1069495" y="106622"/>
                  <a:pt x="1070089" y="111289"/>
                  <a:pt x="1070676" y="115957"/>
                </a:cubicBezTo>
                <a:lnTo>
                  <a:pt x="1063589" y="126447"/>
                </a:lnTo>
                <a:lnTo>
                  <a:pt x="1044097" y="131692"/>
                </a:lnTo>
                <a:lnTo>
                  <a:pt x="1033460" y="133448"/>
                </a:lnTo>
                <a:lnTo>
                  <a:pt x="1026373" y="143960"/>
                </a:lnTo>
                <a:lnTo>
                  <a:pt x="1015743" y="161451"/>
                </a:lnTo>
                <a:lnTo>
                  <a:pt x="1006881" y="173697"/>
                </a:lnTo>
                <a:cubicBezTo>
                  <a:pt x="1006294" y="177786"/>
                  <a:pt x="1005700" y="181853"/>
                  <a:pt x="1005113" y="185942"/>
                </a:cubicBezTo>
                <a:lnTo>
                  <a:pt x="1015743" y="191187"/>
                </a:lnTo>
                <a:lnTo>
                  <a:pt x="1028148" y="189454"/>
                </a:lnTo>
                <a:lnTo>
                  <a:pt x="1038778" y="192943"/>
                </a:lnTo>
                <a:lnTo>
                  <a:pt x="1042322" y="212190"/>
                </a:lnTo>
                <a:lnTo>
                  <a:pt x="1031692" y="226191"/>
                </a:lnTo>
                <a:lnTo>
                  <a:pt x="1035235" y="234948"/>
                </a:lnTo>
                <a:lnTo>
                  <a:pt x="1058270" y="234948"/>
                </a:lnTo>
                <a:lnTo>
                  <a:pt x="1079538" y="232081"/>
                </a:lnTo>
                <a:lnTo>
                  <a:pt x="1073985" y="239004"/>
                </a:lnTo>
                <a:lnTo>
                  <a:pt x="1081714" y="237811"/>
                </a:lnTo>
                <a:lnTo>
                  <a:pt x="1064544" y="263813"/>
                </a:lnTo>
                <a:lnTo>
                  <a:pt x="1039954" y="298162"/>
                </a:lnTo>
                <a:lnTo>
                  <a:pt x="1027654" y="312650"/>
                </a:lnTo>
                <a:lnTo>
                  <a:pt x="1027654" y="336157"/>
                </a:lnTo>
                <a:lnTo>
                  <a:pt x="1034679" y="356066"/>
                </a:lnTo>
                <a:lnTo>
                  <a:pt x="1046978" y="370507"/>
                </a:lnTo>
                <a:lnTo>
                  <a:pt x="1046978" y="399387"/>
                </a:lnTo>
                <a:lnTo>
                  <a:pt x="1046978" y="430090"/>
                </a:lnTo>
                <a:lnTo>
                  <a:pt x="1032929" y="450047"/>
                </a:lnTo>
                <a:lnTo>
                  <a:pt x="1022388" y="475233"/>
                </a:lnTo>
                <a:lnTo>
                  <a:pt x="1027654" y="507808"/>
                </a:lnTo>
                <a:lnTo>
                  <a:pt x="1043462" y="515052"/>
                </a:lnTo>
                <a:lnTo>
                  <a:pt x="1061028" y="518698"/>
                </a:lnTo>
                <a:lnTo>
                  <a:pt x="1076835" y="536736"/>
                </a:lnTo>
                <a:lnTo>
                  <a:pt x="1076835" y="563937"/>
                </a:lnTo>
                <a:lnTo>
                  <a:pt x="1064544" y="585621"/>
                </a:lnTo>
                <a:lnTo>
                  <a:pt x="1069811" y="605434"/>
                </a:lnTo>
                <a:lnTo>
                  <a:pt x="1085626" y="610903"/>
                </a:lnTo>
                <a:lnTo>
                  <a:pt x="1104934" y="616324"/>
                </a:lnTo>
                <a:lnTo>
                  <a:pt x="1104934" y="636185"/>
                </a:lnTo>
                <a:lnTo>
                  <a:pt x="1101426" y="679602"/>
                </a:lnTo>
                <a:lnTo>
                  <a:pt x="1087376" y="717549"/>
                </a:lnTo>
                <a:lnTo>
                  <a:pt x="1085754" y="718265"/>
                </a:lnTo>
                <a:cubicBezTo>
                  <a:pt x="1083667" y="725163"/>
                  <a:pt x="1088054" y="732041"/>
                  <a:pt x="1085754" y="738999"/>
                </a:cubicBezTo>
                <a:cubicBezTo>
                  <a:pt x="1083958" y="747360"/>
                  <a:pt x="1082227" y="755721"/>
                  <a:pt x="1080431" y="764082"/>
                </a:cubicBezTo>
                <a:lnTo>
                  <a:pt x="1067925" y="808844"/>
                </a:lnTo>
                <a:lnTo>
                  <a:pt x="1087550" y="808844"/>
                </a:lnTo>
                <a:lnTo>
                  <a:pt x="1107111" y="808844"/>
                </a:lnTo>
                <a:lnTo>
                  <a:pt x="1119617" y="814164"/>
                </a:lnTo>
                <a:lnTo>
                  <a:pt x="1130264" y="819569"/>
                </a:lnTo>
                <a:lnTo>
                  <a:pt x="1139179" y="823117"/>
                </a:lnTo>
                <a:lnTo>
                  <a:pt x="1139179" y="835616"/>
                </a:lnTo>
                <a:lnTo>
                  <a:pt x="1130264" y="835616"/>
                </a:lnTo>
                <a:lnTo>
                  <a:pt x="1116026" y="835616"/>
                </a:lnTo>
                <a:lnTo>
                  <a:pt x="1108907" y="842795"/>
                </a:lnTo>
                <a:lnTo>
                  <a:pt x="1108907" y="860699"/>
                </a:lnTo>
                <a:cubicBezTo>
                  <a:pt x="1107111" y="864246"/>
                  <a:pt x="1105379" y="867878"/>
                  <a:pt x="1103584" y="871425"/>
                </a:cubicBezTo>
                <a:lnTo>
                  <a:pt x="1089282" y="864246"/>
                </a:lnTo>
                <a:lnTo>
                  <a:pt x="1073248" y="846342"/>
                </a:lnTo>
                <a:lnTo>
                  <a:pt x="1064397" y="857152"/>
                </a:lnTo>
                <a:lnTo>
                  <a:pt x="1046567" y="882151"/>
                </a:lnTo>
                <a:cubicBezTo>
                  <a:pt x="1047722" y="885698"/>
                  <a:pt x="1048941" y="889330"/>
                  <a:pt x="1050095" y="892877"/>
                </a:cubicBezTo>
                <a:lnTo>
                  <a:pt x="1057214" y="889330"/>
                </a:lnTo>
                <a:lnTo>
                  <a:pt x="1073248" y="889330"/>
                </a:lnTo>
                <a:cubicBezTo>
                  <a:pt x="1076198" y="895326"/>
                  <a:pt x="1079212" y="901238"/>
                  <a:pt x="1082163" y="907234"/>
                </a:cubicBezTo>
                <a:cubicBezTo>
                  <a:pt x="1083958" y="910190"/>
                  <a:pt x="1085754" y="913230"/>
                  <a:pt x="1087550" y="916186"/>
                </a:cubicBezTo>
                <a:cubicBezTo>
                  <a:pt x="1085754" y="919733"/>
                  <a:pt x="1083958" y="923365"/>
                  <a:pt x="1082163" y="926912"/>
                </a:cubicBezTo>
                <a:lnTo>
                  <a:pt x="1067925" y="937638"/>
                </a:lnTo>
                <a:lnTo>
                  <a:pt x="1050095" y="942959"/>
                </a:lnTo>
                <a:lnTo>
                  <a:pt x="1041180" y="951911"/>
                </a:lnTo>
                <a:cubicBezTo>
                  <a:pt x="1037653" y="960272"/>
                  <a:pt x="1034061" y="968633"/>
                  <a:pt x="1030534" y="976994"/>
                </a:cubicBezTo>
                <a:cubicBezTo>
                  <a:pt x="1029956" y="985355"/>
                  <a:pt x="1029315" y="993716"/>
                  <a:pt x="1028738" y="1002077"/>
                </a:cubicBezTo>
                <a:lnTo>
                  <a:pt x="1042976" y="1005624"/>
                </a:lnTo>
                <a:lnTo>
                  <a:pt x="1059010" y="1007398"/>
                </a:lnTo>
                <a:lnTo>
                  <a:pt x="1075043" y="1027076"/>
                </a:lnTo>
                <a:lnTo>
                  <a:pt x="1092873" y="1027076"/>
                </a:lnTo>
                <a:lnTo>
                  <a:pt x="1121349" y="1021755"/>
                </a:lnTo>
                <a:cubicBezTo>
                  <a:pt x="1124299" y="1016941"/>
                  <a:pt x="1127314" y="1012212"/>
                  <a:pt x="1130264" y="1007398"/>
                </a:cubicBezTo>
                <a:cubicBezTo>
                  <a:pt x="1133855" y="1003851"/>
                  <a:pt x="1137383" y="1000219"/>
                  <a:pt x="1140975" y="996672"/>
                </a:cubicBezTo>
                <a:lnTo>
                  <a:pt x="1151685" y="996672"/>
                </a:lnTo>
                <a:lnTo>
                  <a:pt x="1167719" y="994899"/>
                </a:lnTo>
                <a:lnTo>
                  <a:pt x="1178365" y="982399"/>
                </a:lnTo>
                <a:lnTo>
                  <a:pt x="1199787" y="980541"/>
                </a:lnTo>
                <a:lnTo>
                  <a:pt x="1206905" y="991352"/>
                </a:lnTo>
                <a:lnTo>
                  <a:pt x="1224735" y="1014577"/>
                </a:lnTo>
                <a:lnTo>
                  <a:pt x="1237177" y="1018124"/>
                </a:lnTo>
                <a:lnTo>
                  <a:pt x="1237177" y="1030708"/>
                </a:lnTo>
                <a:lnTo>
                  <a:pt x="1226467" y="1036028"/>
                </a:lnTo>
                <a:lnTo>
                  <a:pt x="1215820" y="1037802"/>
                </a:lnTo>
                <a:lnTo>
                  <a:pt x="1215820" y="1052159"/>
                </a:lnTo>
                <a:cubicBezTo>
                  <a:pt x="1214025" y="1055706"/>
                  <a:pt x="1212229" y="1059338"/>
                  <a:pt x="1210433" y="1062885"/>
                </a:cubicBezTo>
                <a:cubicBezTo>
                  <a:pt x="1212229" y="1067615"/>
                  <a:pt x="1214025" y="1072429"/>
                  <a:pt x="1215820" y="1077158"/>
                </a:cubicBezTo>
                <a:lnTo>
                  <a:pt x="1222939" y="1071837"/>
                </a:lnTo>
                <a:cubicBezTo>
                  <a:pt x="1224094" y="1067699"/>
                  <a:pt x="1225312" y="1063476"/>
                  <a:pt x="1226467" y="1059338"/>
                </a:cubicBezTo>
                <a:lnTo>
                  <a:pt x="1240769" y="1053933"/>
                </a:lnTo>
                <a:lnTo>
                  <a:pt x="1249620" y="1059338"/>
                </a:lnTo>
                <a:lnTo>
                  <a:pt x="1242501" y="1075385"/>
                </a:lnTo>
                <a:lnTo>
                  <a:pt x="1228263" y="1089742"/>
                </a:lnTo>
                <a:cubicBezTo>
                  <a:pt x="1224671" y="1094471"/>
                  <a:pt x="1221144" y="1099285"/>
                  <a:pt x="1217552" y="1104015"/>
                </a:cubicBezTo>
                <a:lnTo>
                  <a:pt x="1192667" y="1107646"/>
                </a:lnTo>
                <a:lnTo>
                  <a:pt x="1178365" y="1121919"/>
                </a:lnTo>
                <a:lnTo>
                  <a:pt x="1151685" y="1121919"/>
                </a:lnTo>
                <a:lnTo>
                  <a:pt x="1119617" y="1123693"/>
                </a:lnTo>
                <a:cubicBezTo>
                  <a:pt x="1117822" y="1129098"/>
                  <a:pt x="1116026" y="1134419"/>
                  <a:pt x="1114230" y="1139824"/>
                </a:cubicBezTo>
                <a:cubicBezTo>
                  <a:pt x="1116026" y="1146411"/>
                  <a:pt x="1117822" y="1152915"/>
                  <a:pt x="1119617" y="1159502"/>
                </a:cubicBezTo>
                <a:lnTo>
                  <a:pt x="1133855" y="1163049"/>
                </a:lnTo>
                <a:lnTo>
                  <a:pt x="1151685" y="1163049"/>
                </a:lnTo>
                <a:lnTo>
                  <a:pt x="1162332" y="1170228"/>
                </a:lnTo>
                <a:lnTo>
                  <a:pt x="1162332" y="1184585"/>
                </a:lnTo>
                <a:lnTo>
                  <a:pt x="1180161" y="1195311"/>
                </a:lnTo>
                <a:lnTo>
                  <a:pt x="1190872" y="1202490"/>
                </a:lnTo>
                <a:cubicBezTo>
                  <a:pt x="1190295" y="1207810"/>
                  <a:pt x="1189653" y="1213216"/>
                  <a:pt x="1189076" y="1218536"/>
                </a:cubicBezTo>
                <a:lnTo>
                  <a:pt x="1167719" y="1243619"/>
                </a:lnTo>
                <a:lnTo>
                  <a:pt x="1167719" y="1263298"/>
                </a:lnTo>
                <a:lnTo>
                  <a:pt x="1151685" y="1268618"/>
                </a:lnTo>
                <a:lnTo>
                  <a:pt x="1135651" y="1268618"/>
                </a:lnTo>
                <a:lnTo>
                  <a:pt x="1126737" y="1275797"/>
                </a:lnTo>
                <a:lnTo>
                  <a:pt x="1119617" y="1286523"/>
                </a:lnTo>
                <a:lnTo>
                  <a:pt x="1119617" y="1300880"/>
                </a:lnTo>
                <a:lnTo>
                  <a:pt x="1112499" y="1320558"/>
                </a:lnTo>
                <a:lnTo>
                  <a:pt x="1099992" y="1345557"/>
                </a:lnTo>
                <a:cubicBezTo>
                  <a:pt x="1100569" y="1354509"/>
                  <a:pt x="1101211" y="1363462"/>
                  <a:pt x="1101788" y="1372414"/>
                </a:cubicBezTo>
                <a:lnTo>
                  <a:pt x="1112499" y="1376045"/>
                </a:lnTo>
                <a:lnTo>
                  <a:pt x="1123145" y="1372414"/>
                </a:lnTo>
                <a:cubicBezTo>
                  <a:pt x="1124363" y="1368867"/>
                  <a:pt x="1125518" y="1365235"/>
                  <a:pt x="1126737" y="1361688"/>
                </a:cubicBezTo>
                <a:lnTo>
                  <a:pt x="1126737" y="1340236"/>
                </a:lnTo>
                <a:cubicBezTo>
                  <a:pt x="1128532" y="1336098"/>
                  <a:pt x="1130264" y="1331875"/>
                  <a:pt x="1132060" y="1327737"/>
                </a:cubicBezTo>
                <a:cubicBezTo>
                  <a:pt x="1133855" y="1322332"/>
                  <a:pt x="1135587" y="1317011"/>
                  <a:pt x="1137383" y="1311606"/>
                </a:cubicBezTo>
                <a:lnTo>
                  <a:pt x="1151685" y="1313380"/>
                </a:lnTo>
                <a:lnTo>
                  <a:pt x="1171246" y="1324105"/>
                </a:lnTo>
                <a:cubicBezTo>
                  <a:pt x="1171824" y="1331284"/>
                  <a:pt x="1172465" y="1338378"/>
                  <a:pt x="1173042" y="1345557"/>
                </a:cubicBezTo>
                <a:cubicBezTo>
                  <a:pt x="1171246" y="1352145"/>
                  <a:pt x="1169515" y="1358648"/>
                  <a:pt x="1167719" y="1365235"/>
                </a:cubicBezTo>
                <a:cubicBezTo>
                  <a:pt x="1168873" y="1371231"/>
                  <a:pt x="1170092" y="1377143"/>
                  <a:pt x="1171246" y="1383140"/>
                </a:cubicBezTo>
                <a:lnTo>
                  <a:pt x="1180161" y="1388545"/>
                </a:lnTo>
                <a:cubicBezTo>
                  <a:pt x="1181380" y="1392092"/>
                  <a:pt x="1182534" y="1395723"/>
                  <a:pt x="1183753" y="1399271"/>
                </a:cubicBezTo>
                <a:lnTo>
                  <a:pt x="1169451" y="1399271"/>
                </a:lnTo>
                <a:cubicBezTo>
                  <a:pt x="1167655" y="1405858"/>
                  <a:pt x="1165923" y="1412361"/>
                  <a:pt x="1164127" y="1418949"/>
                </a:cubicBezTo>
                <a:cubicBezTo>
                  <a:pt x="1165346" y="1423087"/>
                  <a:pt x="1166500" y="1427310"/>
                  <a:pt x="1167719" y="1431448"/>
                </a:cubicBezTo>
                <a:lnTo>
                  <a:pt x="1183753" y="1435080"/>
                </a:lnTo>
                <a:lnTo>
                  <a:pt x="1197991" y="1445805"/>
                </a:lnTo>
                <a:lnTo>
                  <a:pt x="1212229" y="1445805"/>
                </a:lnTo>
                <a:lnTo>
                  <a:pt x="1221144" y="1438627"/>
                </a:lnTo>
                <a:lnTo>
                  <a:pt x="1221144" y="1424354"/>
                </a:lnTo>
                <a:lnTo>
                  <a:pt x="1230058" y="1418949"/>
                </a:lnTo>
                <a:lnTo>
                  <a:pt x="1244296" y="1420722"/>
                </a:lnTo>
                <a:lnTo>
                  <a:pt x="1255007" y="1426127"/>
                </a:lnTo>
                <a:lnTo>
                  <a:pt x="1267449" y="1435080"/>
                </a:lnTo>
                <a:lnTo>
                  <a:pt x="1287075" y="1435080"/>
                </a:lnTo>
                <a:lnTo>
                  <a:pt x="1301313" y="1431448"/>
                </a:lnTo>
                <a:lnTo>
                  <a:pt x="1315551" y="1427901"/>
                </a:lnTo>
                <a:lnTo>
                  <a:pt x="1342295" y="1436853"/>
                </a:lnTo>
                <a:lnTo>
                  <a:pt x="1356533" y="1447579"/>
                </a:lnTo>
                <a:cubicBezTo>
                  <a:pt x="1359483" y="1454167"/>
                  <a:pt x="1362498" y="1460670"/>
                  <a:pt x="1365448" y="1467257"/>
                </a:cubicBezTo>
                <a:cubicBezTo>
                  <a:pt x="1368398" y="1475027"/>
                  <a:pt x="1371412" y="1482797"/>
                  <a:pt x="1374363" y="1490567"/>
                </a:cubicBezTo>
                <a:lnTo>
                  <a:pt x="1374363" y="1529923"/>
                </a:lnTo>
                <a:lnTo>
                  <a:pt x="1399311" y="1537017"/>
                </a:lnTo>
                <a:lnTo>
                  <a:pt x="1436702" y="1549601"/>
                </a:lnTo>
                <a:lnTo>
                  <a:pt x="1454532" y="1560327"/>
                </a:lnTo>
                <a:lnTo>
                  <a:pt x="1479480" y="1562100"/>
                </a:lnTo>
                <a:lnTo>
                  <a:pt x="1504429" y="1558553"/>
                </a:lnTo>
                <a:lnTo>
                  <a:pt x="1525786" y="1542422"/>
                </a:lnTo>
                <a:cubicBezTo>
                  <a:pt x="1527582" y="1533470"/>
                  <a:pt x="1529313" y="1524518"/>
                  <a:pt x="1531109" y="1515566"/>
                </a:cubicBezTo>
                <a:lnTo>
                  <a:pt x="1547143" y="1501293"/>
                </a:lnTo>
                <a:lnTo>
                  <a:pt x="1572091" y="1506613"/>
                </a:lnTo>
                <a:lnTo>
                  <a:pt x="1579210" y="1495887"/>
                </a:lnTo>
                <a:cubicBezTo>
                  <a:pt x="1577415" y="1491749"/>
                  <a:pt x="1575683" y="1487526"/>
                  <a:pt x="1573887" y="1483388"/>
                </a:cubicBezTo>
                <a:cubicBezTo>
                  <a:pt x="1574464" y="1477983"/>
                  <a:pt x="1575106" y="1472662"/>
                  <a:pt x="1575683" y="1467257"/>
                </a:cubicBezTo>
                <a:lnTo>
                  <a:pt x="1575683" y="1447579"/>
                </a:lnTo>
                <a:lnTo>
                  <a:pt x="1586329" y="1433306"/>
                </a:lnTo>
                <a:lnTo>
                  <a:pt x="1611278" y="1433306"/>
                </a:lnTo>
                <a:lnTo>
                  <a:pt x="1629108" y="1433306"/>
                </a:lnTo>
                <a:lnTo>
                  <a:pt x="1643346" y="1445805"/>
                </a:lnTo>
                <a:lnTo>
                  <a:pt x="1655852" y="1452984"/>
                </a:lnTo>
                <a:lnTo>
                  <a:pt x="1668774" y="1454594"/>
                </a:lnTo>
                <a:lnTo>
                  <a:pt x="1668685" y="1455866"/>
                </a:lnTo>
                <a:lnTo>
                  <a:pt x="1669637" y="1454702"/>
                </a:lnTo>
                <a:lnTo>
                  <a:pt x="1668774" y="1454594"/>
                </a:lnTo>
                <a:cubicBezTo>
                  <a:pt x="1669779" y="1440541"/>
                  <a:pt x="1670509" y="1431527"/>
                  <a:pt x="1670830" y="1429562"/>
                </a:cubicBezTo>
                <a:cubicBezTo>
                  <a:pt x="1671026" y="1430181"/>
                  <a:pt x="1671011" y="1431554"/>
                  <a:pt x="1670949" y="1433737"/>
                </a:cubicBezTo>
                <a:lnTo>
                  <a:pt x="1670113" y="1454184"/>
                </a:lnTo>
                <a:lnTo>
                  <a:pt x="1677415" y="1464993"/>
                </a:lnTo>
                <a:lnTo>
                  <a:pt x="1695785" y="1479447"/>
                </a:lnTo>
                <a:lnTo>
                  <a:pt x="1723284" y="1484885"/>
                </a:lnTo>
                <a:lnTo>
                  <a:pt x="1750800" y="1492089"/>
                </a:lnTo>
                <a:lnTo>
                  <a:pt x="1781986" y="1495715"/>
                </a:lnTo>
                <a:lnTo>
                  <a:pt x="1787492" y="1511997"/>
                </a:lnTo>
                <a:lnTo>
                  <a:pt x="1798505" y="1533687"/>
                </a:lnTo>
                <a:lnTo>
                  <a:pt x="1816843" y="1546313"/>
                </a:lnTo>
                <a:cubicBezTo>
                  <a:pt x="1818072" y="1551137"/>
                  <a:pt x="1819285" y="1555945"/>
                  <a:pt x="1820514" y="1560768"/>
                </a:cubicBezTo>
                <a:lnTo>
                  <a:pt x="1829691" y="1578863"/>
                </a:lnTo>
                <a:lnTo>
                  <a:pt x="1829691" y="1613499"/>
                </a:lnTo>
                <a:lnTo>
                  <a:pt x="1830426" y="1613692"/>
                </a:lnTo>
                <a:lnTo>
                  <a:pt x="1834793" y="1677016"/>
                </a:lnTo>
                <a:lnTo>
                  <a:pt x="1836428" y="1677511"/>
                </a:lnTo>
                <a:cubicBezTo>
                  <a:pt x="1835916" y="1677845"/>
                  <a:pt x="1835403" y="1678180"/>
                  <a:pt x="1834897" y="1678525"/>
                </a:cubicBezTo>
                <a:lnTo>
                  <a:pt x="1835188" y="1682748"/>
                </a:lnTo>
                <a:lnTo>
                  <a:pt x="1826337" y="1684195"/>
                </a:lnTo>
                <a:lnTo>
                  <a:pt x="1820429" y="1688108"/>
                </a:lnTo>
                <a:lnTo>
                  <a:pt x="1809762" y="1693320"/>
                </a:lnTo>
                <a:lnTo>
                  <a:pt x="1804429" y="1709478"/>
                </a:lnTo>
                <a:lnTo>
                  <a:pt x="1820429" y="1714690"/>
                </a:lnTo>
                <a:lnTo>
                  <a:pt x="1836428" y="1719902"/>
                </a:lnTo>
                <a:cubicBezTo>
                  <a:pt x="1838206" y="1727025"/>
                  <a:pt x="1839984" y="1734322"/>
                  <a:pt x="1841762" y="1741271"/>
                </a:cubicBezTo>
                <a:cubicBezTo>
                  <a:pt x="1847095" y="1746657"/>
                  <a:pt x="1852231" y="1752043"/>
                  <a:pt x="1857564" y="1757428"/>
                </a:cubicBezTo>
                <a:cubicBezTo>
                  <a:pt x="1855786" y="1764378"/>
                  <a:pt x="1854206" y="1771675"/>
                  <a:pt x="1852428" y="1778798"/>
                </a:cubicBezTo>
                <a:cubicBezTo>
                  <a:pt x="1850650" y="1785747"/>
                  <a:pt x="1848873" y="1793044"/>
                  <a:pt x="1847095" y="1799993"/>
                </a:cubicBezTo>
                <a:cubicBezTo>
                  <a:pt x="1845317" y="1815977"/>
                  <a:pt x="1843539" y="1831960"/>
                  <a:pt x="1841762" y="1847770"/>
                </a:cubicBezTo>
                <a:cubicBezTo>
                  <a:pt x="1850650" y="1854893"/>
                  <a:pt x="1859342" y="1862190"/>
                  <a:pt x="1868231" y="1869140"/>
                </a:cubicBezTo>
                <a:lnTo>
                  <a:pt x="1900230" y="1885297"/>
                </a:lnTo>
                <a:cubicBezTo>
                  <a:pt x="1902008" y="1888772"/>
                  <a:pt x="1903786" y="1892420"/>
                  <a:pt x="1905563" y="1895895"/>
                </a:cubicBezTo>
                <a:cubicBezTo>
                  <a:pt x="1902008" y="1901107"/>
                  <a:pt x="1898453" y="1906666"/>
                  <a:pt x="1894897" y="1911878"/>
                </a:cubicBezTo>
                <a:lnTo>
                  <a:pt x="1894897" y="1938460"/>
                </a:lnTo>
                <a:lnTo>
                  <a:pt x="1942699" y="1986410"/>
                </a:lnTo>
                <a:lnTo>
                  <a:pt x="1969365" y="1991796"/>
                </a:lnTo>
                <a:lnTo>
                  <a:pt x="1980032" y="2087697"/>
                </a:lnTo>
                <a:lnTo>
                  <a:pt x="1958699" y="2087697"/>
                </a:lnTo>
                <a:lnTo>
                  <a:pt x="1910699" y="2146246"/>
                </a:lnTo>
                <a:lnTo>
                  <a:pt x="1894897" y="2146246"/>
                </a:lnTo>
                <a:lnTo>
                  <a:pt x="1894897" y="2167615"/>
                </a:lnTo>
                <a:cubicBezTo>
                  <a:pt x="1889564" y="2174565"/>
                  <a:pt x="1884428" y="2181861"/>
                  <a:pt x="1879095" y="2188985"/>
                </a:cubicBezTo>
                <a:cubicBezTo>
                  <a:pt x="1868231" y="2197671"/>
                  <a:pt x="1857761" y="2206705"/>
                  <a:pt x="1847095" y="2215566"/>
                </a:cubicBezTo>
                <a:lnTo>
                  <a:pt x="1788429" y="2199582"/>
                </a:lnTo>
                <a:lnTo>
                  <a:pt x="1719293" y="2183599"/>
                </a:lnTo>
                <a:lnTo>
                  <a:pt x="1623492" y="2141034"/>
                </a:lnTo>
                <a:lnTo>
                  <a:pt x="1575492" y="2087697"/>
                </a:lnTo>
                <a:lnTo>
                  <a:pt x="1602356" y="2034361"/>
                </a:lnTo>
                <a:cubicBezTo>
                  <a:pt x="1597023" y="2027412"/>
                  <a:pt x="1591690" y="2020115"/>
                  <a:pt x="1586159" y="2013165"/>
                </a:cubicBezTo>
                <a:lnTo>
                  <a:pt x="1554357" y="2023763"/>
                </a:lnTo>
                <a:lnTo>
                  <a:pt x="1506357" y="2050345"/>
                </a:lnTo>
                <a:lnTo>
                  <a:pt x="1442555" y="2077100"/>
                </a:lnTo>
                <a:lnTo>
                  <a:pt x="1400087" y="2066328"/>
                </a:lnTo>
                <a:cubicBezTo>
                  <a:pt x="1394753" y="2061116"/>
                  <a:pt x="1389420" y="2055557"/>
                  <a:pt x="1384087" y="2050345"/>
                </a:cubicBezTo>
                <a:cubicBezTo>
                  <a:pt x="1382111" y="2043221"/>
                  <a:pt x="1380531" y="2036272"/>
                  <a:pt x="1378753" y="2029149"/>
                </a:cubicBezTo>
                <a:cubicBezTo>
                  <a:pt x="1380531" y="2025674"/>
                  <a:pt x="1382111" y="2021852"/>
                  <a:pt x="1384087" y="2018377"/>
                </a:cubicBezTo>
                <a:lnTo>
                  <a:pt x="1400087" y="1997008"/>
                </a:lnTo>
                <a:cubicBezTo>
                  <a:pt x="1394753" y="1991796"/>
                  <a:pt x="1389420" y="1986410"/>
                  <a:pt x="1384087" y="1981198"/>
                </a:cubicBezTo>
                <a:lnTo>
                  <a:pt x="1330754" y="1938460"/>
                </a:lnTo>
                <a:cubicBezTo>
                  <a:pt x="1320087" y="1929599"/>
                  <a:pt x="1309618" y="1920739"/>
                  <a:pt x="1298754" y="1911878"/>
                </a:cubicBezTo>
                <a:lnTo>
                  <a:pt x="1298754" y="1885297"/>
                </a:lnTo>
                <a:cubicBezTo>
                  <a:pt x="1295199" y="1878174"/>
                  <a:pt x="1291841" y="1870877"/>
                  <a:pt x="1288285" y="1863927"/>
                </a:cubicBezTo>
                <a:lnTo>
                  <a:pt x="1277618" y="1842558"/>
                </a:lnTo>
                <a:cubicBezTo>
                  <a:pt x="1275841" y="1837346"/>
                  <a:pt x="1274063" y="1831960"/>
                  <a:pt x="1272285" y="1826748"/>
                </a:cubicBezTo>
                <a:cubicBezTo>
                  <a:pt x="1282952" y="1808854"/>
                  <a:pt x="1293421" y="1791133"/>
                  <a:pt x="1304285" y="1773238"/>
                </a:cubicBezTo>
                <a:cubicBezTo>
                  <a:pt x="1296976" y="1748394"/>
                  <a:pt x="1290063" y="1723550"/>
                  <a:pt x="1282952" y="1698706"/>
                </a:cubicBezTo>
                <a:lnTo>
                  <a:pt x="1245619" y="1698706"/>
                </a:lnTo>
                <a:cubicBezTo>
                  <a:pt x="1240285" y="1691583"/>
                  <a:pt x="1235150" y="1684460"/>
                  <a:pt x="1229816" y="1677511"/>
                </a:cubicBezTo>
                <a:lnTo>
                  <a:pt x="1208483" y="1671951"/>
                </a:lnTo>
                <a:cubicBezTo>
                  <a:pt x="1203150" y="1663264"/>
                  <a:pt x="1197817" y="1654230"/>
                  <a:pt x="1192483" y="1645370"/>
                </a:cubicBezTo>
                <a:lnTo>
                  <a:pt x="1123348" y="1688108"/>
                </a:lnTo>
                <a:lnTo>
                  <a:pt x="1059546" y="1671951"/>
                </a:lnTo>
                <a:cubicBezTo>
                  <a:pt x="1054213" y="1641895"/>
                  <a:pt x="1048880" y="1611665"/>
                  <a:pt x="1043546" y="1581609"/>
                </a:cubicBezTo>
                <a:lnTo>
                  <a:pt x="974411" y="1528273"/>
                </a:lnTo>
                <a:lnTo>
                  <a:pt x="937078" y="1538871"/>
                </a:lnTo>
                <a:cubicBezTo>
                  <a:pt x="924634" y="1522887"/>
                  <a:pt x="912189" y="1506903"/>
                  <a:pt x="899943" y="1490920"/>
                </a:cubicBezTo>
                <a:lnTo>
                  <a:pt x="862610" y="1512289"/>
                </a:lnTo>
                <a:lnTo>
                  <a:pt x="814808" y="1490920"/>
                </a:lnTo>
                <a:lnTo>
                  <a:pt x="766808" y="1517501"/>
                </a:lnTo>
                <a:lnTo>
                  <a:pt x="623205" y="1549642"/>
                </a:lnTo>
                <a:cubicBezTo>
                  <a:pt x="617871" y="1540782"/>
                  <a:pt x="612538" y="1531747"/>
                  <a:pt x="607205" y="1523061"/>
                </a:cubicBezTo>
                <a:lnTo>
                  <a:pt x="601871" y="1506903"/>
                </a:lnTo>
                <a:cubicBezTo>
                  <a:pt x="603649" y="1492657"/>
                  <a:pt x="605427" y="1478585"/>
                  <a:pt x="607205" y="1464338"/>
                </a:cubicBezTo>
                <a:cubicBezTo>
                  <a:pt x="598118" y="1455478"/>
                  <a:pt x="589427" y="1446444"/>
                  <a:pt x="580538" y="1437583"/>
                </a:cubicBezTo>
                <a:cubicBezTo>
                  <a:pt x="576983" y="1418125"/>
                  <a:pt x="573427" y="1398667"/>
                  <a:pt x="569872" y="1379035"/>
                </a:cubicBezTo>
                <a:cubicBezTo>
                  <a:pt x="575205" y="1370348"/>
                  <a:pt x="580538" y="1361314"/>
                  <a:pt x="585872" y="1352453"/>
                </a:cubicBezTo>
                <a:lnTo>
                  <a:pt x="559205" y="1309715"/>
                </a:lnTo>
                <a:cubicBezTo>
                  <a:pt x="555650" y="1297380"/>
                  <a:pt x="552094" y="1284871"/>
                  <a:pt x="548539" y="1272536"/>
                </a:cubicBezTo>
                <a:cubicBezTo>
                  <a:pt x="552094" y="1261764"/>
                  <a:pt x="555650" y="1251166"/>
                  <a:pt x="559205" y="1240395"/>
                </a:cubicBezTo>
                <a:lnTo>
                  <a:pt x="522069" y="1229797"/>
                </a:lnTo>
                <a:lnTo>
                  <a:pt x="500736" y="1240395"/>
                </a:lnTo>
                <a:cubicBezTo>
                  <a:pt x="502514" y="1244043"/>
                  <a:pt x="504292" y="1247692"/>
                  <a:pt x="506069" y="1251166"/>
                </a:cubicBezTo>
                <a:cubicBezTo>
                  <a:pt x="509625" y="1260027"/>
                  <a:pt x="512983" y="1269061"/>
                  <a:pt x="516538" y="1277921"/>
                </a:cubicBezTo>
                <a:cubicBezTo>
                  <a:pt x="514761" y="1281396"/>
                  <a:pt x="513180" y="1284871"/>
                  <a:pt x="511403" y="1288345"/>
                </a:cubicBezTo>
                <a:lnTo>
                  <a:pt x="436934" y="1363051"/>
                </a:lnTo>
                <a:lnTo>
                  <a:pt x="404934" y="1363051"/>
                </a:lnTo>
                <a:lnTo>
                  <a:pt x="383601" y="1352453"/>
                </a:lnTo>
                <a:cubicBezTo>
                  <a:pt x="385379" y="1339945"/>
                  <a:pt x="387157" y="1327609"/>
                  <a:pt x="388935" y="1315101"/>
                </a:cubicBezTo>
                <a:lnTo>
                  <a:pt x="420934" y="1293731"/>
                </a:lnTo>
                <a:lnTo>
                  <a:pt x="447601" y="1283133"/>
                </a:lnTo>
                <a:cubicBezTo>
                  <a:pt x="449379" y="1277921"/>
                  <a:pt x="451156" y="1272362"/>
                  <a:pt x="452934" y="1267150"/>
                </a:cubicBezTo>
                <a:cubicBezTo>
                  <a:pt x="454712" y="1261764"/>
                  <a:pt x="456292" y="1256552"/>
                  <a:pt x="458070" y="1251166"/>
                </a:cubicBezTo>
                <a:cubicBezTo>
                  <a:pt x="454514" y="1247692"/>
                  <a:pt x="451156" y="1244043"/>
                  <a:pt x="447601" y="1240395"/>
                </a:cubicBezTo>
                <a:lnTo>
                  <a:pt x="431403" y="1224585"/>
                </a:lnTo>
                <a:lnTo>
                  <a:pt x="431403" y="1181846"/>
                </a:lnTo>
                <a:cubicBezTo>
                  <a:pt x="434959" y="1171249"/>
                  <a:pt x="438712" y="1160651"/>
                  <a:pt x="442267" y="1150053"/>
                </a:cubicBezTo>
                <a:cubicBezTo>
                  <a:pt x="440490" y="1139281"/>
                  <a:pt x="438712" y="1128684"/>
                  <a:pt x="436934" y="1117912"/>
                </a:cubicBezTo>
                <a:cubicBezTo>
                  <a:pt x="433181" y="1103840"/>
                  <a:pt x="429823" y="1089420"/>
                  <a:pt x="426268" y="1075347"/>
                </a:cubicBezTo>
                <a:lnTo>
                  <a:pt x="404934" y="1027396"/>
                </a:lnTo>
                <a:cubicBezTo>
                  <a:pt x="406712" y="1016799"/>
                  <a:pt x="408490" y="1006027"/>
                  <a:pt x="410268" y="995429"/>
                </a:cubicBezTo>
                <a:cubicBezTo>
                  <a:pt x="417379" y="990217"/>
                  <a:pt x="424292" y="984658"/>
                  <a:pt x="431403" y="979446"/>
                </a:cubicBezTo>
                <a:cubicBezTo>
                  <a:pt x="427848" y="968848"/>
                  <a:pt x="424490" y="958076"/>
                  <a:pt x="420934" y="947479"/>
                </a:cubicBezTo>
                <a:cubicBezTo>
                  <a:pt x="415601" y="934970"/>
                  <a:pt x="410268" y="922635"/>
                  <a:pt x="404934" y="910126"/>
                </a:cubicBezTo>
                <a:lnTo>
                  <a:pt x="367799" y="888756"/>
                </a:lnTo>
                <a:lnTo>
                  <a:pt x="341133" y="883544"/>
                </a:lnTo>
                <a:lnTo>
                  <a:pt x="330466" y="862175"/>
                </a:lnTo>
                <a:cubicBezTo>
                  <a:pt x="325133" y="856789"/>
                  <a:pt x="319997" y="851577"/>
                  <a:pt x="314664" y="846365"/>
                </a:cubicBezTo>
                <a:lnTo>
                  <a:pt x="250664" y="824996"/>
                </a:lnTo>
                <a:cubicBezTo>
                  <a:pt x="259553" y="796503"/>
                  <a:pt x="268244" y="768011"/>
                  <a:pt x="277331" y="739519"/>
                </a:cubicBezTo>
                <a:lnTo>
                  <a:pt x="277331" y="707725"/>
                </a:lnTo>
                <a:lnTo>
                  <a:pt x="245331" y="697127"/>
                </a:lnTo>
                <a:lnTo>
                  <a:pt x="202862" y="670372"/>
                </a:lnTo>
                <a:lnTo>
                  <a:pt x="149529" y="670372"/>
                </a:lnTo>
                <a:cubicBezTo>
                  <a:pt x="145776" y="674021"/>
                  <a:pt x="142418" y="677495"/>
                  <a:pt x="138863" y="680970"/>
                </a:cubicBezTo>
                <a:lnTo>
                  <a:pt x="106863" y="697127"/>
                </a:lnTo>
                <a:lnTo>
                  <a:pt x="85727" y="664987"/>
                </a:lnTo>
                <a:lnTo>
                  <a:pt x="43061" y="643791"/>
                </a:lnTo>
                <a:lnTo>
                  <a:pt x="11061" y="617210"/>
                </a:lnTo>
                <a:lnTo>
                  <a:pt x="11061" y="595840"/>
                </a:lnTo>
                <a:lnTo>
                  <a:pt x="37728" y="590454"/>
                </a:lnTo>
                <a:lnTo>
                  <a:pt x="59061" y="585069"/>
                </a:lnTo>
                <a:cubicBezTo>
                  <a:pt x="60839" y="579857"/>
                  <a:pt x="62616" y="574471"/>
                  <a:pt x="64394" y="569259"/>
                </a:cubicBezTo>
                <a:lnTo>
                  <a:pt x="48394" y="547890"/>
                </a:lnTo>
                <a:lnTo>
                  <a:pt x="11061" y="521308"/>
                </a:lnTo>
                <a:cubicBezTo>
                  <a:pt x="9284" y="514185"/>
                  <a:pt x="7703" y="506888"/>
                  <a:pt x="5926" y="499939"/>
                </a:cubicBezTo>
                <a:cubicBezTo>
                  <a:pt x="5531" y="484824"/>
                  <a:pt x="395" y="474400"/>
                  <a:pt x="0" y="459285"/>
                </a:cubicBezTo>
                <a:lnTo>
                  <a:pt x="2039" y="460364"/>
                </a:lnTo>
                <a:lnTo>
                  <a:pt x="42762" y="472629"/>
                </a:lnTo>
                <a:lnTo>
                  <a:pt x="89879" y="474438"/>
                </a:lnTo>
                <a:lnTo>
                  <a:pt x="118951" y="465437"/>
                </a:lnTo>
                <a:lnTo>
                  <a:pt x="146218" y="465437"/>
                </a:lnTo>
                <a:lnTo>
                  <a:pt x="166268" y="476248"/>
                </a:lnTo>
                <a:lnTo>
                  <a:pt x="211580" y="474438"/>
                </a:lnTo>
                <a:lnTo>
                  <a:pt x="247870" y="463627"/>
                </a:lnTo>
                <a:cubicBezTo>
                  <a:pt x="251479" y="463008"/>
                  <a:pt x="255188" y="462437"/>
                  <a:pt x="258797" y="461818"/>
                </a:cubicBezTo>
                <a:cubicBezTo>
                  <a:pt x="260601" y="456389"/>
                  <a:pt x="262506" y="451007"/>
                  <a:pt x="264310" y="445578"/>
                </a:cubicBezTo>
                <a:lnTo>
                  <a:pt x="266115" y="431147"/>
                </a:lnTo>
                <a:lnTo>
                  <a:pt x="311427" y="404096"/>
                </a:lnTo>
                <a:lnTo>
                  <a:pt x="331376" y="405906"/>
                </a:lnTo>
                <a:cubicBezTo>
                  <a:pt x="338093" y="399905"/>
                  <a:pt x="344709" y="393857"/>
                  <a:pt x="351426" y="387856"/>
                </a:cubicBezTo>
                <a:lnTo>
                  <a:pt x="351426" y="360806"/>
                </a:lnTo>
                <a:cubicBezTo>
                  <a:pt x="355035" y="352376"/>
                  <a:pt x="358744" y="343946"/>
                  <a:pt x="362353" y="335517"/>
                </a:cubicBezTo>
                <a:lnTo>
                  <a:pt x="382302" y="330135"/>
                </a:lnTo>
                <a:cubicBezTo>
                  <a:pt x="386512" y="333135"/>
                  <a:pt x="390823" y="336136"/>
                  <a:pt x="395034" y="339136"/>
                </a:cubicBezTo>
                <a:lnTo>
                  <a:pt x="389620" y="358996"/>
                </a:lnTo>
                <a:lnTo>
                  <a:pt x="411374" y="364425"/>
                </a:lnTo>
                <a:lnTo>
                  <a:pt x="449468" y="344565"/>
                </a:lnTo>
                <a:cubicBezTo>
                  <a:pt x="450671" y="336755"/>
                  <a:pt x="451874" y="328897"/>
                  <a:pt x="453077" y="321086"/>
                </a:cubicBezTo>
                <a:lnTo>
                  <a:pt x="493076" y="306656"/>
                </a:lnTo>
                <a:lnTo>
                  <a:pt x="547611" y="315705"/>
                </a:lnTo>
                <a:lnTo>
                  <a:pt x="576583" y="317515"/>
                </a:lnTo>
                <a:lnTo>
                  <a:pt x="603850" y="295845"/>
                </a:lnTo>
                <a:lnTo>
                  <a:pt x="643849" y="274224"/>
                </a:lnTo>
                <a:cubicBezTo>
                  <a:pt x="645654" y="266985"/>
                  <a:pt x="647458" y="259793"/>
                  <a:pt x="649263" y="252554"/>
                </a:cubicBezTo>
                <a:lnTo>
                  <a:pt x="672921" y="236314"/>
                </a:lnTo>
                <a:cubicBezTo>
                  <a:pt x="672320" y="229123"/>
                  <a:pt x="671718" y="221884"/>
                  <a:pt x="671016" y="214693"/>
                </a:cubicBezTo>
                <a:lnTo>
                  <a:pt x="669212" y="203834"/>
                </a:lnTo>
                <a:lnTo>
                  <a:pt x="700088" y="187594"/>
                </a:lnTo>
                <a:lnTo>
                  <a:pt x="727256" y="185832"/>
                </a:lnTo>
                <a:cubicBezTo>
                  <a:pt x="733972" y="179212"/>
                  <a:pt x="740588" y="172592"/>
                  <a:pt x="747305" y="165972"/>
                </a:cubicBezTo>
                <a:lnTo>
                  <a:pt x="774573" y="149732"/>
                </a:lnTo>
                <a:lnTo>
                  <a:pt x="829007" y="131683"/>
                </a:lnTo>
                <a:lnTo>
                  <a:pt x="868906" y="108251"/>
                </a:lnTo>
                <a:lnTo>
                  <a:pt x="910709" y="64960"/>
                </a:lnTo>
                <a:lnTo>
                  <a:pt x="939881" y="45101"/>
                </a:lnTo>
                <a:cubicBezTo>
                  <a:pt x="944693" y="31861"/>
                  <a:pt x="949405" y="18669"/>
                  <a:pt x="954317" y="5429"/>
                </a:cubicBezTo>
                <a:lnTo>
                  <a:pt x="983389" y="1810"/>
                </a:lnTo>
                <a:close/>
              </a:path>
            </a:pathLst>
          </a:custGeom>
          <a:solidFill>
            <a:srgbClr val="70B0DF"/>
          </a:solidFill>
          <a:ln w="3175" cap="flat" cmpd="sng">
            <a:noFill/>
            <a:prstDash val="solid"/>
            <a:round/>
            <a:headEnd type="none" w="med" len="med"/>
            <a:tailEnd type="none" w="med" len="med"/>
          </a:ln>
        </p:spPr>
        <p:txBody>
          <a:bodyPr wrap="none" lIns="32632" tIns="32632" rIns="32632" bIns="32632" anchor="ctr"/>
          <a:lstStyle/>
          <a:p>
            <a:pPr defTabSz="891045"/>
            <a:endParaRPr lang="en-US" sz="1700" dirty="0">
              <a:solidFill>
                <a:srgbClr val="003149"/>
              </a:solidFill>
              <a:cs typeface="Arial" panose="020B0604020202020204" pitchFamily="34" charset="0"/>
            </a:endParaRPr>
          </a:p>
        </p:txBody>
      </p:sp>
      <p:sp>
        <p:nvSpPr>
          <p:cNvPr id="43" name="Freeform 693"/>
          <p:cNvSpPr>
            <a:spLocks noChangeAspect="1"/>
          </p:cNvSpPr>
          <p:nvPr>
            <p:custDataLst>
              <p:tags r:id="rId24"/>
            </p:custDataLst>
          </p:nvPr>
        </p:nvSpPr>
        <p:spPr bwMode="gray">
          <a:xfrm>
            <a:off x="2687187" y="3232379"/>
            <a:ext cx="270118" cy="309924"/>
          </a:xfrm>
          <a:custGeom>
            <a:avLst/>
            <a:gdLst>
              <a:gd name="T0" fmla="*/ 0 w 1559365"/>
              <a:gd name="T1" fmla="*/ 0 h 1570859"/>
              <a:gd name="T2" fmla="*/ 0 w 1559365"/>
              <a:gd name="T3" fmla="*/ 0 h 1570859"/>
              <a:gd name="T4" fmla="*/ 0 w 1559365"/>
              <a:gd name="T5" fmla="*/ 0 h 1570859"/>
              <a:gd name="T6" fmla="*/ 0 w 1559365"/>
              <a:gd name="T7" fmla="*/ 0 h 1570859"/>
              <a:gd name="T8" fmla="*/ 0 w 1559365"/>
              <a:gd name="T9" fmla="*/ 0 h 1570859"/>
              <a:gd name="T10" fmla="*/ 0 w 1559365"/>
              <a:gd name="T11" fmla="*/ 0 h 1570859"/>
              <a:gd name="T12" fmla="*/ 0 w 1559365"/>
              <a:gd name="T13" fmla="*/ 0 h 1570859"/>
              <a:gd name="T14" fmla="*/ 0 w 1559365"/>
              <a:gd name="T15" fmla="*/ 0 h 1570859"/>
              <a:gd name="T16" fmla="*/ 0 w 1559365"/>
              <a:gd name="T17" fmla="*/ 0 h 1570859"/>
              <a:gd name="T18" fmla="*/ 0 w 1559365"/>
              <a:gd name="T19" fmla="*/ 0 h 1570859"/>
              <a:gd name="T20" fmla="*/ 0 w 1559365"/>
              <a:gd name="T21" fmla="*/ 0 h 1570859"/>
              <a:gd name="T22" fmla="*/ 0 w 1559365"/>
              <a:gd name="T23" fmla="*/ 0 h 1570859"/>
              <a:gd name="T24" fmla="*/ 0 w 1559365"/>
              <a:gd name="T25" fmla="*/ 0 h 1570859"/>
              <a:gd name="T26" fmla="*/ 0 w 1559365"/>
              <a:gd name="T27" fmla="*/ 0 h 1570859"/>
              <a:gd name="T28" fmla="*/ 0 w 1559365"/>
              <a:gd name="T29" fmla="*/ 0 h 1570859"/>
              <a:gd name="T30" fmla="*/ 0 w 1559365"/>
              <a:gd name="T31" fmla="*/ 0 h 1570859"/>
              <a:gd name="T32" fmla="*/ 0 w 1559365"/>
              <a:gd name="T33" fmla="*/ 0 h 1570859"/>
              <a:gd name="T34" fmla="*/ 0 w 1559365"/>
              <a:gd name="T35" fmla="*/ 0 h 1570859"/>
              <a:gd name="T36" fmla="*/ 0 w 1559365"/>
              <a:gd name="T37" fmla="*/ 0 h 1570859"/>
              <a:gd name="T38" fmla="*/ 0 w 1559365"/>
              <a:gd name="T39" fmla="*/ 0 h 1570859"/>
              <a:gd name="T40" fmla="*/ 0 w 1559365"/>
              <a:gd name="T41" fmla="*/ 0 h 1570859"/>
              <a:gd name="T42" fmla="*/ 0 w 1559365"/>
              <a:gd name="T43" fmla="*/ 0 h 1570859"/>
              <a:gd name="T44" fmla="*/ 0 w 1559365"/>
              <a:gd name="T45" fmla="*/ 0 h 1570859"/>
              <a:gd name="T46" fmla="*/ 0 w 1559365"/>
              <a:gd name="T47" fmla="*/ 0 h 1570859"/>
              <a:gd name="T48" fmla="*/ 0 w 1559365"/>
              <a:gd name="T49" fmla="*/ 0 h 1570859"/>
              <a:gd name="T50" fmla="*/ 0 w 1559365"/>
              <a:gd name="T51" fmla="*/ 0 h 1570859"/>
              <a:gd name="T52" fmla="*/ 0 w 1559365"/>
              <a:gd name="T53" fmla="*/ 0 h 1570859"/>
              <a:gd name="T54" fmla="*/ 0 w 1559365"/>
              <a:gd name="T55" fmla="*/ 0 h 1570859"/>
              <a:gd name="T56" fmla="*/ 0 w 1559365"/>
              <a:gd name="T57" fmla="*/ 0 h 1570859"/>
              <a:gd name="T58" fmla="*/ 0 w 1559365"/>
              <a:gd name="T59" fmla="*/ 0 h 1570859"/>
              <a:gd name="T60" fmla="*/ 0 w 1559365"/>
              <a:gd name="T61" fmla="*/ 0 h 1570859"/>
              <a:gd name="T62" fmla="*/ 0 w 1559365"/>
              <a:gd name="T63" fmla="*/ 0 h 1570859"/>
              <a:gd name="T64" fmla="*/ 0 w 1559365"/>
              <a:gd name="T65" fmla="*/ 0 h 1570859"/>
              <a:gd name="T66" fmla="*/ 0 w 1559365"/>
              <a:gd name="T67" fmla="*/ 0 h 1570859"/>
              <a:gd name="T68" fmla="*/ 0 w 1559365"/>
              <a:gd name="T69" fmla="*/ 0 h 1570859"/>
              <a:gd name="T70" fmla="*/ 0 w 1559365"/>
              <a:gd name="T71" fmla="*/ 0 h 1570859"/>
              <a:gd name="T72" fmla="*/ 0 w 1559365"/>
              <a:gd name="T73" fmla="*/ 0 h 1570859"/>
              <a:gd name="T74" fmla="*/ 0 w 1559365"/>
              <a:gd name="T75" fmla="*/ 0 h 1570859"/>
              <a:gd name="T76" fmla="*/ 0 w 1559365"/>
              <a:gd name="T77" fmla="*/ 0 h 1570859"/>
              <a:gd name="T78" fmla="*/ 0 w 1559365"/>
              <a:gd name="T79" fmla="*/ 0 h 1570859"/>
              <a:gd name="T80" fmla="*/ 0 w 1559365"/>
              <a:gd name="T81" fmla="*/ 0 h 1570859"/>
              <a:gd name="T82" fmla="*/ 0 w 1559365"/>
              <a:gd name="T83" fmla="*/ 0 h 1570859"/>
              <a:gd name="T84" fmla="*/ 0 w 1559365"/>
              <a:gd name="T85" fmla="*/ 0 h 1570859"/>
              <a:gd name="T86" fmla="*/ 0 w 1559365"/>
              <a:gd name="T87" fmla="*/ 0 h 1570859"/>
              <a:gd name="T88" fmla="*/ 0 w 1559365"/>
              <a:gd name="T89" fmla="*/ 0 h 1570859"/>
              <a:gd name="T90" fmla="*/ 0 w 1559365"/>
              <a:gd name="T91" fmla="*/ 0 h 1570859"/>
              <a:gd name="T92" fmla="*/ 0 w 1559365"/>
              <a:gd name="T93" fmla="*/ 0 h 1570859"/>
              <a:gd name="T94" fmla="*/ 0 w 1559365"/>
              <a:gd name="T95" fmla="*/ 0 h 1570859"/>
              <a:gd name="T96" fmla="*/ 0 w 1559365"/>
              <a:gd name="T97" fmla="*/ 0 h 1570859"/>
              <a:gd name="T98" fmla="*/ 0 w 1559365"/>
              <a:gd name="T99" fmla="*/ 0 h 1570859"/>
              <a:gd name="T100" fmla="*/ 0 w 1559365"/>
              <a:gd name="T101" fmla="*/ 0 h 1570859"/>
              <a:gd name="T102" fmla="*/ 0 w 1559365"/>
              <a:gd name="T103" fmla="*/ 0 h 1570859"/>
              <a:gd name="T104" fmla="*/ 0 w 1559365"/>
              <a:gd name="T105" fmla="*/ 0 h 1570859"/>
              <a:gd name="T106" fmla="*/ 0 w 1559365"/>
              <a:gd name="T107" fmla="*/ 0 h 1570859"/>
              <a:gd name="T108" fmla="*/ 0 w 1559365"/>
              <a:gd name="T109" fmla="*/ 0 h 1570859"/>
              <a:gd name="T110" fmla="*/ 0 w 1559365"/>
              <a:gd name="T111" fmla="*/ 0 h 1570859"/>
              <a:gd name="T112" fmla="*/ 0 w 1559365"/>
              <a:gd name="T113" fmla="*/ 0 h 1570859"/>
              <a:gd name="T114" fmla="*/ 0 w 1559365"/>
              <a:gd name="T115" fmla="*/ 0 h 1570859"/>
              <a:gd name="T116" fmla="*/ 0 w 1559365"/>
              <a:gd name="T117" fmla="*/ 0 h 1570859"/>
              <a:gd name="T118" fmla="*/ 0 w 1559365"/>
              <a:gd name="T119" fmla="*/ 0 h 1570859"/>
              <a:gd name="T120" fmla="*/ 0 w 1559365"/>
              <a:gd name="T121" fmla="*/ 0 h 1570859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w 1559365"/>
              <a:gd name="T184" fmla="*/ 0 h 1570859"/>
              <a:gd name="T185" fmla="*/ 1559365 w 1559365"/>
              <a:gd name="T186" fmla="*/ 1570859 h 1570859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T183" t="T184" r="T185" b="T186"/>
            <a:pathLst>
              <a:path w="1559365" h="1570859">
                <a:moveTo>
                  <a:pt x="365565" y="0"/>
                </a:moveTo>
                <a:lnTo>
                  <a:pt x="430037" y="21488"/>
                </a:lnTo>
                <a:cubicBezTo>
                  <a:pt x="435974" y="39370"/>
                  <a:pt x="441981" y="57252"/>
                  <a:pt x="447919" y="75133"/>
                </a:cubicBezTo>
                <a:lnTo>
                  <a:pt x="485568" y="96571"/>
                </a:lnTo>
                <a:lnTo>
                  <a:pt x="524963" y="85852"/>
                </a:lnTo>
                <a:cubicBezTo>
                  <a:pt x="526151" y="101346"/>
                  <a:pt x="527338" y="116891"/>
                  <a:pt x="528525" y="132385"/>
                </a:cubicBezTo>
                <a:cubicBezTo>
                  <a:pt x="532088" y="150266"/>
                  <a:pt x="535720" y="168148"/>
                  <a:pt x="539282" y="186030"/>
                </a:cubicBezTo>
                <a:lnTo>
                  <a:pt x="566175" y="237896"/>
                </a:lnTo>
                <a:lnTo>
                  <a:pt x="627084" y="241503"/>
                </a:lnTo>
                <a:lnTo>
                  <a:pt x="668225" y="214630"/>
                </a:lnTo>
                <a:cubicBezTo>
                  <a:pt x="670600" y="228956"/>
                  <a:pt x="673045" y="243230"/>
                  <a:pt x="675420" y="257556"/>
                </a:cubicBezTo>
                <a:lnTo>
                  <a:pt x="696934" y="282600"/>
                </a:lnTo>
                <a:cubicBezTo>
                  <a:pt x="694559" y="293319"/>
                  <a:pt x="692114" y="304089"/>
                  <a:pt x="689739" y="314808"/>
                </a:cubicBezTo>
                <a:cubicBezTo>
                  <a:pt x="686177" y="324968"/>
                  <a:pt x="682545" y="335077"/>
                  <a:pt x="678982" y="345237"/>
                </a:cubicBezTo>
                <a:lnTo>
                  <a:pt x="700496" y="370281"/>
                </a:lnTo>
                <a:lnTo>
                  <a:pt x="730951" y="366674"/>
                </a:lnTo>
                <a:lnTo>
                  <a:pt x="761405" y="397103"/>
                </a:lnTo>
                <a:lnTo>
                  <a:pt x="791860" y="409600"/>
                </a:lnTo>
                <a:lnTo>
                  <a:pt x="825877" y="413207"/>
                </a:lnTo>
                <a:lnTo>
                  <a:pt x="829439" y="432867"/>
                </a:lnTo>
                <a:cubicBezTo>
                  <a:pt x="835376" y="446583"/>
                  <a:pt x="841384" y="460299"/>
                  <a:pt x="847321" y="474015"/>
                </a:cubicBezTo>
                <a:lnTo>
                  <a:pt x="874213" y="482955"/>
                </a:lnTo>
                <a:lnTo>
                  <a:pt x="911862" y="477571"/>
                </a:lnTo>
                <a:lnTo>
                  <a:pt x="960198" y="461518"/>
                </a:lnTo>
                <a:lnTo>
                  <a:pt x="1012097" y="474015"/>
                </a:lnTo>
                <a:lnTo>
                  <a:pt x="1037173" y="499059"/>
                </a:lnTo>
                <a:lnTo>
                  <a:pt x="1064065" y="508000"/>
                </a:lnTo>
                <a:lnTo>
                  <a:pt x="1062327" y="511409"/>
                </a:lnTo>
                <a:lnTo>
                  <a:pt x="1067344" y="508000"/>
                </a:lnTo>
                <a:lnTo>
                  <a:pt x="1073470" y="520001"/>
                </a:lnTo>
                <a:lnTo>
                  <a:pt x="1057712" y="532910"/>
                </a:lnTo>
                <a:cubicBezTo>
                  <a:pt x="1060059" y="541524"/>
                  <a:pt x="1062376" y="550139"/>
                  <a:pt x="1064722" y="558753"/>
                </a:cubicBezTo>
                <a:lnTo>
                  <a:pt x="1083102" y="578142"/>
                </a:lnTo>
                <a:lnTo>
                  <a:pt x="1101512" y="585530"/>
                </a:lnTo>
                <a:cubicBezTo>
                  <a:pt x="1102396" y="591370"/>
                  <a:pt x="1103249" y="597211"/>
                  <a:pt x="1104133" y="603052"/>
                </a:cubicBezTo>
                <a:cubicBezTo>
                  <a:pt x="1103249" y="611346"/>
                  <a:pt x="1102396" y="619667"/>
                  <a:pt x="1101512" y="627962"/>
                </a:cubicBezTo>
                <a:lnTo>
                  <a:pt x="1112881" y="641803"/>
                </a:lnTo>
                <a:lnTo>
                  <a:pt x="1138301" y="654738"/>
                </a:lnTo>
                <a:lnTo>
                  <a:pt x="1167196" y="682422"/>
                </a:lnTo>
                <a:lnTo>
                  <a:pt x="1186460" y="688876"/>
                </a:lnTo>
                <a:lnTo>
                  <a:pt x="1210112" y="699037"/>
                </a:lnTo>
                <a:lnTo>
                  <a:pt x="1214501" y="711012"/>
                </a:lnTo>
                <a:lnTo>
                  <a:pt x="1222365" y="722107"/>
                </a:lnTo>
                <a:lnTo>
                  <a:pt x="1232881" y="718399"/>
                </a:lnTo>
                <a:lnTo>
                  <a:pt x="1248639" y="704558"/>
                </a:lnTo>
                <a:lnTo>
                  <a:pt x="1267933" y="704558"/>
                </a:lnTo>
                <a:lnTo>
                  <a:pt x="1281070" y="713785"/>
                </a:lnTo>
                <a:lnTo>
                  <a:pt x="1281070" y="735948"/>
                </a:lnTo>
                <a:lnTo>
                  <a:pt x="1298565" y="735015"/>
                </a:lnTo>
                <a:lnTo>
                  <a:pt x="1330996" y="735015"/>
                </a:lnTo>
                <a:lnTo>
                  <a:pt x="1345870" y="746083"/>
                </a:lnTo>
                <a:lnTo>
                  <a:pt x="1359891" y="758084"/>
                </a:lnTo>
                <a:cubicBezTo>
                  <a:pt x="1360775" y="763632"/>
                  <a:pt x="1361628" y="769152"/>
                  <a:pt x="1362512" y="774700"/>
                </a:cubicBezTo>
                <a:lnTo>
                  <a:pt x="1362512" y="774701"/>
                </a:lnTo>
                <a:lnTo>
                  <a:pt x="1362513" y="774700"/>
                </a:lnTo>
                <a:lnTo>
                  <a:pt x="1362513" y="790793"/>
                </a:lnTo>
                <a:lnTo>
                  <a:pt x="1376372" y="804266"/>
                </a:lnTo>
                <a:lnTo>
                  <a:pt x="1385624" y="823956"/>
                </a:lnTo>
                <a:lnTo>
                  <a:pt x="1379147" y="839135"/>
                </a:lnTo>
                <a:lnTo>
                  <a:pt x="1379147" y="850778"/>
                </a:lnTo>
                <a:lnTo>
                  <a:pt x="1370840" y="855289"/>
                </a:lnTo>
                <a:lnTo>
                  <a:pt x="1376372" y="895523"/>
                </a:lnTo>
                <a:lnTo>
                  <a:pt x="1379147" y="919724"/>
                </a:lnTo>
                <a:lnTo>
                  <a:pt x="1362513" y="927771"/>
                </a:lnTo>
                <a:lnTo>
                  <a:pt x="1362513" y="943864"/>
                </a:lnTo>
                <a:lnTo>
                  <a:pt x="1368064" y="952825"/>
                </a:lnTo>
                <a:lnTo>
                  <a:pt x="1385624" y="946546"/>
                </a:lnTo>
                <a:lnTo>
                  <a:pt x="1402258" y="942096"/>
                </a:lnTo>
                <a:lnTo>
                  <a:pt x="1438301" y="960872"/>
                </a:lnTo>
                <a:lnTo>
                  <a:pt x="1449384" y="978794"/>
                </a:lnTo>
                <a:cubicBezTo>
                  <a:pt x="1449069" y="984463"/>
                  <a:pt x="1448774" y="990133"/>
                  <a:pt x="1448459" y="995802"/>
                </a:cubicBezTo>
                <a:lnTo>
                  <a:pt x="1462317" y="1011042"/>
                </a:lnTo>
                <a:lnTo>
                  <a:pt x="1470644" y="1014578"/>
                </a:lnTo>
                <a:lnTo>
                  <a:pt x="1477120" y="1025368"/>
                </a:lnTo>
                <a:lnTo>
                  <a:pt x="1487278" y="1016406"/>
                </a:lnTo>
                <a:lnTo>
                  <a:pt x="1493754" y="1035182"/>
                </a:lnTo>
                <a:lnTo>
                  <a:pt x="1485428" y="1052190"/>
                </a:lnTo>
                <a:lnTo>
                  <a:pt x="1478951" y="1073709"/>
                </a:lnTo>
                <a:lnTo>
                  <a:pt x="1471569" y="1088888"/>
                </a:lnTo>
                <a:lnTo>
                  <a:pt x="1465093" y="1105896"/>
                </a:lnTo>
                <a:lnTo>
                  <a:pt x="1467868" y="1126500"/>
                </a:lnTo>
                <a:lnTo>
                  <a:pt x="1467868" y="1154237"/>
                </a:lnTo>
                <a:lnTo>
                  <a:pt x="1473420" y="1173074"/>
                </a:lnTo>
                <a:lnTo>
                  <a:pt x="1488203" y="1173074"/>
                </a:lnTo>
                <a:lnTo>
                  <a:pt x="1498361" y="1183803"/>
                </a:lnTo>
                <a:lnTo>
                  <a:pt x="1510388" y="1231229"/>
                </a:lnTo>
                <a:lnTo>
                  <a:pt x="1496530" y="1234826"/>
                </a:lnTo>
                <a:cubicBezTo>
                  <a:pt x="1495290" y="1239276"/>
                  <a:pt x="1494069" y="1243787"/>
                  <a:pt x="1492829" y="1248237"/>
                </a:cubicBezTo>
                <a:lnTo>
                  <a:pt x="1509463" y="1258966"/>
                </a:lnTo>
                <a:lnTo>
                  <a:pt x="1528873" y="1276888"/>
                </a:lnTo>
                <a:lnTo>
                  <a:pt x="1542731" y="1290300"/>
                </a:lnTo>
                <a:lnTo>
                  <a:pt x="1545507" y="1311819"/>
                </a:lnTo>
                <a:lnTo>
                  <a:pt x="1551964" y="1325230"/>
                </a:lnTo>
                <a:lnTo>
                  <a:pt x="1559365" y="1334191"/>
                </a:lnTo>
                <a:cubicBezTo>
                  <a:pt x="1558755" y="1338641"/>
                  <a:pt x="1558125" y="1343152"/>
                  <a:pt x="1557515" y="1347602"/>
                </a:cubicBezTo>
                <a:lnTo>
                  <a:pt x="1545507" y="1358331"/>
                </a:lnTo>
                <a:lnTo>
                  <a:pt x="1534404" y="1374425"/>
                </a:lnTo>
                <a:lnTo>
                  <a:pt x="1527022" y="1384300"/>
                </a:lnTo>
                <a:lnTo>
                  <a:pt x="1521808" y="1382492"/>
                </a:lnTo>
                <a:lnTo>
                  <a:pt x="1523372" y="1390387"/>
                </a:lnTo>
                <a:cubicBezTo>
                  <a:pt x="1510952" y="1409940"/>
                  <a:pt x="1503293" y="1412788"/>
                  <a:pt x="1490873" y="1432340"/>
                </a:cubicBezTo>
                <a:lnTo>
                  <a:pt x="1458891" y="1432340"/>
                </a:lnTo>
                <a:cubicBezTo>
                  <a:pt x="1460754" y="1428789"/>
                  <a:pt x="1462410" y="1425237"/>
                  <a:pt x="1464273" y="1421685"/>
                </a:cubicBezTo>
                <a:cubicBezTo>
                  <a:pt x="1457234" y="1416340"/>
                  <a:pt x="1449989" y="1411030"/>
                  <a:pt x="1442951" y="1405685"/>
                </a:cubicBezTo>
                <a:lnTo>
                  <a:pt x="1416351" y="1421685"/>
                </a:lnTo>
                <a:lnTo>
                  <a:pt x="1363151" y="1421685"/>
                </a:lnTo>
                <a:cubicBezTo>
                  <a:pt x="1354250" y="1430547"/>
                  <a:pt x="1345452" y="1439444"/>
                  <a:pt x="1336551" y="1448306"/>
                </a:cubicBezTo>
                <a:lnTo>
                  <a:pt x="1272691" y="1421685"/>
                </a:lnTo>
                <a:lnTo>
                  <a:pt x="1198169" y="1405685"/>
                </a:lnTo>
                <a:lnTo>
                  <a:pt x="1129030" y="1363064"/>
                </a:lnTo>
                <a:lnTo>
                  <a:pt x="1086491" y="1363064"/>
                </a:lnTo>
                <a:cubicBezTo>
                  <a:pt x="1077589" y="1379064"/>
                  <a:pt x="1068792" y="1395029"/>
                  <a:pt x="1059891" y="1411030"/>
                </a:cubicBezTo>
                <a:cubicBezTo>
                  <a:pt x="1054508" y="1419892"/>
                  <a:pt x="1049230" y="1428789"/>
                  <a:pt x="1043951" y="1437651"/>
                </a:cubicBezTo>
                <a:lnTo>
                  <a:pt x="1011969" y="1432340"/>
                </a:lnTo>
                <a:cubicBezTo>
                  <a:pt x="1008450" y="1426995"/>
                  <a:pt x="1004827" y="1421685"/>
                  <a:pt x="1001308" y="1416340"/>
                </a:cubicBezTo>
                <a:lnTo>
                  <a:pt x="953387" y="1411030"/>
                </a:lnTo>
                <a:lnTo>
                  <a:pt x="889630" y="1400375"/>
                </a:lnTo>
                <a:lnTo>
                  <a:pt x="841708" y="1363064"/>
                </a:lnTo>
                <a:lnTo>
                  <a:pt x="793787" y="1405685"/>
                </a:lnTo>
                <a:lnTo>
                  <a:pt x="767187" y="1432340"/>
                </a:lnTo>
                <a:cubicBezTo>
                  <a:pt x="765428" y="1441202"/>
                  <a:pt x="763668" y="1450099"/>
                  <a:pt x="761908" y="1458961"/>
                </a:cubicBezTo>
                <a:cubicBezTo>
                  <a:pt x="760045" y="1471410"/>
                  <a:pt x="758389" y="1483823"/>
                  <a:pt x="756526" y="1496272"/>
                </a:cubicBezTo>
                <a:lnTo>
                  <a:pt x="724648" y="1517583"/>
                </a:lnTo>
                <a:cubicBezTo>
                  <a:pt x="722785" y="1533548"/>
                  <a:pt x="721129" y="1549548"/>
                  <a:pt x="719266" y="1565514"/>
                </a:cubicBezTo>
                <a:lnTo>
                  <a:pt x="692666" y="1570859"/>
                </a:lnTo>
                <a:lnTo>
                  <a:pt x="650126" y="1554859"/>
                </a:lnTo>
                <a:lnTo>
                  <a:pt x="580884" y="1533548"/>
                </a:lnTo>
                <a:cubicBezTo>
                  <a:pt x="573845" y="1519341"/>
                  <a:pt x="566704" y="1505134"/>
                  <a:pt x="559666" y="1490927"/>
                </a:cubicBezTo>
                <a:cubicBezTo>
                  <a:pt x="565048" y="1478513"/>
                  <a:pt x="570326" y="1466065"/>
                  <a:pt x="575708" y="1453651"/>
                </a:cubicBezTo>
                <a:cubicBezTo>
                  <a:pt x="584506" y="1435892"/>
                  <a:pt x="593304" y="1418133"/>
                  <a:pt x="602205" y="1400375"/>
                </a:cubicBezTo>
                <a:lnTo>
                  <a:pt x="602205" y="1357718"/>
                </a:lnTo>
                <a:lnTo>
                  <a:pt x="602205" y="1331098"/>
                </a:lnTo>
                <a:lnTo>
                  <a:pt x="596926" y="1309787"/>
                </a:lnTo>
                <a:cubicBezTo>
                  <a:pt x="598686" y="1297338"/>
                  <a:pt x="600445" y="1284925"/>
                  <a:pt x="602205" y="1272476"/>
                </a:cubicBezTo>
                <a:cubicBezTo>
                  <a:pt x="596823" y="1260063"/>
                  <a:pt x="591648" y="1247614"/>
                  <a:pt x="586266" y="1235200"/>
                </a:cubicBezTo>
                <a:cubicBezTo>
                  <a:pt x="579228" y="1229855"/>
                  <a:pt x="571982" y="1224545"/>
                  <a:pt x="564944" y="1219200"/>
                </a:cubicBezTo>
                <a:lnTo>
                  <a:pt x="506466" y="1219200"/>
                </a:lnTo>
                <a:cubicBezTo>
                  <a:pt x="499428" y="1224545"/>
                  <a:pt x="492286" y="1229855"/>
                  <a:pt x="485144" y="1235200"/>
                </a:cubicBezTo>
                <a:lnTo>
                  <a:pt x="458544" y="1245856"/>
                </a:lnTo>
                <a:lnTo>
                  <a:pt x="461539" y="1241976"/>
                </a:lnTo>
                <a:lnTo>
                  <a:pt x="453864" y="1247733"/>
                </a:lnTo>
                <a:cubicBezTo>
                  <a:pt x="455048" y="1228647"/>
                  <a:pt x="470531" y="1218955"/>
                  <a:pt x="471714" y="1199869"/>
                </a:cubicBezTo>
                <a:lnTo>
                  <a:pt x="460872" y="1172990"/>
                </a:lnTo>
                <a:lnTo>
                  <a:pt x="439328" y="1171191"/>
                </a:lnTo>
                <a:cubicBezTo>
                  <a:pt x="438145" y="1158601"/>
                  <a:pt x="436914" y="1146011"/>
                  <a:pt x="435683" y="1133420"/>
                </a:cubicBezTo>
                <a:lnTo>
                  <a:pt x="457321" y="1117332"/>
                </a:lnTo>
                <a:cubicBezTo>
                  <a:pt x="456752" y="1107140"/>
                  <a:pt x="456090" y="1096948"/>
                  <a:pt x="455521" y="1086856"/>
                </a:cubicBezTo>
                <a:lnTo>
                  <a:pt x="473513" y="1063473"/>
                </a:lnTo>
                <a:lnTo>
                  <a:pt x="457321" y="993427"/>
                </a:lnTo>
                <a:lnTo>
                  <a:pt x="441080" y="979038"/>
                </a:lnTo>
                <a:lnTo>
                  <a:pt x="401498" y="934272"/>
                </a:lnTo>
                <a:lnTo>
                  <a:pt x="374510" y="896601"/>
                </a:lnTo>
                <a:lnTo>
                  <a:pt x="320533" y="871320"/>
                </a:lnTo>
                <a:lnTo>
                  <a:pt x="250316" y="844441"/>
                </a:lnTo>
                <a:lnTo>
                  <a:pt x="210734" y="788883"/>
                </a:lnTo>
                <a:cubicBezTo>
                  <a:pt x="211302" y="774594"/>
                  <a:pt x="211917" y="760105"/>
                  <a:pt x="212486" y="745716"/>
                </a:cubicBezTo>
                <a:lnTo>
                  <a:pt x="266509" y="720535"/>
                </a:lnTo>
                <a:lnTo>
                  <a:pt x="306139" y="682764"/>
                </a:lnTo>
                <a:lnTo>
                  <a:pt x="311537" y="634301"/>
                </a:lnTo>
                <a:lnTo>
                  <a:pt x="306139" y="564354"/>
                </a:lnTo>
                <a:lnTo>
                  <a:pt x="284501" y="519588"/>
                </a:lnTo>
                <a:lnTo>
                  <a:pt x="243119" y="467428"/>
                </a:lnTo>
                <a:lnTo>
                  <a:pt x="201690" y="417166"/>
                </a:lnTo>
                <a:lnTo>
                  <a:pt x="158509" y="390187"/>
                </a:lnTo>
                <a:lnTo>
                  <a:pt x="97336" y="354414"/>
                </a:lnTo>
                <a:lnTo>
                  <a:pt x="48710" y="327435"/>
                </a:lnTo>
                <a:lnTo>
                  <a:pt x="21722" y="311247"/>
                </a:lnTo>
                <a:cubicBezTo>
                  <a:pt x="19923" y="298057"/>
                  <a:pt x="6192" y="284967"/>
                  <a:pt x="4440" y="271777"/>
                </a:cubicBezTo>
                <a:cubicBezTo>
                  <a:pt x="6192" y="261585"/>
                  <a:pt x="-1526" y="251593"/>
                  <a:pt x="273" y="241400"/>
                </a:cubicBezTo>
                <a:lnTo>
                  <a:pt x="4672" y="241390"/>
                </a:lnTo>
                <a:lnTo>
                  <a:pt x="430" y="238919"/>
                </a:lnTo>
                <a:lnTo>
                  <a:pt x="41501" y="215990"/>
                </a:lnTo>
                <a:cubicBezTo>
                  <a:pt x="43804" y="207394"/>
                  <a:pt x="45739" y="198947"/>
                  <a:pt x="48138" y="190456"/>
                </a:cubicBezTo>
                <a:cubicBezTo>
                  <a:pt x="50042" y="171481"/>
                  <a:pt x="52472" y="152146"/>
                  <a:pt x="54442" y="133501"/>
                </a:cubicBezTo>
                <a:cubicBezTo>
                  <a:pt x="56346" y="118330"/>
                  <a:pt x="58541" y="103608"/>
                  <a:pt x="60874" y="89156"/>
                </a:cubicBezTo>
                <a:lnTo>
                  <a:pt x="60910" y="89169"/>
                </a:lnTo>
                <a:lnTo>
                  <a:pt x="60790" y="88888"/>
                </a:lnTo>
                <a:lnTo>
                  <a:pt x="105338" y="63420"/>
                </a:lnTo>
                <a:lnTo>
                  <a:pt x="137054" y="63420"/>
                </a:lnTo>
                <a:lnTo>
                  <a:pt x="193857" y="63420"/>
                </a:lnTo>
                <a:lnTo>
                  <a:pt x="245187" y="44507"/>
                </a:lnTo>
                <a:lnTo>
                  <a:pt x="282772" y="6336"/>
                </a:lnTo>
                <a:lnTo>
                  <a:pt x="340335" y="12697"/>
                </a:lnTo>
                <a:lnTo>
                  <a:pt x="364875" y="180"/>
                </a:lnTo>
                <a:lnTo>
                  <a:pt x="365416" y="1600"/>
                </a:lnTo>
                <a:close/>
              </a:path>
            </a:pathLst>
          </a:custGeom>
          <a:solidFill>
            <a:srgbClr val="70B0DF"/>
          </a:solidFill>
          <a:ln w="3175" cap="flat" cmpd="sng">
            <a:noFill/>
            <a:prstDash val="solid"/>
            <a:round/>
            <a:headEnd type="none" w="med" len="med"/>
            <a:tailEnd type="none" w="med" len="med"/>
          </a:ln>
        </p:spPr>
        <p:txBody>
          <a:bodyPr wrap="none" lIns="32632" tIns="32632" rIns="32632" bIns="32632" anchor="ctr"/>
          <a:lstStyle/>
          <a:p>
            <a:pPr defTabSz="891045"/>
            <a:endParaRPr lang="en-US" sz="1700" dirty="0">
              <a:solidFill>
                <a:srgbClr val="003149"/>
              </a:solidFill>
              <a:cs typeface="Arial" panose="020B0604020202020204" pitchFamily="34" charset="0"/>
            </a:endParaRPr>
          </a:p>
        </p:txBody>
      </p:sp>
      <p:sp>
        <p:nvSpPr>
          <p:cNvPr id="44" name="Freeform 653"/>
          <p:cNvSpPr>
            <a:spLocks noChangeAspect="1"/>
          </p:cNvSpPr>
          <p:nvPr>
            <p:custDataLst>
              <p:tags r:id="rId25"/>
            </p:custDataLst>
          </p:nvPr>
        </p:nvSpPr>
        <p:spPr bwMode="gray">
          <a:xfrm>
            <a:off x="2923183" y="3339990"/>
            <a:ext cx="201877" cy="169310"/>
          </a:xfrm>
          <a:custGeom>
            <a:avLst/>
            <a:gdLst>
              <a:gd name="T0" fmla="*/ 0 w 1168400"/>
              <a:gd name="T1" fmla="*/ 0 h 863599"/>
              <a:gd name="T2" fmla="*/ 0 w 1168400"/>
              <a:gd name="T3" fmla="*/ 0 h 863599"/>
              <a:gd name="T4" fmla="*/ 0 w 1168400"/>
              <a:gd name="T5" fmla="*/ 0 h 863599"/>
              <a:gd name="T6" fmla="*/ 0 w 1168400"/>
              <a:gd name="T7" fmla="*/ 0 h 863599"/>
              <a:gd name="T8" fmla="*/ 0 w 1168400"/>
              <a:gd name="T9" fmla="*/ 0 h 863599"/>
              <a:gd name="T10" fmla="*/ 0 w 1168400"/>
              <a:gd name="T11" fmla="*/ 0 h 863599"/>
              <a:gd name="T12" fmla="*/ 0 w 1168400"/>
              <a:gd name="T13" fmla="*/ 0 h 863599"/>
              <a:gd name="T14" fmla="*/ 0 w 1168400"/>
              <a:gd name="T15" fmla="*/ 0 h 863599"/>
              <a:gd name="T16" fmla="*/ 0 w 1168400"/>
              <a:gd name="T17" fmla="*/ 0 h 863599"/>
              <a:gd name="T18" fmla="*/ 0 w 1168400"/>
              <a:gd name="T19" fmla="*/ 0 h 863599"/>
              <a:gd name="T20" fmla="*/ 0 w 1168400"/>
              <a:gd name="T21" fmla="*/ 0 h 863599"/>
              <a:gd name="T22" fmla="*/ 0 w 1168400"/>
              <a:gd name="T23" fmla="*/ 0 h 863599"/>
              <a:gd name="T24" fmla="*/ 0 w 1168400"/>
              <a:gd name="T25" fmla="*/ 0 h 863599"/>
              <a:gd name="T26" fmla="*/ 0 w 1168400"/>
              <a:gd name="T27" fmla="*/ 0 h 863599"/>
              <a:gd name="T28" fmla="*/ 0 w 1168400"/>
              <a:gd name="T29" fmla="*/ 0 h 863599"/>
              <a:gd name="T30" fmla="*/ 0 w 1168400"/>
              <a:gd name="T31" fmla="*/ 0 h 863599"/>
              <a:gd name="T32" fmla="*/ 0 w 1168400"/>
              <a:gd name="T33" fmla="*/ 0 h 863599"/>
              <a:gd name="T34" fmla="*/ 0 w 1168400"/>
              <a:gd name="T35" fmla="*/ 0 h 863599"/>
              <a:gd name="T36" fmla="*/ 0 w 1168400"/>
              <a:gd name="T37" fmla="*/ 0 h 863599"/>
              <a:gd name="T38" fmla="*/ 0 w 1168400"/>
              <a:gd name="T39" fmla="*/ 0 h 863599"/>
              <a:gd name="T40" fmla="*/ 0 w 1168400"/>
              <a:gd name="T41" fmla="*/ 0 h 863599"/>
              <a:gd name="T42" fmla="*/ 0 w 1168400"/>
              <a:gd name="T43" fmla="*/ 0 h 863599"/>
              <a:gd name="T44" fmla="*/ 0 w 1168400"/>
              <a:gd name="T45" fmla="*/ 0 h 863599"/>
              <a:gd name="T46" fmla="*/ 0 w 1168400"/>
              <a:gd name="T47" fmla="*/ 0 h 863599"/>
              <a:gd name="T48" fmla="*/ 0 w 1168400"/>
              <a:gd name="T49" fmla="*/ 0 h 863599"/>
              <a:gd name="T50" fmla="*/ 0 w 1168400"/>
              <a:gd name="T51" fmla="*/ 0 h 863599"/>
              <a:gd name="T52" fmla="*/ 0 w 1168400"/>
              <a:gd name="T53" fmla="*/ 0 h 863599"/>
              <a:gd name="T54" fmla="*/ 0 w 1168400"/>
              <a:gd name="T55" fmla="*/ 0 h 863599"/>
              <a:gd name="T56" fmla="*/ 0 w 1168400"/>
              <a:gd name="T57" fmla="*/ 0 h 863599"/>
              <a:gd name="T58" fmla="*/ 0 w 1168400"/>
              <a:gd name="T59" fmla="*/ 0 h 863599"/>
              <a:gd name="T60" fmla="*/ 0 w 1168400"/>
              <a:gd name="T61" fmla="*/ 0 h 863599"/>
              <a:gd name="T62" fmla="*/ 0 w 1168400"/>
              <a:gd name="T63" fmla="*/ 0 h 863599"/>
              <a:gd name="T64" fmla="*/ 0 w 1168400"/>
              <a:gd name="T65" fmla="*/ 0 h 863599"/>
              <a:gd name="T66" fmla="*/ 0 w 1168400"/>
              <a:gd name="T67" fmla="*/ 0 h 863599"/>
              <a:gd name="T68" fmla="*/ 0 w 1168400"/>
              <a:gd name="T69" fmla="*/ 0 h 863599"/>
              <a:gd name="T70" fmla="*/ 0 w 1168400"/>
              <a:gd name="T71" fmla="*/ 0 h 863599"/>
              <a:gd name="T72" fmla="*/ 0 w 1168400"/>
              <a:gd name="T73" fmla="*/ 0 h 863599"/>
              <a:gd name="T74" fmla="*/ 0 w 1168400"/>
              <a:gd name="T75" fmla="*/ 0 h 863599"/>
              <a:gd name="T76" fmla="*/ 0 w 1168400"/>
              <a:gd name="T77" fmla="*/ 0 h 863599"/>
              <a:gd name="T78" fmla="*/ 0 w 1168400"/>
              <a:gd name="T79" fmla="*/ 0 h 863599"/>
              <a:gd name="T80" fmla="*/ 0 w 1168400"/>
              <a:gd name="T81" fmla="*/ 0 h 863599"/>
              <a:gd name="T82" fmla="*/ 0 w 1168400"/>
              <a:gd name="T83" fmla="*/ 0 h 863599"/>
              <a:gd name="T84" fmla="*/ 0 w 1168400"/>
              <a:gd name="T85" fmla="*/ 0 h 863599"/>
              <a:gd name="T86" fmla="*/ 0 w 1168400"/>
              <a:gd name="T87" fmla="*/ 0 h 863599"/>
              <a:gd name="T88" fmla="*/ 0 w 1168400"/>
              <a:gd name="T89" fmla="*/ 0 h 863599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w 1168400"/>
              <a:gd name="T136" fmla="*/ 0 h 863599"/>
              <a:gd name="T137" fmla="*/ 1168400 w 1168400"/>
              <a:gd name="T138" fmla="*/ 863599 h 863599"/>
            </a:gdLst>
            <a:ahLst/>
            <a:cxnLst>
              <a:cxn ang="T90">
                <a:pos x="T0" y="T1"/>
              </a:cxn>
              <a:cxn ang="T91">
                <a:pos x="T2" y="T3"/>
              </a:cxn>
              <a:cxn ang="T92">
                <a:pos x="T4" y="T5"/>
              </a:cxn>
              <a:cxn ang="T93">
                <a:pos x="T6" y="T7"/>
              </a:cxn>
              <a:cxn ang="T94">
                <a:pos x="T8" y="T9"/>
              </a:cxn>
              <a:cxn ang="T95">
                <a:pos x="T10" y="T11"/>
              </a:cxn>
              <a:cxn ang="T96">
                <a:pos x="T12" y="T13"/>
              </a:cxn>
              <a:cxn ang="T97">
                <a:pos x="T14" y="T15"/>
              </a:cxn>
              <a:cxn ang="T98">
                <a:pos x="T16" y="T17"/>
              </a:cxn>
              <a:cxn ang="T99">
                <a:pos x="T18" y="T19"/>
              </a:cxn>
              <a:cxn ang="T100">
                <a:pos x="T20" y="T21"/>
              </a:cxn>
              <a:cxn ang="T101">
                <a:pos x="T22" y="T23"/>
              </a:cxn>
              <a:cxn ang="T102">
                <a:pos x="T24" y="T25"/>
              </a:cxn>
              <a:cxn ang="T103">
                <a:pos x="T26" y="T27"/>
              </a:cxn>
              <a:cxn ang="T104">
                <a:pos x="T28" y="T29"/>
              </a:cxn>
              <a:cxn ang="T105">
                <a:pos x="T30" y="T31"/>
              </a:cxn>
              <a:cxn ang="T106">
                <a:pos x="T32" y="T33"/>
              </a:cxn>
              <a:cxn ang="T107">
                <a:pos x="T34" y="T35"/>
              </a:cxn>
              <a:cxn ang="T108">
                <a:pos x="T36" y="T37"/>
              </a:cxn>
              <a:cxn ang="T109">
                <a:pos x="T38" y="T39"/>
              </a:cxn>
              <a:cxn ang="T110">
                <a:pos x="T40" y="T41"/>
              </a:cxn>
              <a:cxn ang="T111">
                <a:pos x="T42" y="T43"/>
              </a:cxn>
              <a:cxn ang="T112">
                <a:pos x="T44" y="T45"/>
              </a:cxn>
              <a:cxn ang="T113">
                <a:pos x="T46" y="T47"/>
              </a:cxn>
              <a:cxn ang="T114">
                <a:pos x="T48" y="T49"/>
              </a:cxn>
              <a:cxn ang="T115">
                <a:pos x="T50" y="T51"/>
              </a:cxn>
              <a:cxn ang="T116">
                <a:pos x="T52" y="T53"/>
              </a:cxn>
              <a:cxn ang="T117">
                <a:pos x="T54" y="T55"/>
              </a:cxn>
              <a:cxn ang="T118">
                <a:pos x="T56" y="T57"/>
              </a:cxn>
              <a:cxn ang="T119">
                <a:pos x="T58" y="T59"/>
              </a:cxn>
              <a:cxn ang="T120">
                <a:pos x="T60" y="T61"/>
              </a:cxn>
              <a:cxn ang="T121">
                <a:pos x="T62" y="T63"/>
              </a:cxn>
              <a:cxn ang="T122">
                <a:pos x="T64" y="T65"/>
              </a:cxn>
              <a:cxn ang="T123">
                <a:pos x="T66" y="T67"/>
              </a:cxn>
              <a:cxn ang="T124">
                <a:pos x="T68" y="T69"/>
              </a:cxn>
              <a:cxn ang="T125">
                <a:pos x="T70" y="T71"/>
              </a:cxn>
              <a:cxn ang="T126">
                <a:pos x="T72" y="T73"/>
              </a:cxn>
              <a:cxn ang="T127">
                <a:pos x="T74" y="T75"/>
              </a:cxn>
              <a:cxn ang="T128">
                <a:pos x="T76" y="T77"/>
              </a:cxn>
              <a:cxn ang="T129">
                <a:pos x="T78" y="T79"/>
              </a:cxn>
              <a:cxn ang="T130">
                <a:pos x="T80" y="T81"/>
              </a:cxn>
              <a:cxn ang="T131">
                <a:pos x="T82" y="T83"/>
              </a:cxn>
              <a:cxn ang="T132">
                <a:pos x="T84" y="T85"/>
              </a:cxn>
              <a:cxn ang="T133">
                <a:pos x="T86" y="T87"/>
              </a:cxn>
              <a:cxn ang="T134">
                <a:pos x="T88" y="T89"/>
              </a:cxn>
            </a:cxnLst>
            <a:rect l="T135" t="T136" r="T137" b="T138"/>
            <a:pathLst>
              <a:path w="1168400" h="863599">
                <a:moveTo>
                  <a:pt x="100709" y="0"/>
                </a:moveTo>
                <a:lnTo>
                  <a:pt x="138819" y="916"/>
                </a:lnTo>
                <a:lnTo>
                  <a:pt x="183228" y="16329"/>
                </a:lnTo>
                <a:lnTo>
                  <a:pt x="223149" y="46262"/>
                </a:lnTo>
                <a:lnTo>
                  <a:pt x="262126" y="43537"/>
                </a:lnTo>
                <a:cubicBezTo>
                  <a:pt x="268504" y="39918"/>
                  <a:pt x="274803" y="36277"/>
                  <a:pt x="281181" y="32658"/>
                </a:cubicBezTo>
                <a:lnTo>
                  <a:pt x="381023" y="35384"/>
                </a:lnTo>
                <a:cubicBezTo>
                  <a:pt x="382834" y="38109"/>
                  <a:pt x="384645" y="40811"/>
                  <a:pt x="386456" y="43537"/>
                </a:cubicBezTo>
                <a:lnTo>
                  <a:pt x="411810" y="58057"/>
                </a:lnTo>
                <a:lnTo>
                  <a:pt x="465354" y="79837"/>
                </a:lnTo>
                <a:cubicBezTo>
                  <a:pt x="472046" y="87989"/>
                  <a:pt x="478661" y="96166"/>
                  <a:pt x="485354" y="104319"/>
                </a:cubicBezTo>
                <a:lnTo>
                  <a:pt x="526141" y="138786"/>
                </a:lnTo>
                <a:lnTo>
                  <a:pt x="564251" y="144237"/>
                </a:lnTo>
                <a:lnTo>
                  <a:pt x="593306" y="126099"/>
                </a:lnTo>
                <a:lnTo>
                  <a:pt x="636849" y="127908"/>
                </a:lnTo>
                <a:lnTo>
                  <a:pt x="678581" y="127908"/>
                </a:lnTo>
                <a:lnTo>
                  <a:pt x="700314" y="117922"/>
                </a:lnTo>
                <a:lnTo>
                  <a:pt x="752046" y="95249"/>
                </a:lnTo>
                <a:lnTo>
                  <a:pt x="781967" y="81646"/>
                </a:lnTo>
                <a:lnTo>
                  <a:pt x="787400" y="59866"/>
                </a:lnTo>
                <a:lnTo>
                  <a:pt x="788866" y="61747"/>
                </a:lnTo>
                <a:lnTo>
                  <a:pt x="787399" y="57151"/>
                </a:lnTo>
                <a:lnTo>
                  <a:pt x="803744" y="62533"/>
                </a:lnTo>
                <a:lnTo>
                  <a:pt x="829119" y="73298"/>
                </a:lnTo>
                <a:lnTo>
                  <a:pt x="850912" y="75081"/>
                </a:lnTo>
                <a:lnTo>
                  <a:pt x="869048" y="103808"/>
                </a:lnTo>
                <a:lnTo>
                  <a:pt x="889012" y="128937"/>
                </a:lnTo>
                <a:cubicBezTo>
                  <a:pt x="892022" y="137324"/>
                  <a:pt x="895070" y="145678"/>
                  <a:pt x="898080" y="154065"/>
                </a:cubicBezTo>
                <a:lnTo>
                  <a:pt x="918044" y="175594"/>
                </a:lnTo>
                <a:lnTo>
                  <a:pt x="943419" y="182759"/>
                </a:lnTo>
                <a:lnTo>
                  <a:pt x="961554" y="175594"/>
                </a:lnTo>
                <a:lnTo>
                  <a:pt x="983347" y="166612"/>
                </a:lnTo>
                <a:lnTo>
                  <a:pt x="1028686" y="164829"/>
                </a:lnTo>
                <a:lnTo>
                  <a:pt x="1054099" y="186358"/>
                </a:lnTo>
                <a:lnTo>
                  <a:pt x="1081302" y="238398"/>
                </a:lnTo>
                <a:lnTo>
                  <a:pt x="1097647" y="311966"/>
                </a:lnTo>
                <a:lnTo>
                  <a:pt x="1130299" y="338911"/>
                </a:lnTo>
                <a:lnTo>
                  <a:pt x="1144815" y="349675"/>
                </a:lnTo>
                <a:lnTo>
                  <a:pt x="1168399" y="387350"/>
                </a:lnTo>
                <a:lnTo>
                  <a:pt x="1168400" y="387351"/>
                </a:lnTo>
                <a:lnTo>
                  <a:pt x="1148451" y="389161"/>
                </a:lnTo>
                <a:lnTo>
                  <a:pt x="1119379" y="392780"/>
                </a:lnTo>
                <a:cubicBezTo>
                  <a:pt x="1114467" y="406020"/>
                  <a:pt x="1109755" y="419212"/>
                  <a:pt x="1104943" y="432452"/>
                </a:cubicBezTo>
                <a:lnTo>
                  <a:pt x="1075771" y="452311"/>
                </a:lnTo>
                <a:lnTo>
                  <a:pt x="1033968" y="495602"/>
                </a:lnTo>
                <a:lnTo>
                  <a:pt x="994069" y="519033"/>
                </a:lnTo>
                <a:lnTo>
                  <a:pt x="939635" y="537083"/>
                </a:lnTo>
                <a:lnTo>
                  <a:pt x="912367" y="553323"/>
                </a:lnTo>
                <a:cubicBezTo>
                  <a:pt x="905650" y="559943"/>
                  <a:pt x="899034" y="566563"/>
                  <a:pt x="892318" y="573183"/>
                </a:cubicBezTo>
                <a:lnTo>
                  <a:pt x="865150" y="574945"/>
                </a:lnTo>
                <a:lnTo>
                  <a:pt x="834274" y="591185"/>
                </a:lnTo>
                <a:lnTo>
                  <a:pt x="836078" y="602044"/>
                </a:lnTo>
                <a:cubicBezTo>
                  <a:pt x="836780" y="609235"/>
                  <a:pt x="837382" y="616474"/>
                  <a:pt x="837983" y="623665"/>
                </a:cubicBezTo>
                <a:lnTo>
                  <a:pt x="814325" y="639905"/>
                </a:lnTo>
                <a:cubicBezTo>
                  <a:pt x="812520" y="647144"/>
                  <a:pt x="810716" y="654336"/>
                  <a:pt x="808911" y="661575"/>
                </a:cubicBezTo>
                <a:lnTo>
                  <a:pt x="768912" y="683196"/>
                </a:lnTo>
                <a:lnTo>
                  <a:pt x="741645" y="704866"/>
                </a:lnTo>
                <a:lnTo>
                  <a:pt x="712673" y="703056"/>
                </a:lnTo>
                <a:lnTo>
                  <a:pt x="658138" y="694007"/>
                </a:lnTo>
                <a:lnTo>
                  <a:pt x="618140" y="708437"/>
                </a:lnTo>
                <a:cubicBezTo>
                  <a:pt x="616937" y="716248"/>
                  <a:pt x="615734" y="724106"/>
                  <a:pt x="614531" y="731916"/>
                </a:cubicBezTo>
                <a:lnTo>
                  <a:pt x="576436" y="751776"/>
                </a:lnTo>
                <a:lnTo>
                  <a:pt x="554683" y="746347"/>
                </a:lnTo>
                <a:lnTo>
                  <a:pt x="560096" y="726487"/>
                </a:lnTo>
                <a:cubicBezTo>
                  <a:pt x="555886" y="723487"/>
                  <a:pt x="551575" y="720486"/>
                  <a:pt x="547365" y="717486"/>
                </a:cubicBezTo>
                <a:lnTo>
                  <a:pt x="527415" y="722868"/>
                </a:lnTo>
                <a:cubicBezTo>
                  <a:pt x="523806" y="731297"/>
                  <a:pt x="520097" y="739727"/>
                  <a:pt x="516488" y="748156"/>
                </a:cubicBezTo>
                <a:lnTo>
                  <a:pt x="516488" y="775207"/>
                </a:lnTo>
                <a:cubicBezTo>
                  <a:pt x="509772" y="781208"/>
                  <a:pt x="503155" y="787256"/>
                  <a:pt x="496439" y="793257"/>
                </a:cubicBezTo>
                <a:lnTo>
                  <a:pt x="476489" y="791447"/>
                </a:lnTo>
                <a:lnTo>
                  <a:pt x="431177" y="818498"/>
                </a:lnTo>
                <a:lnTo>
                  <a:pt x="429373" y="832929"/>
                </a:lnTo>
                <a:cubicBezTo>
                  <a:pt x="427568" y="838358"/>
                  <a:pt x="425664" y="843739"/>
                  <a:pt x="423859" y="849169"/>
                </a:cubicBezTo>
                <a:cubicBezTo>
                  <a:pt x="420250" y="849788"/>
                  <a:pt x="416541" y="850359"/>
                  <a:pt x="412932" y="850978"/>
                </a:cubicBezTo>
                <a:lnTo>
                  <a:pt x="376642" y="861789"/>
                </a:lnTo>
                <a:lnTo>
                  <a:pt x="331330" y="863599"/>
                </a:lnTo>
                <a:lnTo>
                  <a:pt x="311281" y="852788"/>
                </a:lnTo>
                <a:lnTo>
                  <a:pt x="284013" y="852788"/>
                </a:lnTo>
                <a:lnTo>
                  <a:pt x="254941" y="861789"/>
                </a:lnTo>
                <a:lnTo>
                  <a:pt x="207825" y="859980"/>
                </a:lnTo>
                <a:lnTo>
                  <a:pt x="165921" y="847359"/>
                </a:lnTo>
                <a:lnTo>
                  <a:pt x="169621" y="844468"/>
                </a:lnTo>
                <a:lnTo>
                  <a:pt x="164510" y="844550"/>
                </a:lnTo>
                <a:lnTo>
                  <a:pt x="171892" y="834674"/>
                </a:lnTo>
                <a:lnTo>
                  <a:pt x="182994" y="818581"/>
                </a:lnTo>
                <a:lnTo>
                  <a:pt x="195002" y="807852"/>
                </a:lnTo>
                <a:cubicBezTo>
                  <a:pt x="195612" y="803402"/>
                  <a:pt x="196242" y="798891"/>
                  <a:pt x="196852" y="794441"/>
                </a:cubicBezTo>
                <a:lnTo>
                  <a:pt x="189451" y="785480"/>
                </a:lnTo>
                <a:lnTo>
                  <a:pt x="182994" y="772069"/>
                </a:lnTo>
                <a:lnTo>
                  <a:pt x="180218" y="750550"/>
                </a:lnTo>
                <a:lnTo>
                  <a:pt x="166360" y="737138"/>
                </a:lnTo>
                <a:lnTo>
                  <a:pt x="146950" y="719216"/>
                </a:lnTo>
                <a:lnTo>
                  <a:pt x="130316" y="708487"/>
                </a:lnTo>
                <a:cubicBezTo>
                  <a:pt x="131557" y="704037"/>
                  <a:pt x="132777" y="699526"/>
                  <a:pt x="134017" y="695076"/>
                </a:cubicBezTo>
                <a:lnTo>
                  <a:pt x="147876" y="691479"/>
                </a:lnTo>
                <a:lnTo>
                  <a:pt x="135848" y="644052"/>
                </a:lnTo>
                <a:lnTo>
                  <a:pt x="125690" y="633324"/>
                </a:lnTo>
                <a:lnTo>
                  <a:pt x="110907" y="633324"/>
                </a:lnTo>
                <a:lnTo>
                  <a:pt x="105356" y="614487"/>
                </a:lnTo>
                <a:lnTo>
                  <a:pt x="105356" y="586750"/>
                </a:lnTo>
                <a:lnTo>
                  <a:pt x="102580" y="566146"/>
                </a:lnTo>
                <a:lnTo>
                  <a:pt x="109056" y="549138"/>
                </a:lnTo>
                <a:lnTo>
                  <a:pt x="116438" y="533959"/>
                </a:lnTo>
                <a:lnTo>
                  <a:pt x="122915" y="512440"/>
                </a:lnTo>
                <a:lnTo>
                  <a:pt x="131242" y="495432"/>
                </a:lnTo>
                <a:lnTo>
                  <a:pt x="124765" y="476656"/>
                </a:lnTo>
                <a:lnTo>
                  <a:pt x="114608" y="485617"/>
                </a:lnTo>
                <a:lnTo>
                  <a:pt x="108131" y="474827"/>
                </a:lnTo>
                <a:lnTo>
                  <a:pt x="99804" y="471292"/>
                </a:lnTo>
                <a:lnTo>
                  <a:pt x="85946" y="456052"/>
                </a:lnTo>
                <a:cubicBezTo>
                  <a:pt x="86261" y="450382"/>
                  <a:pt x="86556" y="444713"/>
                  <a:pt x="86871" y="439044"/>
                </a:cubicBezTo>
                <a:lnTo>
                  <a:pt x="75788" y="421122"/>
                </a:lnTo>
                <a:lnTo>
                  <a:pt x="39745" y="402346"/>
                </a:lnTo>
                <a:lnTo>
                  <a:pt x="23111" y="406796"/>
                </a:lnTo>
                <a:lnTo>
                  <a:pt x="5551" y="413075"/>
                </a:lnTo>
                <a:lnTo>
                  <a:pt x="0" y="404114"/>
                </a:lnTo>
                <a:lnTo>
                  <a:pt x="0" y="388020"/>
                </a:lnTo>
                <a:lnTo>
                  <a:pt x="16634" y="379974"/>
                </a:lnTo>
                <a:lnTo>
                  <a:pt x="13859" y="355773"/>
                </a:lnTo>
                <a:lnTo>
                  <a:pt x="8327" y="315539"/>
                </a:lnTo>
                <a:lnTo>
                  <a:pt x="16634" y="311028"/>
                </a:lnTo>
                <a:lnTo>
                  <a:pt x="16634" y="299384"/>
                </a:lnTo>
                <a:lnTo>
                  <a:pt x="23111" y="284205"/>
                </a:lnTo>
                <a:lnTo>
                  <a:pt x="13859" y="264515"/>
                </a:lnTo>
                <a:lnTo>
                  <a:pt x="0" y="251043"/>
                </a:lnTo>
                <a:lnTo>
                  <a:pt x="0" y="234952"/>
                </a:lnTo>
                <a:lnTo>
                  <a:pt x="0" y="234950"/>
                </a:lnTo>
                <a:lnTo>
                  <a:pt x="2" y="234950"/>
                </a:lnTo>
                <a:cubicBezTo>
                  <a:pt x="4568" y="228301"/>
                  <a:pt x="9056" y="221653"/>
                  <a:pt x="13622" y="215004"/>
                </a:cubicBezTo>
                <a:cubicBezTo>
                  <a:pt x="15748" y="205019"/>
                  <a:pt x="17795" y="195033"/>
                  <a:pt x="19921" y="185048"/>
                </a:cubicBezTo>
                <a:lnTo>
                  <a:pt x="19921" y="152390"/>
                </a:lnTo>
                <a:cubicBezTo>
                  <a:pt x="18740" y="137282"/>
                  <a:pt x="17481" y="122151"/>
                  <a:pt x="16299" y="107044"/>
                </a:cubicBezTo>
                <a:cubicBezTo>
                  <a:pt x="19921" y="99784"/>
                  <a:pt x="23622" y="92524"/>
                  <a:pt x="27244" y="85264"/>
                </a:cubicBezTo>
                <a:lnTo>
                  <a:pt x="48977" y="44453"/>
                </a:lnTo>
                <a:lnTo>
                  <a:pt x="71654" y="17245"/>
                </a:lnTo>
                <a:close/>
              </a:path>
            </a:pathLst>
          </a:custGeom>
          <a:solidFill>
            <a:srgbClr val="70B0DF"/>
          </a:solidFill>
          <a:ln w="3175" cap="flat" cmpd="sng">
            <a:noFill/>
            <a:prstDash val="solid"/>
            <a:round/>
            <a:headEnd type="none" w="med" len="med"/>
            <a:tailEnd type="none" w="med" len="med"/>
          </a:ln>
        </p:spPr>
        <p:txBody>
          <a:bodyPr wrap="none" lIns="32632" tIns="32632" rIns="32632" bIns="32632" anchor="ctr"/>
          <a:lstStyle/>
          <a:p>
            <a:pPr defTabSz="891045"/>
            <a:endParaRPr lang="en-US" sz="1700" dirty="0">
              <a:solidFill>
                <a:srgbClr val="003149"/>
              </a:solidFill>
              <a:cs typeface="Arial" panose="020B0604020202020204" pitchFamily="34" charset="0"/>
            </a:endParaRPr>
          </a:p>
        </p:txBody>
      </p:sp>
      <p:sp>
        <p:nvSpPr>
          <p:cNvPr id="45" name="Freeform 703"/>
          <p:cNvSpPr>
            <a:spLocks noChangeAspect="1"/>
          </p:cNvSpPr>
          <p:nvPr>
            <p:custDataLst>
              <p:tags r:id="rId26"/>
            </p:custDataLst>
          </p:nvPr>
        </p:nvSpPr>
        <p:spPr bwMode="gray">
          <a:xfrm>
            <a:off x="3159205" y="3185053"/>
            <a:ext cx="169179" cy="176485"/>
          </a:xfrm>
          <a:custGeom>
            <a:avLst/>
            <a:gdLst>
              <a:gd name="T0" fmla="*/ 0 w 984246"/>
              <a:gd name="T1" fmla="*/ 0 h 895351"/>
              <a:gd name="T2" fmla="*/ 0 w 984246"/>
              <a:gd name="T3" fmla="*/ 0 h 895351"/>
              <a:gd name="T4" fmla="*/ 0 w 984246"/>
              <a:gd name="T5" fmla="*/ 0 h 895351"/>
              <a:gd name="T6" fmla="*/ 0 w 984246"/>
              <a:gd name="T7" fmla="*/ 0 h 895351"/>
              <a:gd name="T8" fmla="*/ 0 w 984246"/>
              <a:gd name="T9" fmla="*/ 0 h 895351"/>
              <a:gd name="T10" fmla="*/ 0 w 984246"/>
              <a:gd name="T11" fmla="*/ 0 h 895351"/>
              <a:gd name="T12" fmla="*/ 0 w 984246"/>
              <a:gd name="T13" fmla="*/ 0 h 895351"/>
              <a:gd name="T14" fmla="*/ 0 w 984246"/>
              <a:gd name="T15" fmla="*/ 0 h 895351"/>
              <a:gd name="T16" fmla="*/ 0 w 984246"/>
              <a:gd name="T17" fmla="*/ 0 h 895351"/>
              <a:gd name="T18" fmla="*/ 0 w 984246"/>
              <a:gd name="T19" fmla="*/ 0 h 895351"/>
              <a:gd name="T20" fmla="*/ 0 w 984246"/>
              <a:gd name="T21" fmla="*/ 0 h 895351"/>
              <a:gd name="T22" fmla="*/ 0 w 984246"/>
              <a:gd name="T23" fmla="*/ 0 h 895351"/>
              <a:gd name="T24" fmla="*/ 0 w 984246"/>
              <a:gd name="T25" fmla="*/ 0 h 895351"/>
              <a:gd name="T26" fmla="*/ 0 w 984246"/>
              <a:gd name="T27" fmla="*/ 0 h 895351"/>
              <a:gd name="T28" fmla="*/ 0 w 984246"/>
              <a:gd name="T29" fmla="*/ 0 h 895351"/>
              <a:gd name="T30" fmla="*/ 0 w 984246"/>
              <a:gd name="T31" fmla="*/ 0 h 895351"/>
              <a:gd name="T32" fmla="*/ 0 w 984246"/>
              <a:gd name="T33" fmla="*/ 0 h 895351"/>
              <a:gd name="T34" fmla="*/ 0 w 984246"/>
              <a:gd name="T35" fmla="*/ 0 h 895351"/>
              <a:gd name="T36" fmla="*/ 0 w 984246"/>
              <a:gd name="T37" fmla="*/ 0 h 895351"/>
              <a:gd name="T38" fmla="*/ 0 w 984246"/>
              <a:gd name="T39" fmla="*/ 0 h 895351"/>
              <a:gd name="T40" fmla="*/ 0 w 984246"/>
              <a:gd name="T41" fmla="*/ 0 h 895351"/>
              <a:gd name="T42" fmla="*/ 0 w 984246"/>
              <a:gd name="T43" fmla="*/ 0 h 895351"/>
              <a:gd name="T44" fmla="*/ 0 w 984246"/>
              <a:gd name="T45" fmla="*/ 0 h 895351"/>
              <a:gd name="T46" fmla="*/ 0 w 984246"/>
              <a:gd name="T47" fmla="*/ 0 h 895351"/>
              <a:gd name="T48" fmla="*/ 0 w 984246"/>
              <a:gd name="T49" fmla="*/ 0 h 895351"/>
              <a:gd name="T50" fmla="*/ 0 w 984246"/>
              <a:gd name="T51" fmla="*/ 0 h 895351"/>
              <a:gd name="T52" fmla="*/ 0 w 984246"/>
              <a:gd name="T53" fmla="*/ 0 h 895351"/>
              <a:gd name="T54" fmla="*/ 0 w 984246"/>
              <a:gd name="T55" fmla="*/ 0 h 895351"/>
              <a:gd name="T56" fmla="*/ 0 w 984246"/>
              <a:gd name="T57" fmla="*/ 0 h 895351"/>
              <a:gd name="T58" fmla="*/ 0 w 984246"/>
              <a:gd name="T59" fmla="*/ 0 h 895351"/>
              <a:gd name="T60" fmla="*/ 0 w 984246"/>
              <a:gd name="T61" fmla="*/ 0 h 895351"/>
              <a:gd name="T62" fmla="*/ 0 w 984246"/>
              <a:gd name="T63" fmla="*/ 0 h 895351"/>
              <a:gd name="T64" fmla="*/ 0 w 984246"/>
              <a:gd name="T65" fmla="*/ 0 h 895351"/>
              <a:gd name="T66" fmla="*/ 0 w 984246"/>
              <a:gd name="T67" fmla="*/ 0 h 895351"/>
              <a:gd name="T68" fmla="*/ 0 w 984246"/>
              <a:gd name="T69" fmla="*/ 0 h 895351"/>
              <a:gd name="T70" fmla="*/ 0 w 984246"/>
              <a:gd name="T71" fmla="*/ 0 h 895351"/>
              <a:gd name="T72" fmla="*/ 0 w 984246"/>
              <a:gd name="T73" fmla="*/ 0 h 895351"/>
              <a:gd name="T74" fmla="*/ 0 w 984246"/>
              <a:gd name="T75" fmla="*/ 0 h 895351"/>
              <a:gd name="T76" fmla="*/ 0 w 984246"/>
              <a:gd name="T77" fmla="*/ 0 h 895351"/>
              <a:gd name="T78" fmla="*/ 0 w 984246"/>
              <a:gd name="T79" fmla="*/ 0 h 895351"/>
              <a:gd name="T80" fmla="*/ 0 w 984246"/>
              <a:gd name="T81" fmla="*/ 0 h 895351"/>
              <a:gd name="T82" fmla="*/ 0 w 984246"/>
              <a:gd name="T83" fmla="*/ 0 h 895351"/>
              <a:gd name="T84" fmla="*/ 0 w 984246"/>
              <a:gd name="T85" fmla="*/ 0 h 895351"/>
              <a:gd name="T86" fmla="*/ 0 w 984246"/>
              <a:gd name="T87" fmla="*/ 0 h 895351"/>
              <a:gd name="T88" fmla="*/ 0 w 984246"/>
              <a:gd name="T89" fmla="*/ 0 h 895351"/>
              <a:gd name="T90" fmla="*/ 0 w 984246"/>
              <a:gd name="T91" fmla="*/ 0 h 895351"/>
              <a:gd name="T92" fmla="*/ 0 w 984246"/>
              <a:gd name="T93" fmla="*/ 0 h 895351"/>
              <a:gd name="T94" fmla="*/ 0 w 984246"/>
              <a:gd name="T95" fmla="*/ 0 h 895351"/>
              <a:gd name="T96" fmla="*/ 0 w 984246"/>
              <a:gd name="T97" fmla="*/ 0 h 895351"/>
              <a:gd name="T98" fmla="*/ 0 w 984246"/>
              <a:gd name="T99" fmla="*/ 0 h 895351"/>
              <a:gd name="T100" fmla="*/ 0 w 984246"/>
              <a:gd name="T101" fmla="*/ 0 h 895351"/>
              <a:gd name="T102" fmla="*/ 0 w 984246"/>
              <a:gd name="T103" fmla="*/ 0 h 895351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w 984246"/>
              <a:gd name="T157" fmla="*/ 0 h 895351"/>
              <a:gd name="T158" fmla="*/ 984246 w 984246"/>
              <a:gd name="T159" fmla="*/ 895351 h 895351"/>
            </a:gdLst>
            <a:ahLst/>
            <a:cxnLst>
              <a:cxn ang="T104">
                <a:pos x="T0" y="T1"/>
              </a:cxn>
              <a:cxn ang="T105">
                <a:pos x="T2" y="T3"/>
              </a:cxn>
              <a:cxn ang="T106">
                <a:pos x="T4" y="T5"/>
              </a:cxn>
              <a:cxn ang="T107">
                <a:pos x="T6" y="T7"/>
              </a:cxn>
              <a:cxn ang="T108">
                <a:pos x="T8" y="T9"/>
              </a:cxn>
              <a:cxn ang="T109">
                <a:pos x="T10" y="T11"/>
              </a:cxn>
              <a:cxn ang="T110">
                <a:pos x="T12" y="T13"/>
              </a:cxn>
              <a:cxn ang="T111">
                <a:pos x="T14" y="T15"/>
              </a:cxn>
              <a:cxn ang="T112">
                <a:pos x="T16" y="T17"/>
              </a:cxn>
              <a:cxn ang="T113">
                <a:pos x="T18" y="T19"/>
              </a:cxn>
              <a:cxn ang="T114">
                <a:pos x="T20" y="T21"/>
              </a:cxn>
              <a:cxn ang="T115">
                <a:pos x="T22" y="T23"/>
              </a:cxn>
              <a:cxn ang="T116">
                <a:pos x="T24" y="T25"/>
              </a:cxn>
              <a:cxn ang="T117">
                <a:pos x="T26" y="T27"/>
              </a:cxn>
              <a:cxn ang="T118">
                <a:pos x="T28" y="T29"/>
              </a:cxn>
              <a:cxn ang="T119">
                <a:pos x="T30" y="T31"/>
              </a:cxn>
              <a:cxn ang="T120">
                <a:pos x="T32" y="T33"/>
              </a:cxn>
              <a:cxn ang="T121">
                <a:pos x="T34" y="T35"/>
              </a:cxn>
              <a:cxn ang="T122">
                <a:pos x="T36" y="T37"/>
              </a:cxn>
              <a:cxn ang="T123">
                <a:pos x="T38" y="T39"/>
              </a:cxn>
              <a:cxn ang="T124">
                <a:pos x="T40" y="T41"/>
              </a:cxn>
              <a:cxn ang="T125">
                <a:pos x="T42" y="T43"/>
              </a:cxn>
              <a:cxn ang="T126">
                <a:pos x="T44" y="T45"/>
              </a:cxn>
              <a:cxn ang="T127">
                <a:pos x="T46" y="T47"/>
              </a:cxn>
              <a:cxn ang="T128">
                <a:pos x="T48" y="T49"/>
              </a:cxn>
              <a:cxn ang="T129">
                <a:pos x="T50" y="T51"/>
              </a:cxn>
              <a:cxn ang="T130">
                <a:pos x="T52" y="T53"/>
              </a:cxn>
              <a:cxn ang="T131">
                <a:pos x="T54" y="T55"/>
              </a:cxn>
              <a:cxn ang="T132">
                <a:pos x="T56" y="T57"/>
              </a:cxn>
              <a:cxn ang="T133">
                <a:pos x="T58" y="T59"/>
              </a:cxn>
              <a:cxn ang="T134">
                <a:pos x="T60" y="T61"/>
              </a:cxn>
              <a:cxn ang="T135">
                <a:pos x="T62" y="T63"/>
              </a:cxn>
              <a:cxn ang="T136">
                <a:pos x="T64" y="T65"/>
              </a:cxn>
              <a:cxn ang="T137">
                <a:pos x="T66" y="T67"/>
              </a:cxn>
              <a:cxn ang="T138">
                <a:pos x="T68" y="T69"/>
              </a:cxn>
              <a:cxn ang="T139">
                <a:pos x="T70" y="T71"/>
              </a:cxn>
              <a:cxn ang="T140">
                <a:pos x="T72" y="T73"/>
              </a:cxn>
              <a:cxn ang="T141">
                <a:pos x="T74" y="T75"/>
              </a:cxn>
              <a:cxn ang="T142">
                <a:pos x="T76" y="T77"/>
              </a:cxn>
              <a:cxn ang="T143">
                <a:pos x="T78" y="T79"/>
              </a:cxn>
              <a:cxn ang="T144">
                <a:pos x="T80" y="T81"/>
              </a:cxn>
              <a:cxn ang="T145">
                <a:pos x="T82" y="T83"/>
              </a:cxn>
              <a:cxn ang="T146">
                <a:pos x="T84" y="T85"/>
              </a:cxn>
              <a:cxn ang="T147">
                <a:pos x="T86" y="T87"/>
              </a:cxn>
              <a:cxn ang="T148">
                <a:pos x="T88" y="T89"/>
              </a:cxn>
              <a:cxn ang="T149">
                <a:pos x="T90" y="T91"/>
              </a:cxn>
              <a:cxn ang="T150">
                <a:pos x="T92" y="T93"/>
              </a:cxn>
              <a:cxn ang="T151">
                <a:pos x="T94" y="T95"/>
              </a:cxn>
              <a:cxn ang="T152">
                <a:pos x="T96" y="T97"/>
              </a:cxn>
              <a:cxn ang="T153">
                <a:pos x="T98" y="T99"/>
              </a:cxn>
              <a:cxn ang="T154">
                <a:pos x="T100" y="T101"/>
              </a:cxn>
              <a:cxn ang="T155">
                <a:pos x="T102" y="T103"/>
              </a:cxn>
            </a:cxnLst>
            <a:rect l="T156" t="T157" r="T158" b="T159"/>
            <a:pathLst>
              <a:path w="984246" h="895351">
                <a:moveTo>
                  <a:pt x="712165" y="0"/>
                </a:moveTo>
                <a:lnTo>
                  <a:pt x="764463" y="0"/>
                </a:lnTo>
                <a:lnTo>
                  <a:pt x="786009" y="8986"/>
                </a:lnTo>
                <a:lnTo>
                  <a:pt x="837387" y="60189"/>
                </a:lnTo>
                <a:lnTo>
                  <a:pt x="889685" y="107831"/>
                </a:lnTo>
                <a:cubicBezTo>
                  <a:pt x="892355" y="119530"/>
                  <a:pt x="895117" y="131172"/>
                  <a:pt x="897788" y="142871"/>
                </a:cubicBezTo>
                <a:lnTo>
                  <a:pt x="937380" y="177006"/>
                </a:lnTo>
                <a:lnTo>
                  <a:pt x="984246" y="181470"/>
                </a:lnTo>
                <a:lnTo>
                  <a:pt x="978847" y="187873"/>
                </a:lnTo>
                <a:cubicBezTo>
                  <a:pt x="977776" y="207927"/>
                  <a:pt x="976614" y="227978"/>
                  <a:pt x="975497" y="247974"/>
                </a:cubicBezTo>
                <a:lnTo>
                  <a:pt x="939365" y="305867"/>
                </a:lnTo>
                <a:lnTo>
                  <a:pt x="939365" y="334813"/>
                </a:lnTo>
                <a:lnTo>
                  <a:pt x="910376" y="360070"/>
                </a:lnTo>
                <a:lnTo>
                  <a:pt x="895933" y="407021"/>
                </a:lnTo>
                <a:lnTo>
                  <a:pt x="856178" y="457725"/>
                </a:lnTo>
                <a:lnTo>
                  <a:pt x="798304" y="526306"/>
                </a:lnTo>
                <a:lnTo>
                  <a:pt x="762172" y="573384"/>
                </a:lnTo>
                <a:lnTo>
                  <a:pt x="718740" y="591452"/>
                </a:lnTo>
                <a:lnTo>
                  <a:pt x="678932" y="595078"/>
                </a:lnTo>
                <a:lnTo>
                  <a:pt x="642747" y="609583"/>
                </a:lnTo>
                <a:lnTo>
                  <a:pt x="574107" y="638466"/>
                </a:lnTo>
                <a:cubicBezTo>
                  <a:pt x="578833" y="658952"/>
                  <a:pt x="583717" y="679373"/>
                  <a:pt x="588549" y="699922"/>
                </a:cubicBezTo>
                <a:lnTo>
                  <a:pt x="613862" y="732368"/>
                </a:lnTo>
                <a:cubicBezTo>
                  <a:pt x="617434" y="744455"/>
                  <a:pt x="621110" y="756479"/>
                  <a:pt x="624681" y="768503"/>
                </a:cubicBezTo>
                <a:lnTo>
                  <a:pt x="592120" y="790261"/>
                </a:lnTo>
                <a:lnTo>
                  <a:pt x="527051" y="819144"/>
                </a:lnTo>
                <a:lnTo>
                  <a:pt x="527046" y="819142"/>
                </a:lnTo>
                <a:lnTo>
                  <a:pt x="527048" y="819151"/>
                </a:lnTo>
                <a:lnTo>
                  <a:pt x="527048" y="880835"/>
                </a:lnTo>
                <a:lnTo>
                  <a:pt x="481186" y="895351"/>
                </a:lnTo>
                <a:lnTo>
                  <a:pt x="449440" y="886283"/>
                </a:lnTo>
                <a:lnTo>
                  <a:pt x="432636" y="844798"/>
                </a:lnTo>
                <a:lnTo>
                  <a:pt x="431006" y="844552"/>
                </a:lnTo>
                <a:cubicBezTo>
                  <a:pt x="433372" y="831458"/>
                  <a:pt x="435782" y="818337"/>
                  <a:pt x="438148" y="805272"/>
                </a:cubicBezTo>
                <a:lnTo>
                  <a:pt x="420272" y="783836"/>
                </a:lnTo>
                <a:lnTo>
                  <a:pt x="384519" y="783836"/>
                </a:lnTo>
                <a:cubicBezTo>
                  <a:pt x="380926" y="792178"/>
                  <a:pt x="377377" y="800493"/>
                  <a:pt x="373784" y="808835"/>
                </a:cubicBezTo>
                <a:lnTo>
                  <a:pt x="363049" y="808835"/>
                </a:lnTo>
                <a:lnTo>
                  <a:pt x="343377" y="790963"/>
                </a:lnTo>
                <a:cubicBezTo>
                  <a:pt x="342194" y="786184"/>
                  <a:pt x="340967" y="781460"/>
                  <a:pt x="339784" y="776682"/>
                </a:cubicBezTo>
                <a:cubicBezTo>
                  <a:pt x="340967" y="769527"/>
                  <a:pt x="342194" y="762401"/>
                  <a:pt x="343377" y="755246"/>
                </a:cubicBezTo>
                <a:cubicBezTo>
                  <a:pt x="348722" y="745716"/>
                  <a:pt x="354111" y="736214"/>
                  <a:pt x="359457" y="726684"/>
                </a:cubicBezTo>
                <a:lnTo>
                  <a:pt x="373784" y="723121"/>
                </a:lnTo>
                <a:lnTo>
                  <a:pt x="402395" y="701685"/>
                </a:lnTo>
                <a:lnTo>
                  <a:pt x="431006" y="673095"/>
                </a:lnTo>
                <a:lnTo>
                  <a:pt x="420272" y="655223"/>
                </a:lnTo>
                <a:lnTo>
                  <a:pt x="405944" y="637378"/>
                </a:lnTo>
                <a:lnTo>
                  <a:pt x="373784" y="637378"/>
                </a:lnTo>
                <a:cubicBezTo>
                  <a:pt x="370191" y="642130"/>
                  <a:pt x="366642" y="646908"/>
                  <a:pt x="363049" y="651660"/>
                </a:cubicBezTo>
                <a:cubicBezTo>
                  <a:pt x="361866" y="661190"/>
                  <a:pt x="360640" y="670747"/>
                  <a:pt x="359457" y="680222"/>
                </a:cubicBezTo>
                <a:lnTo>
                  <a:pt x="329049" y="680222"/>
                </a:lnTo>
                <a:cubicBezTo>
                  <a:pt x="326683" y="676659"/>
                  <a:pt x="324273" y="673095"/>
                  <a:pt x="321907" y="669532"/>
                </a:cubicBezTo>
                <a:lnTo>
                  <a:pt x="296889" y="673095"/>
                </a:lnTo>
                <a:lnTo>
                  <a:pt x="275420" y="680222"/>
                </a:lnTo>
                <a:lnTo>
                  <a:pt x="261092" y="694531"/>
                </a:lnTo>
                <a:cubicBezTo>
                  <a:pt x="264685" y="699282"/>
                  <a:pt x="268234" y="704061"/>
                  <a:pt x="271827" y="708812"/>
                </a:cubicBezTo>
                <a:lnTo>
                  <a:pt x="286154" y="723121"/>
                </a:lnTo>
                <a:cubicBezTo>
                  <a:pt x="287337" y="733811"/>
                  <a:pt x="288520" y="744556"/>
                  <a:pt x="289703" y="755246"/>
                </a:cubicBezTo>
                <a:lnTo>
                  <a:pt x="271827" y="758837"/>
                </a:lnTo>
                <a:cubicBezTo>
                  <a:pt x="268234" y="754086"/>
                  <a:pt x="264685" y="749307"/>
                  <a:pt x="261092" y="744556"/>
                </a:cubicBezTo>
                <a:cubicBezTo>
                  <a:pt x="257500" y="740993"/>
                  <a:pt x="253951" y="737374"/>
                  <a:pt x="250358" y="733811"/>
                </a:cubicBezTo>
                <a:cubicBezTo>
                  <a:pt x="247992" y="736214"/>
                  <a:pt x="245582" y="738562"/>
                  <a:pt x="243216" y="740965"/>
                </a:cubicBezTo>
                <a:lnTo>
                  <a:pt x="243216" y="769527"/>
                </a:lnTo>
                <a:lnTo>
                  <a:pt x="211012" y="773118"/>
                </a:lnTo>
                <a:cubicBezTo>
                  <a:pt x="208646" y="756462"/>
                  <a:pt x="206236" y="739777"/>
                  <a:pt x="203870" y="723121"/>
                </a:cubicBezTo>
                <a:lnTo>
                  <a:pt x="185994" y="719557"/>
                </a:lnTo>
                <a:lnTo>
                  <a:pt x="185994" y="698094"/>
                </a:lnTo>
                <a:lnTo>
                  <a:pt x="157383" y="694531"/>
                </a:lnTo>
                <a:lnTo>
                  <a:pt x="143055" y="712375"/>
                </a:lnTo>
                <a:cubicBezTo>
                  <a:pt x="140689" y="717154"/>
                  <a:pt x="138279" y="721905"/>
                  <a:pt x="135913" y="726684"/>
                </a:cubicBezTo>
                <a:lnTo>
                  <a:pt x="118037" y="733811"/>
                </a:lnTo>
                <a:lnTo>
                  <a:pt x="100161" y="723121"/>
                </a:lnTo>
                <a:cubicBezTo>
                  <a:pt x="102527" y="714778"/>
                  <a:pt x="104936" y="706464"/>
                  <a:pt x="107302" y="698094"/>
                </a:cubicBezTo>
                <a:lnTo>
                  <a:pt x="78691" y="687404"/>
                </a:lnTo>
                <a:lnTo>
                  <a:pt x="42939" y="640942"/>
                </a:lnTo>
                <a:lnTo>
                  <a:pt x="0" y="608816"/>
                </a:lnTo>
                <a:lnTo>
                  <a:pt x="17876" y="590944"/>
                </a:lnTo>
                <a:lnTo>
                  <a:pt x="57222" y="590944"/>
                </a:lnTo>
                <a:lnTo>
                  <a:pt x="75099" y="580226"/>
                </a:lnTo>
                <a:cubicBezTo>
                  <a:pt x="73454" y="575272"/>
                  <a:pt x="69501" y="571452"/>
                  <a:pt x="66806" y="566933"/>
                </a:cubicBezTo>
                <a:lnTo>
                  <a:pt x="63497" y="565152"/>
                </a:lnTo>
                <a:lnTo>
                  <a:pt x="63497" y="561630"/>
                </a:lnTo>
                <a:lnTo>
                  <a:pt x="63225" y="561194"/>
                </a:lnTo>
                <a:lnTo>
                  <a:pt x="63497" y="561077"/>
                </a:lnTo>
                <a:lnTo>
                  <a:pt x="63497" y="509428"/>
                </a:lnTo>
                <a:lnTo>
                  <a:pt x="63497" y="474389"/>
                </a:lnTo>
                <a:cubicBezTo>
                  <a:pt x="72244" y="451331"/>
                  <a:pt x="80899" y="428272"/>
                  <a:pt x="89646" y="405214"/>
                </a:cubicBezTo>
                <a:lnTo>
                  <a:pt x="123898" y="380065"/>
                </a:lnTo>
                <a:cubicBezTo>
                  <a:pt x="125371" y="355481"/>
                  <a:pt x="126937" y="330953"/>
                  <a:pt x="128410" y="306369"/>
                </a:cubicBezTo>
                <a:lnTo>
                  <a:pt x="176105" y="306369"/>
                </a:lnTo>
                <a:lnTo>
                  <a:pt x="223891" y="301904"/>
                </a:lnTo>
                <a:lnTo>
                  <a:pt x="249120" y="267769"/>
                </a:lnTo>
                <a:lnTo>
                  <a:pt x="267075" y="237194"/>
                </a:lnTo>
                <a:lnTo>
                  <a:pt x="292303" y="224648"/>
                </a:lnTo>
                <a:lnTo>
                  <a:pt x="292303" y="189609"/>
                </a:lnTo>
                <a:lnTo>
                  <a:pt x="313941" y="177006"/>
                </a:lnTo>
                <a:cubicBezTo>
                  <a:pt x="319926" y="159656"/>
                  <a:pt x="326003" y="142249"/>
                  <a:pt x="331987" y="124899"/>
                </a:cubicBezTo>
                <a:lnTo>
                  <a:pt x="387877" y="121282"/>
                </a:lnTo>
                <a:lnTo>
                  <a:pt x="422037" y="133885"/>
                </a:lnTo>
                <a:lnTo>
                  <a:pt x="478847" y="172484"/>
                </a:lnTo>
                <a:lnTo>
                  <a:pt x="530133" y="150952"/>
                </a:lnTo>
                <a:lnTo>
                  <a:pt x="582431" y="129363"/>
                </a:lnTo>
                <a:lnTo>
                  <a:pt x="608580" y="99749"/>
                </a:lnTo>
                <a:lnTo>
                  <a:pt x="642832" y="64710"/>
                </a:lnTo>
                <a:lnTo>
                  <a:pt x="668889" y="4465"/>
                </a:lnTo>
                <a:close/>
              </a:path>
            </a:pathLst>
          </a:custGeom>
          <a:solidFill>
            <a:srgbClr val="70B0DF"/>
          </a:solidFill>
          <a:ln w="3175" cap="flat" cmpd="sng">
            <a:noFill/>
            <a:prstDash val="solid"/>
            <a:round/>
            <a:headEnd type="none" w="med" len="med"/>
            <a:tailEnd type="none" w="med" len="med"/>
          </a:ln>
        </p:spPr>
        <p:txBody>
          <a:bodyPr wrap="none" lIns="32632" tIns="32632" rIns="32632" bIns="32632" anchor="ctr"/>
          <a:lstStyle/>
          <a:p>
            <a:pPr defTabSz="891045"/>
            <a:endParaRPr lang="en-US" sz="1700" dirty="0">
              <a:solidFill>
                <a:srgbClr val="003149"/>
              </a:solidFill>
              <a:cs typeface="Arial" panose="020B0604020202020204" pitchFamily="34" charset="0"/>
            </a:endParaRPr>
          </a:p>
        </p:txBody>
      </p:sp>
      <p:sp>
        <p:nvSpPr>
          <p:cNvPr id="46" name="Freeform 702"/>
          <p:cNvSpPr>
            <a:spLocks noChangeAspect="1"/>
          </p:cNvSpPr>
          <p:nvPr>
            <p:custDataLst>
              <p:tags r:id="rId27"/>
            </p:custDataLst>
          </p:nvPr>
        </p:nvSpPr>
        <p:spPr bwMode="gray">
          <a:xfrm>
            <a:off x="2990003" y="3219493"/>
            <a:ext cx="244527" cy="242487"/>
          </a:xfrm>
          <a:custGeom>
            <a:avLst/>
            <a:gdLst>
              <a:gd name="T0" fmla="*/ 0 w 1422400"/>
              <a:gd name="T1" fmla="*/ 0 h 1231899"/>
              <a:gd name="T2" fmla="*/ 0 w 1422400"/>
              <a:gd name="T3" fmla="*/ 0 h 1231899"/>
              <a:gd name="T4" fmla="*/ 0 w 1422400"/>
              <a:gd name="T5" fmla="*/ 0 h 1231899"/>
              <a:gd name="T6" fmla="*/ 0 w 1422400"/>
              <a:gd name="T7" fmla="*/ 0 h 1231899"/>
              <a:gd name="T8" fmla="*/ 0 w 1422400"/>
              <a:gd name="T9" fmla="*/ 0 h 1231899"/>
              <a:gd name="T10" fmla="*/ 0 w 1422400"/>
              <a:gd name="T11" fmla="*/ 0 h 1231899"/>
              <a:gd name="T12" fmla="*/ 0 w 1422400"/>
              <a:gd name="T13" fmla="*/ 0 h 1231899"/>
              <a:gd name="T14" fmla="*/ 0 w 1422400"/>
              <a:gd name="T15" fmla="*/ 0 h 1231899"/>
              <a:gd name="T16" fmla="*/ 0 w 1422400"/>
              <a:gd name="T17" fmla="*/ 0 h 1231899"/>
              <a:gd name="T18" fmla="*/ 0 w 1422400"/>
              <a:gd name="T19" fmla="*/ 0 h 1231899"/>
              <a:gd name="T20" fmla="*/ 0 w 1422400"/>
              <a:gd name="T21" fmla="*/ 0 h 1231899"/>
              <a:gd name="T22" fmla="*/ 0 w 1422400"/>
              <a:gd name="T23" fmla="*/ 0 h 1231899"/>
              <a:gd name="T24" fmla="*/ 0 w 1422400"/>
              <a:gd name="T25" fmla="*/ 0 h 1231899"/>
              <a:gd name="T26" fmla="*/ 0 w 1422400"/>
              <a:gd name="T27" fmla="*/ 0 h 1231899"/>
              <a:gd name="T28" fmla="*/ 0 w 1422400"/>
              <a:gd name="T29" fmla="*/ 0 h 1231899"/>
              <a:gd name="T30" fmla="*/ 0 w 1422400"/>
              <a:gd name="T31" fmla="*/ 0 h 1231899"/>
              <a:gd name="T32" fmla="*/ 0 w 1422400"/>
              <a:gd name="T33" fmla="*/ 0 h 1231899"/>
              <a:gd name="T34" fmla="*/ 0 w 1422400"/>
              <a:gd name="T35" fmla="*/ 0 h 1231899"/>
              <a:gd name="T36" fmla="*/ 0 w 1422400"/>
              <a:gd name="T37" fmla="*/ 0 h 1231899"/>
              <a:gd name="T38" fmla="*/ 0 w 1422400"/>
              <a:gd name="T39" fmla="*/ 0 h 1231899"/>
              <a:gd name="T40" fmla="*/ 0 w 1422400"/>
              <a:gd name="T41" fmla="*/ 0 h 1231899"/>
              <a:gd name="T42" fmla="*/ 0 w 1422400"/>
              <a:gd name="T43" fmla="*/ 0 h 1231899"/>
              <a:gd name="T44" fmla="*/ 0 w 1422400"/>
              <a:gd name="T45" fmla="*/ 0 h 1231899"/>
              <a:gd name="T46" fmla="*/ 0 w 1422400"/>
              <a:gd name="T47" fmla="*/ 0 h 1231899"/>
              <a:gd name="T48" fmla="*/ 0 w 1422400"/>
              <a:gd name="T49" fmla="*/ 0 h 1231899"/>
              <a:gd name="T50" fmla="*/ 0 w 1422400"/>
              <a:gd name="T51" fmla="*/ 0 h 1231899"/>
              <a:gd name="T52" fmla="*/ 0 w 1422400"/>
              <a:gd name="T53" fmla="*/ 0 h 1231899"/>
              <a:gd name="T54" fmla="*/ 0 w 1422400"/>
              <a:gd name="T55" fmla="*/ 0 h 1231899"/>
              <a:gd name="T56" fmla="*/ 0 w 1422400"/>
              <a:gd name="T57" fmla="*/ 0 h 1231899"/>
              <a:gd name="T58" fmla="*/ 0 w 1422400"/>
              <a:gd name="T59" fmla="*/ 0 h 1231899"/>
              <a:gd name="T60" fmla="*/ 0 w 1422400"/>
              <a:gd name="T61" fmla="*/ 0 h 1231899"/>
              <a:gd name="T62" fmla="*/ 0 w 1422400"/>
              <a:gd name="T63" fmla="*/ 0 h 1231899"/>
              <a:gd name="T64" fmla="*/ 0 w 1422400"/>
              <a:gd name="T65" fmla="*/ 0 h 1231899"/>
              <a:gd name="T66" fmla="*/ 0 w 1422400"/>
              <a:gd name="T67" fmla="*/ 0 h 1231899"/>
              <a:gd name="T68" fmla="*/ 0 w 1422400"/>
              <a:gd name="T69" fmla="*/ 0 h 1231899"/>
              <a:gd name="T70" fmla="*/ 0 w 1422400"/>
              <a:gd name="T71" fmla="*/ 0 h 1231899"/>
              <a:gd name="T72" fmla="*/ 0 w 1422400"/>
              <a:gd name="T73" fmla="*/ 0 h 1231899"/>
              <a:gd name="T74" fmla="*/ 0 w 1422400"/>
              <a:gd name="T75" fmla="*/ 0 h 1231899"/>
              <a:gd name="T76" fmla="*/ 0 w 1422400"/>
              <a:gd name="T77" fmla="*/ 0 h 1231899"/>
              <a:gd name="T78" fmla="*/ 0 w 1422400"/>
              <a:gd name="T79" fmla="*/ 0 h 1231899"/>
              <a:gd name="T80" fmla="*/ 0 w 1422400"/>
              <a:gd name="T81" fmla="*/ 0 h 1231899"/>
              <a:gd name="T82" fmla="*/ 0 w 1422400"/>
              <a:gd name="T83" fmla="*/ 0 h 1231899"/>
              <a:gd name="T84" fmla="*/ 0 w 1422400"/>
              <a:gd name="T85" fmla="*/ 0 h 1231899"/>
              <a:gd name="T86" fmla="*/ 0 w 1422400"/>
              <a:gd name="T87" fmla="*/ 0 h 1231899"/>
              <a:gd name="T88" fmla="*/ 0 w 1422400"/>
              <a:gd name="T89" fmla="*/ 0 h 1231899"/>
              <a:gd name="T90" fmla="*/ 0 w 1422400"/>
              <a:gd name="T91" fmla="*/ 0 h 1231899"/>
              <a:gd name="T92" fmla="*/ 0 w 1422400"/>
              <a:gd name="T93" fmla="*/ 0 h 1231899"/>
              <a:gd name="T94" fmla="*/ 0 w 1422400"/>
              <a:gd name="T95" fmla="*/ 0 h 1231899"/>
              <a:gd name="T96" fmla="*/ 0 w 1422400"/>
              <a:gd name="T97" fmla="*/ 0 h 1231899"/>
              <a:gd name="T98" fmla="*/ 0 w 1422400"/>
              <a:gd name="T99" fmla="*/ 0 h 1231899"/>
              <a:gd name="T100" fmla="*/ 0 w 1422400"/>
              <a:gd name="T101" fmla="*/ 0 h 1231899"/>
              <a:gd name="T102" fmla="*/ 0 w 1422400"/>
              <a:gd name="T103" fmla="*/ 0 h 1231899"/>
              <a:gd name="T104" fmla="*/ 0 w 1422400"/>
              <a:gd name="T105" fmla="*/ 0 h 1231899"/>
              <a:gd name="T106" fmla="*/ 0 w 1422400"/>
              <a:gd name="T107" fmla="*/ 0 h 1231899"/>
              <a:gd name="T108" fmla="*/ 0 w 1422400"/>
              <a:gd name="T109" fmla="*/ 0 h 1231899"/>
              <a:gd name="T110" fmla="*/ 0 w 1422400"/>
              <a:gd name="T111" fmla="*/ 0 h 1231899"/>
              <a:gd name="T112" fmla="*/ 0 w 1422400"/>
              <a:gd name="T113" fmla="*/ 0 h 1231899"/>
              <a:gd name="T114" fmla="*/ 0 w 1422400"/>
              <a:gd name="T115" fmla="*/ 0 h 1231899"/>
              <a:gd name="T116" fmla="*/ 0 w 1422400"/>
              <a:gd name="T117" fmla="*/ 0 h 1231899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w 1422400"/>
              <a:gd name="T178" fmla="*/ 0 h 1231899"/>
              <a:gd name="T179" fmla="*/ 1422400 w 1422400"/>
              <a:gd name="T180" fmla="*/ 1231899 h 1231899"/>
            </a:gdLst>
            <a:ahLst/>
            <a:cxnLst>
              <a:cxn ang="T118">
                <a:pos x="T0" y="T1"/>
              </a:cxn>
              <a:cxn ang="T119">
                <a:pos x="T2" y="T3"/>
              </a:cxn>
              <a:cxn ang="T120">
                <a:pos x="T4" y="T5"/>
              </a:cxn>
              <a:cxn ang="T121">
                <a:pos x="T6" y="T7"/>
              </a:cxn>
              <a:cxn ang="T122">
                <a:pos x="T8" y="T9"/>
              </a:cxn>
              <a:cxn ang="T123">
                <a:pos x="T10" y="T11"/>
              </a:cxn>
              <a:cxn ang="T124">
                <a:pos x="T12" y="T13"/>
              </a:cxn>
              <a:cxn ang="T125">
                <a:pos x="T14" y="T15"/>
              </a:cxn>
              <a:cxn ang="T126">
                <a:pos x="T16" y="T17"/>
              </a:cxn>
              <a:cxn ang="T127">
                <a:pos x="T18" y="T19"/>
              </a:cxn>
              <a:cxn ang="T128">
                <a:pos x="T20" y="T21"/>
              </a:cxn>
              <a:cxn ang="T129">
                <a:pos x="T22" y="T23"/>
              </a:cxn>
              <a:cxn ang="T130">
                <a:pos x="T24" y="T25"/>
              </a:cxn>
              <a:cxn ang="T131">
                <a:pos x="T26" y="T27"/>
              </a:cxn>
              <a:cxn ang="T132">
                <a:pos x="T28" y="T29"/>
              </a:cxn>
              <a:cxn ang="T133">
                <a:pos x="T30" y="T31"/>
              </a:cxn>
              <a:cxn ang="T134">
                <a:pos x="T32" y="T33"/>
              </a:cxn>
              <a:cxn ang="T135">
                <a:pos x="T34" y="T35"/>
              </a:cxn>
              <a:cxn ang="T136">
                <a:pos x="T36" y="T37"/>
              </a:cxn>
              <a:cxn ang="T137">
                <a:pos x="T38" y="T39"/>
              </a:cxn>
              <a:cxn ang="T138">
                <a:pos x="T40" y="T41"/>
              </a:cxn>
              <a:cxn ang="T139">
                <a:pos x="T42" y="T43"/>
              </a:cxn>
              <a:cxn ang="T140">
                <a:pos x="T44" y="T45"/>
              </a:cxn>
              <a:cxn ang="T141">
                <a:pos x="T46" y="T47"/>
              </a:cxn>
              <a:cxn ang="T142">
                <a:pos x="T48" y="T49"/>
              </a:cxn>
              <a:cxn ang="T143">
                <a:pos x="T50" y="T51"/>
              </a:cxn>
              <a:cxn ang="T144">
                <a:pos x="T52" y="T53"/>
              </a:cxn>
              <a:cxn ang="T145">
                <a:pos x="T54" y="T55"/>
              </a:cxn>
              <a:cxn ang="T146">
                <a:pos x="T56" y="T57"/>
              </a:cxn>
              <a:cxn ang="T147">
                <a:pos x="T58" y="T59"/>
              </a:cxn>
              <a:cxn ang="T148">
                <a:pos x="T60" y="T61"/>
              </a:cxn>
              <a:cxn ang="T149">
                <a:pos x="T62" y="T63"/>
              </a:cxn>
              <a:cxn ang="T150">
                <a:pos x="T64" y="T65"/>
              </a:cxn>
              <a:cxn ang="T151">
                <a:pos x="T66" y="T67"/>
              </a:cxn>
              <a:cxn ang="T152">
                <a:pos x="T68" y="T69"/>
              </a:cxn>
              <a:cxn ang="T153">
                <a:pos x="T70" y="T71"/>
              </a:cxn>
              <a:cxn ang="T154">
                <a:pos x="T72" y="T73"/>
              </a:cxn>
              <a:cxn ang="T155">
                <a:pos x="T74" y="T75"/>
              </a:cxn>
              <a:cxn ang="T156">
                <a:pos x="T76" y="T77"/>
              </a:cxn>
              <a:cxn ang="T157">
                <a:pos x="T78" y="T79"/>
              </a:cxn>
              <a:cxn ang="T158">
                <a:pos x="T80" y="T81"/>
              </a:cxn>
              <a:cxn ang="T159">
                <a:pos x="T82" y="T83"/>
              </a:cxn>
              <a:cxn ang="T160">
                <a:pos x="T84" y="T85"/>
              </a:cxn>
              <a:cxn ang="T161">
                <a:pos x="T86" y="T87"/>
              </a:cxn>
              <a:cxn ang="T162">
                <a:pos x="T88" y="T89"/>
              </a:cxn>
              <a:cxn ang="T163">
                <a:pos x="T90" y="T91"/>
              </a:cxn>
              <a:cxn ang="T164">
                <a:pos x="T92" y="T93"/>
              </a:cxn>
              <a:cxn ang="T165">
                <a:pos x="T94" y="T95"/>
              </a:cxn>
              <a:cxn ang="T166">
                <a:pos x="T96" y="T97"/>
              </a:cxn>
              <a:cxn ang="T167">
                <a:pos x="T98" y="T99"/>
              </a:cxn>
              <a:cxn ang="T168">
                <a:pos x="T100" y="T101"/>
              </a:cxn>
              <a:cxn ang="T169">
                <a:pos x="T102" y="T103"/>
              </a:cxn>
              <a:cxn ang="T170">
                <a:pos x="T104" y="T105"/>
              </a:cxn>
              <a:cxn ang="T171">
                <a:pos x="T106" y="T107"/>
              </a:cxn>
              <a:cxn ang="T172">
                <a:pos x="T108" y="T109"/>
              </a:cxn>
              <a:cxn ang="T173">
                <a:pos x="T110" y="T111"/>
              </a:cxn>
              <a:cxn ang="T174">
                <a:pos x="T112" y="T113"/>
              </a:cxn>
              <a:cxn ang="T175">
                <a:pos x="T114" y="T115"/>
              </a:cxn>
              <a:cxn ang="T176">
                <a:pos x="T116" y="T117"/>
              </a:cxn>
            </a:cxnLst>
            <a:rect l="T177" t="T178" r="T179" b="T180"/>
            <a:pathLst>
              <a:path w="1422400" h="1231899">
                <a:moveTo>
                  <a:pt x="727413" y="0"/>
                </a:moveTo>
                <a:lnTo>
                  <a:pt x="759535" y="10721"/>
                </a:lnTo>
                <a:cubicBezTo>
                  <a:pt x="758363" y="14288"/>
                  <a:pt x="757192" y="17865"/>
                  <a:pt x="755971" y="21431"/>
                </a:cubicBezTo>
                <a:lnTo>
                  <a:pt x="755971" y="46440"/>
                </a:lnTo>
                <a:lnTo>
                  <a:pt x="770323" y="46440"/>
                </a:lnTo>
                <a:lnTo>
                  <a:pt x="791754" y="28575"/>
                </a:lnTo>
                <a:lnTo>
                  <a:pt x="816797" y="25009"/>
                </a:lnTo>
                <a:cubicBezTo>
                  <a:pt x="815625" y="33341"/>
                  <a:pt x="814405" y="41674"/>
                  <a:pt x="813185" y="50006"/>
                </a:cubicBezTo>
                <a:lnTo>
                  <a:pt x="848967" y="46440"/>
                </a:lnTo>
                <a:cubicBezTo>
                  <a:pt x="854874" y="51207"/>
                  <a:pt x="860879" y="55961"/>
                  <a:pt x="866834" y="60728"/>
                </a:cubicBezTo>
                <a:lnTo>
                  <a:pt x="866834" y="71438"/>
                </a:lnTo>
                <a:cubicBezTo>
                  <a:pt x="864442" y="77393"/>
                  <a:pt x="862099" y="83348"/>
                  <a:pt x="859707" y="89303"/>
                </a:cubicBezTo>
                <a:lnTo>
                  <a:pt x="877574" y="89303"/>
                </a:lnTo>
                <a:lnTo>
                  <a:pt x="893684" y="100013"/>
                </a:lnTo>
                <a:lnTo>
                  <a:pt x="882944" y="107156"/>
                </a:lnTo>
                <a:lnTo>
                  <a:pt x="907987" y="114300"/>
                </a:lnTo>
                <a:lnTo>
                  <a:pt x="950897" y="107156"/>
                </a:lnTo>
                <a:cubicBezTo>
                  <a:pt x="952069" y="100013"/>
                  <a:pt x="953289" y="92869"/>
                  <a:pt x="954461" y="85725"/>
                </a:cubicBezTo>
                <a:lnTo>
                  <a:pt x="936594" y="82159"/>
                </a:lnTo>
                <a:lnTo>
                  <a:pt x="965200" y="60728"/>
                </a:lnTo>
                <a:lnTo>
                  <a:pt x="966239" y="64690"/>
                </a:lnTo>
                <a:lnTo>
                  <a:pt x="985647" y="86956"/>
                </a:lnTo>
                <a:lnTo>
                  <a:pt x="1000512" y="79751"/>
                </a:lnTo>
                <a:lnTo>
                  <a:pt x="1004232" y="112220"/>
                </a:lnTo>
                <a:lnTo>
                  <a:pt x="1004232" y="130279"/>
                </a:lnTo>
                <a:lnTo>
                  <a:pt x="1004232" y="151925"/>
                </a:lnTo>
                <a:lnTo>
                  <a:pt x="985647" y="184393"/>
                </a:lnTo>
                <a:lnTo>
                  <a:pt x="974494" y="216894"/>
                </a:lnTo>
                <a:lnTo>
                  <a:pt x="985647" y="227717"/>
                </a:lnTo>
                <a:lnTo>
                  <a:pt x="1000512" y="227717"/>
                </a:lnTo>
                <a:lnTo>
                  <a:pt x="1019097" y="220480"/>
                </a:lnTo>
                <a:lnTo>
                  <a:pt x="1015376" y="245744"/>
                </a:lnTo>
                <a:lnTo>
                  <a:pt x="989367" y="263803"/>
                </a:lnTo>
                <a:lnTo>
                  <a:pt x="985647" y="285417"/>
                </a:lnTo>
                <a:lnTo>
                  <a:pt x="985647" y="296272"/>
                </a:lnTo>
                <a:lnTo>
                  <a:pt x="978206" y="317917"/>
                </a:lnTo>
                <a:lnTo>
                  <a:pt x="985647" y="339595"/>
                </a:lnTo>
                <a:lnTo>
                  <a:pt x="1000512" y="372031"/>
                </a:lnTo>
                <a:lnTo>
                  <a:pt x="1019097" y="386473"/>
                </a:lnTo>
                <a:lnTo>
                  <a:pt x="1043120" y="386545"/>
                </a:lnTo>
                <a:lnTo>
                  <a:pt x="1047477" y="383395"/>
                </a:lnTo>
                <a:lnTo>
                  <a:pt x="1049454" y="386565"/>
                </a:lnTo>
                <a:lnTo>
                  <a:pt x="1050926" y="386569"/>
                </a:lnTo>
                <a:lnTo>
                  <a:pt x="1050147" y="387674"/>
                </a:lnTo>
                <a:cubicBezTo>
                  <a:pt x="1052845" y="392817"/>
                  <a:pt x="1057523" y="396921"/>
                  <a:pt x="1059351" y="402427"/>
                </a:cubicBezTo>
                <a:lnTo>
                  <a:pt x="1041474" y="413145"/>
                </a:lnTo>
                <a:lnTo>
                  <a:pt x="1002129" y="413145"/>
                </a:lnTo>
                <a:lnTo>
                  <a:pt x="984252" y="431017"/>
                </a:lnTo>
                <a:lnTo>
                  <a:pt x="1027191" y="463143"/>
                </a:lnTo>
                <a:lnTo>
                  <a:pt x="1062943" y="509605"/>
                </a:lnTo>
                <a:lnTo>
                  <a:pt x="1091555" y="520295"/>
                </a:lnTo>
                <a:cubicBezTo>
                  <a:pt x="1089189" y="528665"/>
                  <a:pt x="1086779" y="536979"/>
                  <a:pt x="1084413" y="545322"/>
                </a:cubicBezTo>
                <a:lnTo>
                  <a:pt x="1102289" y="556012"/>
                </a:lnTo>
                <a:lnTo>
                  <a:pt x="1120166" y="548885"/>
                </a:lnTo>
                <a:cubicBezTo>
                  <a:pt x="1122532" y="544106"/>
                  <a:pt x="1124941" y="539355"/>
                  <a:pt x="1127307" y="534576"/>
                </a:cubicBezTo>
                <a:lnTo>
                  <a:pt x="1141635" y="516732"/>
                </a:lnTo>
                <a:lnTo>
                  <a:pt x="1170246" y="520295"/>
                </a:lnTo>
                <a:lnTo>
                  <a:pt x="1170246" y="541758"/>
                </a:lnTo>
                <a:lnTo>
                  <a:pt x="1188122" y="545322"/>
                </a:lnTo>
                <a:cubicBezTo>
                  <a:pt x="1190488" y="561978"/>
                  <a:pt x="1192898" y="578663"/>
                  <a:pt x="1195264" y="595319"/>
                </a:cubicBezTo>
                <a:lnTo>
                  <a:pt x="1227468" y="591728"/>
                </a:lnTo>
                <a:lnTo>
                  <a:pt x="1227468" y="563166"/>
                </a:lnTo>
                <a:cubicBezTo>
                  <a:pt x="1229834" y="560763"/>
                  <a:pt x="1232244" y="558415"/>
                  <a:pt x="1234610" y="556012"/>
                </a:cubicBezTo>
                <a:cubicBezTo>
                  <a:pt x="1238203" y="559575"/>
                  <a:pt x="1241752" y="563194"/>
                  <a:pt x="1245344" y="566757"/>
                </a:cubicBezTo>
                <a:cubicBezTo>
                  <a:pt x="1248937" y="571508"/>
                  <a:pt x="1252486" y="576287"/>
                  <a:pt x="1256079" y="581038"/>
                </a:cubicBezTo>
                <a:lnTo>
                  <a:pt x="1273955" y="577447"/>
                </a:lnTo>
                <a:cubicBezTo>
                  <a:pt x="1272773" y="566757"/>
                  <a:pt x="1271589" y="556012"/>
                  <a:pt x="1270407" y="545322"/>
                </a:cubicBezTo>
                <a:lnTo>
                  <a:pt x="1256079" y="531013"/>
                </a:lnTo>
                <a:cubicBezTo>
                  <a:pt x="1252486" y="526262"/>
                  <a:pt x="1248937" y="521483"/>
                  <a:pt x="1245344" y="516732"/>
                </a:cubicBezTo>
                <a:lnTo>
                  <a:pt x="1259672" y="502423"/>
                </a:lnTo>
                <a:lnTo>
                  <a:pt x="1281141" y="495296"/>
                </a:lnTo>
                <a:lnTo>
                  <a:pt x="1306159" y="491733"/>
                </a:lnTo>
                <a:cubicBezTo>
                  <a:pt x="1308525" y="495296"/>
                  <a:pt x="1310935" y="498859"/>
                  <a:pt x="1313301" y="502423"/>
                </a:cubicBezTo>
                <a:lnTo>
                  <a:pt x="1343709" y="502423"/>
                </a:lnTo>
                <a:cubicBezTo>
                  <a:pt x="1344892" y="492948"/>
                  <a:pt x="1346118" y="483391"/>
                  <a:pt x="1347301" y="473861"/>
                </a:cubicBezTo>
                <a:cubicBezTo>
                  <a:pt x="1350894" y="469109"/>
                  <a:pt x="1354443" y="464331"/>
                  <a:pt x="1358036" y="459579"/>
                </a:cubicBezTo>
                <a:lnTo>
                  <a:pt x="1390196" y="459579"/>
                </a:lnTo>
                <a:lnTo>
                  <a:pt x="1404524" y="477424"/>
                </a:lnTo>
                <a:lnTo>
                  <a:pt x="1415258" y="495296"/>
                </a:lnTo>
                <a:lnTo>
                  <a:pt x="1386647" y="523886"/>
                </a:lnTo>
                <a:lnTo>
                  <a:pt x="1358036" y="545322"/>
                </a:lnTo>
                <a:lnTo>
                  <a:pt x="1343709" y="548885"/>
                </a:lnTo>
                <a:cubicBezTo>
                  <a:pt x="1338363" y="558415"/>
                  <a:pt x="1332974" y="567917"/>
                  <a:pt x="1327629" y="577447"/>
                </a:cubicBezTo>
                <a:cubicBezTo>
                  <a:pt x="1326446" y="584602"/>
                  <a:pt x="1325219" y="591728"/>
                  <a:pt x="1324036" y="598883"/>
                </a:cubicBezTo>
                <a:cubicBezTo>
                  <a:pt x="1325219" y="603662"/>
                  <a:pt x="1326446" y="608385"/>
                  <a:pt x="1327629" y="613164"/>
                </a:cubicBezTo>
                <a:lnTo>
                  <a:pt x="1347301" y="631036"/>
                </a:lnTo>
                <a:lnTo>
                  <a:pt x="1358036" y="631036"/>
                </a:lnTo>
                <a:cubicBezTo>
                  <a:pt x="1361629" y="622694"/>
                  <a:pt x="1365178" y="614379"/>
                  <a:pt x="1368771" y="606037"/>
                </a:cubicBezTo>
                <a:lnTo>
                  <a:pt x="1404524" y="606037"/>
                </a:lnTo>
                <a:lnTo>
                  <a:pt x="1422400" y="627473"/>
                </a:lnTo>
                <a:cubicBezTo>
                  <a:pt x="1420034" y="640538"/>
                  <a:pt x="1417624" y="653659"/>
                  <a:pt x="1415258" y="666753"/>
                </a:cubicBezTo>
                <a:lnTo>
                  <a:pt x="1408822" y="667745"/>
                </a:lnTo>
                <a:lnTo>
                  <a:pt x="1387655" y="689258"/>
                </a:lnTo>
                <a:lnTo>
                  <a:pt x="1359204" y="736121"/>
                </a:lnTo>
                <a:cubicBezTo>
                  <a:pt x="1363955" y="749323"/>
                  <a:pt x="1368651" y="762582"/>
                  <a:pt x="1373402" y="775784"/>
                </a:cubicBezTo>
                <a:lnTo>
                  <a:pt x="1400085" y="802816"/>
                </a:lnTo>
                <a:cubicBezTo>
                  <a:pt x="1400693" y="811217"/>
                  <a:pt x="1401245" y="819675"/>
                  <a:pt x="1401853" y="828076"/>
                </a:cubicBezTo>
                <a:cubicBezTo>
                  <a:pt x="1402461" y="836477"/>
                  <a:pt x="1403013" y="844878"/>
                  <a:pt x="1403621" y="853279"/>
                </a:cubicBezTo>
                <a:lnTo>
                  <a:pt x="1380528" y="871338"/>
                </a:lnTo>
                <a:lnTo>
                  <a:pt x="1337879" y="876711"/>
                </a:lnTo>
                <a:lnTo>
                  <a:pt x="1313019" y="874939"/>
                </a:lnTo>
                <a:lnTo>
                  <a:pt x="1289926" y="889341"/>
                </a:lnTo>
                <a:lnTo>
                  <a:pt x="1270369" y="905571"/>
                </a:lnTo>
                <a:lnTo>
                  <a:pt x="1233079" y="896542"/>
                </a:lnTo>
                <a:lnTo>
                  <a:pt x="1202860" y="896542"/>
                </a:lnTo>
                <a:lnTo>
                  <a:pt x="1167337" y="905571"/>
                </a:lnTo>
                <a:lnTo>
                  <a:pt x="1147836" y="903800"/>
                </a:lnTo>
                <a:lnTo>
                  <a:pt x="1124743" y="894770"/>
                </a:lnTo>
                <a:lnTo>
                  <a:pt x="1098060" y="883969"/>
                </a:lnTo>
                <a:lnTo>
                  <a:pt x="1082094" y="883969"/>
                </a:lnTo>
                <a:lnTo>
                  <a:pt x="1060769" y="891170"/>
                </a:lnTo>
                <a:cubicBezTo>
                  <a:pt x="1059002" y="897799"/>
                  <a:pt x="1057234" y="904371"/>
                  <a:pt x="1055466" y="911001"/>
                </a:cubicBezTo>
                <a:lnTo>
                  <a:pt x="1082094" y="921802"/>
                </a:lnTo>
                <a:cubicBezTo>
                  <a:pt x="1085630" y="935004"/>
                  <a:pt x="1089221" y="948262"/>
                  <a:pt x="1092756" y="961464"/>
                </a:cubicBezTo>
                <a:cubicBezTo>
                  <a:pt x="1089221" y="970494"/>
                  <a:pt x="1085630" y="979466"/>
                  <a:pt x="1082094" y="988496"/>
                </a:cubicBezTo>
                <a:cubicBezTo>
                  <a:pt x="1083254" y="998097"/>
                  <a:pt x="1084470" y="1007756"/>
                  <a:pt x="1085630" y="1017357"/>
                </a:cubicBezTo>
                <a:lnTo>
                  <a:pt x="1057234" y="1053418"/>
                </a:lnTo>
                <a:lnTo>
                  <a:pt x="1019943" y="1064220"/>
                </a:lnTo>
                <a:lnTo>
                  <a:pt x="991492" y="1067820"/>
                </a:lnTo>
                <a:lnTo>
                  <a:pt x="966632" y="1085880"/>
                </a:lnTo>
                <a:lnTo>
                  <a:pt x="948843" y="1105711"/>
                </a:lnTo>
                <a:lnTo>
                  <a:pt x="932877" y="1118341"/>
                </a:lnTo>
                <a:lnTo>
                  <a:pt x="922215" y="1130914"/>
                </a:lnTo>
                <a:lnTo>
                  <a:pt x="906249" y="1159775"/>
                </a:lnTo>
                <a:lnTo>
                  <a:pt x="893819" y="1190407"/>
                </a:lnTo>
                <a:lnTo>
                  <a:pt x="879565" y="1210238"/>
                </a:lnTo>
                <a:lnTo>
                  <a:pt x="863599" y="1231898"/>
                </a:lnTo>
                <a:lnTo>
                  <a:pt x="862360" y="1229199"/>
                </a:lnTo>
                <a:lnTo>
                  <a:pt x="842332" y="1231899"/>
                </a:lnTo>
                <a:lnTo>
                  <a:pt x="819297" y="1231899"/>
                </a:lnTo>
                <a:lnTo>
                  <a:pt x="815753" y="1223142"/>
                </a:lnTo>
                <a:lnTo>
                  <a:pt x="826383" y="1209141"/>
                </a:lnTo>
                <a:lnTo>
                  <a:pt x="822840" y="1189894"/>
                </a:lnTo>
                <a:lnTo>
                  <a:pt x="812210" y="1186405"/>
                </a:lnTo>
                <a:lnTo>
                  <a:pt x="799804" y="1188139"/>
                </a:lnTo>
                <a:lnTo>
                  <a:pt x="789174" y="1182894"/>
                </a:lnTo>
                <a:cubicBezTo>
                  <a:pt x="789761" y="1178804"/>
                  <a:pt x="790356" y="1174737"/>
                  <a:pt x="790942" y="1170648"/>
                </a:cubicBezTo>
                <a:lnTo>
                  <a:pt x="799804" y="1158402"/>
                </a:lnTo>
                <a:lnTo>
                  <a:pt x="810434" y="1140911"/>
                </a:lnTo>
                <a:lnTo>
                  <a:pt x="817521" y="1130399"/>
                </a:lnTo>
                <a:lnTo>
                  <a:pt x="828159" y="1128643"/>
                </a:lnTo>
                <a:lnTo>
                  <a:pt x="847651" y="1123398"/>
                </a:lnTo>
                <a:lnTo>
                  <a:pt x="854737" y="1112908"/>
                </a:lnTo>
                <a:cubicBezTo>
                  <a:pt x="854151" y="1108241"/>
                  <a:pt x="853556" y="1103574"/>
                  <a:pt x="852970" y="1098906"/>
                </a:cubicBezTo>
                <a:lnTo>
                  <a:pt x="842332" y="1090150"/>
                </a:lnTo>
                <a:lnTo>
                  <a:pt x="826383" y="1093661"/>
                </a:lnTo>
                <a:lnTo>
                  <a:pt x="810434" y="1086661"/>
                </a:lnTo>
                <a:lnTo>
                  <a:pt x="805123" y="1072659"/>
                </a:lnTo>
                <a:lnTo>
                  <a:pt x="794486" y="1051657"/>
                </a:lnTo>
                <a:cubicBezTo>
                  <a:pt x="793899" y="1044078"/>
                  <a:pt x="793305" y="1036477"/>
                  <a:pt x="792718" y="1028899"/>
                </a:cubicBezTo>
                <a:cubicBezTo>
                  <a:pt x="790942" y="1022476"/>
                  <a:pt x="789174" y="1004162"/>
                  <a:pt x="787399" y="997739"/>
                </a:cubicBezTo>
                <a:lnTo>
                  <a:pt x="787706" y="996674"/>
                </a:lnTo>
                <a:lnTo>
                  <a:pt x="787400" y="996952"/>
                </a:lnTo>
                <a:lnTo>
                  <a:pt x="763816" y="959276"/>
                </a:lnTo>
                <a:lnTo>
                  <a:pt x="749300" y="948512"/>
                </a:lnTo>
                <a:lnTo>
                  <a:pt x="716648" y="921567"/>
                </a:lnTo>
                <a:lnTo>
                  <a:pt x="700303" y="847999"/>
                </a:lnTo>
                <a:lnTo>
                  <a:pt x="673100" y="795959"/>
                </a:lnTo>
                <a:lnTo>
                  <a:pt x="647687" y="774430"/>
                </a:lnTo>
                <a:lnTo>
                  <a:pt x="602348" y="776213"/>
                </a:lnTo>
                <a:lnTo>
                  <a:pt x="580555" y="785195"/>
                </a:lnTo>
                <a:lnTo>
                  <a:pt x="562420" y="792360"/>
                </a:lnTo>
                <a:lnTo>
                  <a:pt x="537045" y="785195"/>
                </a:lnTo>
                <a:lnTo>
                  <a:pt x="517081" y="763666"/>
                </a:lnTo>
                <a:cubicBezTo>
                  <a:pt x="514071" y="755279"/>
                  <a:pt x="511023" y="746925"/>
                  <a:pt x="508013" y="738538"/>
                </a:cubicBezTo>
                <a:lnTo>
                  <a:pt x="488049" y="713409"/>
                </a:lnTo>
                <a:lnTo>
                  <a:pt x="469912" y="684682"/>
                </a:lnTo>
                <a:lnTo>
                  <a:pt x="448119" y="682899"/>
                </a:lnTo>
                <a:lnTo>
                  <a:pt x="422745" y="672134"/>
                </a:lnTo>
                <a:lnTo>
                  <a:pt x="406400" y="666752"/>
                </a:lnTo>
                <a:lnTo>
                  <a:pt x="406401" y="666750"/>
                </a:lnTo>
                <a:lnTo>
                  <a:pt x="406400" y="666751"/>
                </a:lnTo>
                <a:lnTo>
                  <a:pt x="361249" y="608157"/>
                </a:lnTo>
                <a:lnTo>
                  <a:pt x="339588" y="569127"/>
                </a:lnTo>
                <a:lnTo>
                  <a:pt x="339588" y="522965"/>
                </a:lnTo>
                <a:cubicBezTo>
                  <a:pt x="340766" y="511128"/>
                  <a:pt x="341985" y="499290"/>
                  <a:pt x="343164" y="487452"/>
                </a:cubicBezTo>
                <a:lnTo>
                  <a:pt x="372100" y="469721"/>
                </a:lnTo>
                <a:lnTo>
                  <a:pt x="386527" y="448373"/>
                </a:lnTo>
                <a:lnTo>
                  <a:pt x="379293" y="427075"/>
                </a:lnTo>
                <a:lnTo>
                  <a:pt x="332354" y="398695"/>
                </a:lnTo>
                <a:lnTo>
                  <a:pt x="281757" y="373831"/>
                </a:lnTo>
                <a:lnTo>
                  <a:pt x="234818" y="345450"/>
                </a:lnTo>
                <a:lnTo>
                  <a:pt x="216733" y="302804"/>
                </a:lnTo>
                <a:lnTo>
                  <a:pt x="202306" y="277990"/>
                </a:lnTo>
                <a:lnTo>
                  <a:pt x="144516" y="253126"/>
                </a:lnTo>
                <a:lnTo>
                  <a:pt x="97536" y="253126"/>
                </a:lnTo>
                <a:lnTo>
                  <a:pt x="28895" y="253126"/>
                </a:lnTo>
                <a:lnTo>
                  <a:pt x="7234" y="249560"/>
                </a:lnTo>
                <a:cubicBezTo>
                  <a:pt x="4836" y="238911"/>
                  <a:pt x="2398" y="228262"/>
                  <a:pt x="0" y="217613"/>
                </a:cubicBezTo>
                <a:cubicBezTo>
                  <a:pt x="2398" y="202209"/>
                  <a:pt x="4836" y="182100"/>
                  <a:pt x="7234" y="166696"/>
                </a:cubicBezTo>
                <a:lnTo>
                  <a:pt x="13226" y="169013"/>
                </a:lnTo>
                <a:cubicBezTo>
                  <a:pt x="16772" y="166827"/>
                  <a:pt x="20525" y="166026"/>
                  <a:pt x="24259" y="161476"/>
                </a:cubicBezTo>
                <a:lnTo>
                  <a:pt x="63644" y="152409"/>
                </a:lnTo>
                <a:lnTo>
                  <a:pt x="67216" y="177799"/>
                </a:lnTo>
                <a:lnTo>
                  <a:pt x="101220" y="183239"/>
                </a:lnTo>
                <a:cubicBezTo>
                  <a:pt x="102411" y="192307"/>
                  <a:pt x="103649" y="201393"/>
                  <a:pt x="104840" y="210460"/>
                </a:cubicBezTo>
                <a:lnTo>
                  <a:pt x="122747" y="215901"/>
                </a:lnTo>
                <a:lnTo>
                  <a:pt x="133462" y="210460"/>
                </a:lnTo>
                <a:lnTo>
                  <a:pt x="149607" y="212274"/>
                </a:lnTo>
                <a:lnTo>
                  <a:pt x="174658" y="214088"/>
                </a:lnTo>
                <a:lnTo>
                  <a:pt x="181802" y="194138"/>
                </a:lnTo>
                <a:lnTo>
                  <a:pt x="196137" y="183239"/>
                </a:lnTo>
                <a:lnTo>
                  <a:pt x="208662" y="188680"/>
                </a:lnTo>
                <a:cubicBezTo>
                  <a:pt x="210472" y="194121"/>
                  <a:pt x="212234" y="199579"/>
                  <a:pt x="214044" y="205020"/>
                </a:cubicBezTo>
                <a:lnTo>
                  <a:pt x="233713" y="188680"/>
                </a:lnTo>
                <a:cubicBezTo>
                  <a:pt x="235522" y="182635"/>
                  <a:pt x="237285" y="176589"/>
                  <a:pt x="239094" y="170544"/>
                </a:cubicBezTo>
                <a:lnTo>
                  <a:pt x="258811" y="137882"/>
                </a:lnTo>
                <a:lnTo>
                  <a:pt x="255239" y="110679"/>
                </a:lnTo>
                <a:lnTo>
                  <a:pt x="221187" y="116120"/>
                </a:lnTo>
                <a:lnTo>
                  <a:pt x="205090" y="107052"/>
                </a:lnTo>
                <a:lnTo>
                  <a:pt x="224759" y="92526"/>
                </a:lnTo>
                <a:cubicBezTo>
                  <a:pt x="225378" y="84667"/>
                  <a:pt x="225950" y="76808"/>
                  <a:pt x="226569" y="68949"/>
                </a:cubicBezTo>
                <a:lnTo>
                  <a:pt x="240904" y="79831"/>
                </a:lnTo>
                <a:lnTo>
                  <a:pt x="294625" y="87085"/>
                </a:lnTo>
                <a:lnTo>
                  <a:pt x="328629" y="87085"/>
                </a:lnTo>
                <a:lnTo>
                  <a:pt x="355489" y="81644"/>
                </a:lnTo>
                <a:cubicBezTo>
                  <a:pt x="353680" y="71972"/>
                  <a:pt x="351918" y="62282"/>
                  <a:pt x="350108" y="52609"/>
                </a:cubicBezTo>
                <a:lnTo>
                  <a:pt x="380540" y="38101"/>
                </a:lnTo>
                <a:lnTo>
                  <a:pt x="400257" y="50796"/>
                </a:lnTo>
                <a:lnTo>
                  <a:pt x="428879" y="41728"/>
                </a:lnTo>
                <a:lnTo>
                  <a:pt x="441405" y="50796"/>
                </a:lnTo>
                <a:lnTo>
                  <a:pt x="459312" y="68949"/>
                </a:lnTo>
                <a:lnTo>
                  <a:pt x="482601" y="76204"/>
                </a:lnTo>
                <a:cubicBezTo>
                  <a:pt x="479029" y="65927"/>
                  <a:pt x="475409" y="55632"/>
                  <a:pt x="471837" y="45355"/>
                </a:cubicBezTo>
                <a:lnTo>
                  <a:pt x="480741" y="50023"/>
                </a:lnTo>
                <a:lnTo>
                  <a:pt x="477032" y="45240"/>
                </a:lnTo>
                <a:cubicBezTo>
                  <a:pt x="484160" y="45240"/>
                  <a:pt x="484208" y="50006"/>
                  <a:pt x="491336" y="50006"/>
                </a:cubicBezTo>
                <a:lnTo>
                  <a:pt x="512815" y="42863"/>
                </a:lnTo>
                <a:cubicBezTo>
                  <a:pt x="517550" y="48818"/>
                  <a:pt x="522334" y="54773"/>
                  <a:pt x="527118" y="60728"/>
                </a:cubicBezTo>
                <a:lnTo>
                  <a:pt x="555725" y="46440"/>
                </a:lnTo>
                <a:lnTo>
                  <a:pt x="580768" y="32153"/>
                </a:lnTo>
                <a:lnTo>
                  <a:pt x="602198" y="53584"/>
                </a:lnTo>
                <a:cubicBezTo>
                  <a:pt x="606934" y="48818"/>
                  <a:pt x="611766" y="44063"/>
                  <a:pt x="616502" y="39296"/>
                </a:cubicBezTo>
                <a:lnTo>
                  <a:pt x="637981" y="17865"/>
                </a:lnTo>
                <a:lnTo>
                  <a:pt x="663024" y="7144"/>
                </a:lnTo>
                <a:lnTo>
                  <a:pt x="705934" y="7144"/>
                </a:lnTo>
                <a:close/>
              </a:path>
            </a:pathLst>
          </a:custGeom>
          <a:solidFill>
            <a:srgbClr val="70B0DF"/>
          </a:solidFill>
          <a:ln w="3175" cap="flat" cmpd="sng">
            <a:noFill/>
            <a:prstDash val="solid"/>
            <a:round/>
            <a:headEnd type="none" w="med" len="med"/>
            <a:tailEnd type="none" w="med" len="med"/>
          </a:ln>
        </p:spPr>
        <p:txBody>
          <a:bodyPr wrap="none" lIns="32632" tIns="32632" rIns="32632" bIns="32632" anchor="ctr"/>
          <a:lstStyle/>
          <a:p>
            <a:pPr defTabSz="891045"/>
            <a:endParaRPr lang="en-US" sz="1700" dirty="0">
              <a:solidFill>
                <a:srgbClr val="003149"/>
              </a:solidFill>
              <a:cs typeface="Arial" panose="020B0604020202020204" pitchFamily="34" charset="0"/>
            </a:endParaRPr>
          </a:p>
        </p:txBody>
      </p:sp>
      <p:sp>
        <p:nvSpPr>
          <p:cNvPr id="47" name="Freeform 690"/>
          <p:cNvSpPr>
            <a:spLocks noChangeAspect="1"/>
          </p:cNvSpPr>
          <p:nvPr>
            <p:custDataLst>
              <p:tags r:id="rId28"/>
            </p:custDataLst>
          </p:nvPr>
        </p:nvSpPr>
        <p:spPr bwMode="gray">
          <a:xfrm>
            <a:off x="2870606" y="3226650"/>
            <a:ext cx="187661" cy="159267"/>
          </a:xfrm>
          <a:custGeom>
            <a:avLst/>
            <a:gdLst>
              <a:gd name="T0" fmla="*/ 0 w 1092201"/>
              <a:gd name="T1" fmla="*/ 0 h 819151"/>
              <a:gd name="T2" fmla="*/ 0 w 1092201"/>
              <a:gd name="T3" fmla="*/ 0 h 819151"/>
              <a:gd name="T4" fmla="*/ 0 w 1092201"/>
              <a:gd name="T5" fmla="*/ 0 h 819151"/>
              <a:gd name="T6" fmla="*/ 0 w 1092201"/>
              <a:gd name="T7" fmla="*/ 0 h 819151"/>
              <a:gd name="T8" fmla="*/ 0 w 1092201"/>
              <a:gd name="T9" fmla="*/ 0 h 819151"/>
              <a:gd name="T10" fmla="*/ 0 w 1092201"/>
              <a:gd name="T11" fmla="*/ 0 h 819151"/>
              <a:gd name="T12" fmla="*/ 0 w 1092201"/>
              <a:gd name="T13" fmla="*/ 0 h 819151"/>
              <a:gd name="T14" fmla="*/ 0 w 1092201"/>
              <a:gd name="T15" fmla="*/ 0 h 819151"/>
              <a:gd name="T16" fmla="*/ 0 w 1092201"/>
              <a:gd name="T17" fmla="*/ 0 h 819151"/>
              <a:gd name="T18" fmla="*/ 0 w 1092201"/>
              <a:gd name="T19" fmla="*/ 0 h 819151"/>
              <a:gd name="T20" fmla="*/ 0 w 1092201"/>
              <a:gd name="T21" fmla="*/ 0 h 819151"/>
              <a:gd name="T22" fmla="*/ 0 w 1092201"/>
              <a:gd name="T23" fmla="*/ 0 h 819151"/>
              <a:gd name="T24" fmla="*/ 0 w 1092201"/>
              <a:gd name="T25" fmla="*/ 0 h 819151"/>
              <a:gd name="T26" fmla="*/ 0 w 1092201"/>
              <a:gd name="T27" fmla="*/ 0 h 819151"/>
              <a:gd name="T28" fmla="*/ 0 w 1092201"/>
              <a:gd name="T29" fmla="*/ 0 h 819151"/>
              <a:gd name="T30" fmla="*/ 0 w 1092201"/>
              <a:gd name="T31" fmla="*/ 0 h 819151"/>
              <a:gd name="T32" fmla="*/ 0 w 1092201"/>
              <a:gd name="T33" fmla="*/ 0 h 819151"/>
              <a:gd name="T34" fmla="*/ 0 w 1092201"/>
              <a:gd name="T35" fmla="*/ 0 h 819151"/>
              <a:gd name="T36" fmla="*/ 0 w 1092201"/>
              <a:gd name="T37" fmla="*/ 0 h 819151"/>
              <a:gd name="T38" fmla="*/ 0 w 1092201"/>
              <a:gd name="T39" fmla="*/ 0 h 819151"/>
              <a:gd name="T40" fmla="*/ 0 w 1092201"/>
              <a:gd name="T41" fmla="*/ 0 h 819151"/>
              <a:gd name="T42" fmla="*/ 0 w 1092201"/>
              <a:gd name="T43" fmla="*/ 0 h 819151"/>
              <a:gd name="T44" fmla="*/ 0 w 1092201"/>
              <a:gd name="T45" fmla="*/ 0 h 819151"/>
              <a:gd name="T46" fmla="*/ 0 w 1092201"/>
              <a:gd name="T47" fmla="*/ 0 h 819151"/>
              <a:gd name="T48" fmla="*/ 0 w 1092201"/>
              <a:gd name="T49" fmla="*/ 0 h 819151"/>
              <a:gd name="T50" fmla="*/ 0 w 1092201"/>
              <a:gd name="T51" fmla="*/ 0 h 819151"/>
              <a:gd name="T52" fmla="*/ 0 w 1092201"/>
              <a:gd name="T53" fmla="*/ 0 h 819151"/>
              <a:gd name="T54" fmla="*/ 0 w 1092201"/>
              <a:gd name="T55" fmla="*/ 0 h 819151"/>
              <a:gd name="T56" fmla="*/ 0 w 1092201"/>
              <a:gd name="T57" fmla="*/ 0 h 819151"/>
              <a:gd name="T58" fmla="*/ 0 w 1092201"/>
              <a:gd name="T59" fmla="*/ 0 h 819151"/>
              <a:gd name="T60" fmla="*/ 0 w 1092201"/>
              <a:gd name="T61" fmla="*/ 0 h 819151"/>
              <a:gd name="T62" fmla="*/ 0 w 1092201"/>
              <a:gd name="T63" fmla="*/ 0 h 819151"/>
              <a:gd name="T64" fmla="*/ 0 w 1092201"/>
              <a:gd name="T65" fmla="*/ 0 h 819151"/>
              <a:gd name="T66" fmla="*/ 0 w 1092201"/>
              <a:gd name="T67" fmla="*/ 0 h 819151"/>
              <a:gd name="T68" fmla="*/ 0 w 1092201"/>
              <a:gd name="T69" fmla="*/ 0 h 819151"/>
              <a:gd name="T70" fmla="*/ 0 w 1092201"/>
              <a:gd name="T71" fmla="*/ 0 h 819151"/>
              <a:gd name="T72" fmla="*/ 0 w 1092201"/>
              <a:gd name="T73" fmla="*/ 0 h 819151"/>
              <a:gd name="T74" fmla="*/ 0 w 1092201"/>
              <a:gd name="T75" fmla="*/ 0 h 819151"/>
              <a:gd name="T76" fmla="*/ 0 w 1092201"/>
              <a:gd name="T77" fmla="*/ 0 h 819151"/>
              <a:gd name="T78" fmla="*/ 0 w 1092201"/>
              <a:gd name="T79" fmla="*/ 0 h 819151"/>
              <a:gd name="T80" fmla="*/ 0 w 1092201"/>
              <a:gd name="T81" fmla="*/ 0 h 819151"/>
              <a:gd name="T82" fmla="*/ 0 w 1092201"/>
              <a:gd name="T83" fmla="*/ 0 h 819151"/>
              <a:gd name="T84" fmla="*/ 0 w 1092201"/>
              <a:gd name="T85" fmla="*/ 0 h 819151"/>
              <a:gd name="T86" fmla="*/ 0 w 1092201"/>
              <a:gd name="T87" fmla="*/ 0 h 819151"/>
              <a:gd name="T88" fmla="*/ 0 w 1092201"/>
              <a:gd name="T89" fmla="*/ 0 h 819151"/>
              <a:gd name="T90" fmla="*/ 0 w 1092201"/>
              <a:gd name="T91" fmla="*/ 0 h 819151"/>
              <a:gd name="T92" fmla="*/ 0 w 1092201"/>
              <a:gd name="T93" fmla="*/ 0 h 819151"/>
              <a:gd name="T94" fmla="*/ 0 w 1092201"/>
              <a:gd name="T95" fmla="*/ 0 h 819151"/>
              <a:gd name="T96" fmla="*/ 0 w 1092201"/>
              <a:gd name="T97" fmla="*/ 0 h 819151"/>
              <a:gd name="T98" fmla="*/ 0 w 1092201"/>
              <a:gd name="T99" fmla="*/ 0 h 819151"/>
              <a:gd name="T100" fmla="*/ 0 w 1092201"/>
              <a:gd name="T101" fmla="*/ 0 h 819151"/>
              <a:gd name="T102" fmla="*/ 0 w 1092201"/>
              <a:gd name="T103" fmla="*/ 0 h 819151"/>
              <a:gd name="T104" fmla="*/ 0 w 1092201"/>
              <a:gd name="T105" fmla="*/ 0 h 819151"/>
              <a:gd name="T106" fmla="*/ 0 w 1092201"/>
              <a:gd name="T107" fmla="*/ 0 h 819151"/>
              <a:gd name="T108" fmla="*/ 0 w 1092201"/>
              <a:gd name="T109" fmla="*/ 0 h 819151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w 1092201"/>
              <a:gd name="T166" fmla="*/ 0 h 819151"/>
              <a:gd name="T167" fmla="*/ 1092201 w 1092201"/>
              <a:gd name="T168" fmla="*/ 819151 h 819151"/>
            </a:gdLst>
            <a:ahLst/>
            <a:cxnLst>
              <a:cxn ang="T110">
                <a:pos x="T0" y="T1"/>
              </a:cxn>
              <a:cxn ang="T111">
                <a:pos x="T2" y="T3"/>
              </a:cxn>
              <a:cxn ang="T112">
                <a:pos x="T4" y="T5"/>
              </a:cxn>
              <a:cxn ang="T113">
                <a:pos x="T6" y="T7"/>
              </a:cxn>
              <a:cxn ang="T114">
                <a:pos x="T8" y="T9"/>
              </a:cxn>
              <a:cxn ang="T115">
                <a:pos x="T10" y="T11"/>
              </a:cxn>
              <a:cxn ang="T116">
                <a:pos x="T12" y="T13"/>
              </a:cxn>
              <a:cxn ang="T117">
                <a:pos x="T14" y="T15"/>
              </a:cxn>
              <a:cxn ang="T118">
                <a:pos x="T16" y="T17"/>
              </a:cxn>
              <a:cxn ang="T119">
                <a:pos x="T18" y="T19"/>
              </a:cxn>
              <a:cxn ang="T120">
                <a:pos x="T20" y="T21"/>
              </a:cxn>
              <a:cxn ang="T121">
                <a:pos x="T22" y="T23"/>
              </a:cxn>
              <a:cxn ang="T122">
                <a:pos x="T24" y="T25"/>
              </a:cxn>
              <a:cxn ang="T123">
                <a:pos x="T26" y="T27"/>
              </a:cxn>
              <a:cxn ang="T124">
                <a:pos x="T28" y="T29"/>
              </a:cxn>
              <a:cxn ang="T125">
                <a:pos x="T30" y="T31"/>
              </a:cxn>
              <a:cxn ang="T126">
                <a:pos x="T32" y="T33"/>
              </a:cxn>
              <a:cxn ang="T127">
                <a:pos x="T34" y="T35"/>
              </a:cxn>
              <a:cxn ang="T128">
                <a:pos x="T36" y="T37"/>
              </a:cxn>
              <a:cxn ang="T129">
                <a:pos x="T38" y="T39"/>
              </a:cxn>
              <a:cxn ang="T130">
                <a:pos x="T40" y="T41"/>
              </a:cxn>
              <a:cxn ang="T131">
                <a:pos x="T42" y="T43"/>
              </a:cxn>
              <a:cxn ang="T132">
                <a:pos x="T44" y="T45"/>
              </a:cxn>
              <a:cxn ang="T133">
                <a:pos x="T46" y="T47"/>
              </a:cxn>
              <a:cxn ang="T134">
                <a:pos x="T48" y="T49"/>
              </a:cxn>
              <a:cxn ang="T135">
                <a:pos x="T50" y="T51"/>
              </a:cxn>
              <a:cxn ang="T136">
                <a:pos x="T52" y="T53"/>
              </a:cxn>
              <a:cxn ang="T137">
                <a:pos x="T54" y="T55"/>
              </a:cxn>
              <a:cxn ang="T138">
                <a:pos x="T56" y="T57"/>
              </a:cxn>
              <a:cxn ang="T139">
                <a:pos x="T58" y="T59"/>
              </a:cxn>
              <a:cxn ang="T140">
                <a:pos x="T60" y="T61"/>
              </a:cxn>
              <a:cxn ang="T141">
                <a:pos x="T62" y="T63"/>
              </a:cxn>
              <a:cxn ang="T142">
                <a:pos x="T64" y="T65"/>
              </a:cxn>
              <a:cxn ang="T143">
                <a:pos x="T66" y="T67"/>
              </a:cxn>
              <a:cxn ang="T144">
                <a:pos x="T68" y="T69"/>
              </a:cxn>
              <a:cxn ang="T145">
                <a:pos x="T70" y="T71"/>
              </a:cxn>
              <a:cxn ang="T146">
                <a:pos x="T72" y="T73"/>
              </a:cxn>
              <a:cxn ang="T147">
                <a:pos x="T74" y="T75"/>
              </a:cxn>
              <a:cxn ang="T148">
                <a:pos x="T76" y="T77"/>
              </a:cxn>
              <a:cxn ang="T149">
                <a:pos x="T78" y="T79"/>
              </a:cxn>
              <a:cxn ang="T150">
                <a:pos x="T80" y="T81"/>
              </a:cxn>
              <a:cxn ang="T151">
                <a:pos x="T82" y="T83"/>
              </a:cxn>
              <a:cxn ang="T152">
                <a:pos x="T84" y="T85"/>
              </a:cxn>
              <a:cxn ang="T153">
                <a:pos x="T86" y="T87"/>
              </a:cxn>
              <a:cxn ang="T154">
                <a:pos x="T88" y="T89"/>
              </a:cxn>
              <a:cxn ang="T155">
                <a:pos x="T90" y="T91"/>
              </a:cxn>
              <a:cxn ang="T156">
                <a:pos x="T92" y="T93"/>
              </a:cxn>
              <a:cxn ang="T157">
                <a:pos x="T94" y="T95"/>
              </a:cxn>
              <a:cxn ang="T158">
                <a:pos x="T96" y="T97"/>
              </a:cxn>
              <a:cxn ang="T159">
                <a:pos x="T98" y="T99"/>
              </a:cxn>
              <a:cxn ang="T160">
                <a:pos x="T100" y="T101"/>
              </a:cxn>
              <a:cxn ang="T161">
                <a:pos x="T102" y="T103"/>
              </a:cxn>
              <a:cxn ang="T162">
                <a:pos x="T104" y="T105"/>
              </a:cxn>
              <a:cxn ang="T163">
                <a:pos x="T106" y="T107"/>
              </a:cxn>
              <a:cxn ang="T164">
                <a:pos x="T108" y="T109"/>
              </a:cxn>
            </a:cxnLst>
            <a:rect l="T165" t="T166" r="T167" b="T168"/>
            <a:pathLst>
              <a:path w="1092201" h="819151">
                <a:moveTo>
                  <a:pt x="501447" y="0"/>
                </a:moveTo>
                <a:lnTo>
                  <a:pt x="566750" y="1889"/>
                </a:lnTo>
                <a:lnTo>
                  <a:pt x="564498" y="13136"/>
                </a:lnTo>
                <a:lnTo>
                  <a:pt x="568046" y="23779"/>
                </a:lnTo>
                <a:lnTo>
                  <a:pt x="568046" y="66298"/>
                </a:lnTo>
                <a:lnTo>
                  <a:pt x="593924" y="94659"/>
                </a:lnTo>
                <a:lnTo>
                  <a:pt x="629045" y="112390"/>
                </a:lnTo>
                <a:lnTo>
                  <a:pt x="669734" y="137193"/>
                </a:lnTo>
                <a:lnTo>
                  <a:pt x="689548" y="144050"/>
                </a:lnTo>
                <a:lnTo>
                  <a:pt x="693035" y="141296"/>
                </a:lnTo>
                <a:cubicBezTo>
                  <a:pt x="692844" y="142524"/>
                  <a:pt x="692652" y="143782"/>
                  <a:pt x="692498" y="145071"/>
                </a:cubicBezTo>
                <a:lnTo>
                  <a:pt x="695330" y="146051"/>
                </a:lnTo>
                <a:lnTo>
                  <a:pt x="690937" y="156065"/>
                </a:lnTo>
                <a:lnTo>
                  <a:pt x="685801" y="192213"/>
                </a:lnTo>
                <a:cubicBezTo>
                  <a:pt x="688199" y="202862"/>
                  <a:pt x="690637" y="213511"/>
                  <a:pt x="693035" y="224160"/>
                </a:cubicBezTo>
                <a:lnTo>
                  <a:pt x="714696" y="227726"/>
                </a:lnTo>
                <a:lnTo>
                  <a:pt x="783337" y="227726"/>
                </a:lnTo>
                <a:lnTo>
                  <a:pt x="830317" y="227726"/>
                </a:lnTo>
                <a:lnTo>
                  <a:pt x="888107" y="252590"/>
                </a:lnTo>
                <a:lnTo>
                  <a:pt x="902534" y="277404"/>
                </a:lnTo>
                <a:lnTo>
                  <a:pt x="920619" y="320050"/>
                </a:lnTo>
                <a:lnTo>
                  <a:pt x="967558" y="348431"/>
                </a:lnTo>
                <a:lnTo>
                  <a:pt x="1018155" y="373295"/>
                </a:lnTo>
                <a:lnTo>
                  <a:pt x="1065094" y="401675"/>
                </a:lnTo>
                <a:lnTo>
                  <a:pt x="1072328" y="422973"/>
                </a:lnTo>
                <a:lnTo>
                  <a:pt x="1057901" y="444321"/>
                </a:lnTo>
                <a:lnTo>
                  <a:pt x="1028965" y="462052"/>
                </a:lnTo>
                <a:cubicBezTo>
                  <a:pt x="1027787" y="473890"/>
                  <a:pt x="1026568" y="485728"/>
                  <a:pt x="1025389" y="497565"/>
                </a:cubicBezTo>
                <a:lnTo>
                  <a:pt x="1025389" y="543727"/>
                </a:lnTo>
                <a:lnTo>
                  <a:pt x="1047050" y="582757"/>
                </a:lnTo>
                <a:lnTo>
                  <a:pt x="1092201" y="641351"/>
                </a:lnTo>
                <a:lnTo>
                  <a:pt x="1087722" y="642296"/>
                </a:lnTo>
                <a:lnTo>
                  <a:pt x="1092201" y="644065"/>
                </a:lnTo>
                <a:lnTo>
                  <a:pt x="1086768" y="665845"/>
                </a:lnTo>
                <a:lnTo>
                  <a:pt x="1056847" y="679449"/>
                </a:lnTo>
                <a:lnTo>
                  <a:pt x="1005115" y="702122"/>
                </a:lnTo>
                <a:lnTo>
                  <a:pt x="983383" y="712107"/>
                </a:lnTo>
                <a:lnTo>
                  <a:pt x="941650" y="712107"/>
                </a:lnTo>
                <a:lnTo>
                  <a:pt x="898107" y="710298"/>
                </a:lnTo>
                <a:lnTo>
                  <a:pt x="869052" y="728436"/>
                </a:lnTo>
                <a:lnTo>
                  <a:pt x="830942" y="722985"/>
                </a:lnTo>
                <a:lnTo>
                  <a:pt x="790155" y="688518"/>
                </a:lnTo>
                <a:cubicBezTo>
                  <a:pt x="783462" y="680365"/>
                  <a:pt x="776847" y="672189"/>
                  <a:pt x="770155" y="664036"/>
                </a:cubicBezTo>
                <a:lnTo>
                  <a:pt x="716611" y="642256"/>
                </a:lnTo>
                <a:lnTo>
                  <a:pt x="691257" y="627736"/>
                </a:lnTo>
                <a:cubicBezTo>
                  <a:pt x="689446" y="625010"/>
                  <a:pt x="687635" y="622309"/>
                  <a:pt x="685824" y="619583"/>
                </a:cubicBezTo>
                <a:lnTo>
                  <a:pt x="585982" y="616858"/>
                </a:lnTo>
                <a:cubicBezTo>
                  <a:pt x="579604" y="620476"/>
                  <a:pt x="573305" y="624118"/>
                  <a:pt x="566927" y="627736"/>
                </a:cubicBezTo>
                <a:lnTo>
                  <a:pt x="527950" y="630461"/>
                </a:lnTo>
                <a:lnTo>
                  <a:pt x="488029" y="600528"/>
                </a:lnTo>
                <a:lnTo>
                  <a:pt x="443620" y="585116"/>
                </a:lnTo>
                <a:lnTo>
                  <a:pt x="405510" y="584199"/>
                </a:lnTo>
                <a:lnTo>
                  <a:pt x="376455" y="601445"/>
                </a:lnTo>
                <a:lnTo>
                  <a:pt x="353777" y="628652"/>
                </a:lnTo>
                <a:lnTo>
                  <a:pt x="332045" y="669463"/>
                </a:lnTo>
                <a:cubicBezTo>
                  <a:pt x="328423" y="676723"/>
                  <a:pt x="324722" y="683983"/>
                  <a:pt x="321100" y="691243"/>
                </a:cubicBezTo>
                <a:cubicBezTo>
                  <a:pt x="322281" y="706351"/>
                  <a:pt x="323541" y="721482"/>
                  <a:pt x="324722" y="736589"/>
                </a:cubicBezTo>
                <a:lnTo>
                  <a:pt x="324722" y="769247"/>
                </a:lnTo>
                <a:cubicBezTo>
                  <a:pt x="322596" y="779233"/>
                  <a:pt x="320549" y="789218"/>
                  <a:pt x="318423" y="799204"/>
                </a:cubicBezTo>
                <a:cubicBezTo>
                  <a:pt x="313856" y="805853"/>
                  <a:pt x="309368" y="812502"/>
                  <a:pt x="304801" y="819151"/>
                </a:cubicBezTo>
                <a:lnTo>
                  <a:pt x="304799" y="819146"/>
                </a:lnTo>
                <a:cubicBezTo>
                  <a:pt x="304799" y="819147"/>
                  <a:pt x="304799" y="819149"/>
                  <a:pt x="304799" y="819150"/>
                </a:cubicBezTo>
                <a:lnTo>
                  <a:pt x="304798" y="819144"/>
                </a:lnTo>
                <a:lnTo>
                  <a:pt x="297824" y="798807"/>
                </a:lnTo>
                <a:lnTo>
                  <a:pt x="288157" y="790533"/>
                </a:lnTo>
                <a:lnTo>
                  <a:pt x="273283" y="779465"/>
                </a:lnTo>
                <a:lnTo>
                  <a:pt x="240852" y="779465"/>
                </a:lnTo>
                <a:lnTo>
                  <a:pt x="223357" y="780399"/>
                </a:lnTo>
                <a:lnTo>
                  <a:pt x="223357" y="758236"/>
                </a:lnTo>
                <a:lnTo>
                  <a:pt x="210220" y="749008"/>
                </a:lnTo>
                <a:lnTo>
                  <a:pt x="190926" y="749008"/>
                </a:lnTo>
                <a:lnTo>
                  <a:pt x="175168" y="762850"/>
                </a:lnTo>
                <a:lnTo>
                  <a:pt x="164653" y="766557"/>
                </a:lnTo>
                <a:lnTo>
                  <a:pt x="156789" y="755462"/>
                </a:lnTo>
                <a:lnTo>
                  <a:pt x="152400" y="743487"/>
                </a:lnTo>
                <a:lnTo>
                  <a:pt x="128747" y="733326"/>
                </a:lnTo>
                <a:lnTo>
                  <a:pt x="109484" y="726872"/>
                </a:lnTo>
                <a:lnTo>
                  <a:pt x="80589" y="699188"/>
                </a:lnTo>
                <a:lnTo>
                  <a:pt x="55168" y="686254"/>
                </a:lnTo>
                <a:lnTo>
                  <a:pt x="43799" y="672412"/>
                </a:lnTo>
                <a:cubicBezTo>
                  <a:pt x="44683" y="664117"/>
                  <a:pt x="45537" y="655796"/>
                  <a:pt x="46421" y="647502"/>
                </a:cubicBezTo>
                <a:cubicBezTo>
                  <a:pt x="45537" y="641661"/>
                  <a:pt x="44683" y="635821"/>
                  <a:pt x="43799" y="629980"/>
                </a:cubicBezTo>
                <a:lnTo>
                  <a:pt x="25390" y="622592"/>
                </a:lnTo>
                <a:lnTo>
                  <a:pt x="7010" y="603203"/>
                </a:lnTo>
                <a:cubicBezTo>
                  <a:pt x="4663" y="594589"/>
                  <a:pt x="2347" y="585974"/>
                  <a:pt x="0" y="577360"/>
                </a:cubicBezTo>
                <a:lnTo>
                  <a:pt x="15758" y="564452"/>
                </a:lnTo>
                <a:lnTo>
                  <a:pt x="10001" y="553175"/>
                </a:lnTo>
                <a:lnTo>
                  <a:pt x="9898" y="552972"/>
                </a:lnTo>
                <a:lnTo>
                  <a:pt x="9631" y="552450"/>
                </a:lnTo>
                <a:lnTo>
                  <a:pt x="11157" y="552606"/>
                </a:lnTo>
                <a:lnTo>
                  <a:pt x="52418" y="540624"/>
                </a:lnTo>
                <a:lnTo>
                  <a:pt x="88243" y="517230"/>
                </a:lnTo>
                <a:lnTo>
                  <a:pt x="147516" y="510038"/>
                </a:lnTo>
                <a:lnTo>
                  <a:pt x="203080" y="454284"/>
                </a:lnTo>
                <a:lnTo>
                  <a:pt x="224603" y="380785"/>
                </a:lnTo>
                <a:cubicBezTo>
                  <a:pt x="229276" y="366309"/>
                  <a:pt x="234147" y="351974"/>
                  <a:pt x="238820" y="337591"/>
                </a:cubicBezTo>
                <a:cubicBezTo>
                  <a:pt x="241255" y="321995"/>
                  <a:pt x="243747" y="306492"/>
                  <a:pt x="246098" y="290896"/>
                </a:cubicBezTo>
                <a:cubicBezTo>
                  <a:pt x="250969" y="274179"/>
                  <a:pt x="255642" y="257415"/>
                  <a:pt x="260513" y="240698"/>
                </a:cubicBezTo>
                <a:lnTo>
                  <a:pt x="260513" y="175884"/>
                </a:lnTo>
                <a:cubicBezTo>
                  <a:pt x="266488" y="158000"/>
                  <a:pt x="272379" y="140022"/>
                  <a:pt x="278383" y="122137"/>
                </a:cubicBezTo>
                <a:cubicBezTo>
                  <a:pt x="282685" y="111285"/>
                  <a:pt x="287058" y="100393"/>
                  <a:pt x="291322" y="89563"/>
                </a:cubicBezTo>
                <a:cubicBezTo>
                  <a:pt x="291322" y="89543"/>
                  <a:pt x="291319" y="89523"/>
                  <a:pt x="291316" y="89503"/>
                </a:cubicBezTo>
                <a:lnTo>
                  <a:pt x="291355" y="89482"/>
                </a:lnTo>
                <a:lnTo>
                  <a:pt x="292684" y="86135"/>
                </a:lnTo>
                <a:lnTo>
                  <a:pt x="295127" y="87455"/>
                </a:lnTo>
                <a:lnTo>
                  <a:pt x="341568" y="62493"/>
                </a:lnTo>
                <a:lnTo>
                  <a:pt x="388252" y="79539"/>
                </a:lnTo>
                <a:lnTo>
                  <a:pt x="426001" y="107952"/>
                </a:lnTo>
                <a:lnTo>
                  <a:pt x="474483" y="85228"/>
                </a:lnTo>
                <a:lnTo>
                  <a:pt x="490661" y="41670"/>
                </a:lnTo>
                <a:cubicBezTo>
                  <a:pt x="494256" y="27776"/>
                  <a:pt x="497825" y="13893"/>
                  <a:pt x="501447" y="0"/>
                </a:cubicBezTo>
                <a:close/>
              </a:path>
            </a:pathLst>
          </a:custGeom>
          <a:solidFill>
            <a:srgbClr val="70B0DF"/>
          </a:solidFill>
          <a:ln w="3175" cap="flat" cmpd="sng">
            <a:noFill/>
            <a:prstDash val="solid"/>
            <a:round/>
            <a:headEnd type="none" w="med" len="med"/>
            <a:tailEnd type="none" w="med" len="med"/>
          </a:ln>
        </p:spPr>
        <p:txBody>
          <a:bodyPr wrap="none" lIns="32632" tIns="32632" rIns="32632" bIns="32632" anchor="ctr"/>
          <a:lstStyle/>
          <a:p>
            <a:pPr defTabSz="891045"/>
            <a:endParaRPr lang="en-US" sz="1700" dirty="0">
              <a:solidFill>
                <a:srgbClr val="003149"/>
              </a:solidFill>
              <a:cs typeface="Arial" panose="020B0604020202020204" pitchFamily="34" charset="0"/>
            </a:endParaRPr>
          </a:p>
        </p:txBody>
      </p:sp>
      <p:sp>
        <p:nvSpPr>
          <p:cNvPr id="48" name="Freeform 1047"/>
          <p:cNvSpPr>
            <a:spLocks noChangeAspect="1"/>
          </p:cNvSpPr>
          <p:nvPr>
            <p:custDataLst>
              <p:tags r:id="rId29"/>
            </p:custDataLst>
          </p:nvPr>
        </p:nvSpPr>
        <p:spPr bwMode="gray">
          <a:xfrm>
            <a:off x="2749763" y="3143434"/>
            <a:ext cx="170601" cy="189398"/>
          </a:xfrm>
          <a:custGeom>
            <a:avLst/>
            <a:gdLst>
              <a:gd name="T0" fmla="*/ 0 w 988268"/>
              <a:gd name="T1" fmla="*/ 0 h 972556"/>
              <a:gd name="T2" fmla="*/ 0 w 988268"/>
              <a:gd name="T3" fmla="*/ 0 h 972556"/>
              <a:gd name="T4" fmla="*/ 0 w 988268"/>
              <a:gd name="T5" fmla="*/ 0 h 972556"/>
              <a:gd name="T6" fmla="*/ 0 w 988268"/>
              <a:gd name="T7" fmla="*/ 0 h 972556"/>
              <a:gd name="T8" fmla="*/ 0 w 988268"/>
              <a:gd name="T9" fmla="*/ 0 h 972556"/>
              <a:gd name="T10" fmla="*/ 0 w 988268"/>
              <a:gd name="T11" fmla="*/ 0 h 972556"/>
              <a:gd name="T12" fmla="*/ 0 w 988268"/>
              <a:gd name="T13" fmla="*/ 0 h 972556"/>
              <a:gd name="T14" fmla="*/ 0 w 988268"/>
              <a:gd name="T15" fmla="*/ 0 h 972556"/>
              <a:gd name="T16" fmla="*/ 0 w 988268"/>
              <a:gd name="T17" fmla="*/ 0 h 972556"/>
              <a:gd name="T18" fmla="*/ 0 w 988268"/>
              <a:gd name="T19" fmla="*/ 0 h 972556"/>
              <a:gd name="T20" fmla="*/ 0 w 988268"/>
              <a:gd name="T21" fmla="*/ 0 h 972556"/>
              <a:gd name="T22" fmla="*/ 0 w 988268"/>
              <a:gd name="T23" fmla="*/ 0 h 972556"/>
              <a:gd name="T24" fmla="*/ 0 w 988268"/>
              <a:gd name="T25" fmla="*/ 0 h 972556"/>
              <a:gd name="T26" fmla="*/ 0 w 988268"/>
              <a:gd name="T27" fmla="*/ 0 h 972556"/>
              <a:gd name="T28" fmla="*/ 0 w 988268"/>
              <a:gd name="T29" fmla="*/ 0 h 972556"/>
              <a:gd name="T30" fmla="*/ 0 w 988268"/>
              <a:gd name="T31" fmla="*/ 0 h 972556"/>
              <a:gd name="T32" fmla="*/ 0 w 988268"/>
              <a:gd name="T33" fmla="*/ 0 h 972556"/>
              <a:gd name="T34" fmla="*/ 0 w 988268"/>
              <a:gd name="T35" fmla="*/ 0 h 972556"/>
              <a:gd name="T36" fmla="*/ 0 w 988268"/>
              <a:gd name="T37" fmla="*/ 0 h 972556"/>
              <a:gd name="T38" fmla="*/ 0 w 988268"/>
              <a:gd name="T39" fmla="*/ 0 h 972556"/>
              <a:gd name="T40" fmla="*/ 0 w 988268"/>
              <a:gd name="T41" fmla="*/ 0 h 972556"/>
              <a:gd name="T42" fmla="*/ 0 w 988268"/>
              <a:gd name="T43" fmla="*/ 0 h 972556"/>
              <a:gd name="T44" fmla="*/ 0 w 988268"/>
              <a:gd name="T45" fmla="*/ 0 h 972556"/>
              <a:gd name="T46" fmla="*/ 0 w 988268"/>
              <a:gd name="T47" fmla="*/ 0 h 972556"/>
              <a:gd name="T48" fmla="*/ 0 w 988268"/>
              <a:gd name="T49" fmla="*/ 0 h 972556"/>
              <a:gd name="T50" fmla="*/ 0 w 988268"/>
              <a:gd name="T51" fmla="*/ 0 h 972556"/>
              <a:gd name="T52" fmla="*/ 0 w 988268"/>
              <a:gd name="T53" fmla="*/ 0 h 972556"/>
              <a:gd name="T54" fmla="*/ 0 w 988268"/>
              <a:gd name="T55" fmla="*/ 0 h 972556"/>
              <a:gd name="T56" fmla="*/ 0 w 988268"/>
              <a:gd name="T57" fmla="*/ 0 h 972556"/>
              <a:gd name="T58" fmla="*/ 0 w 988268"/>
              <a:gd name="T59" fmla="*/ 0 h 972556"/>
              <a:gd name="T60" fmla="*/ 0 w 988268"/>
              <a:gd name="T61" fmla="*/ 0 h 972556"/>
              <a:gd name="T62" fmla="*/ 0 w 988268"/>
              <a:gd name="T63" fmla="*/ 0 h 972556"/>
              <a:gd name="T64" fmla="*/ 0 w 988268"/>
              <a:gd name="T65" fmla="*/ 0 h 972556"/>
              <a:gd name="T66" fmla="*/ 0 w 988268"/>
              <a:gd name="T67" fmla="*/ 0 h 972556"/>
              <a:gd name="T68" fmla="*/ 0 w 988268"/>
              <a:gd name="T69" fmla="*/ 0 h 972556"/>
              <a:gd name="T70" fmla="*/ 0 w 988268"/>
              <a:gd name="T71" fmla="*/ 0 h 972556"/>
              <a:gd name="T72" fmla="*/ 0 w 988268"/>
              <a:gd name="T73" fmla="*/ 0 h 972556"/>
              <a:gd name="T74" fmla="*/ 0 w 988268"/>
              <a:gd name="T75" fmla="*/ 0 h 972556"/>
              <a:gd name="T76" fmla="*/ 0 w 988268"/>
              <a:gd name="T77" fmla="*/ 0 h 972556"/>
              <a:gd name="T78" fmla="*/ 0 w 988268"/>
              <a:gd name="T79" fmla="*/ 0 h 972556"/>
              <a:gd name="T80" fmla="*/ 0 w 988268"/>
              <a:gd name="T81" fmla="*/ 0 h 972556"/>
              <a:gd name="T82" fmla="*/ 0 w 988268"/>
              <a:gd name="T83" fmla="*/ 0 h 972556"/>
              <a:gd name="T84" fmla="*/ 0 w 988268"/>
              <a:gd name="T85" fmla="*/ 0 h 972556"/>
              <a:gd name="T86" fmla="*/ 0 w 988268"/>
              <a:gd name="T87" fmla="*/ 0 h 97255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w 988268"/>
              <a:gd name="T133" fmla="*/ 0 h 972556"/>
              <a:gd name="T134" fmla="*/ 988268 w 988268"/>
              <a:gd name="T135" fmla="*/ 972556 h 972556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T132" t="T133" r="T134" b="T135"/>
            <a:pathLst>
              <a:path w="988268" h="972556">
                <a:moveTo>
                  <a:pt x="320712" y="0"/>
                </a:moveTo>
                <a:cubicBezTo>
                  <a:pt x="321000" y="121"/>
                  <a:pt x="321288" y="249"/>
                  <a:pt x="321497" y="551"/>
                </a:cubicBezTo>
                <a:lnTo>
                  <a:pt x="323840" y="437"/>
                </a:lnTo>
                <a:lnTo>
                  <a:pt x="324561" y="2704"/>
                </a:lnTo>
                <a:cubicBezTo>
                  <a:pt x="331964" y="6875"/>
                  <a:pt x="339071" y="14913"/>
                  <a:pt x="346177" y="17893"/>
                </a:cubicBezTo>
                <a:lnTo>
                  <a:pt x="391580" y="57287"/>
                </a:lnTo>
                <a:lnTo>
                  <a:pt x="424350" y="89514"/>
                </a:lnTo>
                <a:lnTo>
                  <a:pt x="466134" y="103848"/>
                </a:lnTo>
                <a:lnTo>
                  <a:pt x="509760" y="103848"/>
                </a:lnTo>
                <a:lnTo>
                  <a:pt x="553386" y="116378"/>
                </a:lnTo>
                <a:lnTo>
                  <a:pt x="577009" y="159330"/>
                </a:lnTo>
                <a:lnTo>
                  <a:pt x="598855" y="200478"/>
                </a:lnTo>
                <a:lnTo>
                  <a:pt x="618793" y="232705"/>
                </a:lnTo>
                <a:lnTo>
                  <a:pt x="664262" y="272099"/>
                </a:lnTo>
                <a:lnTo>
                  <a:pt x="729668" y="254206"/>
                </a:lnTo>
                <a:lnTo>
                  <a:pt x="755134" y="254206"/>
                </a:lnTo>
                <a:lnTo>
                  <a:pt x="793298" y="266736"/>
                </a:lnTo>
                <a:lnTo>
                  <a:pt x="800602" y="325777"/>
                </a:lnTo>
                <a:lnTo>
                  <a:pt x="822383" y="352641"/>
                </a:lnTo>
                <a:lnTo>
                  <a:pt x="847848" y="383064"/>
                </a:lnTo>
                <a:lnTo>
                  <a:pt x="876932" y="409928"/>
                </a:lnTo>
                <a:lnTo>
                  <a:pt x="907859" y="433183"/>
                </a:lnTo>
                <a:lnTo>
                  <a:pt x="935101" y="433183"/>
                </a:lnTo>
                <a:lnTo>
                  <a:pt x="958723" y="452880"/>
                </a:lnTo>
                <a:cubicBezTo>
                  <a:pt x="964742" y="469629"/>
                  <a:pt x="978641" y="488351"/>
                  <a:pt x="985672" y="505681"/>
                </a:cubicBezTo>
                <a:lnTo>
                  <a:pt x="988040" y="505599"/>
                </a:lnTo>
                <a:lnTo>
                  <a:pt x="986985" y="508254"/>
                </a:lnTo>
                <a:cubicBezTo>
                  <a:pt x="987621" y="509022"/>
                  <a:pt x="987955" y="509898"/>
                  <a:pt x="988268" y="510768"/>
                </a:cubicBezTo>
                <a:lnTo>
                  <a:pt x="985460" y="512093"/>
                </a:lnTo>
                <a:cubicBezTo>
                  <a:pt x="981589" y="521913"/>
                  <a:pt x="977635" y="531772"/>
                  <a:pt x="973739" y="541601"/>
                </a:cubicBezTo>
                <a:cubicBezTo>
                  <a:pt x="967735" y="559486"/>
                  <a:pt x="961844" y="577464"/>
                  <a:pt x="955869" y="595348"/>
                </a:cubicBezTo>
                <a:lnTo>
                  <a:pt x="955869" y="660162"/>
                </a:lnTo>
                <a:cubicBezTo>
                  <a:pt x="950998" y="676879"/>
                  <a:pt x="946325" y="693643"/>
                  <a:pt x="941454" y="710360"/>
                </a:cubicBezTo>
                <a:cubicBezTo>
                  <a:pt x="939103" y="725956"/>
                  <a:pt x="936611" y="741459"/>
                  <a:pt x="934176" y="757055"/>
                </a:cubicBezTo>
                <a:cubicBezTo>
                  <a:pt x="929503" y="771438"/>
                  <a:pt x="924632" y="785773"/>
                  <a:pt x="919959" y="800249"/>
                </a:cubicBezTo>
                <a:lnTo>
                  <a:pt x="898436" y="873748"/>
                </a:lnTo>
                <a:lnTo>
                  <a:pt x="842872" y="929503"/>
                </a:lnTo>
                <a:lnTo>
                  <a:pt x="783599" y="936694"/>
                </a:lnTo>
                <a:lnTo>
                  <a:pt x="747774" y="960088"/>
                </a:lnTo>
                <a:lnTo>
                  <a:pt x="704841" y="972556"/>
                </a:lnTo>
                <a:lnTo>
                  <a:pt x="703468" y="968019"/>
                </a:lnTo>
                <a:lnTo>
                  <a:pt x="701712" y="971915"/>
                </a:lnTo>
                <a:lnTo>
                  <a:pt x="674820" y="962974"/>
                </a:lnTo>
                <a:lnTo>
                  <a:pt x="649744" y="937930"/>
                </a:lnTo>
                <a:lnTo>
                  <a:pt x="597845" y="925433"/>
                </a:lnTo>
                <a:lnTo>
                  <a:pt x="549509" y="941486"/>
                </a:lnTo>
                <a:lnTo>
                  <a:pt x="511860" y="946871"/>
                </a:lnTo>
                <a:lnTo>
                  <a:pt x="484968" y="937930"/>
                </a:lnTo>
                <a:cubicBezTo>
                  <a:pt x="479030" y="924214"/>
                  <a:pt x="473023" y="910498"/>
                  <a:pt x="467086" y="896782"/>
                </a:cubicBezTo>
                <a:lnTo>
                  <a:pt x="463524" y="877122"/>
                </a:lnTo>
                <a:lnTo>
                  <a:pt x="429507" y="873515"/>
                </a:lnTo>
                <a:lnTo>
                  <a:pt x="399052" y="861019"/>
                </a:lnTo>
                <a:lnTo>
                  <a:pt x="368597" y="830589"/>
                </a:lnTo>
                <a:lnTo>
                  <a:pt x="338143" y="834196"/>
                </a:lnTo>
                <a:lnTo>
                  <a:pt x="316629" y="809152"/>
                </a:lnTo>
                <a:cubicBezTo>
                  <a:pt x="320191" y="798992"/>
                  <a:pt x="323824" y="788883"/>
                  <a:pt x="327386" y="778723"/>
                </a:cubicBezTo>
                <a:cubicBezTo>
                  <a:pt x="329761" y="768004"/>
                  <a:pt x="332206" y="757234"/>
                  <a:pt x="334581" y="746515"/>
                </a:cubicBezTo>
                <a:lnTo>
                  <a:pt x="313067" y="721471"/>
                </a:lnTo>
                <a:cubicBezTo>
                  <a:pt x="310692" y="707145"/>
                  <a:pt x="308247" y="692871"/>
                  <a:pt x="305872" y="678545"/>
                </a:cubicBezTo>
                <a:lnTo>
                  <a:pt x="264731" y="705418"/>
                </a:lnTo>
                <a:lnTo>
                  <a:pt x="203821" y="701811"/>
                </a:lnTo>
                <a:lnTo>
                  <a:pt x="176929" y="649945"/>
                </a:lnTo>
                <a:cubicBezTo>
                  <a:pt x="173367" y="632063"/>
                  <a:pt x="169735" y="614181"/>
                  <a:pt x="166172" y="596300"/>
                </a:cubicBezTo>
                <a:cubicBezTo>
                  <a:pt x="164985" y="580806"/>
                  <a:pt x="163797" y="565261"/>
                  <a:pt x="162610" y="549767"/>
                </a:cubicBezTo>
                <a:lnTo>
                  <a:pt x="123215" y="560486"/>
                </a:lnTo>
                <a:lnTo>
                  <a:pt x="85565" y="539048"/>
                </a:lnTo>
                <a:cubicBezTo>
                  <a:pt x="79628" y="521167"/>
                  <a:pt x="73621" y="503285"/>
                  <a:pt x="67684" y="485403"/>
                </a:cubicBezTo>
                <a:lnTo>
                  <a:pt x="15951" y="468161"/>
                </a:lnTo>
                <a:lnTo>
                  <a:pt x="0" y="466339"/>
                </a:lnTo>
                <a:lnTo>
                  <a:pt x="4497" y="464343"/>
                </a:lnTo>
                <a:lnTo>
                  <a:pt x="3212" y="463915"/>
                </a:lnTo>
                <a:lnTo>
                  <a:pt x="5688" y="463815"/>
                </a:lnTo>
                <a:lnTo>
                  <a:pt x="34748" y="450918"/>
                </a:lnTo>
                <a:lnTo>
                  <a:pt x="85850" y="445001"/>
                </a:lnTo>
                <a:lnTo>
                  <a:pt x="130151" y="445001"/>
                </a:lnTo>
                <a:cubicBezTo>
                  <a:pt x="138733" y="423849"/>
                  <a:pt x="147185" y="402557"/>
                  <a:pt x="155637" y="381359"/>
                </a:cubicBezTo>
                <a:cubicBezTo>
                  <a:pt x="157742" y="360346"/>
                  <a:pt x="159945" y="339008"/>
                  <a:pt x="161790" y="317903"/>
                </a:cubicBezTo>
                <a:cubicBezTo>
                  <a:pt x="166259" y="296658"/>
                  <a:pt x="170469" y="275645"/>
                  <a:pt x="174874" y="254587"/>
                </a:cubicBezTo>
                <a:lnTo>
                  <a:pt x="149064" y="216290"/>
                </a:lnTo>
                <a:lnTo>
                  <a:pt x="174874" y="203664"/>
                </a:lnTo>
                <a:lnTo>
                  <a:pt x="193624" y="178132"/>
                </a:lnTo>
                <a:cubicBezTo>
                  <a:pt x="191681" y="165599"/>
                  <a:pt x="189414" y="152554"/>
                  <a:pt x="187471" y="139975"/>
                </a:cubicBezTo>
                <a:lnTo>
                  <a:pt x="187471" y="95761"/>
                </a:lnTo>
                <a:cubicBezTo>
                  <a:pt x="191519" y="85185"/>
                  <a:pt x="195729" y="74469"/>
                  <a:pt x="199971" y="63846"/>
                </a:cubicBezTo>
                <a:cubicBezTo>
                  <a:pt x="197866" y="57650"/>
                  <a:pt x="195729" y="51267"/>
                  <a:pt x="193624" y="44744"/>
                </a:cubicBezTo>
                <a:lnTo>
                  <a:pt x="250684" y="6960"/>
                </a:lnTo>
                <a:lnTo>
                  <a:pt x="285594" y="2301"/>
                </a:lnTo>
                <a:lnTo>
                  <a:pt x="320655" y="592"/>
                </a:lnTo>
                <a:close/>
              </a:path>
            </a:pathLst>
          </a:custGeom>
          <a:solidFill>
            <a:srgbClr val="70B0DF"/>
          </a:solidFill>
          <a:ln w="3175" cap="flat" cmpd="sng">
            <a:noFill/>
            <a:prstDash val="solid"/>
            <a:round/>
            <a:headEnd/>
            <a:tailEnd/>
          </a:ln>
        </p:spPr>
        <p:txBody>
          <a:bodyPr wrap="none" lIns="32632" tIns="32632" rIns="32632" bIns="32632" anchor="ctr"/>
          <a:lstStyle/>
          <a:p>
            <a:pPr defTabSz="891045"/>
            <a:endParaRPr lang="en-US" sz="1700" dirty="0">
              <a:solidFill>
                <a:srgbClr val="003149"/>
              </a:solidFill>
              <a:cs typeface="Arial" panose="020B0604020202020204" pitchFamily="34" charset="0"/>
            </a:endParaRPr>
          </a:p>
        </p:txBody>
      </p:sp>
      <p:sp>
        <p:nvSpPr>
          <p:cNvPr id="49" name="Freeform 704"/>
          <p:cNvSpPr>
            <a:spLocks noChangeAspect="1"/>
          </p:cNvSpPr>
          <p:nvPr>
            <p:custDataLst>
              <p:tags r:id="rId30"/>
            </p:custDataLst>
          </p:nvPr>
        </p:nvSpPr>
        <p:spPr bwMode="gray">
          <a:xfrm>
            <a:off x="3025545" y="3116172"/>
            <a:ext cx="136480" cy="127700"/>
          </a:xfrm>
          <a:custGeom>
            <a:avLst/>
            <a:gdLst>
              <a:gd name="T0" fmla="*/ 0 w 798930"/>
              <a:gd name="T1" fmla="*/ 0 h 657075"/>
              <a:gd name="T2" fmla="*/ 0 w 798930"/>
              <a:gd name="T3" fmla="*/ 0 h 657075"/>
              <a:gd name="T4" fmla="*/ 0 w 798930"/>
              <a:gd name="T5" fmla="*/ 0 h 657075"/>
              <a:gd name="T6" fmla="*/ 0 w 798930"/>
              <a:gd name="T7" fmla="*/ 0 h 657075"/>
              <a:gd name="T8" fmla="*/ 0 w 798930"/>
              <a:gd name="T9" fmla="*/ 0 h 657075"/>
              <a:gd name="T10" fmla="*/ 0 w 798930"/>
              <a:gd name="T11" fmla="*/ 0 h 657075"/>
              <a:gd name="T12" fmla="*/ 0 w 798930"/>
              <a:gd name="T13" fmla="*/ 0 h 657075"/>
              <a:gd name="T14" fmla="*/ 0 w 798930"/>
              <a:gd name="T15" fmla="*/ 0 h 657075"/>
              <a:gd name="T16" fmla="*/ 0 w 798930"/>
              <a:gd name="T17" fmla="*/ 0 h 657075"/>
              <a:gd name="T18" fmla="*/ 0 w 798930"/>
              <a:gd name="T19" fmla="*/ 0 h 657075"/>
              <a:gd name="T20" fmla="*/ 0 w 798930"/>
              <a:gd name="T21" fmla="*/ 0 h 657075"/>
              <a:gd name="T22" fmla="*/ 0 w 798930"/>
              <a:gd name="T23" fmla="*/ 0 h 657075"/>
              <a:gd name="T24" fmla="*/ 0 w 798930"/>
              <a:gd name="T25" fmla="*/ 0 h 657075"/>
              <a:gd name="T26" fmla="*/ 0 w 798930"/>
              <a:gd name="T27" fmla="*/ 0 h 657075"/>
              <a:gd name="T28" fmla="*/ 0 w 798930"/>
              <a:gd name="T29" fmla="*/ 0 h 657075"/>
              <a:gd name="T30" fmla="*/ 0 w 798930"/>
              <a:gd name="T31" fmla="*/ 0 h 657075"/>
              <a:gd name="T32" fmla="*/ 0 w 798930"/>
              <a:gd name="T33" fmla="*/ 0 h 657075"/>
              <a:gd name="T34" fmla="*/ 0 w 798930"/>
              <a:gd name="T35" fmla="*/ 0 h 657075"/>
              <a:gd name="T36" fmla="*/ 0 w 798930"/>
              <a:gd name="T37" fmla="*/ 0 h 657075"/>
              <a:gd name="T38" fmla="*/ 0 w 798930"/>
              <a:gd name="T39" fmla="*/ 0 h 657075"/>
              <a:gd name="T40" fmla="*/ 0 w 798930"/>
              <a:gd name="T41" fmla="*/ 0 h 657075"/>
              <a:gd name="T42" fmla="*/ 0 w 798930"/>
              <a:gd name="T43" fmla="*/ 0 h 657075"/>
              <a:gd name="T44" fmla="*/ 0 w 798930"/>
              <a:gd name="T45" fmla="*/ 0 h 657075"/>
              <a:gd name="T46" fmla="*/ 0 w 798930"/>
              <a:gd name="T47" fmla="*/ 0 h 657075"/>
              <a:gd name="T48" fmla="*/ 0 w 798930"/>
              <a:gd name="T49" fmla="*/ 0 h 657075"/>
              <a:gd name="T50" fmla="*/ 0 w 798930"/>
              <a:gd name="T51" fmla="*/ 0 h 657075"/>
              <a:gd name="T52" fmla="*/ 0 w 798930"/>
              <a:gd name="T53" fmla="*/ 0 h 657075"/>
              <a:gd name="T54" fmla="*/ 0 w 798930"/>
              <a:gd name="T55" fmla="*/ 0 h 657075"/>
              <a:gd name="T56" fmla="*/ 0 w 798930"/>
              <a:gd name="T57" fmla="*/ 0 h 657075"/>
              <a:gd name="T58" fmla="*/ 0 w 798930"/>
              <a:gd name="T59" fmla="*/ 0 h 657075"/>
              <a:gd name="T60" fmla="*/ 0 w 798930"/>
              <a:gd name="T61" fmla="*/ 0 h 657075"/>
              <a:gd name="T62" fmla="*/ 0 w 798930"/>
              <a:gd name="T63" fmla="*/ 0 h 657075"/>
              <a:gd name="T64" fmla="*/ 0 w 798930"/>
              <a:gd name="T65" fmla="*/ 0 h 657075"/>
              <a:gd name="T66" fmla="*/ 0 w 798930"/>
              <a:gd name="T67" fmla="*/ 0 h 657075"/>
              <a:gd name="T68" fmla="*/ 0 w 798930"/>
              <a:gd name="T69" fmla="*/ 0 h 657075"/>
              <a:gd name="T70" fmla="*/ 0 w 798930"/>
              <a:gd name="T71" fmla="*/ 0 h 657075"/>
              <a:gd name="T72" fmla="*/ 0 w 798930"/>
              <a:gd name="T73" fmla="*/ 0 h 657075"/>
              <a:gd name="T74" fmla="*/ 0 w 798930"/>
              <a:gd name="T75" fmla="*/ 0 h 657075"/>
              <a:gd name="T76" fmla="*/ 0 w 798930"/>
              <a:gd name="T77" fmla="*/ 0 h 657075"/>
              <a:gd name="T78" fmla="*/ 0 w 798930"/>
              <a:gd name="T79" fmla="*/ 0 h 657075"/>
              <a:gd name="T80" fmla="*/ 0 w 798930"/>
              <a:gd name="T81" fmla="*/ 0 h 657075"/>
              <a:gd name="T82" fmla="*/ 0 w 798930"/>
              <a:gd name="T83" fmla="*/ 0 h 657075"/>
              <a:gd name="T84" fmla="*/ 0 w 798930"/>
              <a:gd name="T85" fmla="*/ 0 h 657075"/>
              <a:gd name="T86" fmla="*/ 0 w 798930"/>
              <a:gd name="T87" fmla="*/ 0 h 657075"/>
              <a:gd name="T88" fmla="*/ 0 w 798930"/>
              <a:gd name="T89" fmla="*/ 0 h 657075"/>
              <a:gd name="T90" fmla="*/ 0 w 798930"/>
              <a:gd name="T91" fmla="*/ 0 h 657075"/>
              <a:gd name="T92" fmla="*/ 0 w 798930"/>
              <a:gd name="T93" fmla="*/ 0 h 657075"/>
              <a:gd name="T94" fmla="*/ 0 w 798930"/>
              <a:gd name="T95" fmla="*/ 0 h 657075"/>
              <a:gd name="T96" fmla="*/ 0 w 798930"/>
              <a:gd name="T97" fmla="*/ 0 h 657075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w 798930"/>
              <a:gd name="T148" fmla="*/ 0 h 657075"/>
              <a:gd name="T149" fmla="*/ 798930 w 798930"/>
              <a:gd name="T150" fmla="*/ 657075 h 657075"/>
            </a:gdLst>
            <a:ahLst/>
            <a:cxnLst>
              <a:cxn ang="T98">
                <a:pos x="T0" y="T1"/>
              </a:cxn>
              <a:cxn ang="T99">
                <a:pos x="T2" y="T3"/>
              </a:cxn>
              <a:cxn ang="T100">
                <a:pos x="T4" y="T5"/>
              </a:cxn>
              <a:cxn ang="T101">
                <a:pos x="T6" y="T7"/>
              </a:cxn>
              <a:cxn ang="T102">
                <a:pos x="T8" y="T9"/>
              </a:cxn>
              <a:cxn ang="T103">
                <a:pos x="T10" y="T11"/>
              </a:cxn>
              <a:cxn ang="T104">
                <a:pos x="T12" y="T13"/>
              </a:cxn>
              <a:cxn ang="T105">
                <a:pos x="T14" y="T15"/>
              </a:cxn>
              <a:cxn ang="T106">
                <a:pos x="T16" y="T17"/>
              </a:cxn>
              <a:cxn ang="T107">
                <a:pos x="T18" y="T19"/>
              </a:cxn>
              <a:cxn ang="T108">
                <a:pos x="T20" y="T21"/>
              </a:cxn>
              <a:cxn ang="T109">
                <a:pos x="T22" y="T23"/>
              </a:cxn>
              <a:cxn ang="T110">
                <a:pos x="T24" y="T25"/>
              </a:cxn>
              <a:cxn ang="T111">
                <a:pos x="T26" y="T27"/>
              </a:cxn>
              <a:cxn ang="T112">
                <a:pos x="T28" y="T29"/>
              </a:cxn>
              <a:cxn ang="T113">
                <a:pos x="T30" y="T31"/>
              </a:cxn>
              <a:cxn ang="T114">
                <a:pos x="T32" y="T33"/>
              </a:cxn>
              <a:cxn ang="T115">
                <a:pos x="T34" y="T35"/>
              </a:cxn>
              <a:cxn ang="T116">
                <a:pos x="T36" y="T37"/>
              </a:cxn>
              <a:cxn ang="T117">
                <a:pos x="T38" y="T39"/>
              </a:cxn>
              <a:cxn ang="T118">
                <a:pos x="T40" y="T41"/>
              </a:cxn>
              <a:cxn ang="T119">
                <a:pos x="T42" y="T43"/>
              </a:cxn>
              <a:cxn ang="T120">
                <a:pos x="T44" y="T45"/>
              </a:cxn>
              <a:cxn ang="T121">
                <a:pos x="T46" y="T47"/>
              </a:cxn>
              <a:cxn ang="T122">
                <a:pos x="T48" y="T49"/>
              </a:cxn>
              <a:cxn ang="T123">
                <a:pos x="T50" y="T51"/>
              </a:cxn>
              <a:cxn ang="T124">
                <a:pos x="T52" y="T53"/>
              </a:cxn>
              <a:cxn ang="T125">
                <a:pos x="T54" y="T55"/>
              </a:cxn>
              <a:cxn ang="T126">
                <a:pos x="T56" y="T57"/>
              </a:cxn>
              <a:cxn ang="T127">
                <a:pos x="T58" y="T59"/>
              </a:cxn>
              <a:cxn ang="T128">
                <a:pos x="T60" y="T61"/>
              </a:cxn>
              <a:cxn ang="T129">
                <a:pos x="T62" y="T63"/>
              </a:cxn>
              <a:cxn ang="T130">
                <a:pos x="T64" y="T65"/>
              </a:cxn>
              <a:cxn ang="T131">
                <a:pos x="T66" y="T67"/>
              </a:cxn>
              <a:cxn ang="T132">
                <a:pos x="T68" y="T69"/>
              </a:cxn>
              <a:cxn ang="T133">
                <a:pos x="T70" y="T71"/>
              </a:cxn>
              <a:cxn ang="T134">
                <a:pos x="T72" y="T73"/>
              </a:cxn>
              <a:cxn ang="T135">
                <a:pos x="T74" y="T75"/>
              </a:cxn>
              <a:cxn ang="T136">
                <a:pos x="T76" y="T77"/>
              </a:cxn>
              <a:cxn ang="T137">
                <a:pos x="T78" y="T79"/>
              </a:cxn>
              <a:cxn ang="T138">
                <a:pos x="T80" y="T81"/>
              </a:cxn>
              <a:cxn ang="T139">
                <a:pos x="T82" y="T83"/>
              </a:cxn>
              <a:cxn ang="T140">
                <a:pos x="T84" y="T85"/>
              </a:cxn>
              <a:cxn ang="T141">
                <a:pos x="T86" y="T87"/>
              </a:cxn>
              <a:cxn ang="T142">
                <a:pos x="T88" y="T89"/>
              </a:cxn>
              <a:cxn ang="T143">
                <a:pos x="T90" y="T91"/>
              </a:cxn>
              <a:cxn ang="T144">
                <a:pos x="T92" y="T93"/>
              </a:cxn>
              <a:cxn ang="T145">
                <a:pos x="T94" y="T95"/>
              </a:cxn>
              <a:cxn ang="T146">
                <a:pos x="T96" y="T97"/>
              </a:cxn>
            </a:cxnLst>
            <a:rect l="T147" t="T148" r="T149" b="T150"/>
            <a:pathLst>
              <a:path w="798930" h="657075">
                <a:moveTo>
                  <a:pt x="118067" y="0"/>
                </a:moveTo>
                <a:lnTo>
                  <a:pt x="173887" y="0"/>
                </a:lnTo>
                <a:lnTo>
                  <a:pt x="227212" y="10846"/>
                </a:lnTo>
                <a:lnTo>
                  <a:pt x="277426" y="28832"/>
                </a:lnTo>
                <a:lnTo>
                  <a:pt x="341660" y="53917"/>
                </a:lnTo>
                <a:lnTo>
                  <a:pt x="341730" y="53829"/>
                </a:lnTo>
                <a:lnTo>
                  <a:pt x="341813" y="53977"/>
                </a:lnTo>
                <a:lnTo>
                  <a:pt x="341826" y="53982"/>
                </a:lnTo>
                <a:lnTo>
                  <a:pt x="341825" y="53999"/>
                </a:lnTo>
                <a:lnTo>
                  <a:pt x="359652" y="85940"/>
                </a:lnTo>
                <a:lnTo>
                  <a:pt x="382055" y="125198"/>
                </a:lnTo>
                <a:lnTo>
                  <a:pt x="353389" y="144827"/>
                </a:lnTo>
                <a:lnTo>
                  <a:pt x="368613" y="163549"/>
                </a:lnTo>
                <a:lnTo>
                  <a:pt x="403589" y="174271"/>
                </a:lnTo>
                <a:lnTo>
                  <a:pt x="420597" y="174271"/>
                </a:lnTo>
                <a:lnTo>
                  <a:pt x="450224" y="167977"/>
                </a:lnTo>
                <a:lnTo>
                  <a:pt x="493246" y="176031"/>
                </a:lnTo>
                <a:lnTo>
                  <a:pt x="505773" y="186752"/>
                </a:lnTo>
                <a:lnTo>
                  <a:pt x="513866" y="198327"/>
                </a:lnTo>
                <a:lnTo>
                  <a:pt x="524610" y="210809"/>
                </a:lnTo>
                <a:lnTo>
                  <a:pt x="540749" y="209902"/>
                </a:lnTo>
                <a:lnTo>
                  <a:pt x="557757" y="231345"/>
                </a:lnTo>
                <a:lnTo>
                  <a:pt x="586469" y="219716"/>
                </a:lnTo>
                <a:lnTo>
                  <a:pt x="605306" y="223290"/>
                </a:lnTo>
                <a:lnTo>
                  <a:pt x="642933" y="249160"/>
                </a:lnTo>
                <a:lnTo>
                  <a:pt x="664467" y="267029"/>
                </a:lnTo>
                <a:lnTo>
                  <a:pt x="677909" y="291085"/>
                </a:lnTo>
                <a:lnTo>
                  <a:pt x="691351" y="333918"/>
                </a:lnTo>
                <a:lnTo>
                  <a:pt x="725412" y="299993"/>
                </a:lnTo>
                <a:lnTo>
                  <a:pt x="746946" y="283084"/>
                </a:lnTo>
                <a:lnTo>
                  <a:pt x="772915" y="287512"/>
                </a:lnTo>
                <a:lnTo>
                  <a:pt x="767566" y="309808"/>
                </a:lnTo>
                <a:lnTo>
                  <a:pt x="748729" y="310715"/>
                </a:lnTo>
                <a:lnTo>
                  <a:pt x="735288" y="318769"/>
                </a:lnTo>
                <a:lnTo>
                  <a:pt x="747815" y="332104"/>
                </a:lnTo>
                <a:cubicBezTo>
                  <a:pt x="748135" y="339252"/>
                  <a:pt x="748409" y="346399"/>
                  <a:pt x="748729" y="353547"/>
                </a:cubicBezTo>
                <a:lnTo>
                  <a:pt x="732590" y="374936"/>
                </a:lnTo>
                <a:cubicBezTo>
                  <a:pt x="733185" y="384164"/>
                  <a:pt x="733779" y="393338"/>
                  <a:pt x="734373" y="402566"/>
                </a:cubicBezTo>
                <a:lnTo>
                  <a:pt x="770264" y="412381"/>
                </a:lnTo>
                <a:lnTo>
                  <a:pt x="793535" y="441824"/>
                </a:lnTo>
                <a:lnTo>
                  <a:pt x="777396" y="466788"/>
                </a:lnTo>
                <a:lnTo>
                  <a:pt x="777396" y="505192"/>
                </a:lnTo>
                <a:lnTo>
                  <a:pt x="798930" y="535489"/>
                </a:lnTo>
                <a:lnTo>
                  <a:pt x="751153" y="608672"/>
                </a:lnTo>
                <a:lnTo>
                  <a:pt x="749459" y="607265"/>
                </a:lnTo>
                <a:lnTo>
                  <a:pt x="725873" y="624934"/>
                </a:lnTo>
                <a:lnTo>
                  <a:pt x="743740" y="628500"/>
                </a:lnTo>
                <a:cubicBezTo>
                  <a:pt x="742569" y="635644"/>
                  <a:pt x="741348" y="642788"/>
                  <a:pt x="740177" y="649931"/>
                </a:cubicBezTo>
                <a:lnTo>
                  <a:pt x="697267" y="657075"/>
                </a:lnTo>
                <a:lnTo>
                  <a:pt x="672224" y="649931"/>
                </a:lnTo>
                <a:lnTo>
                  <a:pt x="682963" y="642788"/>
                </a:lnTo>
                <a:lnTo>
                  <a:pt x="666854" y="632078"/>
                </a:lnTo>
                <a:lnTo>
                  <a:pt x="648987" y="632078"/>
                </a:lnTo>
                <a:cubicBezTo>
                  <a:pt x="651379" y="626123"/>
                  <a:pt x="653722" y="620168"/>
                  <a:pt x="656114" y="614212"/>
                </a:cubicBezTo>
                <a:lnTo>
                  <a:pt x="656114" y="603503"/>
                </a:lnTo>
                <a:cubicBezTo>
                  <a:pt x="650159" y="598736"/>
                  <a:pt x="644154" y="593981"/>
                  <a:pt x="638247" y="589215"/>
                </a:cubicBezTo>
                <a:lnTo>
                  <a:pt x="602464" y="592781"/>
                </a:lnTo>
                <a:cubicBezTo>
                  <a:pt x="603685" y="584449"/>
                  <a:pt x="604905" y="576116"/>
                  <a:pt x="606077" y="567784"/>
                </a:cubicBezTo>
                <a:lnTo>
                  <a:pt x="581034" y="571350"/>
                </a:lnTo>
                <a:lnTo>
                  <a:pt x="559603" y="589215"/>
                </a:lnTo>
                <a:lnTo>
                  <a:pt x="545251" y="589215"/>
                </a:lnTo>
                <a:lnTo>
                  <a:pt x="545251" y="564206"/>
                </a:lnTo>
                <a:cubicBezTo>
                  <a:pt x="546472" y="560640"/>
                  <a:pt x="547643" y="557062"/>
                  <a:pt x="548815" y="553496"/>
                </a:cubicBezTo>
                <a:lnTo>
                  <a:pt x="516693" y="542775"/>
                </a:lnTo>
                <a:lnTo>
                  <a:pt x="495214" y="549919"/>
                </a:lnTo>
                <a:lnTo>
                  <a:pt x="452304" y="549919"/>
                </a:lnTo>
                <a:lnTo>
                  <a:pt x="427261" y="560640"/>
                </a:lnTo>
                <a:lnTo>
                  <a:pt x="405782" y="582071"/>
                </a:lnTo>
                <a:cubicBezTo>
                  <a:pt x="401046" y="586838"/>
                  <a:pt x="396213" y="591592"/>
                  <a:pt x="391478" y="596359"/>
                </a:cubicBezTo>
                <a:lnTo>
                  <a:pt x="370048" y="574928"/>
                </a:lnTo>
                <a:lnTo>
                  <a:pt x="345005" y="589215"/>
                </a:lnTo>
                <a:lnTo>
                  <a:pt x="316398" y="603503"/>
                </a:lnTo>
                <a:cubicBezTo>
                  <a:pt x="311614" y="597548"/>
                  <a:pt x="306830" y="591592"/>
                  <a:pt x="302095" y="585637"/>
                </a:cubicBezTo>
                <a:lnTo>
                  <a:pt x="280616" y="592781"/>
                </a:lnTo>
                <a:cubicBezTo>
                  <a:pt x="273488" y="592781"/>
                  <a:pt x="273440" y="588015"/>
                  <a:pt x="266312" y="588015"/>
                </a:cubicBezTo>
                <a:lnTo>
                  <a:pt x="267088" y="586428"/>
                </a:lnTo>
                <a:lnTo>
                  <a:pt x="263162" y="588002"/>
                </a:lnTo>
                <a:lnTo>
                  <a:pt x="251966" y="525603"/>
                </a:lnTo>
                <a:cubicBezTo>
                  <a:pt x="253488" y="504206"/>
                  <a:pt x="254984" y="482767"/>
                  <a:pt x="256506" y="461370"/>
                </a:cubicBezTo>
                <a:lnTo>
                  <a:pt x="247451" y="414102"/>
                </a:lnTo>
                <a:lnTo>
                  <a:pt x="204058" y="366876"/>
                </a:lnTo>
                <a:lnTo>
                  <a:pt x="195906" y="328516"/>
                </a:lnTo>
                <a:cubicBezTo>
                  <a:pt x="195003" y="321995"/>
                  <a:pt x="194126" y="315474"/>
                  <a:pt x="193197" y="308910"/>
                </a:cubicBezTo>
                <a:lnTo>
                  <a:pt x="204961" y="300897"/>
                </a:lnTo>
                <a:cubicBezTo>
                  <a:pt x="202846" y="289602"/>
                  <a:pt x="200756" y="278307"/>
                  <a:pt x="198641" y="267012"/>
                </a:cubicBezTo>
                <a:lnTo>
                  <a:pt x="163374" y="250048"/>
                </a:lnTo>
                <a:lnTo>
                  <a:pt x="113661" y="217058"/>
                </a:lnTo>
                <a:lnTo>
                  <a:pt x="65728" y="200137"/>
                </a:lnTo>
                <a:lnTo>
                  <a:pt x="30487" y="174265"/>
                </a:lnTo>
                <a:lnTo>
                  <a:pt x="7381" y="162863"/>
                </a:lnTo>
                <a:lnTo>
                  <a:pt x="5982" y="162529"/>
                </a:lnTo>
                <a:lnTo>
                  <a:pt x="6210" y="162285"/>
                </a:lnTo>
                <a:lnTo>
                  <a:pt x="5179" y="161777"/>
                </a:lnTo>
                <a:lnTo>
                  <a:pt x="6983" y="161456"/>
                </a:lnTo>
                <a:lnTo>
                  <a:pt x="17775" y="149886"/>
                </a:lnTo>
                <a:cubicBezTo>
                  <a:pt x="11759" y="136256"/>
                  <a:pt x="5880" y="122222"/>
                  <a:pt x="0" y="108435"/>
                </a:cubicBezTo>
                <a:cubicBezTo>
                  <a:pt x="7247" y="92739"/>
                  <a:pt x="14289" y="77020"/>
                  <a:pt x="21467" y="61459"/>
                </a:cubicBezTo>
                <a:lnTo>
                  <a:pt x="75065" y="28832"/>
                </a:lnTo>
                <a:close/>
              </a:path>
            </a:pathLst>
          </a:custGeom>
          <a:solidFill>
            <a:srgbClr val="70B0DF"/>
          </a:solidFill>
          <a:ln w="3175" cap="flat" cmpd="sng">
            <a:noFill/>
            <a:prstDash val="solid"/>
            <a:round/>
            <a:headEnd/>
            <a:tailEnd/>
          </a:ln>
        </p:spPr>
        <p:txBody>
          <a:bodyPr wrap="none" lIns="32632" tIns="32632" rIns="32632" bIns="32632" anchor="ctr"/>
          <a:lstStyle/>
          <a:p>
            <a:pPr defTabSz="891045"/>
            <a:endParaRPr lang="en-US" sz="1700" dirty="0">
              <a:solidFill>
                <a:srgbClr val="003149"/>
              </a:solidFill>
              <a:cs typeface="Arial" panose="020B0604020202020204" pitchFamily="34" charset="0"/>
            </a:endParaRPr>
          </a:p>
        </p:txBody>
      </p:sp>
      <p:sp>
        <p:nvSpPr>
          <p:cNvPr id="50" name="Freeform 704"/>
          <p:cNvSpPr>
            <a:spLocks noChangeAspect="1"/>
          </p:cNvSpPr>
          <p:nvPr>
            <p:custDataLst>
              <p:tags r:id="rId31"/>
            </p:custDataLst>
          </p:nvPr>
        </p:nvSpPr>
        <p:spPr bwMode="gray">
          <a:xfrm>
            <a:off x="2967255" y="3146288"/>
            <a:ext cx="103782" cy="117656"/>
          </a:xfrm>
          <a:custGeom>
            <a:avLst/>
            <a:gdLst>
              <a:gd name="T0" fmla="*/ 0 w 607225"/>
              <a:gd name="T1" fmla="*/ 0 h 598720"/>
              <a:gd name="T2" fmla="*/ 0 w 607225"/>
              <a:gd name="T3" fmla="*/ 0 h 598720"/>
              <a:gd name="T4" fmla="*/ 0 w 607225"/>
              <a:gd name="T5" fmla="*/ 0 h 598720"/>
              <a:gd name="T6" fmla="*/ 0 w 607225"/>
              <a:gd name="T7" fmla="*/ 0 h 598720"/>
              <a:gd name="T8" fmla="*/ 0 w 607225"/>
              <a:gd name="T9" fmla="*/ 0 h 598720"/>
              <a:gd name="T10" fmla="*/ 0 w 607225"/>
              <a:gd name="T11" fmla="*/ 0 h 598720"/>
              <a:gd name="T12" fmla="*/ 0 w 607225"/>
              <a:gd name="T13" fmla="*/ 0 h 598720"/>
              <a:gd name="T14" fmla="*/ 0 w 607225"/>
              <a:gd name="T15" fmla="*/ 0 h 598720"/>
              <a:gd name="T16" fmla="*/ 0 w 607225"/>
              <a:gd name="T17" fmla="*/ 0 h 598720"/>
              <a:gd name="T18" fmla="*/ 0 w 607225"/>
              <a:gd name="T19" fmla="*/ 0 h 598720"/>
              <a:gd name="T20" fmla="*/ 0 w 607225"/>
              <a:gd name="T21" fmla="*/ 0 h 598720"/>
              <a:gd name="T22" fmla="*/ 0 w 607225"/>
              <a:gd name="T23" fmla="*/ 0 h 598720"/>
              <a:gd name="T24" fmla="*/ 0 w 607225"/>
              <a:gd name="T25" fmla="*/ 0 h 598720"/>
              <a:gd name="T26" fmla="*/ 0 w 607225"/>
              <a:gd name="T27" fmla="*/ 0 h 598720"/>
              <a:gd name="T28" fmla="*/ 0 w 607225"/>
              <a:gd name="T29" fmla="*/ 0 h 598720"/>
              <a:gd name="T30" fmla="*/ 0 w 607225"/>
              <a:gd name="T31" fmla="*/ 0 h 598720"/>
              <a:gd name="T32" fmla="*/ 0 w 607225"/>
              <a:gd name="T33" fmla="*/ 0 h 598720"/>
              <a:gd name="T34" fmla="*/ 0 w 607225"/>
              <a:gd name="T35" fmla="*/ 0 h 598720"/>
              <a:gd name="T36" fmla="*/ 0 w 607225"/>
              <a:gd name="T37" fmla="*/ 0 h 598720"/>
              <a:gd name="T38" fmla="*/ 0 w 607225"/>
              <a:gd name="T39" fmla="*/ 0 h 598720"/>
              <a:gd name="T40" fmla="*/ 0 w 607225"/>
              <a:gd name="T41" fmla="*/ 0 h 598720"/>
              <a:gd name="T42" fmla="*/ 0 w 607225"/>
              <a:gd name="T43" fmla="*/ 0 h 598720"/>
              <a:gd name="T44" fmla="*/ 0 w 607225"/>
              <a:gd name="T45" fmla="*/ 0 h 598720"/>
              <a:gd name="T46" fmla="*/ 0 w 607225"/>
              <a:gd name="T47" fmla="*/ 0 h 598720"/>
              <a:gd name="T48" fmla="*/ 0 w 607225"/>
              <a:gd name="T49" fmla="*/ 0 h 598720"/>
              <a:gd name="T50" fmla="*/ 0 w 607225"/>
              <a:gd name="T51" fmla="*/ 0 h 598720"/>
              <a:gd name="T52" fmla="*/ 0 w 607225"/>
              <a:gd name="T53" fmla="*/ 0 h 598720"/>
              <a:gd name="T54" fmla="*/ 0 w 607225"/>
              <a:gd name="T55" fmla="*/ 0 h 598720"/>
              <a:gd name="T56" fmla="*/ 0 w 607225"/>
              <a:gd name="T57" fmla="*/ 0 h 598720"/>
              <a:gd name="T58" fmla="*/ 0 w 607225"/>
              <a:gd name="T59" fmla="*/ 0 h 598720"/>
              <a:gd name="T60" fmla="*/ 0 w 607225"/>
              <a:gd name="T61" fmla="*/ 0 h 598720"/>
              <a:gd name="T62" fmla="*/ 0 w 607225"/>
              <a:gd name="T63" fmla="*/ 0 h 598720"/>
              <a:gd name="T64" fmla="*/ 0 w 607225"/>
              <a:gd name="T65" fmla="*/ 0 h 598720"/>
              <a:gd name="T66" fmla="*/ 0 w 607225"/>
              <a:gd name="T67" fmla="*/ 0 h 598720"/>
              <a:gd name="T68" fmla="*/ 0 w 607225"/>
              <a:gd name="T69" fmla="*/ 0 h 598720"/>
              <a:gd name="T70" fmla="*/ 0 w 607225"/>
              <a:gd name="T71" fmla="*/ 0 h 598720"/>
              <a:gd name="T72" fmla="*/ 0 w 607225"/>
              <a:gd name="T73" fmla="*/ 0 h 598720"/>
              <a:gd name="T74" fmla="*/ 0 w 607225"/>
              <a:gd name="T75" fmla="*/ 0 h 598720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w 607225"/>
              <a:gd name="T115" fmla="*/ 0 h 598720"/>
              <a:gd name="T116" fmla="*/ 607225 w 607225"/>
              <a:gd name="T117" fmla="*/ 598720 h 598720"/>
            </a:gdLst>
            <a:ahLst/>
            <a:cxnLst>
              <a:cxn ang="T76">
                <a:pos x="T0" y="T1"/>
              </a:cxn>
              <a:cxn ang="T77">
                <a:pos x="T2" y="T3"/>
              </a:cxn>
              <a:cxn ang="T78">
                <a:pos x="T4" y="T5"/>
              </a:cxn>
              <a:cxn ang="T79">
                <a:pos x="T6" y="T7"/>
              </a:cxn>
              <a:cxn ang="T80">
                <a:pos x="T8" y="T9"/>
              </a:cxn>
              <a:cxn ang="T81">
                <a:pos x="T10" y="T11"/>
              </a:cxn>
              <a:cxn ang="T82">
                <a:pos x="T12" y="T13"/>
              </a:cxn>
              <a:cxn ang="T83">
                <a:pos x="T14" y="T15"/>
              </a:cxn>
              <a:cxn ang="T84">
                <a:pos x="T16" y="T17"/>
              </a:cxn>
              <a:cxn ang="T85">
                <a:pos x="T18" y="T19"/>
              </a:cxn>
              <a:cxn ang="T86">
                <a:pos x="T20" y="T21"/>
              </a:cxn>
              <a:cxn ang="T87">
                <a:pos x="T22" y="T23"/>
              </a:cxn>
              <a:cxn ang="T88">
                <a:pos x="T24" y="T25"/>
              </a:cxn>
              <a:cxn ang="T89">
                <a:pos x="T26" y="T27"/>
              </a:cxn>
              <a:cxn ang="T90">
                <a:pos x="T28" y="T29"/>
              </a:cxn>
              <a:cxn ang="T91">
                <a:pos x="T30" y="T31"/>
              </a:cxn>
              <a:cxn ang="T92">
                <a:pos x="T32" y="T33"/>
              </a:cxn>
              <a:cxn ang="T93">
                <a:pos x="T34" y="T35"/>
              </a:cxn>
              <a:cxn ang="T94">
                <a:pos x="T36" y="T37"/>
              </a:cxn>
              <a:cxn ang="T95">
                <a:pos x="T38" y="T39"/>
              </a:cxn>
              <a:cxn ang="T96">
                <a:pos x="T40" y="T41"/>
              </a:cxn>
              <a:cxn ang="T97">
                <a:pos x="T42" y="T43"/>
              </a:cxn>
              <a:cxn ang="T98">
                <a:pos x="T44" y="T45"/>
              </a:cxn>
              <a:cxn ang="T99">
                <a:pos x="T46" y="T47"/>
              </a:cxn>
              <a:cxn ang="T100">
                <a:pos x="T48" y="T49"/>
              </a:cxn>
              <a:cxn ang="T101">
                <a:pos x="T50" y="T51"/>
              </a:cxn>
              <a:cxn ang="T102">
                <a:pos x="T52" y="T53"/>
              </a:cxn>
              <a:cxn ang="T103">
                <a:pos x="T54" y="T55"/>
              </a:cxn>
              <a:cxn ang="T104">
                <a:pos x="T56" y="T57"/>
              </a:cxn>
              <a:cxn ang="T105">
                <a:pos x="T58" y="T59"/>
              </a:cxn>
              <a:cxn ang="T106">
                <a:pos x="T60" y="T61"/>
              </a:cxn>
              <a:cxn ang="T107">
                <a:pos x="T62" y="T63"/>
              </a:cxn>
              <a:cxn ang="T108">
                <a:pos x="T64" y="T65"/>
              </a:cxn>
              <a:cxn ang="T109">
                <a:pos x="T66" y="T67"/>
              </a:cxn>
              <a:cxn ang="T110">
                <a:pos x="T68" y="T69"/>
              </a:cxn>
              <a:cxn ang="T111">
                <a:pos x="T70" y="T71"/>
              </a:cxn>
              <a:cxn ang="T112">
                <a:pos x="T72" y="T73"/>
              </a:cxn>
              <a:cxn ang="T113">
                <a:pos x="T74" y="T75"/>
              </a:cxn>
            </a:cxnLst>
            <a:rect l="T114" t="T115" r="T116" b="T117"/>
            <a:pathLst>
              <a:path w="607225" h="598720">
                <a:moveTo>
                  <a:pt x="143870" y="533830"/>
                </a:moveTo>
                <a:lnTo>
                  <a:pt x="134475" y="553597"/>
                </a:lnTo>
                <a:cubicBezTo>
                  <a:pt x="142592" y="551202"/>
                  <a:pt x="145163" y="543650"/>
                  <a:pt x="143870" y="533830"/>
                </a:cubicBezTo>
                <a:close/>
                <a:moveTo>
                  <a:pt x="337360" y="0"/>
                </a:moveTo>
                <a:lnTo>
                  <a:pt x="340524" y="1821"/>
                </a:lnTo>
                <a:lnTo>
                  <a:pt x="365832" y="14309"/>
                </a:lnTo>
                <a:lnTo>
                  <a:pt x="401073" y="40181"/>
                </a:lnTo>
                <a:lnTo>
                  <a:pt x="449006" y="57102"/>
                </a:lnTo>
                <a:lnTo>
                  <a:pt x="498719" y="90092"/>
                </a:lnTo>
                <a:lnTo>
                  <a:pt x="533986" y="107056"/>
                </a:lnTo>
                <a:cubicBezTo>
                  <a:pt x="536101" y="118351"/>
                  <a:pt x="538191" y="129646"/>
                  <a:pt x="540306" y="140941"/>
                </a:cubicBezTo>
                <a:lnTo>
                  <a:pt x="528542" y="148954"/>
                </a:lnTo>
                <a:cubicBezTo>
                  <a:pt x="529471" y="155518"/>
                  <a:pt x="530348" y="162039"/>
                  <a:pt x="531251" y="168560"/>
                </a:cubicBezTo>
                <a:lnTo>
                  <a:pt x="539403" y="206920"/>
                </a:lnTo>
                <a:lnTo>
                  <a:pt x="582796" y="254146"/>
                </a:lnTo>
                <a:lnTo>
                  <a:pt x="591851" y="301415"/>
                </a:lnTo>
                <a:cubicBezTo>
                  <a:pt x="590329" y="322811"/>
                  <a:pt x="588833" y="344250"/>
                  <a:pt x="587311" y="365647"/>
                </a:cubicBezTo>
                <a:lnTo>
                  <a:pt x="598507" y="428046"/>
                </a:lnTo>
                <a:lnTo>
                  <a:pt x="595553" y="427009"/>
                </a:lnTo>
                <a:lnTo>
                  <a:pt x="596462" y="428174"/>
                </a:lnTo>
                <a:cubicBezTo>
                  <a:pt x="600034" y="438451"/>
                  <a:pt x="603653" y="448746"/>
                  <a:pt x="607225" y="459023"/>
                </a:cubicBezTo>
                <a:lnTo>
                  <a:pt x="583937" y="451768"/>
                </a:lnTo>
                <a:lnTo>
                  <a:pt x="566030" y="433615"/>
                </a:lnTo>
                <a:lnTo>
                  <a:pt x="553504" y="424547"/>
                </a:lnTo>
                <a:lnTo>
                  <a:pt x="524882" y="433615"/>
                </a:lnTo>
                <a:lnTo>
                  <a:pt x="505165" y="420920"/>
                </a:lnTo>
                <a:lnTo>
                  <a:pt x="474733" y="435429"/>
                </a:lnTo>
                <a:cubicBezTo>
                  <a:pt x="476543" y="445101"/>
                  <a:pt x="478305" y="454791"/>
                  <a:pt x="480115" y="464463"/>
                </a:cubicBezTo>
                <a:lnTo>
                  <a:pt x="453254" y="469904"/>
                </a:lnTo>
                <a:lnTo>
                  <a:pt x="419250" y="469904"/>
                </a:lnTo>
                <a:lnTo>
                  <a:pt x="365529" y="462650"/>
                </a:lnTo>
                <a:lnTo>
                  <a:pt x="351194" y="451768"/>
                </a:lnTo>
                <a:cubicBezTo>
                  <a:pt x="350575" y="459627"/>
                  <a:pt x="350004" y="467486"/>
                  <a:pt x="349385" y="475345"/>
                </a:cubicBezTo>
                <a:lnTo>
                  <a:pt x="329716" y="489871"/>
                </a:lnTo>
                <a:lnTo>
                  <a:pt x="345813" y="498939"/>
                </a:lnTo>
                <a:lnTo>
                  <a:pt x="379864" y="493498"/>
                </a:lnTo>
                <a:lnTo>
                  <a:pt x="383436" y="520701"/>
                </a:lnTo>
                <a:lnTo>
                  <a:pt x="363720" y="553363"/>
                </a:lnTo>
                <a:cubicBezTo>
                  <a:pt x="361910" y="559408"/>
                  <a:pt x="360148" y="565454"/>
                  <a:pt x="358338" y="571499"/>
                </a:cubicBezTo>
                <a:lnTo>
                  <a:pt x="338669" y="587839"/>
                </a:lnTo>
                <a:cubicBezTo>
                  <a:pt x="336859" y="582398"/>
                  <a:pt x="335097" y="576940"/>
                  <a:pt x="333287" y="571499"/>
                </a:cubicBezTo>
                <a:lnTo>
                  <a:pt x="320762" y="566058"/>
                </a:lnTo>
                <a:lnTo>
                  <a:pt x="306427" y="576957"/>
                </a:lnTo>
                <a:lnTo>
                  <a:pt x="299283" y="596906"/>
                </a:lnTo>
                <a:lnTo>
                  <a:pt x="274233" y="595093"/>
                </a:lnTo>
                <a:lnTo>
                  <a:pt x="258088" y="593279"/>
                </a:lnTo>
                <a:lnTo>
                  <a:pt x="247372" y="598720"/>
                </a:lnTo>
                <a:lnTo>
                  <a:pt x="229465" y="593279"/>
                </a:lnTo>
                <a:cubicBezTo>
                  <a:pt x="228275" y="584212"/>
                  <a:pt x="227037" y="575126"/>
                  <a:pt x="225846" y="566058"/>
                </a:cubicBezTo>
                <a:lnTo>
                  <a:pt x="191842" y="560617"/>
                </a:lnTo>
                <a:lnTo>
                  <a:pt x="188270" y="535228"/>
                </a:lnTo>
                <a:lnTo>
                  <a:pt x="148884" y="544295"/>
                </a:lnTo>
                <a:cubicBezTo>
                  <a:pt x="142931" y="551550"/>
                  <a:pt x="136930" y="549274"/>
                  <a:pt x="130977" y="556528"/>
                </a:cubicBezTo>
                <a:lnTo>
                  <a:pt x="133810" y="554154"/>
                </a:lnTo>
                <a:lnTo>
                  <a:pt x="108557" y="545415"/>
                </a:lnTo>
                <a:lnTo>
                  <a:pt x="67868" y="520612"/>
                </a:lnTo>
                <a:lnTo>
                  <a:pt x="32746" y="502881"/>
                </a:lnTo>
                <a:lnTo>
                  <a:pt x="6868" y="474520"/>
                </a:lnTo>
                <a:lnTo>
                  <a:pt x="6868" y="432001"/>
                </a:lnTo>
                <a:lnTo>
                  <a:pt x="0" y="411398"/>
                </a:lnTo>
                <a:lnTo>
                  <a:pt x="3564" y="410179"/>
                </a:lnTo>
                <a:lnTo>
                  <a:pt x="1514" y="408680"/>
                </a:lnTo>
                <a:cubicBezTo>
                  <a:pt x="3416" y="399566"/>
                  <a:pt x="5075" y="390654"/>
                  <a:pt x="6830" y="381524"/>
                </a:cubicBezTo>
                <a:lnTo>
                  <a:pt x="33071" y="310777"/>
                </a:lnTo>
                <a:lnTo>
                  <a:pt x="37240" y="311559"/>
                </a:lnTo>
                <a:cubicBezTo>
                  <a:pt x="40417" y="303261"/>
                  <a:pt x="44856" y="292559"/>
                  <a:pt x="52540" y="282641"/>
                </a:cubicBezTo>
                <a:lnTo>
                  <a:pt x="95232" y="239099"/>
                </a:lnTo>
                <a:lnTo>
                  <a:pt x="127588" y="192435"/>
                </a:lnTo>
                <a:lnTo>
                  <a:pt x="159805" y="141809"/>
                </a:lnTo>
                <a:cubicBezTo>
                  <a:pt x="164533" y="127407"/>
                  <a:pt x="169215" y="112837"/>
                  <a:pt x="174082" y="98267"/>
                </a:cubicBezTo>
                <a:lnTo>
                  <a:pt x="213437" y="51435"/>
                </a:lnTo>
                <a:lnTo>
                  <a:pt x="270917" y="33239"/>
                </a:lnTo>
                <a:lnTo>
                  <a:pt x="324318" y="18871"/>
                </a:lnTo>
                <a:lnTo>
                  <a:pt x="338066" y="5622"/>
                </a:lnTo>
                <a:cubicBezTo>
                  <a:pt x="338129" y="5854"/>
                  <a:pt x="338201" y="6091"/>
                  <a:pt x="338333" y="6317"/>
                </a:cubicBezTo>
                <a:lnTo>
                  <a:pt x="339208" y="4522"/>
                </a:lnTo>
                <a:lnTo>
                  <a:pt x="338066" y="5622"/>
                </a:lnTo>
                <a:close/>
              </a:path>
            </a:pathLst>
          </a:custGeom>
          <a:solidFill>
            <a:srgbClr val="70B0DF"/>
          </a:solidFill>
          <a:ln w="3175" cap="flat" cmpd="sng">
            <a:noFill/>
            <a:prstDash val="solid"/>
            <a:round/>
            <a:headEnd/>
            <a:tailEnd/>
          </a:ln>
        </p:spPr>
        <p:txBody>
          <a:bodyPr wrap="none" lIns="32632" tIns="32632" rIns="32632" bIns="32632" anchor="ctr"/>
          <a:lstStyle/>
          <a:p>
            <a:pPr defTabSz="891045"/>
            <a:endParaRPr lang="en-US" sz="1700" dirty="0">
              <a:solidFill>
                <a:srgbClr val="003149"/>
              </a:solidFill>
              <a:cs typeface="Arial" panose="020B0604020202020204" pitchFamily="34" charset="0"/>
            </a:endParaRPr>
          </a:p>
        </p:txBody>
      </p:sp>
      <p:sp>
        <p:nvSpPr>
          <p:cNvPr id="51" name="Freeform 799"/>
          <p:cNvSpPr>
            <a:spLocks noChangeAspect="1"/>
          </p:cNvSpPr>
          <p:nvPr/>
        </p:nvSpPr>
        <p:spPr bwMode="gray">
          <a:xfrm>
            <a:off x="2806622" y="3104678"/>
            <a:ext cx="167758" cy="142048"/>
          </a:xfrm>
          <a:custGeom>
            <a:avLst/>
            <a:gdLst>
              <a:gd name="T0" fmla="*/ 0 w 972968"/>
              <a:gd name="T1" fmla="*/ 0 h 730487"/>
              <a:gd name="T2" fmla="*/ 0 w 972968"/>
              <a:gd name="T3" fmla="*/ 0 h 730487"/>
              <a:gd name="T4" fmla="*/ 0 w 972968"/>
              <a:gd name="T5" fmla="*/ 0 h 730487"/>
              <a:gd name="T6" fmla="*/ 0 w 972968"/>
              <a:gd name="T7" fmla="*/ 0 h 730487"/>
              <a:gd name="T8" fmla="*/ 0 w 972968"/>
              <a:gd name="T9" fmla="*/ 0 h 730487"/>
              <a:gd name="T10" fmla="*/ 0 w 972968"/>
              <a:gd name="T11" fmla="*/ 0 h 730487"/>
              <a:gd name="T12" fmla="*/ 0 w 972968"/>
              <a:gd name="T13" fmla="*/ 0 h 730487"/>
              <a:gd name="T14" fmla="*/ 0 w 972968"/>
              <a:gd name="T15" fmla="*/ 0 h 730487"/>
              <a:gd name="T16" fmla="*/ 0 w 972968"/>
              <a:gd name="T17" fmla="*/ 0 h 730487"/>
              <a:gd name="T18" fmla="*/ 0 w 972968"/>
              <a:gd name="T19" fmla="*/ 0 h 730487"/>
              <a:gd name="T20" fmla="*/ 0 w 972968"/>
              <a:gd name="T21" fmla="*/ 0 h 730487"/>
              <a:gd name="T22" fmla="*/ 0 w 972968"/>
              <a:gd name="T23" fmla="*/ 0 h 730487"/>
              <a:gd name="T24" fmla="*/ 0 w 972968"/>
              <a:gd name="T25" fmla="*/ 0 h 730487"/>
              <a:gd name="T26" fmla="*/ 0 w 972968"/>
              <a:gd name="T27" fmla="*/ 0 h 730487"/>
              <a:gd name="T28" fmla="*/ 0 w 972968"/>
              <a:gd name="T29" fmla="*/ 0 h 730487"/>
              <a:gd name="T30" fmla="*/ 0 w 972968"/>
              <a:gd name="T31" fmla="*/ 0 h 730487"/>
              <a:gd name="T32" fmla="*/ 0 w 972968"/>
              <a:gd name="T33" fmla="*/ 0 h 730487"/>
              <a:gd name="T34" fmla="*/ 0 w 972968"/>
              <a:gd name="T35" fmla="*/ 0 h 730487"/>
              <a:gd name="T36" fmla="*/ 0 w 972968"/>
              <a:gd name="T37" fmla="*/ 0 h 730487"/>
              <a:gd name="T38" fmla="*/ 0 w 972968"/>
              <a:gd name="T39" fmla="*/ 0 h 730487"/>
              <a:gd name="T40" fmla="*/ 0 w 972968"/>
              <a:gd name="T41" fmla="*/ 0 h 730487"/>
              <a:gd name="T42" fmla="*/ 0 w 972968"/>
              <a:gd name="T43" fmla="*/ 0 h 730487"/>
              <a:gd name="T44" fmla="*/ 0 w 972968"/>
              <a:gd name="T45" fmla="*/ 0 h 730487"/>
              <a:gd name="T46" fmla="*/ 0 w 972968"/>
              <a:gd name="T47" fmla="*/ 0 h 730487"/>
              <a:gd name="T48" fmla="*/ 0 w 972968"/>
              <a:gd name="T49" fmla="*/ 0 h 730487"/>
              <a:gd name="T50" fmla="*/ 0 w 972968"/>
              <a:gd name="T51" fmla="*/ 0 h 730487"/>
              <a:gd name="T52" fmla="*/ 0 w 972968"/>
              <a:gd name="T53" fmla="*/ 0 h 730487"/>
              <a:gd name="T54" fmla="*/ 0 w 972968"/>
              <a:gd name="T55" fmla="*/ 0 h 730487"/>
              <a:gd name="T56" fmla="*/ 0 w 972968"/>
              <a:gd name="T57" fmla="*/ 0 h 730487"/>
              <a:gd name="T58" fmla="*/ 0 w 972968"/>
              <a:gd name="T59" fmla="*/ 0 h 730487"/>
              <a:gd name="T60" fmla="*/ 0 w 972968"/>
              <a:gd name="T61" fmla="*/ 0 h 730487"/>
              <a:gd name="T62" fmla="*/ 0 w 972968"/>
              <a:gd name="T63" fmla="*/ 0 h 730487"/>
              <a:gd name="T64" fmla="*/ 0 w 972968"/>
              <a:gd name="T65" fmla="*/ 0 h 730487"/>
              <a:gd name="T66" fmla="*/ 0 w 972968"/>
              <a:gd name="T67" fmla="*/ 0 h 730487"/>
              <a:gd name="T68" fmla="*/ 0 w 972968"/>
              <a:gd name="T69" fmla="*/ 0 h 730487"/>
              <a:gd name="T70" fmla="*/ 0 w 972968"/>
              <a:gd name="T71" fmla="*/ 0 h 730487"/>
              <a:gd name="T72" fmla="*/ 0 w 972968"/>
              <a:gd name="T73" fmla="*/ 0 h 730487"/>
              <a:gd name="T74" fmla="*/ 0 w 972968"/>
              <a:gd name="T75" fmla="*/ 0 h 730487"/>
              <a:gd name="T76" fmla="*/ 0 w 972968"/>
              <a:gd name="T77" fmla="*/ 0 h 730487"/>
              <a:gd name="T78" fmla="*/ 0 w 972968"/>
              <a:gd name="T79" fmla="*/ 0 h 730487"/>
              <a:gd name="T80" fmla="*/ 0 w 972968"/>
              <a:gd name="T81" fmla="*/ 0 h 730487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w 972968"/>
              <a:gd name="T124" fmla="*/ 0 h 730487"/>
              <a:gd name="T125" fmla="*/ 972968 w 972968"/>
              <a:gd name="T126" fmla="*/ 730487 h 730487"/>
            </a:gdLst>
            <a:ahLst/>
            <a:cxnLst>
              <a:cxn ang="T82">
                <a:pos x="T0" y="T1"/>
              </a:cxn>
              <a:cxn ang="T83">
                <a:pos x="T2" y="T3"/>
              </a:cxn>
              <a:cxn ang="T84">
                <a:pos x="T4" y="T5"/>
              </a:cxn>
              <a:cxn ang="T85">
                <a:pos x="T6" y="T7"/>
              </a:cxn>
              <a:cxn ang="T86">
                <a:pos x="T8" y="T9"/>
              </a:cxn>
              <a:cxn ang="T87">
                <a:pos x="T10" y="T11"/>
              </a:cxn>
              <a:cxn ang="T88">
                <a:pos x="T12" y="T13"/>
              </a:cxn>
              <a:cxn ang="T89">
                <a:pos x="T14" y="T15"/>
              </a:cxn>
              <a:cxn ang="T90">
                <a:pos x="T16" y="T17"/>
              </a:cxn>
              <a:cxn ang="T91">
                <a:pos x="T18" y="T19"/>
              </a:cxn>
              <a:cxn ang="T92">
                <a:pos x="T20" y="T21"/>
              </a:cxn>
              <a:cxn ang="T93">
                <a:pos x="T22" y="T23"/>
              </a:cxn>
              <a:cxn ang="T94">
                <a:pos x="T24" y="T25"/>
              </a:cxn>
              <a:cxn ang="T95">
                <a:pos x="T26" y="T27"/>
              </a:cxn>
              <a:cxn ang="T96">
                <a:pos x="T28" y="T29"/>
              </a:cxn>
              <a:cxn ang="T97">
                <a:pos x="T30" y="T31"/>
              </a:cxn>
              <a:cxn ang="T98">
                <a:pos x="T32" y="T33"/>
              </a:cxn>
              <a:cxn ang="T99">
                <a:pos x="T34" y="T35"/>
              </a:cxn>
              <a:cxn ang="T100">
                <a:pos x="T36" y="T37"/>
              </a:cxn>
              <a:cxn ang="T101">
                <a:pos x="T38" y="T39"/>
              </a:cxn>
              <a:cxn ang="T102">
                <a:pos x="T40" y="T41"/>
              </a:cxn>
              <a:cxn ang="T103">
                <a:pos x="T42" y="T43"/>
              </a:cxn>
              <a:cxn ang="T104">
                <a:pos x="T44" y="T45"/>
              </a:cxn>
              <a:cxn ang="T105">
                <a:pos x="T46" y="T47"/>
              </a:cxn>
              <a:cxn ang="T106">
                <a:pos x="T48" y="T49"/>
              </a:cxn>
              <a:cxn ang="T107">
                <a:pos x="T50" y="T51"/>
              </a:cxn>
              <a:cxn ang="T108">
                <a:pos x="T52" y="T53"/>
              </a:cxn>
              <a:cxn ang="T109">
                <a:pos x="T54" y="T55"/>
              </a:cxn>
              <a:cxn ang="T110">
                <a:pos x="T56" y="T57"/>
              </a:cxn>
              <a:cxn ang="T111">
                <a:pos x="T58" y="T59"/>
              </a:cxn>
              <a:cxn ang="T112">
                <a:pos x="T60" y="T61"/>
              </a:cxn>
              <a:cxn ang="T113">
                <a:pos x="T62" y="T63"/>
              </a:cxn>
              <a:cxn ang="T114">
                <a:pos x="T64" y="T65"/>
              </a:cxn>
              <a:cxn ang="T115">
                <a:pos x="T66" y="T67"/>
              </a:cxn>
              <a:cxn ang="T116">
                <a:pos x="T68" y="T69"/>
              </a:cxn>
              <a:cxn ang="T117">
                <a:pos x="T70" y="T71"/>
              </a:cxn>
              <a:cxn ang="T118">
                <a:pos x="T72" y="T73"/>
              </a:cxn>
              <a:cxn ang="T119">
                <a:pos x="T74" y="T75"/>
              </a:cxn>
              <a:cxn ang="T120">
                <a:pos x="T76" y="T77"/>
              </a:cxn>
              <a:cxn ang="T121">
                <a:pos x="T78" y="T79"/>
              </a:cxn>
              <a:cxn ang="T122">
                <a:pos x="T80" y="T81"/>
              </a:cxn>
            </a:cxnLst>
            <a:rect l="T123" t="T124" r="T125" b="T126"/>
            <a:pathLst>
              <a:path w="972968" h="730487">
                <a:moveTo>
                  <a:pt x="299976" y="0"/>
                </a:moveTo>
                <a:lnTo>
                  <a:pt x="311966" y="11544"/>
                </a:lnTo>
                <a:lnTo>
                  <a:pt x="310916" y="6588"/>
                </a:lnTo>
                <a:lnTo>
                  <a:pt x="332830" y="28109"/>
                </a:lnTo>
                <a:lnTo>
                  <a:pt x="358319" y="35318"/>
                </a:lnTo>
                <a:lnTo>
                  <a:pt x="374738" y="65823"/>
                </a:lnTo>
                <a:cubicBezTo>
                  <a:pt x="377188" y="75382"/>
                  <a:pt x="379571" y="84993"/>
                  <a:pt x="382021" y="94553"/>
                </a:cubicBezTo>
                <a:lnTo>
                  <a:pt x="402081" y="94553"/>
                </a:lnTo>
                <a:lnTo>
                  <a:pt x="425848" y="92724"/>
                </a:lnTo>
                <a:lnTo>
                  <a:pt x="464115" y="92724"/>
                </a:lnTo>
                <a:lnTo>
                  <a:pt x="495099" y="119678"/>
                </a:lnTo>
                <a:lnTo>
                  <a:pt x="517013" y="157392"/>
                </a:lnTo>
                <a:cubicBezTo>
                  <a:pt x="519463" y="177711"/>
                  <a:pt x="521846" y="198083"/>
                  <a:pt x="524296" y="218403"/>
                </a:cubicBezTo>
                <a:lnTo>
                  <a:pt x="524296" y="261497"/>
                </a:lnTo>
                <a:cubicBezTo>
                  <a:pt x="522442" y="277638"/>
                  <a:pt x="520654" y="293831"/>
                  <a:pt x="518801" y="309972"/>
                </a:cubicBezTo>
                <a:lnTo>
                  <a:pt x="518801" y="356618"/>
                </a:lnTo>
                <a:cubicBezTo>
                  <a:pt x="523700" y="375162"/>
                  <a:pt x="528533" y="393705"/>
                  <a:pt x="533432" y="412249"/>
                </a:cubicBezTo>
                <a:lnTo>
                  <a:pt x="560775" y="412249"/>
                </a:lnTo>
                <a:lnTo>
                  <a:pt x="622809" y="401488"/>
                </a:lnTo>
                <a:lnTo>
                  <a:pt x="648298" y="417629"/>
                </a:lnTo>
                <a:lnTo>
                  <a:pt x="746811" y="423062"/>
                </a:lnTo>
                <a:lnTo>
                  <a:pt x="806992" y="417629"/>
                </a:lnTo>
                <a:lnTo>
                  <a:pt x="856248" y="417629"/>
                </a:lnTo>
                <a:lnTo>
                  <a:pt x="894515" y="442807"/>
                </a:lnTo>
                <a:lnTo>
                  <a:pt x="923712" y="485849"/>
                </a:lnTo>
                <a:lnTo>
                  <a:pt x="968145" y="524724"/>
                </a:lnTo>
                <a:lnTo>
                  <a:pt x="970314" y="525091"/>
                </a:lnTo>
                <a:lnTo>
                  <a:pt x="969886" y="526246"/>
                </a:lnTo>
                <a:lnTo>
                  <a:pt x="972968" y="528943"/>
                </a:lnTo>
                <a:lnTo>
                  <a:pt x="968928" y="528829"/>
                </a:lnTo>
                <a:lnTo>
                  <a:pt x="944073" y="595838"/>
                </a:lnTo>
                <a:lnTo>
                  <a:pt x="939342" y="620007"/>
                </a:lnTo>
                <a:lnTo>
                  <a:pt x="942816" y="624424"/>
                </a:lnTo>
                <a:lnTo>
                  <a:pt x="877513" y="622535"/>
                </a:lnTo>
                <a:cubicBezTo>
                  <a:pt x="873891" y="636428"/>
                  <a:pt x="870322" y="650311"/>
                  <a:pt x="866727" y="664204"/>
                </a:cubicBezTo>
                <a:lnTo>
                  <a:pt x="850549" y="707763"/>
                </a:lnTo>
                <a:lnTo>
                  <a:pt x="802067" y="730487"/>
                </a:lnTo>
                <a:lnTo>
                  <a:pt x="764318" y="702074"/>
                </a:lnTo>
                <a:lnTo>
                  <a:pt x="717634" y="685028"/>
                </a:lnTo>
                <a:lnTo>
                  <a:pt x="670250" y="710496"/>
                </a:lnTo>
                <a:lnTo>
                  <a:pt x="668978" y="713841"/>
                </a:lnTo>
                <a:lnTo>
                  <a:pt x="667912" y="711753"/>
                </a:lnTo>
                <a:lnTo>
                  <a:pt x="667382" y="712038"/>
                </a:lnTo>
                <a:lnTo>
                  <a:pt x="667371" y="710693"/>
                </a:lnTo>
                <a:cubicBezTo>
                  <a:pt x="660453" y="692897"/>
                  <a:pt x="645688" y="673359"/>
                  <a:pt x="639433" y="655953"/>
                </a:cubicBezTo>
                <a:lnTo>
                  <a:pt x="615810" y="636256"/>
                </a:lnTo>
                <a:lnTo>
                  <a:pt x="588568" y="636256"/>
                </a:lnTo>
                <a:lnTo>
                  <a:pt x="557641" y="613000"/>
                </a:lnTo>
                <a:lnTo>
                  <a:pt x="528557" y="586136"/>
                </a:lnTo>
                <a:lnTo>
                  <a:pt x="503092" y="555714"/>
                </a:lnTo>
                <a:lnTo>
                  <a:pt x="481312" y="528850"/>
                </a:lnTo>
                <a:lnTo>
                  <a:pt x="474008" y="469809"/>
                </a:lnTo>
                <a:lnTo>
                  <a:pt x="435843" y="457279"/>
                </a:lnTo>
                <a:lnTo>
                  <a:pt x="410378" y="457279"/>
                </a:lnTo>
                <a:lnTo>
                  <a:pt x="344971" y="475172"/>
                </a:lnTo>
                <a:lnTo>
                  <a:pt x="299502" y="435778"/>
                </a:lnTo>
                <a:lnTo>
                  <a:pt x="279564" y="403551"/>
                </a:lnTo>
                <a:lnTo>
                  <a:pt x="257718" y="362402"/>
                </a:lnTo>
                <a:lnTo>
                  <a:pt x="234095" y="319450"/>
                </a:lnTo>
                <a:lnTo>
                  <a:pt x="190469" y="306920"/>
                </a:lnTo>
                <a:lnTo>
                  <a:pt x="146842" y="306920"/>
                </a:lnTo>
                <a:lnTo>
                  <a:pt x="105058" y="292586"/>
                </a:lnTo>
                <a:lnTo>
                  <a:pt x="72289" y="260359"/>
                </a:lnTo>
                <a:lnTo>
                  <a:pt x="26886" y="220965"/>
                </a:lnTo>
                <a:cubicBezTo>
                  <a:pt x="20695" y="218370"/>
                  <a:pt x="14503" y="211935"/>
                  <a:pt x="7990" y="207688"/>
                </a:cubicBezTo>
                <a:lnTo>
                  <a:pt x="0" y="205550"/>
                </a:lnTo>
                <a:lnTo>
                  <a:pt x="3473" y="204514"/>
                </a:lnTo>
                <a:cubicBezTo>
                  <a:pt x="2916" y="203755"/>
                  <a:pt x="2169" y="203386"/>
                  <a:pt x="1421" y="203072"/>
                </a:cubicBezTo>
                <a:lnTo>
                  <a:pt x="6009" y="203758"/>
                </a:lnTo>
                <a:lnTo>
                  <a:pt x="71231" y="184309"/>
                </a:lnTo>
                <a:lnTo>
                  <a:pt x="71231" y="152573"/>
                </a:lnTo>
                <a:lnTo>
                  <a:pt x="115644" y="165515"/>
                </a:lnTo>
                <a:lnTo>
                  <a:pt x="141207" y="190717"/>
                </a:lnTo>
                <a:lnTo>
                  <a:pt x="141207" y="140010"/>
                </a:lnTo>
                <a:cubicBezTo>
                  <a:pt x="139071" y="133628"/>
                  <a:pt x="136969" y="127271"/>
                  <a:pt x="134901" y="121039"/>
                </a:cubicBezTo>
                <a:lnTo>
                  <a:pt x="166499" y="95510"/>
                </a:lnTo>
                <a:lnTo>
                  <a:pt x="210980" y="121039"/>
                </a:lnTo>
                <a:lnTo>
                  <a:pt x="255394" y="95510"/>
                </a:lnTo>
                <a:cubicBezTo>
                  <a:pt x="257224" y="85141"/>
                  <a:pt x="259598" y="74445"/>
                  <a:pt x="261666" y="63749"/>
                </a:cubicBezTo>
                <a:lnTo>
                  <a:pt x="287161" y="44677"/>
                </a:lnTo>
                <a:cubicBezTo>
                  <a:pt x="293331" y="38370"/>
                  <a:pt x="299976" y="31988"/>
                  <a:pt x="306147" y="25605"/>
                </a:cubicBezTo>
                <a:cubicBezTo>
                  <a:pt x="304079" y="17230"/>
                  <a:pt x="301977" y="8703"/>
                  <a:pt x="299976" y="0"/>
                </a:cubicBezTo>
                <a:close/>
              </a:path>
            </a:pathLst>
          </a:custGeom>
          <a:solidFill>
            <a:srgbClr val="70B0DF"/>
          </a:solidFill>
          <a:ln w="3175" cap="flat" cmpd="sng">
            <a:noFill/>
            <a:prstDash val="solid"/>
            <a:round/>
            <a:headEnd/>
            <a:tailEnd/>
          </a:ln>
        </p:spPr>
        <p:txBody>
          <a:bodyPr wrap="none" lIns="32632" tIns="32632" rIns="32632" bIns="32632" anchor="ctr"/>
          <a:lstStyle/>
          <a:p>
            <a:pPr defTabSz="891045"/>
            <a:endParaRPr lang="en-US" sz="1700" dirty="0">
              <a:solidFill>
                <a:srgbClr val="003149"/>
              </a:solidFill>
              <a:cs typeface="Arial" panose="020B0604020202020204" pitchFamily="34" charset="0"/>
            </a:endParaRPr>
          </a:p>
        </p:txBody>
      </p:sp>
      <p:sp>
        <p:nvSpPr>
          <p:cNvPr id="52" name="Freeform 704"/>
          <p:cNvSpPr>
            <a:spLocks noChangeAspect="1"/>
          </p:cNvSpPr>
          <p:nvPr>
            <p:custDataLst>
              <p:tags r:id="rId32"/>
            </p:custDataLst>
          </p:nvPr>
        </p:nvSpPr>
        <p:spPr bwMode="gray">
          <a:xfrm>
            <a:off x="2857811" y="3024358"/>
            <a:ext cx="297129" cy="185093"/>
          </a:xfrm>
          <a:custGeom>
            <a:avLst/>
            <a:gdLst>
              <a:gd name="T0" fmla="*/ 0 w 1733434"/>
              <a:gd name="T1" fmla="*/ 0 h 946154"/>
              <a:gd name="T2" fmla="*/ 0 w 1733434"/>
              <a:gd name="T3" fmla="*/ 0 h 946154"/>
              <a:gd name="T4" fmla="*/ 0 w 1733434"/>
              <a:gd name="T5" fmla="*/ 0 h 946154"/>
              <a:gd name="T6" fmla="*/ 0 w 1733434"/>
              <a:gd name="T7" fmla="*/ 0 h 946154"/>
              <a:gd name="T8" fmla="*/ 0 w 1733434"/>
              <a:gd name="T9" fmla="*/ 0 h 946154"/>
              <a:gd name="T10" fmla="*/ 0 w 1733434"/>
              <a:gd name="T11" fmla="*/ 0 h 946154"/>
              <a:gd name="T12" fmla="*/ 0 w 1733434"/>
              <a:gd name="T13" fmla="*/ 0 h 946154"/>
              <a:gd name="T14" fmla="*/ 0 w 1733434"/>
              <a:gd name="T15" fmla="*/ 0 h 946154"/>
              <a:gd name="T16" fmla="*/ 0 w 1733434"/>
              <a:gd name="T17" fmla="*/ 0 h 946154"/>
              <a:gd name="T18" fmla="*/ 0 w 1733434"/>
              <a:gd name="T19" fmla="*/ 0 h 946154"/>
              <a:gd name="T20" fmla="*/ 0 w 1733434"/>
              <a:gd name="T21" fmla="*/ 0 h 946154"/>
              <a:gd name="T22" fmla="*/ 0 w 1733434"/>
              <a:gd name="T23" fmla="*/ 0 h 946154"/>
              <a:gd name="T24" fmla="*/ 0 w 1733434"/>
              <a:gd name="T25" fmla="*/ 0 h 946154"/>
              <a:gd name="T26" fmla="*/ 0 w 1733434"/>
              <a:gd name="T27" fmla="*/ 0 h 946154"/>
              <a:gd name="T28" fmla="*/ 0 w 1733434"/>
              <a:gd name="T29" fmla="*/ 0 h 946154"/>
              <a:gd name="T30" fmla="*/ 0 w 1733434"/>
              <a:gd name="T31" fmla="*/ 0 h 946154"/>
              <a:gd name="T32" fmla="*/ 0 w 1733434"/>
              <a:gd name="T33" fmla="*/ 0 h 946154"/>
              <a:gd name="T34" fmla="*/ 0 w 1733434"/>
              <a:gd name="T35" fmla="*/ 0 h 946154"/>
              <a:gd name="T36" fmla="*/ 0 w 1733434"/>
              <a:gd name="T37" fmla="*/ 0 h 946154"/>
              <a:gd name="T38" fmla="*/ 0 w 1733434"/>
              <a:gd name="T39" fmla="*/ 0 h 946154"/>
              <a:gd name="T40" fmla="*/ 0 w 1733434"/>
              <a:gd name="T41" fmla="*/ 0 h 946154"/>
              <a:gd name="T42" fmla="*/ 0 w 1733434"/>
              <a:gd name="T43" fmla="*/ 0 h 946154"/>
              <a:gd name="T44" fmla="*/ 0 w 1733434"/>
              <a:gd name="T45" fmla="*/ 0 h 946154"/>
              <a:gd name="T46" fmla="*/ 0 w 1733434"/>
              <a:gd name="T47" fmla="*/ 0 h 946154"/>
              <a:gd name="T48" fmla="*/ 0 w 1733434"/>
              <a:gd name="T49" fmla="*/ 0 h 946154"/>
              <a:gd name="T50" fmla="*/ 0 w 1733434"/>
              <a:gd name="T51" fmla="*/ 0 h 946154"/>
              <a:gd name="T52" fmla="*/ 0 w 1733434"/>
              <a:gd name="T53" fmla="*/ 0 h 946154"/>
              <a:gd name="T54" fmla="*/ 0 w 1733434"/>
              <a:gd name="T55" fmla="*/ 0 h 946154"/>
              <a:gd name="T56" fmla="*/ 0 w 1733434"/>
              <a:gd name="T57" fmla="*/ 0 h 946154"/>
              <a:gd name="T58" fmla="*/ 0 w 1733434"/>
              <a:gd name="T59" fmla="*/ 0 h 946154"/>
              <a:gd name="T60" fmla="*/ 0 w 1733434"/>
              <a:gd name="T61" fmla="*/ 0 h 946154"/>
              <a:gd name="T62" fmla="*/ 0 w 1733434"/>
              <a:gd name="T63" fmla="*/ 0 h 946154"/>
              <a:gd name="T64" fmla="*/ 0 w 1733434"/>
              <a:gd name="T65" fmla="*/ 0 h 946154"/>
              <a:gd name="T66" fmla="*/ 0 w 1733434"/>
              <a:gd name="T67" fmla="*/ 0 h 946154"/>
              <a:gd name="T68" fmla="*/ 0 w 1733434"/>
              <a:gd name="T69" fmla="*/ 0 h 946154"/>
              <a:gd name="T70" fmla="*/ 0 w 1733434"/>
              <a:gd name="T71" fmla="*/ 0 h 946154"/>
              <a:gd name="T72" fmla="*/ 0 w 1733434"/>
              <a:gd name="T73" fmla="*/ 0 h 946154"/>
              <a:gd name="T74" fmla="*/ 0 w 1733434"/>
              <a:gd name="T75" fmla="*/ 0 h 946154"/>
              <a:gd name="T76" fmla="*/ 0 w 1733434"/>
              <a:gd name="T77" fmla="*/ 0 h 946154"/>
              <a:gd name="T78" fmla="*/ 0 w 1733434"/>
              <a:gd name="T79" fmla="*/ 0 h 946154"/>
              <a:gd name="T80" fmla="*/ 0 w 1733434"/>
              <a:gd name="T81" fmla="*/ 0 h 946154"/>
              <a:gd name="T82" fmla="*/ 0 w 1733434"/>
              <a:gd name="T83" fmla="*/ 0 h 946154"/>
              <a:gd name="T84" fmla="*/ 0 w 1733434"/>
              <a:gd name="T85" fmla="*/ 0 h 946154"/>
              <a:gd name="T86" fmla="*/ 0 w 1733434"/>
              <a:gd name="T87" fmla="*/ 0 h 946154"/>
              <a:gd name="T88" fmla="*/ 0 w 1733434"/>
              <a:gd name="T89" fmla="*/ 0 h 946154"/>
              <a:gd name="T90" fmla="*/ 0 w 1733434"/>
              <a:gd name="T91" fmla="*/ 0 h 946154"/>
              <a:gd name="T92" fmla="*/ 0 w 1733434"/>
              <a:gd name="T93" fmla="*/ 0 h 946154"/>
              <a:gd name="T94" fmla="*/ 0 w 1733434"/>
              <a:gd name="T95" fmla="*/ 0 h 946154"/>
              <a:gd name="T96" fmla="*/ 0 w 1733434"/>
              <a:gd name="T97" fmla="*/ 0 h 946154"/>
              <a:gd name="T98" fmla="*/ 0 w 1733434"/>
              <a:gd name="T99" fmla="*/ 0 h 946154"/>
              <a:gd name="T100" fmla="*/ 0 w 1733434"/>
              <a:gd name="T101" fmla="*/ 0 h 946154"/>
              <a:gd name="T102" fmla="*/ 0 w 1733434"/>
              <a:gd name="T103" fmla="*/ 0 h 946154"/>
              <a:gd name="T104" fmla="*/ 0 w 1733434"/>
              <a:gd name="T105" fmla="*/ 0 h 946154"/>
              <a:gd name="T106" fmla="*/ 0 w 1733434"/>
              <a:gd name="T107" fmla="*/ 0 h 946154"/>
              <a:gd name="T108" fmla="*/ 0 w 1733434"/>
              <a:gd name="T109" fmla="*/ 0 h 946154"/>
              <a:gd name="T110" fmla="*/ 0 w 1733434"/>
              <a:gd name="T111" fmla="*/ 0 h 946154"/>
              <a:gd name="T112" fmla="*/ 0 w 1733434"/>
              <a:gd name="T113" fmla="*/ 0 h 946154"/>
              <a:gd name="T114" fmla="*/ 0 w 1733434"/>
              <a:gd name="T115" fmla="*/ 0 h 946154"/>
              <a:gd name="T116" fmla="*/ 0 w 1733434"/>
              <a:gd name="T117" fmla="*/ 0 h 946154"/>
              <a:gd name="T118" fmla="*/ 0 w 1733434"/>
              <a:gd name="T119" fmla="*/ 0 h 946154"/>
              <a:gd name="T120" fmla="*/ 0 w 1733434"/>
              <a:gd name="T121" fmla="*/ 0 h 946154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w 1733434"/>
              <a:gd name="T184" fmla="*/ 0 h 946154"/>
              <a:gd name="T185" fmla="*/ 1733434 w 1733434"/>
              <a:gd name="T186" fmla="*/ 946154 h 946154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T183" t="T184" r="T185" b="T186"/>
            <a:pathLst>
              <a:path w="1733434" h="946154">
                <a:moveTo>
                  <a:pt x="1327025" y="0"/>
                </a:moveTo>
                <a:lnTo>
                  <a:pt x="1352438" y="12695"/>
                </a:lnTo>
                <a:lnTo>
                  <a:pt x="1396910" y="25405"/>
                </a:lnTo>
                <a:cubicBezTo>
                  <a:pt x="1407499" y="33863"/>
                  <a:pt x="1418014" y="42337"/>
                  <a:pt x="1428603" y="50795"/>
                </a:cubicBezTo>
                <a:lnTo>
                  <a:pt x="1466722" y="82555"/>
                </a:lnTo>
                <a:lnTo>
                  <a:pt x="1517548" y="101605"/>
                </a:lnTo>
                <a:lnTo>
                  <a:pt x="1555667" y="114300"/>
                </a:lnTo>
                <a:lnTo>
                  <a:pt x="1587360" y="133350"/>
                </a:lnTo>
                <a:lnTo>
                  <a:pt x="1631832" y="152400"/>
                </a:lnTo>
                <a:lnTo>
                  <a:pt x="1626601" y="155512"/>
                </a:lnTo>
                <a:lnTo>
                  <a:pt x="1631884" y="154797"/>
                </a:lnTo>
                <a:lnTo>
                  <a:pt x="1604420" y="181307"/>
                </a:lnTo>
                <a:lnTo>
                  <a:pt x="1572305" y="202991"/>
                </a:lnTo>
                <a:lnTo>
                  <a:pt x="1586590" y="249918"/>
                </a:lnTo>
                <a:lnTo>
                  <a:pt x="1629558" y="282443"/>
                </a:lnTo>
                <a:lnTo>
                  <a:pt x="1668982" y="322327"/>
                </a:lnTo>
                <a:lnTo>
                  <a:pt x="1711950" y="354615"/>
                </a:lnTo>
                <a:lnTo>
                  <a:pt x="1733434" y="387298"/>
                </a:lnTo>
                <a:cubicBezTo>
                  <a:pt x="1729779" y="399326"/>
                  <a:pt x="1726457" y="411434"/>
                  <a:pt x="1722803" y="423463"/>
                </a:cubicBezTo>
                <a:lnTo>
                  <a:pt x="1672526" y="441506"/>
                </a:lnTo>
                <a:lnTo>
                  <a:pt x="1636756" y="466908"/>
                </a:lnTo>
                <a:lnTo>
                  <a:pt x="1586590" y="463189"/>
                </a:lnTo>
                <a:lnTo>
                  <a:pt x="1554475" y="434383"/>
                </a:lnTo>
                <a:lnTo>
                  <a:pt x="1518484" y="412700"/>
                </a:lnTo>
                <a:lnTo>
                  <a:pt x="1468429" y="412700"/>
                </a:lnTo>
                <a:lnTo>
                  <a:pt x="1421917" y="430664"/>
                </a:lnTo>
                <a:lnTo>
                  <a:pt x="1389581" y="452347"/>
                </a:lnTo>
                <a:lnTo>
                  <a:pt x="1339526" y="488433"/>
                </a:lnTo>
                <a:cubicBezTo>
                  <a:pt x="1331220" y="499275"/>
                  <a:pt x="1322804" y="510037"/>
                  <a:pt x="1314498" y="520879"/>
                </a:cubicBezTo>
                <a:lnTo>
                  <a:pt x="1249936" y="495634"/>
                </a:lnTo>
                <a:lnTo>
                  <a:pt x="1199880" y="477671"/>
                </a:lnTo>
                <a:lnTo>
                  <a:pt x="1146281" y="466908"/>
                </a:lnTo>
                <a:lnTo>
                  <a:pt x="1090689" y="466908"/>
                </a:lnTo>
                <a:lnTo>
                  <a:pt x="1047721" y="495634"/>
                </a:lnTo>
                <a:lnTo>
                  <a:pt x="994011" y="528238"/>
                </a:lnTo>
                <a:cubicBezTo>
                  <a:pt x="986924" y="543907"/>
                  <a:pt x="979726" y="559576"/>
                  <a:pt x="972638" y="575245"/>
                </a:cubicBezTo>
                <a:cubicBezTo>
                  <a:pt x="978507" y="589094"/>
                  <a:pt x="984377" y="603022"/>
                  <a:pt x="990357" y="616712"/>
                </a:cubicBezTo>
                <a:lnTo>
                  <a:pt x="976182" y="629453"/>
                </a:lnTo>
                <a:lnTo>
                  <a:pt x="961675" y="645755"/>
                </a:lnTo>
                <a:lnTo>
                  <a:pt x="908076" y="660078"/>
                </a:lnTo>
                <a:lnTo>
                  <a:pt x="850711" y="678200"/>
                </a:lnTo>
                <a:lnTo>
                  <a:pt x="811287" y="725128"/>
                </a:lnTo>
                <a:cubicBezTo>
                  <a:pt x="806525" y="739610"/>
                  <a:pt x="801874" y="754171"/>
                  <a:pt x="797002" y="768653"/>
                </a:cubicBezTo>
                <a:lnTo>
                  <a:pt x="764776" y="819220"/>
                </a:lnTo>
                <a:lnTo>
                  <a:pt x="732550" y="865990"/>
                </a:lnTo>
                <a:lnTo>
                  <a:pt x="689693" y="909435"/>
                </a:lnTo>
                <a:cubicBezTo>
                  <a:pt x="679394" y="922888"/>
                  <a:pt x="674964" y="937845"/>
                  <a:pt x="671420" y="946154"/>
                </a:cubicBezTo>
                <a:lnTo>
                  <a:pt x="670483" y="939267"/>
                </a:lnTo>
                <a:lnTo>
                  <a:pt x="623725" y="898360"/>
                </a:lnTo>
                <a:lnTo>
                  <a:pt x="594529" y="855318"/>
                </a:lnTo>
                <a:lnTo>
                  <a:pt x="556262" y="830140"/>
                </a:lnTo>
                <a:lnTo>
                  <a:pt x="507005" y="830140"/>
                </a:lnTo>
                <a:lnTo>
                  <a:pt x="446825" y="835573"/>
                </a:lnTo>
                <a:lnTo>
                  <a:pt x="348311" y="830140"/>
                </a:lnTo>
                <a:lnTo>
                  <a:pt x="322822" y="813999"/>
                </a:lnTo>
                <a:lnTo>
                  <a:pt x="260788" y="824760"/>
                </a:lnTo>
                <a:lnTo>
                  <a:pt x="233445" y="824760"/>
                </a:lnTo>
                <a:cubicBezTo>
                  <a:pt x="228546" y="806216"/>
                  <a:pt x="223713" y="787673"/>
                  <a:pt x="218814" y="769129"/>
                </a:cubicBezTo>
                <a:lnTo>
                  <a:pt x="218814" y="722483"/>
                </a:lnTo>
                <a:cubicBezTo>
                  <a:pt x="220668" y="706342"/>
                  <a:pt x="222455" y="690149"/>
                  <a:pt x="224309" y="674008"/>
                </a:cubicBezTo>
                <a:lnTo>
                  <a:pt x="224309" y="630914"/>
                </a:lnTo>
                <a:cubicBezTo>
                  <a:pt x="221860" y="610594"/>
                  <a:pt x="219476" y="590223"/>
                  <a:pt x="217027" y="569903"/>
                </a:cubicBezTo>
                <a:lnTo>
                  <a:pt x="195113" y="532189"/>
                </a:lnTo>
                <a:lnTo>
                  <a:pt x="164129" y="505235"/>
                </a:lnTo>
                <a:lnTo>
                  <a:pt x="125862" y="505235"/>
                </a:lnTo>
                <a:lnTo>
                  <a:pt x="102094" y="507064"/>
                </a:lnTo>
                <a:lnTo>
                  <a:pt x="82034" y="507064"/>
                </a:lnTo>
                <a:cubicBezTo>
                  <a:pt x="79585" y="497505"/>
                  <a:pt x="77201" y="487893"/>
                  <a:pt x="74752" y="478334"/>
                </a:cubicBezTo>
                <a:lnTo>
                  <a:pt x="58333" y="447829"/>
                </a:lnTo>
                <a:lnTo>
                  <a:pt x="32844" y="440620"/>
                </a:lnTo>
                <a:lnTo>
                  <a:pt x="10930" y="419099"/>
                </a:lnTo>
                <a:lnTo>
                  <a:pt x="15904" y="418477"/>
                </a:lnTo>
                <a:lnTo>
                  <a:pt x="0" y="412517"/>
                </a:lnTo>
                <a:lnTo>
                  <a:pt x="57026" y="406621"/>
                </a:lnTo>
                <a:lnTo>
                  <a:pt x="82475" y="374584"/>
                </a:lnTo>
                <a:cubicBezTo>
                  <a:pt x="80144" y="368112"/>
                  <a:pt x="78302" y="362062"/>
                  <a:pt x="76310" y="355493"/>
                </a:cubicBezTo>
                <a:lnTo>
                  <a:pt x="50748" y="336632"/>
                </a:lnTo>
                <a:lnTo>
                  <a:pt x="31689" y="330217"/>
                </a:lnTo>
                <a:cubicBezTo>
                  <a:pt x="29584" y="323840"/>
                  <a:pt x="27592" y="317502"/>
                  <a:pt x="25261" y="311356"/>
                </a:cubicBezTo>
                <a:cubicBezTo>
                  <a:pt x="29584" y="302655"/>
                  <a:pt x="33945" y="294358"/>
                  <a:pt x="37741" y="285638"/>
                </a:cubicBezTo>
                <a:lnTo>
                  <a:pt x="14435" y="263551"/>
                </a:lnTo>
                <a:lnTo>
                  <a:pt x="16828" y="263127"/>
                </a:lnTo>
                <a:lnTo>
                  <a:pt x="12582" y="260347"/>
                </a:lnTo>
                <a:lnTo>
                  <a:pt x="51314" y="239068"/>
                </a:lnTo>
                <a:lnTo>
                  <a:pt x="76683" y="243064"/>
                </a:lnTo>
                <a:lnTo>
                  <a:pt x="92720" y="256351"/>
                </a:lnTo>
                <a:lnTo>
                  <a:pt x="116774" y="239068"/>
                </a:lnTo>
                <a:lnTo>
                  <a:pt x="143502" y="239068"/>
                </a:lnTo>
                <a:lnTo>
                  <a:pt x="171543" y="239068"/>
                </a:lnTo>
                <a:lnTo>
                  <a:pt x="196912" y="239068"/>
                </a:lnTo>
                <a:lnTo>
                  <a:pt x="224998" y="239068"/>
                </a:lnTo>
                <a:lnTo>
                  <a:pt x="246336" y="200486"/>
                </a:lnTo>
                <a:lnTo>
                  <a:pt x="279767" y="192513"/>
                </a:lnTo>
                <a:lnTo>
                  <a:pt x="314469" y="181884"/>
                </a:lnTo>
                <a:lnTo>
                  <a:pt x="369238" y="159266"/>
                </a:lnTo>
                <a:lnTo>
                  <a:pt x="426679" y="147297"/>
                </a:lnTo>
                <a:lnTo>
                  <a:pt x="434698" y="110054"/>
                </a:lnTo>
                <a:lnTo>
                  <a:pt x="434698" y="82121"/>
                </a:lnTo>
                <a:lnTo>
                  <a:pt x="447074" y="67749"/>
                </a:lnTo>
                <a:cubicBezTo>
                  <a:pt x="446943" y="64499"/>
                  <a:pt x="447197" y="61696"/>
                  <a:pt x="447570" y="59394"/>
                </a:cubicBezTo>
                <a:cubicBezTo>
                  <a:pt x="460060" y="64622"/>
                  <a:pt x="482063" y="69849"/>
                  <a:pt x="494554" y="75076"/>
                </a:cubicBezTo>
                <a:cubicBezTo>
                  <a:pt x="499932" y="78561"/>
                  <a:pt x="505266" y="82055"/>
                  <a:pt x="510644" y="85540"/>
                </a:cubicBezTo>
                <a:lnTo>
                  <a:pt x="533403" y="102529"/>
                </a:lnTo>
                <a:lnTo>
                  <a:pt x="574919" y="114299"/>
                </a:lnTo>
                <a:cubicBezTo>
                  <a:pt x="580253" y="107329"/>
                  <a:pt x="585631" y="100351"/>
                  <a:pt x="590965" y="93381"/>
                </a:cubicBezTo>
                <a:cubicBezTo>
                  <a:pt x="594966" y="85975"/>
                  <a:pt x="599011" y="78561"/>
                  <a:pt x="603011" y="71156"/>
                </a:cubicBezTo>
                <a:lnTo>
                  <a:pt x="641861" y="51545"/>
                </a:lnTo>
                <a:cubicBezTo>
                  <a:pt x="647195" y="42832"/>
                  <a:pt x="652573" y="34111"/>
                  <a:pt x="657907" y="25399"/>
                </a:cubicBezTo>
                <a:lnTo>
                  <a:pt x="690045" y="25399"/>
                </a:lnTo>
                <a:lnTo>
                  <a:pt x="726182" y="41090"/>
                </a:lnTo>
                <a:lnTo>
                  <a:pt x="760987" y="41090"/>
                </a:lnTo>
                <a:lnTo>
                  <a:pt x="797169" y="71156"/>
                </a:lnTo>
                <a:lnTo>
                  <a:pt x="829262" y="75076"/>
                </a:lnTo>
                <a:lnTo>
                  <a:pt x="861399" y="41090"/>
                </a:lnTo>
                <a:lnTo>
                  <a:pt x="900577" y="52557"/>
                </a:lnTo>
                <a:lnTo>
                  <a:pt x="901580" y="50795"/>
                </a:lnTo>
                <a:lnTo>
                  <a:pt x="946052" y="44455"/>
                </a:lnTo>
                <a:lnTo>
                  <a:pt x="996805" y="57150"/>
                </a:lnTo>
                <a:lnTo>
                  <a:pt x="1053984" y="57150"/>
                </a:lnTo>
                <a:lnTo>
                  <a:pt x="1123796" y="50795"/>
                </a:lnTo>
                <a:lnTo>
                  <a:pt x="1174621" y="50795"/>
                </a:lnTo>
                <a:lnTo>
                  <a:pt x="1225447" y="44455"/>
                </a:lnTo>
                <a:lnTo>
                  <a:pt x="1276199" y="12695"/>
                </a:lnTo>
                <a:close/>
              </a:path>
            </a:pathLst>
          </a:custGeom>
          <a:solidFill>
            <a:srgbClr val="70B0DF"/>
          </a:solidFill>
          <a:ln w="3175" cap="flat" cmpd="sng">
            <a:noFill/>
            <a:prstDash val="solid"/>
            <a:round/>
            <a:headEnd/>
            <a:tailEnd/>
          </a:ln>
        </p:spPr>
        <p:txBody>
          <a:bodyPr wrap="none" lIns="32632" tIns="32632" rIns="32632" bIns="32632" anchor="ctr"/>
          <a:lstStyle/>
          <a:p>
            <a:pPr defTabSz="891045"/>
            <a:endParaRPr lang="en-US" sz="1700" dirty="0">
              <a:solidFill>
                <a:srgbClr val="003149"/>
              </a:solidFill>
              <a:cs typeface="Arial" panose="020B0604020202020204" pitchFamily="34" charset="0"/>
            </a:endParaRPr>
          </a:p>
        </p:txBody>
      </p:sp>
      <p:sp>
        <p:nvSpPr>
          <p:cNvPr id="53" name="Freeform 1045"/>
          <p:cNvSpPr>
            <a:spLocks noChangeAspect="1"/>
          </p:cNvSpPr>
          <p:nvPr>
            <p:custDataLst>
              <p:tags r:id="rId33"/>
            </p:custDataLst>
          </p:nvPr>
        </p:nvSpPr>
        <p:spPr bwMode="gray">
          <a:xfrm>
            <a:off x="3083836" y="2936818"/>
            <a:ext cx="325563" cy="358708"/>
          </a:xfrm>
          <a:custGeom>
            <a:avLst/>
            <a:gdLst>
              <a:gd name="T0" fmla="*/ 0 w 1882981"/>
              <a:gd name="T1" fmla="*/ 0 h 1837539"/>
              <a:gd name="T2" fmla="*/ 0 w 1882981"/>
              <a:gd name="T3" fmla="*/ 0 h 1837539"/>
              <a:gd name="T4" fmla="*/ 0 w 1882981"/>
              <a:gd name="T5" fmla="*/ 0 h 1837539"/>
              <a:gd name="T6" fmla="*/ 0 w 1882981"/>
              <a:gd name="T7" fmla="*/ 0 h 1837539"/>
              <a:gd name="T8" fmla="*/ 0 w 1882981"/>
              <a:gd name="T9" fmla="*/ 0 h 1837539"/>
              <a:gd name="T10" fmla="*/ 0 w 1882981"/>
              <a:gd name="T11" fmla="*/ 0 h 1837539"/>
              <a:gd name="T12" fmla="*/ 0 w 1882981"/>
              <a:gd name="T13" fmla="*/ 0 h 1837539"/>
              <a:gd name="T14" fmla="*/ 0 w 1882981"/>
              <a:gd name="T15" fmla="*/ 0 h 1837539"/>
              <a:gd name="T16" fmla="*/ 0 w 1882981"/>
              <a:gd name="T17" fmla="*/ 0 h 1837539"/>
              <a:gd name="T18" fmla="*/ 0 w 1882981"/>
              <a:gd name="T19" fmla="*/ 0 h 1837539"/>
              <a:gd name="T20" fmla="*/ 0 w 1882981"/>
              <a:gd name="T21" fmla="*/ 0 h 1837539"/>
              <a:gd name="T22" fmla="*/ 0 w 1882981"/>
              <a:gd name="T23" fmla="*/ 0 h 1837539"/>
              <a:gd name="T24" fmla="*/ 0 w 1882981"/>
              <a:gd name="T25" fmla="*/ 0 h 1837539"/>
              <a:gd name="T26" fmla="*/ 0 w 1882981"/>
              <a:gd name="T27" fmla="*/ 0 h 1837539"/>
              <a:gd name="T28" fmla="*/ 0 w 1882981"/>
              <a:gd name="T29" fmla="*/ 0 h 1837539"/>
              <a:gd name="T30" fmla="*/ 0 w 1882981"/>
              <a:gd name="T31" fmla="*/ 0 h 1837539"/>
              <a:gd name="T32" fmla="*/ 0 w 1882981"/>
              <a:gd name="T33" fmla="*/ 0 h 1837539"/>
              <a:gd name="T34" fmla="*/ 0 w 1882981"/>
              <a:gd name="T35" fmla="*/ 0 h 1837539"/>
              <a:gd name="T36" fmla="*/ 0 w 1882981"/>
              <a:gd name="T37" fmla="*/ 0 h 1837539"/>
              <a:gd name="T38" fmla="*/ 0 w 1882981"/>
              <a:gd name="T39" fmla="*/ 0 h 1837539"/>
              <a:gd name="T40" fmla="*/ 0 w 1882981"/>
              <a:gd name="T41" fmla="*/ 0 h 1837539"/>
              <a:gd name="T42" fmla="*/ 0 w 1882981"/>
              <a:gd name="T43" fmla="*/ 0 h 1837539"/>
              <a:gd name="T44" fmla="*/ 0 w 1882981"/>
              <a:gd name="T45" fmla="*/ 0 h 1837539"/>
              <a:gd name="T46" fmla="*/ 0 w 1882981"/>
              <a:gd name="T47" fmla="*/ 0 h 1837539"/>
              <a:gd name="T48" fmla="*/ 0 w 1882981"/>
              <a:gd name="T49" fmla="*/ 0 h 1837539"/>
              <a:gd name="T50" fmla="*/ 0 w 1882981"/>
              <a:gd name="T51" fmla="*/ 0 h 1837539"/>
              <a:gd name="T52" fmla="*/ 0 w 1882981"/>
              <a:gd name="T53" fmla="*/ 0 h 1837539"/>
              <a:gd name="T54" fmla="*/ 0 w 1882981"/>
              <a:gd name="T55" fmla="*/ 0 h 1837539"/>
              <a:gd name="T56" fmla="*/ 0 w 1882981"/>
              <a:gd name="T57" fmla="*/ 0 h 1837539"/>
              <a:gd name="T58" fmla="*/ 0 w 1882981"/>
              <a:gd name="T59" fmla="*/ 0 h 1837539"/>
              <a:gd name="T60" fmla="*/ 0 w 1882981"/>
              <a:gd name="T61" fmla="*/ 0 h 1837539"/>
              <a:gd name="T62" fmla="*/ 0 w 1882981"/>
              <a:gd name="T63" fmla="*/ 0 h 1837539"/>
              <a:gd name="T64" fmla="*/ 0 w 1882981"/>
              <a:gd name="T65" fmla="*/ 0 h 1837539"/>
              <a:gd name="T66" fmla="*/ 0 w 1882981"/>
              <a:gd name="T67" fmla="*/ 0 h 1837539"/>
              <a:gd name="T68" fmla="*/ 0 w 1882981"/>
              <a:gd name="T69" fmla="*/ 0 h 1837539"/>
              <a:gd name="T70" fmla="*/ 0 w 1882981"/>
              <a:gd name="T71" fmla="*/ 0 h 1837539"/>
              <a:gd name="T72" fmla="*/ 0 w 1882981"/>
              <a:gd name="T73" fmla="*/ 0 h 1837539"/>
              <a:gd name="T74" fmla="*/ 0 w 1882981"/>
              <a:gd name="T75" fmla="*/ 0 h 1837539"/>
              <a:gd name="T76" fmla="*/ 0 w 1882981"/>
              <a:gd name="T77" fmla="*/ 0 h 1837539"/>
              <a:gd name="T78" fmla="*/ 0 w 1882981"/>
              <a:gd name="T79" fmla="*/ 0 h 1837539"/>
              <a:gd name="T80" fmla="*/ 0 w 1882981"/>
              <a:gd name="T81" fmla="*/ 0 h 1837539"/>
              <a:gd name="T82" fmla="*/ 0 w 1882981"/>
              <a:gd name="T83" fmla="*/ 0 h 1837539"/>
              <a:gd name="T84" fmla="*/ 0 w 1882981"/>
              <a:gd name="T85" fmla="*/ 0 h 1837539"/>
              <a:gd name="T86" fmla="*/ 0 w 1882981"/>
              <a:gd name="T87" fmla="*/ 0 h 1837539"/>
              <a:gd name="T88" fmla="*/ 0 w 1882981"/>
              <a:gd name="T89" fmla="*/ 0 h 1837539"/>
              <a:gd name="T90" fmla="*/ 0 w 1882981"/>
              <a:gd name="T91" fmla="*/ 0 h 1837539"/>
              <a:gd name="T92" fmla="*/ 0 w 1882981"/>
              <a:gd name="T93" fmla="*/ 0 h 1837539"/>
              <a:gd name="T94" fmla="*/ 0 w 1882981"/>
              <a:gd name="T95" fmla="*/ 0 h 1837539"/>
              <a:gd name="T96" fmla="*/ 0 w 1882981"/>
              <a:gd name="T97" fmla="*/ 0 h 1837539"/>
              <a:gd name="T98" fmla="*/ 0 w 1882981"/>
              <a:gd name="T99" fmla="*/ 0 h 1837539"/>
              <a:gd name="T100" fmla="*/ 0 w 1882981"/>
              <a:gd name="T101" fmla="*/ 0 h 1837539"/>
              <a:gd name="T102" fmla="*/ 0 w 1882981"/>
              <a:gd name="T103" fmla="*/ 0 h 1837539"/>
              <a:gd name="T104" fmla="*/ 0 w 1882981"/>
              <a:gd name="T105" fmla="*/ 0 h 1837539"/>
              <a:gd name="T106" fmla="*/ 0 w 1882981"/>
              <a:gd name="T107" fmla="*/ 0 h 1837539"/>
              <a:gd name="T108" fmla="*/ 0 w 1882981"/>
              <a:gd name="T109" fmla="*/ 0 h 1837539"/>
              <a:gd name="T110" fmla="*/ 0 w 1882981"/>
              <a:gd name="T111" fmla="*/ 0 h 1837539"/>
              <a:gd name="T112" fmla="*/ 0 w 1882981"/>
              <a:gd name="T113" fmla="*/ 0 h 1837539"/>
              <a:gd name="T114" fmla="*/ 0 w 1882981"/>
              <a:gd name="T115" fmla="*/ 0 h 1837539"/>
              <a:gd name="T116" fmla="*/ 0 w 1882981"/>
              <a:gd name="T117" fmla="*/ 0 h 1837539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w 1882981"/>
              <a:gd name="T178" fmla="*/ 0 h 1837539"/>
              <a:gd name="T179" fmla="*/ 1882981 w 1882981"/>
              <a:gd name="T180" fmla="*/ 1837539 h 1837539"/>
            </a:gdLst>
            <a:ahLst/>
            <a:cxnLst>
              <a:cxn ang="T118">
                <a:pos x="T0" y="T1"/>
              </a:cxn>
              <a:cxn ang="T119">
                <a:pos x="T2" y="T3"/>
              </a:cxn>
              <a:cxn ang="T120">
                <a:pos x="T4" y="T5"/>
              </a:cxn>
              <a:cxn ang="T121">
                <a:pos x="T6" y="T7"/>
              </a:cxn>
              <a:cxn ang="T122">
                <a:pos x="T8" y="T9"/>
              </a:cxn>
              <a:cxn ang="T123">
                <a:pos x="T10" y="T11"/>
              </a:cxn>
              <a:cxn ang="T124">
                <a:pos x="T12" y="T13"/>
              </a:cxn>
              <a:cxn ang="T125">
                <a:pos x="T14" y="T15"/>
              </a:cxn>
              <a:cxn ang="T126">
                <a:pos x="T16" y="T17"/>
              </a:cxn>
              <a:cxn ang="T127">
                <a:pos x="T18" y="T19"/>
              </a:cxn>
              <a:cxn ang="T128">
                <a:pos x="T20" y="T21"/>
              </a:cxn>
              <a:cxn ang="T129">
                <a:pos x="T22" y="T23"/>
              </a:cxn>
              <a:cxn ang="T130">
                <a:pos x="T24" y="T25"/>
              </a:cxn>
              <a:cxn ang="T131">
                <a:pos x="T26" y="T27"/>
              </a:cxn>
              <a:cxn ang="T132">
                <a:pos x="T28" y="T29"/>
              </a:cxn>
              <a:cxn ang="T133">
                <a:pos x="T30" y="T31"/>
              </a:cxn>
              <a:cxn ang="T134">
                <a:pos x="T32" y="T33"/>
              </a:cxn>
              <a:cxn ang="T135">
                <a:pos x="T34" y="T35"/>
              </a:cxn>
              <a:cxn ang="T136">
                <a:pos x="T36" y="T37"/>
              </a:cxn>
              <a:cxn ang="T137">
                <a:pos x="T38" y="T39"/>
              </a:cxn>
              <a:cxn ang="T138">
                <a:pos x="T40" y="T41"/>
              </a:cxn>
              <a:cxn ang="T139">
                <a:pos x="T42" y="T43"/>
              </a:cxn>
              <a:cxn ang="T140">
                <a:pos x="T44" y="T45"/>
              </a:cxn>
              <a:cxn ang="T141">
                <a:pos x="T46" y="T47"/>
              </a:cxn>
              <a:cxn ang="T142">
                <a:pos x="T48" y="T49"/>
              </a:cxn>
              <a:cxn ang="T143">
                <a:pos x="T50" y="T51"/>
              </a:cxn>
              <a:cxn ang="T144">
                <a:pos x="T52" y="T53"/>
              </a:cxn>
              <a:cxn ang="T145">
                <a:pos x="T54" y="T55"/>
              </a:cxn>
              <a:cxn ang="T146">
                <a:pos x="T56" y="T57"/>
              </a:cxn>
              <a:cxn ang="T147">
                <a:pos x="T58" y="T59"/>
              </a:cxn>
              <a:cxn ang="T148">
                <a:pos x="T60" y="T61"/>
              </a:cxn>
              <a:cxn ang="T149">
                <a:pos x="T62" y="T63"/>
              </a:cxn>
              <a:cxn ang="T150">
                <a:pos x="T64" y="T65"/>
              </a:cxn>
              <a:cxn ang="T151">
                <a:pos x="T66" y="T67"/>
              </a:cxn>
              <a:cxn ang="T152">
                <a:pos x="T68" y="T69"/>
              </a:cxn>
              <a:cxn ang="T153">
                <a:pos x="T70" y="T71"/>
              </a:cxn>
              <a:cxn ang="T154">
                <a:pos x="T72" y="T73"/>
              </a:cxn>
              <a:cxn ang="T155">
                <a:pos x="T74" y="T75"/>
              </a:cxn>
              <a:cxn ang="T156">
                <a:pos x="T76" y="T77"/>
              </a:cxn>
              <a:cxn ang="T157">
                <a:pos x="T78" y="T79"/>
              </a:cxn>
              <a:cxn ang="T158">
                <a:pos x="T80" y="T81"/>
              </a:cxn>
              <a:cxn ang="T159">
                <a:pos x="T82" y="T83"/>
              </a:cxn>
              <a:cxn ang="T160">
                <a:pos x="T84" y="T85"/>
              </a:cxn>
              <a:cxn ang="T161">
                <a:pos x="T86" y="T87"/>
              </a:cxn>
              <a:cxn ang="T162">
                <a:pos x="T88" y="T89"/>
              </a:cxn>
              <a:cxn ang="T163">
                <a:pos x="T90" y="T91"/>
              </a:cxn>
              <a:cxn ang="T164">
                <a:pos x="T92" y="T93"/>
              </a:cxn>
              <a:cxn ang="T165">
                <a:pos x="T94" y="T95"/>
              </a:cxn>
              <a:cxn ang="T166">
                <a:pos x="T96" y="T97"/>
              </a:cxn>
              <a:cxn ang="T167">
                <a:pos x="T98" y="T99"/>
              </a:cxn>
              <a:cxn ang="T168">
                <a:pos x="T100" y="T101"/>
              </a:cxn>
              <a:cxn ang="T169">
                <a:pos x="T102" y="T103"/>
              </a:cxn>
              <a:cxn ang="T170">
                <a:pos x="T104" y="T105"/>
              </a:cxn>
              <a:cxn ang="T171">
                <a:pos x="T106" y="T107"/>
              </a:cxn>
              <a:cxn ang="T172">
                <a:pos x="T108" y="T109"/>
              </a:cxn>
              <a:cxn ang="T173">
                <a:pos x="T110" y="T111"/>
              </a:cxn>
              <a:cxn ang="T174">
                <a:pos x="T112" y="T113"/>
              </a:cxn>
              <a:cxn ang="T175">
                <a:pos x="T114" y="T115"/>
              </a:cxn>
              <a:cxn ang="T176">
                <a:pos x="T116" y="T117"/>
              </a:cxn>
            </a:cxnLst>
            <a:rect l="T177" t="T178" r="T179" b="T180"/>
            <a:pathLst>
              <a:path w="1882981" h="1837539">
                <a:moveTo>
                  <a:pt x="649773" y="734984"/>
                </a:moveTo>
                <a:lnTo>
                  <a:pt x="662607" y="740378"/>
                </a:lnTo>
                <a:lnTo>
                  <a:pt x="664135" y="737612"/>
                </a:lnTo>
                <a:close/>
                <a:moveTo>
                  <a:pt x="1165214" y="0"/>
                </a:moveTo>
                <a:lnTo>
                  <a:pt x="1209775" y="2391"/>
                </a:lnTo>
                <a:lnTo>
                  <a:pt x="1229010" y="43023"/>
                </a:lnTo>
                <a:lnTo>
                  <a:pt x="1263649" y="63344"/>
                </a:lnTo>
                <a:cubicBezTo>
                  <a:pt x="1263649" y="76898"/>
                  <a:pt x="1256503" y="85679"/>
                  <a:pt x="1256503" y="99223"/>
                </a:cubicBezTo>
                <a:lnTo>
                  <a:pt x="1253194" y="103591"/>
                </a:lnTo>
                <a:cubicBezTo>
                  <a:pt x="1252455" y="105825"/>
                  <a:pt x="1251714" y="108056"/>
                  <a:pt x="1250973" y="110277"/>
                </a:cubicBezTo>
                <a:lnTo>
                  <a:pt x="1250973" y="129337"/>
                </a:lnTo>
                <a:cubicBezTo>
                  <a:pt x="1255178" y="137816"/>
                  <a:pt x="1259454" y="146295"/>
                  <a:pt x="1263589" y="154775"/>
                </a:cubicBezTo>
                <a:lnTo>
                  <a:pt x="1276346" y="167530"/>
                </a:lnTo>
                <a:cubicBezTo>
                  <a:pt x="1278449" y="171733"/>
                  <a:pt x="1280621" y="176009"/>
                  <a:pt x="1282654" y="180212"/>
                </a:cubicBezTo>
                <a:lnTo>
                  <a:pt x="1250973" y="231016"/>
                </a:lnTo>
                <a:lnTo>
                  <a:pt x="1225530" y="275441"/>
                </a:lnTo>
                <a:lnTo>
                  <a:pt x="1193778" y="281819"/>
                </a:lnTo>
                <a:lnTo>
                  <a:pt x="1193778" y="307256"/>
                </a:lnTo>
                <a:cubicBezTo>
                  <a:pt x="1198054" y="313489"/>
                  <a:pt x="1202259" y="319867"/>
                  <a:pt x="1206465" y="326244"/>
                </a:cubicBezTo>
                <a:cubicBezTo>
                  <a:pt x="1204362" y="332622"/>
                  <a:pt x="1202259" y="338927"/>
                  <a:pt x="1200157" y="345304"/>
                </a:cubicBezTo>
                <a:lnTo>
                  <a:pt x="1187400" y="358059"/>
                </a:lnTo>
                <a:lnTo>
                  <a:pt x="1143032" y="358059"/>
                </a:lnTo>
                <a:lnTo>
                  <a:pt x="1123897" y="370742"/>
                </a:lnTo>
                <a:lnTo>
                  <a:pt x="1098595" y="370742"/>
                </a:lnTo>
                <a:lnTo>
                  <a:pt x="1085838" y="383352"/>
                </a:lnTo>
                <a:lnTo>
                  <a:pt x="1066773" y="415095"/>
                </a:lnTo>
                <a:cubicBezTo>
                  <a:pt x="1060395" y="427778"/>
                  <a:pt x="1054087" y="440533"/>
                  <a:pt x="1047708" y="453216"/>
                </a:cubicBezTo>
                <a:lnTo>
                  <a:pt x="1022405" y="465971"/>
                </a:lnTo>
                <a:cubicBezTo>
                  <a:pt x="1018060" y="482857"/>
                  <a:pt x="1013924" y="499815"/>
                  <a:pt x="1009649" y="516774"/>
                </a:cubicBezTo>
                <a:lnTo>
                  <a:pt x="1047708" y="561199"/>
                </a:lnTo>
                <a:cubicBezTo>
                  <a:pt x="1049811" y="573882"/>
                  <a:pt x="1051984" y="586637"/>
                  <a:pt x="1054087" y="599320"/>
                </a:cubicBezTo>
                <a:lnTo>
                  <a:pt x="1022405" y="612075"/>
                </a:lnTo>
                <a:lnTo>
                  <a:pt x="1022405" y="631063"/>
                </a:lnTo>
                <a:lnTo>
                  <a:pt x="1047708" y="694548"/>
                </a:lnTo>
                <a:lnTo>
                  <a:pt x="1060465" y="713608"/>
                </a:lnTo>
                <a:cubicBezTo>
                  <a:pt x="1058362" y="717884"/>
                  <a:pt x="1056119" y="722088"/>
                  <a:pt x="1054087" y="726364"/>
                </a:cubicBezTo>
                <a:lnTo>
                  <a:pt x="1028714" y="751656"/>
                </a:lnTo>
                <a:lnTo>
                  <a:pt x="1022405" y="777094"/>
                </a:lnTo>
                <a:lnTo>
                  <a:pt x="1066773" y="789849"/>
                </a:lnTo>
                <a:cubicBezTo>
                  <a:pt x="1079530" y="789849"/>
                  <a:pt x="1085838" y="783399"/>
                  <a:pt x="1092216" y="777094"/>
                </a:cubicBezTo>
                <a:cubicBezTo>
                  <a:pt x="1098595" y="770789"/>
                  <a:pt x="1098595" y="758034"/>
                  <a:pt x="1104903" y="745351"/>
                </a:cubicBezTo>
                <a:cubicBezTo>
                  <a:pt x="1109108" y="734770"/>
                  <a:pt x="1113384" y="724189"/>
                  <a:pt x="1117589" y="713608"/>
                </a:cubicBezTo>
                <a:lnTo>
                  <a:pt x="1149341" y="700926"/>
                </a:lnTo>
                <a:lnTo>
                  <a:pt x="1168405" y="675561"/>
                </a:lnTo>
                <a:cubicBezTo>
                  <a:pt x="1174784" y="675561"/>
                  <a:pt x="1193778" y="694548"/>
                  <a:pt x="1200157" y="694548"/>
                </a:cubicBezTo>
                <a:cubicBezTo>
                  <a:pt x="1212843" y="694548"/>
                  <a:pt x="1219222" y="669110"/>
                  <a:pt x="1225530" y="669110"/>
                </a:cubicBezTo>
                <a:cubicBezTo>
                  <a:pt x="1238286" y="669110"/>
                  <a:pt x="1257281" y="681793"/>
                  <a:pt x="1269968" y="688171"/>
                </a:cubicBezTo>
                <a:lnTo>
                  <a:pt x="1301789" y="694548"/>
                </a:lnTo>
                <a:lnTo>
                  <a:pt x="1333470" y="707231"/>
                </a:lnTo>
                <a:lnTo>
                  <a:pt x="1371670" y="719913"/>
                </a:lnTo>
                <a:lnTo>
                  <a:pt x="1384286" y="719913"/>
                </a:lnTo>
                <a:lnTo>
                  <a:pt x="1422346" y="719913"/>
                </a:lnTo>
                <a:lnTo>
                  <a:pt x="1454167" y="719913"/>
                </a:lnTo>
                <a:lnTo>
                  <a:pt x="1479540" y="732596"/>
                </a:lnTo>
                <a:lnTo>
                  <a:pt x="1498605" y="758034"/>
                </a:lnTo>
                <a:lnTo>
                  <a:pt x="1485919" y="789849"/>
                </a:lnTo>
                <a:cubicBezTo>
                  <a:pt x="1490194" y="796154"/>
                  <a:pt x="1494330" y="802532"/>
                  <a:pt x="1498605" y="808837"/>
                </a:cubicBezTo>
                <a:lnTo>
                  <a:pt x="1517670" y="808837"/>
                </a:lnTo>
                <a:lnTo>
                  <a:pt x="1562038" y="796154"/>
                </a:lnTo>
                <a:lnTo>
                  <a:pt x="1638297" y="758034"/>
                </a:lnTo>
                <a:lnTo>
                  <a:pt x="1682735" y="758034"/>
                </a:lnTo>
                <a:cubicBezTo>
                  <a:pt x="1684838" y="764411"/>
                  <a:pt x="1687010" y="770789"/>
                  <a:pt x="1689043" y="777094"/>
                </a:cubicBezTo>
                <a:lnTo>
                  <a:pt x="1689043" y="808837"/>
                </a:lnTo>
                <a:cubicBezTo>
                  <a:pt x="1693301" y="808837"/>
                  <a:pt x="1698621" y="812034"/>
                  <a:pt x="1703763" y="813745"/>
                </a:cubicBezTo>
                <a:lnTo>
                  <a:pt x="1710464" y="811849"/>
                </a:lnTo>
                <a:lnTo>
                  <a:pt x="1739192" y="851316"/>
                </a:lnTo>
                <a:lnTo>
                  <a:pt x="1753593" y="869287"/>
                </a:lnTo>
                <a:lnTo>
                  <a:pt x="1778739" y="894424"/>
                </a:lnTo>
                <a:lnTo>
                  <a:pt x="1854216" y="951805"/>
                </a:lnTo>
                <a:lnTo>
                  <a:pt x="1882981" y="976941"/>
                </a:lnTo>
                <a:lnTo>
                  <a:pt x="1814706" y="1023632"/>
                </a:lnTo>
                <a:lnTo>
                  <a:pt x="1714046" y="1095401"/>
                </a:lnTo>
                <a:lnTo>
                  <a:pt x="1631369" y="1124120"/>
                </a:lnTo>
                <a:lnTo>
                  <a:pt x="1602641" y="1152839"/>
                </a:lnTo>
                <a:lnTo>
                  <a:pt x="1584658" y="1181559"/>
                </a:lnTo>
                <a:cubicBezTo>
                  <a:pt x="1583439" y="1191093"/>
                  <a:pt x="1582258" y="1200686"/>
                  <a:pt x="1581039" y="1210220"/>
                </a:cubicBezTo>
                <a:lnTo>
                  <a:pt x="1599022" y="1228191"/>
                </a:lnTo>
                <a:cubicBezTo>
                  <a:pt x="1600241" y="1242522"/>
                  <a:pt x="1601422" y="1256911"/>
                  <a:pt x="1602641" y="1271241"/>
                </a:cubicBezTo>
                <a:lnTo>
                  <a:pt x="1591821" y="1282047"/>
                </a:lnTo>
                <a:lnTo>
                  <a:pt x="1577457" y="1303543"/>
                </a:lnTo>
                <a:lnTo>
                  <a:pt x="1537909" y="1325097"/>
                </a:lnTo>
                <a:lnTo>
                  <a:pt x="1504476" y="1385215"/>
                </a:lnTo>
                <a:lnTo>
                  <a:pt x="1504952" y="1386685"/>
                </a:lnTo>
                <a:lnTo>
                  <a:pt x="1503126" y="1387641"/>
                </a:lnTo>
                <a:lnTo>
                  <a:pt x="1501981" y="1389701"/>
                </a:lnTo>
                <a:lnTo>
                  <a:pt x="1500608" y="1388960"/>
                </a:lnTo>
                <a:lnTo>
                  <a:pt x="1429004" y="1426471"/>
                </a:lnTo>
                <a:lnTo>
                  <a:pt x="1416092" y="1447145"/>
                </a:lnTo>
                <a:cubicBezTo>
                  <a:pt x="1416491" y="1449409"/>
                  <a:pt x="1416283" y="1451631"/>
                  <a:pt x="1416047" y="1453858"/>
                </a:cubicBezTo>
                <a:lnTo>
                  <a:pt x="1412132" y="1453485"/>
                </a:lnTo>
                <a:lnTo>
                  <a:pt x="1410922" y="1455423"/>
                </a:lnTo>
                <a:lnTo>
                  <a:pt x="1408688" y="1453157"/>
                </a:lnTo>
                <a:lnTo>
                  <a:pt x="1369181" y="1449393"/>
                </a:lnTo>
                <a:lnTo>
                  <a:pt x="1329588" y="1415258"/>
                </a:lnTo>
                <a:cubicBezTo>
                  <a:pt x="1326918" y="1403559"/>
                  <a:pt x="1324156" y="1391917"/>
                  <a:pt x="1321486" y="1380218"/>
                </a:cubicBezTo>
                <a:lnTo>
                  <a:pt x="1269187" y="1332576"/>
                </a:lnTo>
                <a:lnTo>
                  <a:pt x="1217810" y="1281373"/>
                </a:lnTo>
                <a:lnTo>
                  <a:pt x="1196264" y="1272387"/>
                </a:lnTo>
                <a:lnTo>
                  <a:pt x="1143966" y="1272387"/>
                </a:lnTo>
                <a:lnTo>
                  <a:pt x="1100690" y="1276852"/>
                </a:lnTo>
                <a:lnTo>
                  <a:pt x="1074633" y="1337097"/>
                </a:lnTo>
                <a:lnTo>
                  <a:pt x="1040381" y="1372137"/>
                </a:lnTo>
                <a:lnTo>
                  <a:pt x="1014232" y="1401751"/>
                </a:lnTo>
                <a:lnTo>
                  <a:pt x="961934" y="1423339"/>
                </a:lnTo>
                <a:lnTo>
                  <a:pt x="910648" y="1444872"/>
                </a:lnTo>
                <a:lnTo>
                  <a:pt x="853838" y="1406272"/>
                </a:lnTo>
                <a:lnTo>
                  <a:pt x="819678" y="1393669"/>
                </a:lnTo>
                <a:lnTo>
                  <a:pt x="763789" y="1397286"/>
                </a:lnTo>
                <a:cubicBezTo>
                  <a:pt x="757804" y="1414636"/>
                  <a:pt x="751727" y="1432043"/>
                  <a:pt x="745742" y="1449393"/>
                </a:cubicBezTo>
                <a:lnTo>
                  <a:pt x="724104" y="1461996"/>
                </a:lnTo>
                <a:lnTo>
                  <a:pt x="724104" y="1497035"/>
                </a:lnTo>
                <a:lnTo>
                  <a:pt x="698876" y="1509581"/>
                </a:lnTo>
                <a:lnTo>
                  <a:pt x="680921" y="1540156"/>
                </a:lnTo>
                <a:lnTo>
                  <a:pt x="655693" y="1574291"/>
                </a:lnTo>
                <a:lnTo>
                  <a:pt x="607906" y="1578756"/>
                </a:lnTo>
                <a:lnTo>
                  <a:pt x="560211" y="1578756"/>
                </a:lnTo>
                <a:cubicBezTo>
                  <a:pt x="558738" y="1603340"/>
                  <a:pt x="557173" y="1627868"/>
                  <a:pt x="555699" y="1652452"/>
                </a:cubicBezTo>
                <a:lnTo>
                  <a:pt x="521448" y="1677601"/>
                </a:lnTo>
                <a:cubicBezTo>
                  <a:pt x="512700" y="1700659"/>
                  <a:pt x="504045" y="1723717"/>
                  <a:pt x="495298" y="1746776"/>
                </a:cubicBezTo>
                <a:lnTo>
                  <a:pt x="495298" y="1781815"/>
                </a:lnTo>
                <a:lnTo>
                  <a:pt x="495298" y="1831990"/>
                </a:lnTo>
                <a:lnTo>
                  <a:pt x="498475" y="1836755"/>
                </a:lnTo>
                <a:lnTo>
                  <a:pt x="495298" y="1836745"/>
                </a:lnTo>
                <a:lnTo>
                  <a:pt x="495298" y="1837539"/>
                </a:lnTo>
                <a:lnTo>
                  <a:pt x="494475" y="1836743"/>
                </a:lnTo>
                <a:lnTo>
                  <a:pt x="466645" y="1836658"/>
                </a:lnTo>
                <a:lnTo>
                  <a:pt x="448060" y="1822217"/>
                </a:lnTo>
                <a:lnTo>
                  <a:pt x="433195" y="1789781"/>
                </a:lnTo>
                <a:lnTo>
                  <a:pt x="425754" y="1768103"/>
                </a:lnTo>
                <a:lnTo>
                  <a:pt x="433195" y="1746458"/>
                </a:lnTo>
                <a:lnTo>
                  <a:pt x="433195" y="1735603"/>
                </a:lnTo>
                <a:lnTo>
                  <a:pt x="436916" y="1713989"/>
                </a:lnTo>
                <a:lnTo>
                  <a:pt x="462925" y="1695930"/>
                </a:lnTo>
                <a:lnTo>
                  <a:pt x="466645" y="1670666"/>
                </a:lnTo>
                <a:lnTo>
                  <a:pt x="448060" y="1677903"/>
                </a:lnTo>
                <a:lnTo>
                  <a:pt x="433195" y="1677903"/>
                </a:lnTo>
                <a:lnTo>
                  <a:pt x="422043" y="1667080"/>
                </a:lnTo>
                <a:lnTo>
                  <a:pt x="433195" y="1634579"/>
                </a:lnTo>
                <a:lnTo>
                  <a:pt x="451780" y="1602111"/>
                </a:lnTo>
                <a:lnTo>
                  <a:pt x="451780" y="1580466"/>
                </a:lnTo>
                <a:lnTo>
                  <a:pt x="451780" y="1562406"/>
                </a:lnTo>
                <a:lnTo>
                  <a:pt x="448060" y="1529938"/>
                </a:lnTo>
                <a:lnTo>
                  <a:pt x="433195" y="1537142"/>
                </a:lnTo>
                <a:lnTo>
                  <a:pt x="413646" y="1514715"/>
                </a:lnTo>
                <a:lnTo>
                  <a:pt x="409422" y="1516082"/>
                </a:lnTo>
                <a:lnTo>
                  <a:pt x="457200" y="1442900"/>
                </a:lnTo>
                <a:lnTo>
                  <a:pt x="435666" y="1412602"/>
                </a:lnTo>
                <a:lnTo>
                  <a:pt x="435666" y="1374198"/>
                </a:lnTo>
                <a:lnTo>
                  <a:pt x="451805" y="1349235"/>
                </a:lnTo>
                <a:lnTo>
                  <a:pt x="428533" y="1319791"/>
                </a:lnTo>
                <a:lnTo>
                  <a:pt x="392643" y="1309976"/>
                </a:lnTo>
                <a:cubicBezTo>
                  <a:pt x="392049" y="1300749"/>
                  <a:pt x="391454" y="1291574"/>
                  <a:pt x="390860" y="1282346"/>
                </a:cubicBezTo>
                <a:lnTo>
                  <a:pt x="406999" y="1260957"/>
                </a:lnTo>
                <a:cubicBezTo>
                  <a:pt x="406679" y="1253809"/>
                  <a:pt x="406405" y="1246662"/>
                  <a:pt x="406085" y="1239514"/>
                </a:cubicBezTo>
                <a:lnTo>
                  <a:pt x="393558" y="1226179"/>
                </a:lnTo>
                <a:lnTo>
                  <a:pt x="406999" y="1218125"/>
                </a:lnTo>
                <a:lnTo>
                  <a:pt x="425836" y="1217218"/>
                </a:lnTo>
                <a:lnTo>
                  <a:pt x="431185" y="1194922"/>
                </a:lnTo>
                <a:lnTo>
                  <a:pt x="405216" y="1190495"/>
                </a:lnTo>
                <a:lnTo>
                  <a:pt x="383682" y="1207404"/>
                </a:lnTo>
                <a:lnTo>
                  <a:pt x="349621" y="1241328"/>
                </a:lnTo>
                <a:lnTo>
                  <a:pt x="336179" y="1198496"/>
                </a:lnTo>
                <a:lnTo>
                  <a:pt x="322737" y="1174439"/>
                </a:lnTo>
                <a:lnTo>
                  <a:pt x="301203" y="1156571"/>
                </a:lnTo>
                <a:lnTo>
                  <a:pt x="263576" y="1130701"/>
                </a:lnTo>
                <a:lnTo>
                  <a:pt x="244739" y="1127127"/>
                </a:lnTo>
                <a:lnTo>
                  <a:pt x="216027" y="1138755"/>
                </a:lnTo>
                <a:lnTo>
                  <a:pt x="199019" y="1117312"/>
                </a:lnTo>
                <a:lnTo>
                  <a:pt x="182880" y="1118219"/>
                </a:lnTo>
                <a:lnTo>
                  <a:pt x="172136" y="1105738"/>
                </a:lnTo>
                <a:lnTo>
                  <a:pt x="164043" y="1094163"/>
                </a:lnTo>
                <a:lnTo>
                  <a:pt x="151516" y="1083441"/>
                </a:lnTo>
                <a:lnTo>
                  <a:pt x="108494" y="1075387"/>
                </a:lnTo>
                <a:lnTo>
                  <a:pt x="78867" y="1081681"/>
                </a:lnTo>
                <a:lnTo>
                  <a:pt x="61859" y="1081681"/>
                </a:lnTo>
                <a:lnTo>
                  <a:pt x="26883" y="1070960"/>
                </a:lnTo>
                <a:lnTo>
                  <a:pt x="11658" y="1052238"/>
                </a:lnTo>
                <a:lnTo>
                  <a:pt x="40325" y="1032609"/>
                </a:lnTo>
                <a:lnTo>
                  <a:pt x="17922" y="993350"/>
                </a:lnTo>
                <a:lnTo>
                  <a:pt x="0" y="961240"/>
                </a:lnTo>
                <a:lnTo>
                  <a:pt x="256" y="961183"/>
                </a:lnTo>
                <a:cubicBezTo>
                  <a:pt x="8562" y="950503"/>
                  <a:pt x="16867" y="939821"/>
                  <a:pt x="25173" y="929012"/>
                </a:cubicBezTo>
                <a:lnTo>
                  <a:pt x="75245" y="892781"/>
                </a:lnTo>
                <a:lnTo>
                  <a:pt x="107615" y="871231"/>
                </a:lnTo>
                <a:lnTo>
                  <a:pt x="154147" y="853245"/>
                </a:lnTo>
                <a:lnTo>
                  <a:pt x="204092" y="853245"/>
                </a:lnTo>
                <a:lnTo>
                  <a:pt x="240129" y="874880"/>
                </a:lnTo>
                <a:cubicBezTo>
                  <a:pt x="250877" y="884496"/>
                  <a:pt x="261498" y="894155"/>
                  <a:pt x="272246" y="903728"/>
                </a:cubicBezTo>
                <a:lnTo>
                  <a:pt x="322445" y="907548"/>
                </a:lnTo>
                <a:cubicBezTo>
                  <a:pt x="334331" y="899006"/>
                  <a:pt x="346343" y="890506"/>
                  <a:pt x="358229" y="881963"/>
                </a:cubicBezTo>
                <a:lnTo>
                  <a:pt x="408427" y="864062"/>
                </a:lnTo>
                <a:cubicBezTo>
                  <a:pt x="412094" y="852086"/>
                  <a:pt x="415508" y="839808"/>
                  <a:pt x="419049" y="827874"/>
                </a:cubicBezTo>
                <a:cubicBezTo>
                  <a:pt x="411841" y="817014"/>
                  <a:pt x="404760" y="806024"/>
                  <a:pt x="397680" y="795249"/>
                </a:cubicBezTo>
                <a:lnTo>
                  <a:pt x="354688" y="762882"/>
                </a:lnTo>
                <a:lnTo>
                  <a:pt x="315238" y="722916"/>
                </a:lnTo>
                <a:lnTo>
                  <a:pt x="272246" y="690377"/>
                </a:lnTo>
                <a:cubicBezTo>
                  <a:pt x="267441" y="674794"/>
                  <a:pt x="262763" y="659211"/>
                  <a:pt x="257958" y="643629"/>
                </a:cubicBezTo>
                <a:lnTo>
                  <a:pt x="290075" y="621778"/>
                </a:lnTo>
                <a:lnTo>
                  <a:pt x="317514" y="595335"/>
                </a:lnTo>
                <a:lnTo>
                  <a:pt x="319151" y="596023"/>
                </a:lnTo>
                <a:cubicBezTo>
                  <a:pt x="336605" y="591486"/>
                  <a:pt x="347397" y="596062"/>
                  <a:pt x="365142" y="591387"/>
                </a:cubicBezTo>
                <a:lnTo>
                  <a:pt x="390343" y="562846"/>
                </a:lnTo>
                <a:lnTo>
                  <a:pt x="429940" y="550371"/>
                </a:lnTo>
                <a:lnTo>
                  <a:pt x="464132" y="568185"/>
                </a:lnTo>
                <a:lnTo>
                  <a:pt x="476755" y="589615"/>
                </a:lnTo>
                <a:lnTo>
                  <a:pt x="510948" y="571753"/>
                </a:lnTo>
                <a:lnTo>
                  <a:pt x="575702" y="589615"/>
                </a:lnTo>
                <a:lnTo>
                  <a:pt x="611755" y="568185"/>
                </a:lnTo>
                <a:lnTo>
                  <a:pt x="636912" y="584252"/>
                </a:lnTo>
                <a:lnTo>
                  <a:pt x="662114" y="568185"/>
                </a:lnTo>
                <a:lnTo>
                  <a:pt x="681956" y="541440"/>
                </a:lnTo>
                <a:cubicBezTo>
                  <a:pt x="680140" y="528965"/>
                  <a:pt x="678369" y="516491"/>
                  <a:pt x="676553" y="504016"/>
                </a:cubicBezTo>
                <a:lnTo>
                  <a:pt x="689176" y="477247"/>
                </a:lnTo>
                <a:lnTo>
                  <a:pt x="710746" y="441619"/>
                </a:lnTo>
                <a:cubicBezTo>
                  <a:pt x="707734" y="430892"/>
                  <a:pt x="704766" y="420189"/>
                  <a:pt x="701755" y="409486"/>
                </a:cubicBezTo>
                <a:lnTo>
                  <a:pt x="744938" y="375605"/>
                </a:lnTo>
                <a:lnTo>
                  <a:pt x="758847" y="353752"/>
                </a:lnTo>
                <a:lnTo>
                  <a:pt x="758625" y="353244"/>
                </a:lnTo>
                <a:cubicBezTo>
                  <a:pt x="758877" y="353176"/>
                  <a:pt x="759136" y="353102"/>
                  <a:pt x="759373" y="352926"/>
                </a:cubicBezTo>
                <a:lnTo>
                  <a:pt x="761193" y="350066"/>
                </a:lnTo>
                <a:lnTo>
                  <a:pt x="765665" y="350247"/>
                </a:lnTo>
                <a:cubicBezTo>
                  <a:pt x="781301" y="344544"/>
                  <a:pt x="806322" y="331193"/>
                  <a:pt x="817604" y="328137"/>
                </a:cubicBezTo>
                <a:lnTo>
                  <a:pt x="842978" y="306531"/>
                </a:lnTo>
                <a:lnTo>
                  <a:pt x="799430" y="277755"/>
                </a:lnTo>
                <a:lnTo>
                  <a:pt x="832120" y="241744"/>
                </a:lnTo>
                <a:lnTo>
                  <a:pt x="888356" y="220171"/>
                </a:lnTo>
                <a:lnTo>
                  <a:pt x="928246" y="191362"/>
                </a:lnTo>
                <a:lnTo>
                  <a:pt x="864772" y="176958"/>
                </a:lnTo>
                <a:lnTo>
                  <a:pt x="832120" y="122975"/>
                </a:lnTo>
                <a:lnTo>
                  <a:pt x="853875" y="79761"/>
                </a:lnTo>
                <a:lnTo>
                  <a:pt x="888356" y="94166"/>
                </a:lnTo>
                <a:lnTo>
                  <a:pt x="921007" y="126576"/>
                </a:lnTo>
                <a:lnTo>
                  <a:pt x="980862" y="104969"/>
                </a:lnTo>
                <a:lnTo>
                  <a:pt x="1017172" y="83363"/>
                </a:lnTo>
                <a:lnTo>
                  <a:pt x="1073407" y="67174"/>
                </a:lnTo>
                <a:lnTo>
                  <a:pt x="1116956" y="18576"/>
                </a:lnTo>
                <a:lnTo>
                  <a:pt x="1158675" y="2388"/>
                </a:lnTo>
                <a:lnTo>
                  <a:pt x="1163382" y="4892"/>
                </a:lnTo>
                <a:close/>
              </a:path>
            </a:pathLst>
          </a:custGeom>
          <a:solidFill>
            <a:srgbClr val="70B0DF"/>
          </a:solidFill>
          <a:ln w="3175" cap="flat" cmpd="sng">
            <a:noFill/>
            <a:prstDash val="solid"/>
            <a:round/>
            <a:headEnd type="none" w="med" len="med"/>
            <a:tailEnd type="none" w="med" len="med"/>
          </a:ln>
        </p:spPr>
        <p:txBody>
          <a:bodyPr wrap="none" lIns="32632" tIns="32632" rIns="32632" bIns="32632" anchor="ctr"/>
          <a:lstStyle/>
          <a:p>
            <a:pPr defTabSz="891045"/>
            <a:endParaRPr lang="en-US" sz="1700" dirty="0">
              <a:solidFill>
                <a:srgbClr val="003149"/>
              </a:solidFill>
              <a:cs typeface="Arial" panose="020B0604020202020204" pitchFamily="34" charset="0"/>
            </a:endParaRPr>
          </a:p>
        </p:txBody>
      </p:sp>
      <p:sp>
        <p:nvSpPr>
          <p:cNvPr id="54" name="Freeform 770"/>
          <p:cNvSpPr>
            <a:spLocks noChangeAspect="1"/>
          </p:cNvSpPr>
          <p:nvPr>
            <p:custDataLst>
              <p:tags r:id="rId34"/>
            </p:custDataLst>
          </p:nvPr>
        </p:nvSpPr>
        <p:spPr bwMode="gray">
          <a:xfrm>
            <a:off x="2318989" y="3641322"/>
            <a:ext cx="172022" cy="302750"/>
          </a:xfrm>
          <a:custGeom>
            <a:avLst/>
            <a:gdLst>
              <a:gd name="T0" fmla="*/ 0 w 1005301"/>
              <a:gd name="T1" fmla="*/ 0 h 1549410"/>
              <a:gd name="T2" fmla="*/ 0 w 1005301"/>
              <a:gd name="T3" fmla="*/ 0 h 1549410"/>
              <a:gd name="T4" fmla="*/ 0 w 1005301"/>
              <a:gd name="T5" fmla="*/ 0 h 1549410"/>
              <a:gd name="T6" fmla="*/ 0 w 1005301"/>
              <a:gd name="T7" fmla="*/ 0 h 1549410"/>
              <a:gd name="T8" fmla="*/ 0 w 1005301"/>
              <a:gd name="T9" fmla="*/ 0 h 1549410"/>
              <a:gd name="T10" fmla="*/ 0 w 1005301"/>
              <a:gd name="T11" fmla="*/ 0 h 1549410"/>
              <a:gd name="T12" fmla="*/ 0 w 1005301"/>
              <a:gd name="T13" fmla="*/ 0 h 1549410"/>
              <a:gd name="T14" fmla="*/ 0 w 1005301"/>
              <a:gd name="T15" fmla="*/ 0 h 1549410"/>
              <a:gd name="T16" fmla="*/ 0 w 1005301"/>
              <a:gd name="T17" fmla="*/ 0 h 1549410"/>
              <a:gd name="T18" fmla="*/ 0 w 1005301"/>
              <a:gd name="T19" fmla="*/ 0 h 1549410"/>
              <a:gd name="T20" fmla="*/ 0 w 1005301"/>
              <a:gd name="T21" fmla="*/ 0 h 1549410"/>
              <a:gd name="T22" fmla="*/ 0 w 1005301"/>
              <a:gd name="T23" fmla="*/ 0 h 1549410"/>
              <a:gd name="T24" fmla="*/ 0 w 1005301"/>
              <a:gd name="T25" fmla="*/ 0 h 1549410"/>
              <a:gd name="T26" fmla="*/ 0 w 1005301"/>
              <a:gd name="T27" fmla="*/ 0 h 1549410"/>
              <a:gd name="T28" fmla="*/ 0 w 1005301"/>
              <a:gd name="T29" fmla="*/ 0 h 1549410"/>
              <a:gd name="T30" fmla="*/ 0 w 1005301"/>
              <a:gd name="T31" fmla="*/ 0 h 1549410"/>
              <a:gd name="T32" fmla="*/ 0 w 1005301"/>
              <a:gd name="T33" fmla="*/ 0 h 1549410"/>
              <a:gd name="T34" fmla="*/ 0 w 1005301"/>
              <a:gd name="T35" fmla="*/ 0 h 1549410"/>
              <a:gd name="T36" fmla="*/ 0 w 1005301"/>
              <a:gd name="T37" fmla="*/ 0 h 1549410"/>
              <a:gd name="T38" fmla="*/ 0 w 1005301"/>
              <a:gd name="T39" fmla="*/ 0 h 1549410"/>
              <a:gd name="T40" fmla="*/ 0 w 1005301"/>
              <a:gd name="T41" fmla="*/ 0 h 1549410"/>
              <a:gd name="T42" fmla="*/ 0 w 1005301"/>
              <a:gd name="T43" fmla="*/ 0 h 1549410"/>
              <a:gd name="T44" fmla="*/ 0 w 1005301"/>
              <a:gd name="T45" fmla="*/ 0 h 1549410"/>
              <a:gd name="T46" fmla="*/ 0 w 1005301"/>
              <a:gd name="T47" fmla="*/ 0 h 1549410"/>
              <a:gd name="T48" fmla="*/ 0 w 1005301"/>
              <a:gd name="T49" fmla="*/ 0 h 1549410"/>
              <a:gd name="T50" fmla="*/ 0 w 1005301"/>
              <a:gd name="T51" fmla="*/ 0 h 1549410"/>
              <a:gd name="T52" fmla="*/ 0 w 1005301"/>
              <a:gd name="T53" fmla="*/ 0 h 1549410"/>
              <a:gd name="T54" fmla="*/ 0 w 1005301"/>
              <a:gd name="T55" fmla="*/ 0 h 1549410"/>
              <a:gd name="T56" fmla="*/ 0 w 1005301"/>
              <a:gd name="T57" fmla="*/ 0 h 1549410"/>
              <a:gd name="T58" fmla="*/ 0 w 1005301"/>
              <a:gd name="T59" fmla="*/ 0 h 1549410"/>
              <a:gd name="T60" fmla="*/ 0 w 1005301"/>
              <a:gd name="T61" fmla="*/ 0 h 1549410"/>
              <a:gd name="T62" fmla="*/ 0 w 1005301"/>
              <a:gd name="T63" fmla="*/ 0 h 1549410"/>
              <a:gd name="T64" fmla="*/ 0 w 1005301"/>
              <a:gd name="T65" fmla="*/ 0 h 1549410"/>
              <a:gd name="T66" fmla="*/ 0 w 1005301"/>
              <a:gd name="T67" fmla="*/ 0 h 1549410"/>
              <a:gd name="T68" fmla="*/ 0 w 1005301"/>
              <a:gd name="T69" fmla="*/ 0 h 1549410"/>
              <a:gd name="T70" fmla="*/ 0 w 1005301"/>
              <a:gd name="T71" fmla="*/ 0 h 1549410"/>
              <a:gd name="T72" fmla="*/ 0 w 1005301"/>
              <a:gd name="T73" fmla="*/ 0 h 1549410"/>
              <a:gd name="T74" fmla="*/ 0 w 1005301"/>
              <a:gd name="T75" fmla="*/ 0 h 1549410"/>
              <a:gd name="T76" fmla="*/ 0 w 1005301"/>
              <a:gd name="T77" fmla="*/ 0 h 1549410"/>
              <a:gd name="T78" fmla="*/ 0 w 1005301"/>
              <a:gd name="T79" fmla="*/ 0 h 1549410"/>
              <a:gd name="T80" fmla="*/ 0 w 1005301"/>
              <a:gd name="T81" fmla="*/ 0 h 1549410"/>
              <a:gd name="T82" fmla="*/ 0 w 1005301"/>
              <a:gd name="T83" fmla="*/ 0 h 1549410"/>
              <a:gd name="T84" fmla="*/ 0 w 1005301"/>
              <a:gd name="T85" fmla="*/ 0 h 1549410"/>
              <a:gd name="T86" fmla="*/ 0 w 1005301"/>
              <a:gd name="T87" fmla="*/ 0 h 1549410"/>
              <a:gd name="T88" fmla="*/ 0 w 1005301"/>
              <a:gd name="T89" fmla="*/ 0 h 1549410"/>
              <a:gd name="T90" fmla="*/ 0 w 1005301"/>
              <a:gd name="T91" fmla="*/ 0 h 1549410"/>
              <a:gd name="T92" fmla="*/ 0 w 1005301"/>
              <a:gd name="T93" fmla="*/ 0 h 1549410"/>
              <a:gd name="T94" fmla="*/ 0 w 1005301"/>
              <a:gd name="T95" fmla="*/ 0 h 1549410"/>
              <a:gd name="T96" fmla="*/ 0 w 1005301"/>
              <a:gd name="T97" fmla="*/ 0 h 1549410"/>
              <a:gd name="T98" fmla="*/ 0 w 1005301"/>
              <a:gd name="T99" fmla="*/ 0 h 1549410"/>
              <a:gd name="T100" fmla="*/ 0 w 1005301"/>
              <a:gd name="T101" fmla="*/ 0 h 1549410"/>
              <a:gd name="T102" fmla="*/ 0 w 1005301"/>
              <a:gd name="T103" fmla="*/ 0 h 1549410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w 1005301"/>
              <a:gd name="T157" fmla="*/ 0 h 1549410"/>
              <a:gd name="T158" fmla="*/ 1005301 w 1005301"/>
              <a:gd name="T159" fmla="*/ 1549410 h 1549410"/>
            </a:gdLst>
            <a:ahLst/>
            <a:cxnLst>
              <a:cxn ang="T104">
                <a:pos x="T0" y="T1"/>
              </a:cxn>
              <a:cxn ang="T105">
                <a:pos x="T2" y="T3"/>
              </a:cxn>
              <a:cxn ang="T106">
                <a:pos x="T4" y="T5"/>
              </a:cxn>
              <a:cxn ang="T107">
                <a:pos x="T6" y="T7"/>
              </a:cxn>
              <a:cxn ang="T108">
                <a:pos x="T8" y="T9"/>
              </a:cxn>
              <a:cxn ang="T109">
                <a:pos x="T10" y="T11"/>
              </a:cxn>
              <a:cxn ang="T110">
                <a:pos x="T12" y="T13"/>
              </a:cxn>
              <a:cxn ang="T111">
                <a:pos x="T14" y="T15"/>
              </a:cxn>
              <a:cxn ang="T112">
                <a:pos x="T16" y="T17"/>
              </a:cxn>
              <a:cxn ang="T113">
                <a:pos x="T18" y="T19"/>
              </a:cxn>
              <a:cxn ang="T114">
                <a:pos x="T20" y="T21"/>
              </a:cxn>
              <a:cxn ang="T115">
                <a:pos x="T22" y="T23"/>
              </a:cxn>
              <a:cxn ang="T116">
                <a:pos x="T24" y="T25"/>
              </a:cxn>
              <a:cxn ang="T117">
                <a:pos x="T26" y="T27"/>
              </a:cxn>
              <a:cxn ang="T118">
                <a:pos x="T28" y="T29"/>
              </a:cxn>
              <a:cxn ang="T119">
                <a:pos x="T30" y="T31"/>
              </a:cxn>
              <a:cxn ang="T120">
                <a:pos x="T32" y="T33"/>
              </a:cxn>
              <a:cxn ang="T121">
                <a:pos x="T34" y="T35"/>
              </a:cxn>
              <a:cxn ang="T122">
                <a:pos x="T36" y="T37"/>
              </a:cxn>
              <a:cxn ang="T123">
                <a:pos x="T38" y="T39"/>
              </a:cxn>
              <a:cxn ang="T124">
                <a:pos x="T40" y="T41"/>
              </a:cxn>
              <a:cxn ang="T125">
                <a:pos x="T42" y="T43"/>
              </a:cxn>
              <a:cxn ang="T126">
                <a:pos x="T44" y="T45"/>
              </a:cxn>
              <a:cxn ang="T127">
                <a:pos x="T46" y="T47"/>
              </a:cxn>
              <a:cxn ang="T128">
                <a:pos x="T48" y="T49"/>
              </a:cxn>
              <a:cxn ang="T129">
                <a:pos x="T50" y="T51"/>
              </a:cxn>
              <a:cxn ang="T130">
                <a:pos x="T52" y="T53"/>
              </a:cxn>
              <a:cxn ang="T131">
                <a:pos x="T54" y="T55"/>
              </a:cxn>
              <a:cxn ang="T132">
                <a:pos x="T56" y="T57"/>
              </a:cxn>
              <a:cxn ang="T133">
                <a:pos x="T58" y="T59"/>
              </a:cxn>
              <a:cxn ang="T134">
                <a:pos x="T60" y="T61"/>
              </a:cxn>
              <a:cxn ang="T135">
                <a:pos x="T62" y="T63"/>
              </a:cxn>
              <a:cxn ang="T136">
                <a:pos x="T64" y="T65"/>
              </a:cxn>
              <a:cxn ang="T137">
                <a:pos x="T66" y="T67"/>
              </a:cxn>
              <a:cxn ang="T138">
                <a:pos x="T68" y="T69"/>
              </a:cxn>
              <a:cxn ang="T139">
                <a:pos x="T70" y="T71"/>
              </a:cxn>
              <a:cxn ang="T140">
                <a:pos x="T72" y="T73"/>
              </a:cxn>
              <a:cxn ang="T141">
                <a:pos x="T74" y="T75"/>
              </a:cxn>
              <a:cxn ang="T142">
                <a:pos x="T76" y="T77"/>
              </a:cxn>
              <a:cxn ang="T143">
                <a:pos x="T78" y="T79"/>
              </a:cxn>
              <a:cxn ang="T144">
                <a:pos x="T80" y="T81"/>
              </a:cxn>
              <a:cxn ang="T145">
                <a:pos x="T82" y="T83"/>
              </a:cxn>
              <a:cxn ang="T146">
                <a:pos x="T84" y="T85"/>
              </a:cxn>
              <a:cxn ang="T147">
                <a:pos x="T86" y="T87"/>
              </a:cxn>
              <a:cxn ang="T148">
                <a:pos x="T88" y="T89"/>
              </a:cxn>
              <a:cxn ang="T149">
                <a:pos x="T90" y="T91"/>
              </a:cxn>
              <a:cxn ang="T150">
                <a:pos x="T92" y="T93"/>
              </a:cxn>
              <a:cxn ang="T151">
                <a:pos x="T94" y="T95"/>
              </a:cxn>
              <a:cxn ang="T152">
                <a:pos x="T96" y="T97"/>
              </a:cxn>
              <a:cxn ang="T153">
                <a:pos x="T98" y="T99"/>
              </a:cxn>
              <a:cxn ang="T154">
                <a:pos x="T100" y="T101"/>
              </a:cxn>
              <a:cxn ang="T155">
                <a:pos x="T102" y="T103"/>
              </a:cxn>
            </a:cxnLst>
            <a:rect l="T156" t="T157" r="T158" b="T159"/>
            <a:pathLst>
              <a:path w="1005301" h="1549410">
                <a:moveTo>
                  <a:pt x="596421" y="0"/>
                </a:moveTo>
                <a:lnTo>
                  <a:pt x="621145" y="0"/>
                </a:lnTo>
                <a:lnTo>
                  <a:pt x="640161" y="0"/>
                </a:lnTo>
                <a:lnTo>
                  <a:pt x="662956" y="9272"/>
                </a:lnTo>
                <a:lnTo>
                  <a:pt x="680082" y="18513"/>
                </a:lnTo>
                <a:lnTo>
                  <a:pt x="704806" y="35191"/>
                </a:lnTo>
                <a:lnTo>
                  <a:pt x="735239" y="46299"/>
                </a:lnTo>
                <a:lnTo>
                  <a:pt x="754255" y="44463"/>
                </a:lnTo>
                <a:lnTo>
                  <a:pt x="777090" y="44463"/>
                </a:lnTo>
                <a:lnTo>
                  <a:pt x="797995" y="44463"/>
                </a:lnTo>
                <a:lnTo>
                  <a:pt x="809412" y="37027"/>
                </a:lnTo>
                <a:lnTo>
                  <a:pt x="826538" y="22216"/>
                </a:lnTo>
                <a:lnTo>
                  <a:pt x="823067" y="37464"/>
                </a:lnTo>
                <a:lnTo>
                  <a:pt x="829047" y="26211"/>
                </a:lnTo>
                <a:lnTo>
                  <a:pt x="834350" y="42253"/>
                </a:lnTo>
                <a:lnTo>
                  <a:pt x="839672" y="63696"/>
                </a:lnTo>
                <a:lnTo>
                  <a:pt x="850297" y="97620"/>
                </a:lnTo>
                <a:lnTo>
                  <a:pt x="857369" y="111902"/>
                </a:lnTo>
                <a:lnTo>
                  <a:pt x="862690" y="138706"/>
                </a:lnTo>
                <a:cubicBezTo>
                  <a:pt x="862101" y="147627"/>
                  <a:pt x="861512" y="156588"/>
                  <a:pt x="860923" y="165509"/>
                </a:cubicBezTo>
                <a:lnTo>
                  <a:pt x="834350" y="186912"/>
                </a:lnTo>
                <a:lnTo>
                  <a:pt x="846743" y="201234"/>
                </a:lnTo>
                <a:lnTo>
                  <a:pt x="889245" y="235158"/>
                </a:lnTo>
                <a:lnTo>
                  <a:pt x="901638" y="242279"/>
                </a:lnTo>
                <a:lnTo>
                  <a:pt x="910495" y="267282"/>
                </a:lnTo>
                <a:lnTo>
                  <a:pt x="926424" y="290525"/>
                </a:lnTo>
                <a:lnTo>
                  <a:pt x="942371" y="295886"/>
                </a:lnTo>
                <a:lnTo>
                  <a:pt x="947675" y="308367"/>
                </a:lnTo>
                <a:lnTo>
                  <a:pt x="963604" y="324450"/>
                </a:lnTo>
                <a:lnTo>
                  <a:pt x="983087" y="336931"/>
                </a:lnTo>
                <a:cubicBezTo>
                  <a:pt x="983676" y="344692"/>
                  <a:pt x="984265" y="352413"/>
                  <a:pt x="984854" y="360174"/>
                </a:cubicBezTo>
                <a:lnTo>
                  <a:pt x="990176" y="370896"/>
                </a:lnTo>
                <a:lnTo>
                  <a:pt x="1004335" y="419094"/>
                </a:lnTo>
                <a:lnTo>
                  <a:pt x="1005301" y="419032"/>
                </a:lnTo>
                <a:cubicBezTo>
                  <a:pt x="1001079" y="424571"/>
                  <a:pt x="996354" y="430110"/>
                  <a:pt x="991730" y="435988"/>
                </a:cubicBezTo>
                <a:cubicBezTo>
                  <a:pt x="987708" y="445483"/>
                  <a:pt x="983687" y="454526"/>
                  <a:pt x="979565" y="463682"/>
                </a:cubicBezTo>
                <a:lnTo>
                  <a:pt x="947597" y="482672"/>
                </a:lnTo>
                <a:lnTo>
                  <a:pt x="916433" y="482672"/>
                </a:lnTo>
                <a:cubicBezTo>
                  <a:pt x="908792" y="491376"/>
                  <a:pt x="901454" y="498498"/>
                  <a:pt x="894316" y="506071"/>
                </a:cubicBezTo>
                <a:cubicBezTo>
                  <a:pt x="902358" y="510706"/>
                  <a:pt x="911607" y="516132"/>
                  <a:pt x="920655" y="520314"/>
                </a:cubicBezTo>
                <a:cubicBezTo>
                  <a:pt x="928396" y="529583"/>
                  <a:pt x="937343" y="538287"/>
                  <a:pt x="947597" y="547443"/>
                </a:cubicBezTo>
                <a:cubicBezTo>
                  <a:pt x="939253" y="560103"/>
                  <a:pt x="932819" y="572877"/>
                  <a:pt x="925581" y="585424"/>
                </a:cubicBezTo>
                <a:cubicBezTo>
                  <a:pt x="922263" y="592545"/>
                  <a:pt x="918343" y="600119"/>
                  <a:pt x="914925" y="607127"/>
                </a:cubicBezTo>
                <a:lnTo>
                  <a:pt x="937343" y="628717"/>
                </a:lnTo>
                <a:cubicBezTo>
                  <a:pt x="938147" y="639004"/>
                  <a:pt x="940158" y="649742"/>
                  <a:pt x="941565" y="660820"/>
                </a:cubicBezTo>
                <a:cubicBezTo>
                  <a:pt x="936036" y="665455"/>
                  <a:pt x="930607" y="671785"/>
                  <a:pt x="925581" y="676984"/>
                </a:cubicBezTo>
                <a:lnTo>
                  <a:pt x="925581" y="698349"/>
                </a:lnTo>
                <a:cubicBezTo>
                  <a:pt x="920856" y="704000"/>
                  <a:pt x="915829" y="709539"/>
                  <a:pt x="910200" y="715078"/>
                </a:cubicBezTo>
                <a:cubicBezTo>
                  <a:pt x="905374" y="720956"/>
                  <a:pt x="899644" y="726156"/>
                  <a:pt x="894316" y="732599"/>
                </a:cubicBezTo>
                <a:cubicBezTo>
                  <a:pt x="894014" y="739042"/>
                  <a:pt x="893813" y="746164"/>
                  <a:pt x="893411" y="752268"/>
                </a:cubicBezTo>
                <a:cubicBezTo>
                  <a:pt x="887379" y="761650"/>
                  <a:pt x="882453" y="770241"/>
                  <a:pt x="876522" y="778944"/>
                </a:cubicBezTo>
                <a:lnTo>
                  <a:pt x="775892" y="833203"/>
                </a:lnTo>
                <a:lnTo>
                  <a:pt x="763124" y="846598"/>
                </a:lnTo>
                <a:cubicBezTo>
                  <a:pt x="762999" y="849480"/>
                  <a:pt x="767346" y="850046"/>
                  <a:pt x="777198" y="846089"/>
                </a:cubicBezTo>
                <a:cubicBezTo>
                  <a:pt x="797103" y="838402"/>
                  <a:pt x="866871" y="791944"/>
                  <a:pt x="894014" y="779510"/>
                </a:cubicBezTo>
                <a:cubicBezTo>
                  <a:pt x="914523" y="770184"/>
                  <a:pt x="936388" y="767535"/>
                  <a:pt x="935181" y="774995"/>
                </a:cubicBezTo>
                <a:lnTo>
                  <a:pt x="925380" y="785953"/>
                </a:lnTo>
                <a:lnTo>
                  <a:pt x="741812" y="899895"/>
                </a:lnTo>
                <a:lnTo>
                  <a:pt x="741812" y="921937"/>
                </a:lnTo>
                <a:cubicBezTo>
                  <a:pt x="748045" y="924763"/>
                  <a:pt x="754881" y="928267"/>
                  <a:pt x="760209" y="931659"/>
                </a:cubicBezTo>
                <a:cubicBezTo>
                  <a:pt x="754076" y="938215"/>
                  <a:pt x="747844" y="944658"/>
                  <a:pt x="741812" y="951214"/>
                </a:cubicBezTo>
                <a:cubicBezTo>
                  <a:pt x="731960" y="954944"/>
                  <a:pt x="722007" y="958901"/>
                  <a:pt x="711753" y="962292"/>
                </a:cubicBezTo>
                <a:lnTo>
                  <a:pt x="677573" y="973256"/>
                </a:lnTo>
                <a:cubicBezTo>
                  <a:pt x="670637" y="978456"/>
                  <a:pt x="662494" y="983204"/>
                  <a:pt x="655155" y="989308"/>
                </a:cubicBezTo>
                <a:cubicBezTo>
                  <a:pt x="652742" y="1005359"/>
                  <a:pt x="649023" y="1021863"/>
                  <a:pt x="645705" y="1038253"/>
                </a:cubicBezTo>
                <a:cubicBezTo>
                  <a:pt x="647414" y="1050461"/>
                  <a:pt x="649927" y="1063008"/>
                  <a:pt x="652742" y="1075216"/>
                </a:cubicBezTo>
                <a:lnTo>
                  <a:pt x="596445" y="1129362"/>
                </a:lnTo>
                <a:cubicBezTo>
                  <a:pt x="598255" y="1152195"/>
                  <a:pt x="600265" y="1175933"/>
                  <a:pt x="602075" y="1199219"/>
                </a:cubicBezTo>
                <a:cubicBezTo>
                  <a:pt x="597250" y="1203854"/>
                  <a:pt x="592223" y="1207810"/>
                  <a:pt x="588101" y="1211653"/>
                </a:cubicBezTo>
                <a:cubicBezTo>
                  <a:pt x="591017" y="1235165"/>
                  <a:pt x="593228" y="1258677"/>
                  <a:pt x="596445" y="1282076"/>
                </a:cubicBezTo>
                <a:cubicBezTo>
                  <a:pt x="591620" y="1288632"/>
                  <a:pt x="587800" y="1295414"/>
                  <a:pt x="582170" y="1301518"/>
                </a:cubicBezTo>
                <a:cubicBezTo>
                  <a:pt x="580662" y="1316665"/>
                  <a:pt x="579154" y="1331473"/>
                  <a:pt x="577546" y="1347072"/>
                </a:cubicBezTo>
                <a:cubicBezTo>
                  <a:pt x="569202" y="1367758"/>
                  <a:pt x="561863" y="1388557"/>
                  <a:pt x="553418" y="1409469"/>
                </a:cubicBezTo>
                <a:cubicBezTo>
                  <a:pt x="552413" y="1421790"/>
                  <a:pt x="551810" y="1434677"/>
                  <a:pt x="549699" y="1447224"/>
                </a:cubicBezTo>
                <a:cubicBezTo>
                  <a:pt x="553418" y="1463162"/>
                  <a:pt x="556736" y="1479100"/>
                  <a:pt x="561762" y="1496282"/>
                </a:cubicBezTo>
                <a:cubicBezTo>
                  <a:pt x="562265" y="1508716"/>
                  <a:pt x="563270" y="1521829"/>
                  <a:pt x="564577" y="1535280"/>
                </a:cubicBezTo>
                <a:cubicBezTo>
                  <a:pt x="555932" y="1539237"/>
                  <a:pt x="547588" y="1545341"/>
                  <a:pt x="538842" y="1549410"/>
                </a:cubicBezTo>
                <a:lnTo>
                  <a:pt x="489582" y="1539915"/>
                </a:lnTo>
                <a:lnTo>
                  <a:pt x="429263" y="1522168"/>
                </a:lnTo>
                <a:lnTo>
                  <a:pt x="354469" y="1502725"/>
                </a:lnTo>
                <a:lnTo>
                  <a:pt x="283595" y="1519342"/>
                </a:lnTo>
                <a:lnTo>
                  <a:pt x="231822" y="1547036"/>
                </a:lnTo>
                <a:cubicBezTo>
                  <a:pt x="222574" y="1541950"/>
                  <a:pt x="213827" y="1537654"/>
                  <a:pt x="203573" y="1533472"/>
                </a:cubicBezTo>
                <a:cubicBezTo>
                  <a:pt x="199552" y="1524316"/>
                  <a:pt x="196235" y="1515612"/>
                  <a:pt x="192716" y="1506230"/>
                </a:cubicBezTo>
                <a:lnTo>
                  <a:pt x="134911" y="1473901"/>
                </a:lnTo>
                <a:cubicBezTo>
                  <a:pt x="129985" y="1457510"/>
                  <a:pt x="122345" y="1441346"/>
                  <a:pt x="117419" y="1425634"/>
                </a:cubicBezTo>
                <a:cubicBezTo>
                  <a:pt x="115710" y="1406191"/>
                  <a:pt x="114102" y="1386070"/>
                  <a:pt x="111588" y="1366176"/>
                </a:cubicBezTo>
                <a:lnTo>
                  <a:pt x="144864" y="1334073"/>
                </a:lnTo>
                <a:cubicBezTo>
                  <a:pt x="147276" y="1322204"/>
                  <a:pt x="149890" y="1310109"/>
                  <a:pt x="151197" y="1298127"/>
                </a:cubicBezTo>
                <a:cubicBezTo>
                  <a:pt x="145065" y="1293379"/>
                  <a:pt x="140541" y="1289536"/>
                  <a:pt x="134911" y="1285015"/>
                </a:cubicBezTo>
                <a:cubicBezTo>
                  <a:pt x="133102" y="1275293"/>
                  <a:pt x="131895" y="1265459"/>
                  <a:pt x="130287" y="1254947"/>
                </a:cubicBezTo>
                <a:cubicBezTo>
                  <a:pt x="133102" y="1246582"/>
                  <a:pt x="137022" y="1236974"/>
                  <a:pt x="140641" y="1228044"/>
                </a:cubicBezTo>
                <a:cubicBezTo>
                  <a:pt x="144361" y="1214931"/>
                  <a:pt x="150694" y="1202949"/>
                  <a:pt x="154615" y="1190402"/>
                </a:cubicBezTo>
                <a:cubicBezTo>
                  <a:pt x="152806" y="1179437"/>
                  <a:pt x="152202" y="1168812"/>
                  <a:pt x="151197" y="1158073"/>
                </a:cubicBezTo>
                <a:cubicBezTo>
                  <a:pt x="143054" y="1152308"/>
                  <a:pt x="135816" y="1147674"/>
                  <a:pt x="128477" y="1141457"/>
                </a:cubicBezTo>
                <a:lnTo>
                  <a:pt x="97715" y="1131509"/>
                </a:lnTo>
                <a:lnTo>
                  <a:pt x="97715" y="1097259"/>
                </a:lnTo>
                <a:cubicBezTo>
                  <a:pt x="101937" y="1084938"/>
                  <a:pt x="106461" y="1072051"/>
                  <a:pt x="111588" y="1059504"/>
                </a:cubicBezTo>
                <a:cubicBezTo>
                  <a:pt x="108070" y="1052609"/>
                  <a:pt x="105456" y="1046053"/>
                  <a:pt x="102742" y="1039949"/>
                </a:cubicBezTo>
                <a:cubicBezTo>
                  <a:pt x="97414" y="1030340"/>
                  <a:pt x="91382" y="1021863"/>
                  <a:pt x="84948" y="1012820"/>
                </a:cubicBezTo>
                <a:cubicBezTo>
                  <a:pt x="79218" y="1005133"/>
                  <a:pt x="73588" y="998464"/>
                  <a:pt x="69064" y="991456"/>
                </a:cubicBezTo>
                <a:cubicBezTo>
                  <a:pt x="58810" y="976082"/>
                  <a:pt x="48757" y="960935"/>
                  <a:pt x="37799" y="946466"/>
                </a:cubicBezTo>
                <a:cubicBezTo>
                  <a:pt x="29857" y="928380"/>
                  <a:pt x="24529" y="910407"/>
                  <a:pt x="16085" y="892547"/>
                </a:cubicBezTo>
                <a:cubicBezTo>
                  <a:pt x="11159" y="882826"/>
                  <a:pt x="6132" y="873670"/>
                  <a:pt x="0" y="865079"/>
                </a:cubicBezTo>
                <a:cubicBezTo>
                  <a:pt x="3619" y="859201"/>
                  <a:pt x="6936" y="852532"/>
                  <a:pt x="9651" y="845976"/>
                </a:cubicBezTo>
                <a:lnTo>
                  <a:pt x="36794" y="845976"/>
                </a:lnTo>
                <a:lnTo>
                  <a:pt x="79218" y="843602"/>
                </a:lnTo>
                <a:cubicBezTo>
                  <a:pt x="83741" y="838968"/>
                  <a:pt x="87260" y="834220"/>
                  <a:pt x="91985" y="829812"/>
                </a:cubicBezTo>
                <a:cubicBezTo>
                  <a:pt x="97615" y="823707"/>
                  <a:pt x="102742" y="818847"/>
                  <a:pt x="107869" y="813082"/>
                </a:cubicBezTo>
                <a:lnTo>
                  <a:pt x="138631" y="811160"/>
                </a:lnTo>
                <a:cubicBezTo>
                  <a:pt x="141144" y="806187"/>
                  <a:pt x="142652" y="800648"/>
                  <a:pt x="144864" y="795448"/>
                </a:cubicBezTo>
                <a:cubicBezTo>
                  <a:pt x="138631" y="783127"/>
                  <a:pt x="131895" y="770241"/>
                  <a:pt x="123853" y="757467"/>
                </a:cubicBezTo>
                <a:cubicBezTo>
                  <a:pt x="109075" y="743338"/>
                  <a:pt x="94599" y="729095"/>
                  <a:pt x="79218" y="715078"/>
                </a:cubicBezTo>
                <a:cubicBezTo>
                  <a:pt x="71477" y="704905"/>
                  <a:pt x="77911" y="708748"/>
                  <a:pt x="77308" y="696088"/>
                </a:cubicBezTo>
                <a:lnTo>
                  <a:pt x="77541" y="696310"/>
                </a:lnTo>
                <a:lnTo>
                  <a:pt x="76458" y="695063"/>
                </a:lnTo>
                <a:lnTo>
                  <a:pt x="99737" y="711473"/>
                </a:lnTo>
                <a:lnTo>
                  <a:pt x="132030" y="729041"/>
                </a:lnTo>
                <a:lnTo>
                  <a:pt x="185870" y="741326"/>
                </a:lnTo>
                <a:lnTo>
                  <a:pt x="243324" y="751894"/>
                </a:lnTo>
                <a:lnTo>
                  <a:pt x="275618" y="769417"/>
                </a:lnTo>
                <a:lnTo>
                  <a:pt x="318659" y="774701"/>
                </a:lnTo>
                <a:lnTo>
                  <a:pt x="377897" y="771178"/>
                </a:lnTo>
                <a:lnTo>
                  <a:pt x="422771" y="743087"/>
                </a:lnTo>
                <a:lnTo>
                  <a:pt x="464030" y="725518"/>
                </a:lnTo>
                <a:cubicBezTo>
                  <a:pt x="468240" y="713234"/>
                  <a:pt x="472401" y="700950"/>
                  <a:pt x="476611" y="688666"/>
                </a:cubicBezTo>
                <a:lnTo>
                  <a:pt x="498156" y="665859"/>
                </a:lnTo>
                <a:lnTo>
                  <a:pt x="544813" y="621961"/>
                </a:lnTo>
                <a:lnTo>
                  <a:pt x="577107" y="592108"/>
                </a:lnTo>
                <a:lnTo>
                  <a:pt x="577107" y="542925"/>
                </a:lnTo>
                <a:lnTo>
                  <a:pt x="578890" y="506073"/>
                </a:lnTo>
                <a:lnTo>
                  <a:pt x="560960" y="488504"/>
                </a:lnTo>
                <a:lnTo>
                  <a:pt x="534016" y="460413"/>
                </a:lnTo>
                <a:lnTo>
                  <a:pt x="519652" y="432322"/>
                </a:lnTo>
                <a:cubicBezTo>
                  <a:pt x="515492" y="419435"/>
                  <a:pt x="511282" y="406548"/>
                  <a:pt x="507121" y="393662"/>
                </a:cubicBezTo>
                <a:lnTo>
                  <a:pt x="464030" y="356809"/>
                </a:lnTo>
                <a:lnTo>
                  <a:pt x="440702" y="337479"/>
                </a:lnTo>
                <a:lnTo>
                  <a:pt x="430597" y="311149"/>
                </a:lnTo>
                <a:lnTo>
                  <a:pt x="432838" y="310551"/>
                </a:lnTo>
                <a:lnTo>
                  <a:pt x="432838" y="292635"/>
                </a:lnTo>
                <a:lnTo>
                  <a:pt x="448035" y="285230"/>
                </a:lnTo>
                <a:lnTo>
                  <a:pt x="470870" y="264227"/>
                </a:lnTo>
                <a:lnTo>
                  <a:pt x="483547" y="248172"/>
                </a:lnTo>
                <a:lnTo>
                  <a:pt x="483547" y="218550"/>
                </a:lnTo>
                <a:lnTo>
                  <a:pt x="468980" y="201873"/>
                </a:lnTo>
                <a:lnTo>
                  <a:pt x="446145" y="170385"/>
                </a:lnTo>
                <a:cubicBezTo>
                  <a:pt x="445948" y="155574"/>
                  <a:pt x="445712" y="140763"/>
                  <a:pt x="445515" y="125953"/>
                </a:cubicBezTo>
                <a:lnTo>
                  <a:pt x="467090" y="120383"/>
                </a:lnTo>
                <a:lnTo>
                  <a:pt x="484177" y="116681"/>
                </a:lnTo>
                <a:lnTo>
                  <a:pt x="497523" y="111111"/>
                </a:lnTo>
                <a:lnTo>
                  <a:pt x="512720" y="101870"/>
                </a:lnTo>
                <a:lnTo>
                  <a:pt x="529846" y="85192"/>
                </a:lnTo>
                <a:lnTo>
                  <a:pt x="545043" y="72217"/>
                </a:lnTo>
                <a:cubicBezTo>
                  <a:pt x="547562" y="66057"/>
                  <a:pt x="550121" y="59865"/>
                  <a:pt x="552641" y="53704"/>
                </a:cubicBezTo>
                <a:cubicBezTo>
                  <a:pt x="554531" y="49379"/>
                  <a:pt x="556460" y="45085"/>
                  <a:pt x="558350" y="40760"/>
                </a:cubicBezTo>
                <a:lnTo>
                  <a:pt x="569767" y="24083"/>
                </a:lnTo>
                <a:lnTo>
                  <a:pt x="581184" y="9272"/>
                </a:lnTo>
                <a:close/>
              </a:path>
            </a:pathLst>
          </a:custGeom>
          <a:solidFill>
            <a:srgbClr val="70B0DF"/>
          </a:solidFill>
          <a:ln w="3175" cap="flat" cmpd="sng">
            <a:noFill/>
            <a:prstDash val="solid"/>
            <a:round/>
            <a:headEnd type="none" w="med" len="med"/>
            <a:tailEnd type="none" w="med" len="med"/>
          </a:ln>
        </p:spPr>
        <p:txBody>
          <a:bodyPr wrap="none" lIns="32632" tIns="32632" rIns="32632" bIns="32632" anchor="ctr"/>
          <a:lstStyle/>
          <a:p>
            <a:pPr defTabSz="891045"/>
            <a:endParaRPr lang="en-US" sz="1700" dirty="0">
              <a:solidFill>
                <a:srgbClr val="003149"/>
              </a:solidFill>
              <a:cs typeface="Arial" panose="020B0604020202020204" pitchFamily="34" charset="0"/>
            </a:endParaRPr>
          </a:p>
        </p:txBody>
      </p:sp>
      <p:sp>
        <p:nvSpPr>
          <p:cNvPr id="55" name="Freeform 784"/>
          <p:cNvSpPr>
            <a:spLocks noChangeAspect="1"/>
          </p:cNvSpPr>
          <p:nvPr>
            <p:custDataLst>
              <p:tags r:id="rId35"/>
            </p:custDataLst>
          </p:nvPr>
        </p:nvSpPr>
        <p:spPr bwMode="gray">
          <a:xfrm>
            <a:off x="2326096" y="3695839"/>
            <a:ext cx="92409" cy="97568"/>
          </a:xfrm>
          <a:custGeom>
            <a:avLst/>
            <a:gdLst>
              <a:gd name="T0" fmla="*/ 0 w 533400"/>
              <a:gd name="T1" fmla="*/ 0 h 495300"/>
              <a:gd name="T2" fmla="*/ 0 w 533400"/>
              <a:gd name="T3" fmla="*/ 0 h 495300"/>
              <a:gd name="T4" fmla="*/ 0 w 533400"/>
              <a:gd name="T5" fmla="*/ 0 h 495300"/>
              <a:gd name="T6" fmla="*/ 0 w 533400"/>
              <a:gd name="T7" fmla="*/ 0 h 495300"/>
              <a:gd name="T8" fmla="*/ 0 w 533400"/>
              <a:gd name="T9" fmla="*/ 0 h 495300"/>
              <a:gd name="T10" fmla="*/ 0 w 533400"/>
              <a:gd name="T11" fmla="*/ 0 h 495300"/>
              <a:gd name="T12" fmla="*/ 0 w 533400"/>
              <a:gd name="T13" fmla="*/ 0 h 495300"/>
              <a:gd name="T14" fmla="*/ 0 w 533400"/>
              <a:gd name="T15" fmla="*/ 0 h 495300"/>
              <a:gd name="T16" fmla="*/ 0 w 533400"/>
              <a:gd name="T17" fmla="*/ 0 h 495300"/>
              <a:gd name="T18" fmla="*/ 0 w 533400"/>
              <a:gd name="T19" fmla="*/ 0 h 495300"/>
              <a:gd name="T20" fmla="*/ 0 w 533400"/>
              <a:gd name="T21" fmla="*/ 0 h 495300"/>
              <a:gd name="T22" fmla="*/ 0 w 533400"/>
              <a:gd name="T23" fmla="*/ 0 h 495300"/>
              <a:gd name="T24" fmla="*/ 0 w 533400"/>
              <a:gd name="T25" fmla="*/ 0 h 495300"/>
              <a:gd name="T26" fmla="*/ 0 w 533400"/>
              <a:gd name="T27" fmla="*/ 0 h 495300"/>
              <a:gd name="T28" fmla="*/ 0 w 533400"/>
              <a:gd name="T29" fmla="*/ 0 h 495300"/>
              <a:gd name="T30" fmla="*/ 0 w 533400"/>
              <a:gd name="T31" fmla="*/ 0 h 495300"/>
              <a:gd name="T32" fmla="*/ 0 w 533400"/>
              <a:gd name="T33" fmla="*/ 0 h 495300"/>
              <a:gd name="T34" fmla="*/ 0 w 533400"/>
              <a:gd name="T35" fmla="*/ 0 h 495300"/>
              <a:gd name="T36" fmla="*/ 0 w 533400"/>
              <a:gd name="T37" fmla="*/ 0 h 495300"/>
              <a:gd name="T38" fmla="*/ 0 w 533400"/>
              <a:gd name="T39" fmla="*/ 0 h 495300"/>
              <a:gd name="T40" fmla="*/ 0 w 533400"/>
              <a:gd name="T41" fmla="*/ 0 h 495300"/>
              <a:gd name="T42" fmla="*/ 0 w 533400"/>
              <a:gd name="T43" fmla="*/ 0 h 495300"/>
              <a:gd name="T44" fmla="*/ 0 w 533400"/>
              <a:gd name="T45" fmla="*/ 0 h 495300"/>
              <a:gd name="T46" fmla="*/ 0 w 533400"/>
              <a:gd name="T47" fmla="*/ 0 h 495300"/>
              <a:gd name="T48" fmla="*/ 0 w 533400"/>
              <a:gd name="T49" fmla="*/ 0 h 495300"/>
              <a:gd name="T50" fmla="*/ 0 w 533400"/>
              <a:gd name="T51" fmla="*/ 0 h 495300"/>
              <a:gd name="T52" fmla="*/ 0 w 533400"/>
              <a:gd name="T53" fmla="*/ 0 h 495300"/>
              <a:gd name="T54" fmla="*/ 0 w 533400"/>
              <a:gd name="T55" fmla="*/ 0 h 495300"/>
              <a:gd name="T56" fmla="*/ 0 w 533400"/>
              <a:gd name="T57" fmla="*/ 0 h 495300"/>
              <a:gd name="T58" fmla="*/ 0 w 533400"/>
              <a:gd name="T59" fmla="*/ 0 h 495300"/>
              <a:gd name="T60" fmla="*/ 0 w 533400"/>
              <a:gd name="T61" fmla="*/ 0 h 495300"/>
              <a:gd name="T62" fmla="*/ 0 w 533400"/>
              <a:gd name="T63" fmla="*/ 0 h 495300"/>
              <a:gd name="T64" fmla="*/ 0 w 533400"/>
              <a:gd name="T65" fmla="*/ 0 h 495300"/>
              <a:gd name="T66" fmla="*/ 0 w 533400"/>
              <a:gd name="T67" fmla="*/ 0 h 495300"/>
              <a:gd name="T68" fmla="*/ 0 w 533400"/>
              <a:gd name="T69" fmla="*/ 0 h 495300"/>
              <a:gd name="T70" fmla="*/ 0 w 533400"/>
              <a:gd name="T71" fmla="*/ 0 h 495300"/>
              <a:gd name="T72" fmla="*/ 0 w 533400"/>
              <a:gd name="T73" fmla="*/ 0 h 495300"/>
              <a:gd name="T74" fmla="*/ 0 w 533400"/>
              <a:gd name="T75" fmla="*/ 0 h 495300"/>
              <a:gd name="T76" fmla="*/ 0 w 533400"/>
              <a:gd name="T77" fmla="*/ 0 h 495300"/>
              <a:gd name="T78" fmla="*/ 0 w 533400"/>
              <a:gd name="T79" fmla="*/ 0 h 495300"/>
              <a:gd name="T80" fmla="*/ 0 w 533400"/>
              <a:gd name="T81" fmla="*/ 0 h 495300"/>
              <a:gd name="T82" fmla="*/ 0 w 533400"/>
              <a:gd name="T83" fmla="*/ 0 h 495300"/>
              <a:gd name="T84" fmla="*/ 0 w 533400"/>
              <a:gd name="T85" fmla="*/ 0 h 495300"/>
              <a:gd name="T86" fmla="*/ 0 w 533400"/>
              <a:gd name="T87" fmla="*/ 0 h 495300"/>
              <a:gd name="T88" fmla="*/ 0 w 533400"/>
              <a:gd name="T89" fmla="*/ 0 h 495300"/>
              <a:gd name="T90" fmla="*/ 0 w 533400"/>
              <a:gd name="T91" fmla="*/ 0 h 495300"/>
              <a:gd name="T92" fmla="*/ 0 w 533400"/>
              <a:gd name="T93" fmla="*/ 0 h 495300"/>
              <a:gd name="T94" fmla="*/ 0 w 533400"/>
              <a:gd name="T95" fmla="*/ 0 h 495300"/>
              <a:gd name="T96" fmla="*/ 0 w 533400"/>
              <a:gd name="T97" fmla="*/ 0 h 495300"/>
              <a:gd name="T98" fmla="*/ 0 w 533400"/>
              <a:gd name="T99" fmla="*/ 0 h 495300"/>
              <a:gd name="T100" fmla="*/ 0 w 533400"/>
              <a:gd name="T101" fmla="*/ 0 h 495300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w 533400"/>
              <a:gd name="T154" fmla="*/ 0 h 495300"/>
              <a:gd name="T155" fmla="*/ 533400 w 533400"/>
              <a:gd name="T156" fmla="*/ 495300 h 495300"/>
            </a:gdLst>
            <a:ahLst/>
            <a:cxnLst>
              <a:cxn ang="T102">
                <a:pos x="T0" y="T1"/>
              </a:cxn>
              <a:cxn ang="T103">
                <a:pos x="T2" y="T3"/>
              </a:cxn>
              <a:cxn ang="T104">
                <a:pos x="T4" y="T5"/>
              </a:cxn>
              <a:cxn ang="T105">
                <a:pos x="T6" y="T7"/>
              </a:cxn>
              <a:cxn ang="T106">
                <a:pos x="T8" y="T9"/>
              </a:cxn>
              <a:cxn ang="T107">
                <a:pos x="T10" y="T11"/>
              </a:cxn>
              <a:cxn ang="T108">
                <a:pos x="T12" y="T13"/>
              </a:cxn>
              <a:cxn ang="T109">
                <a:pos x="T14" y="T15"/>
              </a:cxn>
              <a:cxn ang="T110">
                <a:pos x="T16" y="T17"/>
              </a:cxn>
              <a:cxn ang="T111">
                <a:pos x="T18" y="T19"/>
              </a:cxn>
              <a:cxn ang="T112">
                <a:pos x="T20" y="T21"/>
              </a:cxn>
              <a:cxn ang="T113">
                <a:pos x="T22" y="T23"/>
              </a:cxn>
              <a:cxn ang="T114">
                <a:pos x="T24" y="T25"/>
              </a:cxn>
              <a:cxn ang="T115">
                <a:pos x="T26" y="T27"/>
              </a:cxn>
              <a:cxn ang="T116">
                <a:pos x="T28" y="T29"/>
              </a:cxn>
              <a:cxn ang="T117">
                <a:pos x="T30" y="T31"/>
              </a:cxn>
              <a:cxn ang="T118">
                <a:pos x="T32" y="T33"/>
              </a:cxn>
              <a:cxn ang="T119">
                <a:pos x="T34" y="T35"/>
              </a:cxn>
              <a:cxn ang="T120">
                <a:pos x="T36" y="T37"/>
              </a:cxn>
              <a:cxn ang="T121">
                <a:pos x="T38" y="T39"/>
              </a:cxn>
              <a:cxn ang="T122">
                <a:pos x="T40" y="T41"/>
              </a:cxn>
              <a:cxn ang="T123">
                <a:pos x="T42" y="T43"/>
              </a:cxn>
              <a:cxn ang="T124">
                <a:pos x="T44" y="T45"/>
              </a:cxn>
              <a:cxn ang="T125">
                <a:pos x="T46" y="T47"/>
              </a:cxn>
              <a:cxn ang="T126">
                <a:pos x="T48" y="T49"/>
              </a:cxn>
              <a:cxn ang="T127">
                <a:pos x="T50" y="T51"/>
              </a:cxn>
              <a:cxn ang="T128">
                <a:pos x="T52" y="T53"/>
              </a:cxn>
              <a:cxn ang="T129">
                <a:pos x="T54" y="T55"/>
              </a:cxn>
              <a:cxn ang="T130">
                <a:pos x="T56" y="T57"/>
              </a:cxn>
              <a:cxn ang="T131">
                <a:pos x="T58" y="T59"/>
              </a:cxn>
              <a:cxn ang="T132">
                <a:pos x="T60" y="T61"/>
              </a:cxn>
              <a:cxn ang="T133">
                <a:pos x="T62" y="T63"/>
              </a:cxn>
              <a:cxn ang="T134">
                <a:pos x="T64" y="T65"/>
              </a:cxn>
              <a:cxn ang="T135">
                <a:pos x="T66" y="T67"/>
              </a:cxn>
              <a:cxn ang="T136">
                <a:pos x="T68" y="T69"/>
              </a:cxn>
              <a:cxn ang="T137">
                <a:pos x="T70" y="T71"/>
              </a:cxn>
              <a:cxn ang="T138">
                <a:pos x="T72" y="T73"/>
              </a:cxn>
              <a:cxn ang="T139">
                <a:pos x="T74" y="T75"/>
              </a:cxn>
              <a:cxn ang="T140">
                <a:pos x="T76" y="T77"/>
              </a:cxn>
              <a:cxn ang="T141">
                <a:pos x="T78" y="T79"/>
              </a:cxn>
              <a:cxn ang="T142">
                <a:pos x="T80" y="T81"/>
              </a:cxn>
              <a:cxn ang="T143">
                <a:pos x="T82" y="T83"/>
              </a:cxn>
              <a:cxn ang="T144">
                <a:pos x="T84" y="T85"/>
              </a:cxn>
              <a:cxn ang="T145">
                <a:pos x="T86" y="T87"/>
              </a:cxn>
              <a:cxn ang="T146">
                <a:pos x="T88" y="T89"/>
              </a:cxn>
              <a:cxn ang="T147">
                <a:pos x="T90" y="T91"/>
              </a:cxn>
              <a:cxn ang="T148">
                <a:pos x="T92" y="T93"/>
              </a:cxn>
              <a:cxn ang="T149">
                <a:pos x="T94" y="T95"/>
              </a:cxn>
              <a:cxn ang="T150">
                <a:pos x="T96" y="T97"/>
              </a:cxn>
              <a:cxn ang="T151">
                <a:pos x="T98" y="T99"/>
              </a:cxn>
              <a:cxn ang="T152">
                <a:pos x="T100" y="T101"/>
              </a:cxn>
            </a:cxnLst>
            <a:rect l="T153" t="T154" r="T155" b="T156"/>
            <a:pathLst>
              <a:path w="533400" h="495300">
                <a:moveTo>
                  <a:pt x="311148" y="0"/>
                </a:moveTo>
                <a:cubicBezTo>
                  <a:pt x="311855" y="232"/>
                  <a:pt x="312446" y="843"/>
                  <a:pt x="313141" y="1594"/>
                </a:cubicBezTo>
                <a:lnTo>
                  <a:pt x="331782" y="0"/>
                </a:lnTo>
                <a:lnTo>
                  <a:pt x="339722" y="8820"/>
                </a:lnTo>
                <a:lnTo>
                  <a:pt x="358772" y="28221"/>
                </a:lnTo>
                <a:lnTo>
                  <a:pt x="373060" y="31748"/>
                </a:lnTo>
                <a:lnTo>
                  <a:pt x="387347" y="28221"/>
                </a:lnTo>
                <a:lnTo>
                  <a:pt x="387304" y="37471"/>
                </a:lnTo>
                <a:lnTo>
                  <a:pt x="395212" y="58078"/>
                </a:lnTo>
                <a:lnTo>
                  <a:pt x="418540" y="77408"/>
                </a:lnTo>
                <a:lnTo>
                  <a:pt x="461631" y="114260"/>
                </a:lnTo>
                <a:cubicBezTo>
                  <a:pt x="465792" y="127147"/>
                  <a:pt x="470002" y="140034"/>
                  <a:pt x="474162" y="152921"/>
                </a:cubicBezTo>
                <a:lnTo>
                  <a:pt x="488526" y="181012"/>
                </a:lnTo>
                <a:lnTo>
                  <a:pt x="515470" y="209103"/>
                </a:lnTo>
                <a:lnTo>
                  <a:pt x="533400" y="226672"/>
                </a:lnTo>
                <a:lnTo>
                  <a:pt x="531617" y="263524"/>
                </a:lnTo>
                <a:lnTo>
                  <a:pt x="531617" y="312707"/>
                </a:lnTo>
                <a:lnTo>
                  <a:pt x="499324" y="342560"/>
                </a:lnTo>
                <a:lnTo>
                  <a:pt x="452666" y="386458"/>
                </a:lnTo>
                <a:lnTo>
                  <a:pt x="431121" y="409265"/>
                </a:lnTo>
                <a:cubicBezTo>
                  <a:pt x="426911" y="421549"/>
                  <a:pt x="422750" y="433833"/>
                  <a:pt x="418540" y="446117"/>
                </a:cubicBezTo>
                <a:lnTo>
                  <a:pt x="377282" y="463686"/>
                </a:lnTo>
                <a:lnTo>
                  <a:pt x="332408" y="491777"/>
                </a:lnTo>
                <a:lnTo>
                  <a:pt x="273169" y="495300"/>
                </a:lnTo>
                <a:lnTo>
                  <a:pt x="230128" y="490016"/>
                </a:lnTo>
                <a:lnTo>
                  <a:pt x="197834" y="472493"/>
                </a:lnTo>
                <a:lnTo>
                  <a:pt x="140380" y="461924"/>
                </a:lnTo>
                <a:lnTo>
                  <a:pt x="86540" y="449640"/>
                </a:lnTo>
                <a:lnTo>
                  <a:pt x="54247" y="432072"/>
                </a:lnTo>
                <a:lnTo>
                  <a:pt x="31820" y="416263"/>
                </a:lnTo>
                <a:lnTo>
                  <a:pt x="31524" y="416558"/>
                </a:lnTo>
                <a:cubicBezTo>
                  <a:pt x="31516" y="416393"/>
                  <a:pt x="31508" y="416226"/>
                  <a:pt x="31525" y="416055"/>
                </a:cubicBezTo>
                <a:lnTo>
                  <a:pt x="30968" y="415662"/>
                </a:lnTo>
                <a:lnTo>
                  <a:pt x="31527" y="415055"/>
                </a:lnTo>
                <a:cubicBezTo>
                  <a:pt x="31071" y="401931"/>
                  <a:pt x="32765" y="374701"/>
                  <a:pt x="29772" y="359897"/>
                </a:cubicBezTo>
                <a:cubicBezTo>
                  <a:pt x="24499" y="347347"/>
                  <a:pt x="18108" y="335272"/>
                  <a:pt x="13016" y="322373"/>
                </a:cubicBezTo>
                <a:cubicBezTo>
                  <a:pt x="8828" y="312555"/>
                  <a:pt x="5657" y="303679"/>
                  <a:pt x="3024" y="293620"/>
                </a:cubicBezTo>
                <a:lnTo>
                  <a:pt x="0" y="292100"/>
                </a:lnTo>
                <a:lnTo>
                  <a:pt x="22038" y="283196"/>
                </a:lnTo>
                <a:lnTo>
                  <a:pt x="49550" y="267132"/>
                </a:lnTo>
                <a:lnTo>
                  <a:pt x="62402" y="254661"/>
                </a:lnTo>
                <a:lnTo>
                  <a:pt x="95459" y="243961"/>
                </a:lnTo>
                <a:lnTo>
                  <a:pt x="133991" y="199363"/>
                </a:lnTo>
                <a:lnTo>
                  <a:pt x="172546" y="158357"/>
                </a:lnTo>
                <a:lnTo>
                  <a:pt x="190895" y="151224"/>
                </a:lnTo>
                <a:lnTo>
                  <a:pt x="218431" y="144090"/>
                </a:lnTo>
                <a:lnTo>
                  <a:pt x="231282" y="62053"/>
                </a:lnTo>
                <a:lnTo>
                  <a:pt x="234948" y="31748"/>
                </a:lnTo>
                <a:lnTo>
                  <a:pt x="249814" y="20544"/>
                </a:lnTo>
                <a:lnTo>
                  <a:pt x="286985" y="22411"/>
                </a:lnTo>
                <a:lnTo>
                  <a:pt x="305570" y="14941"/>
                </a:lnTo>
                <a:close/>
              </a:path>
            </a:pathLst>
          </a:custGeom>
          <a:solidFill>
            <a:srgbClr val="70B0DF"/>
          </a:solidFill>
          <a:ln w="3175" cap="flat" cmpd="sng">
            <a:noFill/>
            <a:prstDash val="solid"/>
            <a:round/>
            <a:headEnd type="none" w="med" len="med"/>
            <a:tailEnd type="none" w="med" len="med"/>
          </a:ln>
        </p:spPr>
        <p:txBody>
          <a:bodyPr wrap="none" lIns="32632" tIns="32632" rIns="32632" bIns="32632" anchor="ctr"/>
          <a:lstStyle/>
          <a:p>
            <a:pPr defTabSz="891045"/>
            <a:endParaRPr lang="en-US" sz="1700" dirty="0">
              <a:solidFill>
                <a:srgbClr val="003149"/>
              </a:solidFill>
              <a:cs typeface="Arial" panose="020B0604020202020204" pitchFamily="34" charset="0"/>
            </a:endParaRPr>
          </a:p>
        </p:txBody>
      </p:sp>
      <p:sp>
        <p:nvSpPr>
          <p:cNvPr id="56" name="Freeform 782"/>
          <p:cNvSpPr>
            <a:spLocks noChangeAspect="1"/>
          </p:cNvSpPr>
          <p:nvPr>
            <p:custDataLst>
              <p:tags r:id="rId36"/>
            </p:custDataLst>
          </p:nvPr>
        </p:nvSpPr>
        <p:spPr bwMode="gray">
          <a:xfrm>
            <a:off x="2299094" y="3694398"/>
            <a:ext cx="66819" cy="60264"/>
          </a:xfrm>
          <a:custGeom>
            <a:avLst/>
            <a:gdLst>
              <a:gd name="T0" fmla="*/ 0 w 387349"/>
              <a:gd name="T1" fmla="*/ 0 h 311151"/>
              <a:gd name="T2" fmla="*/ 0 w 387349"/>
              <a:gd name="T3" fmla="*/ 0 h 311151"/>
              <a:gd name="T4" fmla="*/ 0 w 387349"/>
              <a:gd name="T5" fmla="*/ 0 h 311151"/>
              <a:gd name="T6" fmla="*/ 0 w 387349"/>
              <a:gd name="T7" fmla="*/ 0 h 311151"/>
              <a:gd name="T8" fmla="*/ 0 w 387349"/>
              <a:gd name="T9" fmla="*/ 0 h 311151"/>
              <a:gd name="T10" fmla="*/ 0 w 387349"/>
              <a:gd name="T11" fmla="*/ 0 h 311151"/>
              <a:gd name="T12" fmla="*/ 0 w 387349"/>
              <a:gd name="T13" fmla="*/ 0 h 311151"/>
              <a:gd name="T14" fmla="*/ 0 w 387349"/>
              <a:gd name="T15" fmla="*/ 0 h 311151"/>
              <a:gd name="T16" fmla="*/ 0 w 387349"/>
              <a:gd name="T17" fmla="*/ 0 h 311151"/>
              <a:gd name="T18" fmla="*/ 0 w 387349"/>
              <a:gd name="T19" fmla="*/ 0 h 311151"/>
              <a:gd name="T20" fmla="*/ 0 w 387349"/>
              <a:gd name="T21" fmla="*/ 0 h 311151"/>
              <a:gd name="T22" fmla="*/ 0 w 387349"/>
              <a:gd name="T23" fmla="*/ 0 h 311151"/>
              <a:gd name="T24" fmla="*/ 0 w 387349"/>
              <a:gd name="T25" fmla="*/ 0 h 311151"/>
              <a:gd name="T26" fmla="*/ 0 w 387349"/>
              <a:gd name="T27" fmla="*/ 0 h 311151"/>
              <a:gd name="T28" fmla="*/ 0 w 387349"/>
              <a:gd name="T29" fmla="*/ 0 h 311151"/>
              <a:gd name="T30" fmla="*/ 0 w 387349"/>
              <a:gd name="T31" fmla="*/ 0 h 311151"/>
              <a:gd name="T32" fmla="*/ 0 w 387349"/>
              <a:gd name="T33" fmla="*/ 0 h 311151"/>
              <a:gd name="T34" fmla="*/ 0 w 387349"/>
              <a:gd name="T35" fmla="*/ 0 h 311151"/>
              <a:gd name="T36" fmla="*/ 0 w 387349"/>
              <a:gd name="T37" fmla="*/ 0 h 311151"/>
              <a:gd name="T38" fmla="*/ 0 w 387349"/>
              <a:gd name="T39" fmla="*/ 0 h 311151"/>
              <a:gd name="T40" fmla="*/ 0 w 387349"/>
              <a:gd name="T41" fmla="*/ 0 h 311151"/>
              <a:gd name="T42" fmla="*/ 0 w 387349"/>
              <a:gd name="T43" fmla="*/ 0 h 311151"/>
              <a:gd name="T44" fmla="*/ 0 w 387349"/>
              <a:gd name="T45" fmla="*/ 0 h 311151"/>
              <a:gd name="T46" fmla="*/ 0 w 387349"/>
              <a:gd name="T47" fmla="*/ 0 h 311151"/>
              <a:gd name="T48" fmla="*/ 0 w 387349"/>
              <a:gd name="T49" fmla="*/ 0 h 311151"/>
              <a:gd name="T50" fmla="*/ 0 w 387349"/>
              <a:gd name="T51" fmla="*/ 0 h 311151"/>
              <a:gd name="T52" fmla="*/ 0 w 387349"/>
              <a:gd name="T53" fmla="*/ 0 h 311151"/>
              <a:gd name="T54" fmla="*/ 0 w 387349"/>
              <a:gd name="T55" fmla="*/ 0 h 311151"/>
              <a:gd name="T56" fmla="*/ 0 w 387349"/>
              <a:gd name="T57" fmla="*/ 0 h 311151"/>
              <a:gd name="T58" fmla="*/ 0 w 387349"/>
              <a:gd name="T59" fmla="*/ 0 h 311151"/>
              <a:gd name="T60" fmla="*/ 0 w 387349"/>
              <a:gd name="T61" fmla="*/ 0 h 311151"/>
              <a:gd name="T62" fmla="*/ 0 w 387349"/>
              <a:gd name="T63" fmla="*/ 0 h 311151"/>
              <a:gd name="T64" fmla="*/ 0 w 387349"/>
              <a:gd name="T65" fmla="*/ 0 h 311151"/>
              <a:gd name="T66" fmla="*/ 0 w 387349"/>
              <a:gd name="T67" fmla="*/ 0 h 311151"/>
              <a:gd name="T68" fmla="*/ 0 w 387349"/>
              <a:gd name="T69" fmla="*/ 0 h 311151"/>
              <a:gd name="T70" fmla="*/ 0 w 387349"/>
              <a:gd name="T71" fmla="*/ 0 h 311151"/>
              <a:gd name="T72" fmla="*/ 0 w 387349"/>
              <a:gd name="T73" fmla="*/ 0 h 311151"/>
              <a:gd name="T74" fmla="*/ 0 w 387349"/>
              <a:gd name="T75" fmla="*/ 0 h 311151"/>
              <a:gd name="T76" fmla="*/ 0 w 387349"/>
              <a:gd name="T77" fmla="*/ 0 h 311151"/>
              <a:gd name="T78" fmla="*/ 0 w 387349"/>
              <a:gd name="T79" fmla="*/ 0 h 311151"/>
              <a:gd name="T80" fmla="*/ 0 w 387349"/>
              <a:gd name="T81" fmla="*/ 0 h 311151"/>
              <a:gd name="T82" fmla="*/ 0 w 387349"/>
              <a:gd name="T83" fmla="*/ 0 h 311151"/>
              <a:gd name="T84" fmla="*/ 0 w 387349"/>
              <a:gd name="T85" fmla="*/ 0 h 311151"/>
              <a:gd name="T86" fmla="*/ 0 w 387349"/>
              <a:gd name="T87" fmla="*/ 0 h 311151"/>
              <a:gd name="T88" fmla="*/ 0 w 387349"/>
              <a:gd name="T89" fmla="*/ 0 h 311151"/>
              <a:gd name="T90" fmla="*/ 0 w 387349"/>
              <a:gd name="T91" fmla="*/ 0 h 311151"/>
              <a:gd name="T92" fmla="*/ 0 w 387349"/>
              <a:gd name="T93" fmla="*/ 0 h 311151"/>
              <a:gd name="T94" fmla="*/ 0 w 387349"/>
              <a:gd name="T95" fmla="*/ 0 h 311151"/>
              <a:gd name="T96" fmla="*/ 0 w 387349"/>
              <a:gd name="T97" fmla="*/ 0 h 311151"/>
              <a:gd name="T98" fmla="*/ 0 w 387349"/>
              <a:gd name="T99" fmla="*/ 0 h 311151"/>
              <a:gd name="T100" fmla="*/ 0 w 387349"/>
              <a:gd name="T101" fmla="*/ 0 h 311151"/>
              <a:gd name="T102" fmla="*/ 0 w 387349"/>
              <a:gd name="T103" fmla="*/ 0 h 311151"/>
              <a:gd name="T104" fmla="*/ 0 w 387349"/>
              <a:gd name="T105" fmla="*/ 0 h 311151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w 387349"/>
              <a:gd name="T160" fmla="*/ 0 h 311151"/>
              <a:gd name="T161" fmla="*/ 387349 w 387349"/>
              <a:gd name="T162" fmla="*/ 311151 h 311151"/>
            </a:gdLst>
            <a:ahLst/>
            <a:cxnLst>
              <a:cxn ang="T106">
                <a:pos x="T0" y="T1"/>
              </a:cxn>
              <a:cxn ang="T107">
                <a:pos x="T2" y="T3"/>
              </a:cxn>
              <a:cxn ang="T108">
                <a:pos x="T4" y="T5"/>
              </a:cxn>
              <a:cxn ang="T109">
                <a:pos x="T6" y="T7"/>
              </a:cxn>
              <a:cxn ang="T110">
                <a:pos x="T8" y="T9"/>
              </a:cxn>
              <a:cxn ang="T111">
                <a:pos x="T10" y="T11"/>
              </a:cxn>
              <a:cxn ang="T112">
                <a:pos x="T12" y="T13"/>
              </a:cxn>
              <a:cxn ang="T113">
                <a:pos x="T14" y="T15"/>
              </a:cxn>
              <a:cxn ang="T114">
                <a:pos x="T16" y="T17"/>
              </a:cxn>
              <a:cxn ang="T115">
                <a:pos x="T18" y="T19"/>
              </a:cxn>
              <a:cxn ang="T116">
                <a:pos x="T20" y="T21"/>
              </a:cxn>
              <a:cxn ang="T117">
                <a:pos x="T22" y="T23"/>
              </a:cxn>
              <a:cxn ang="T118">
                <a:pos x="T24" y="T25"/>
              </a:cxn>
              <a:cxn ang="T119">
                <a:pos x="T26" y="T27"/>
              </a:cxn>
              <a:cxn ang="T120">
                <a:pos x="T28" y="T29"/>
              </a:cxn>
              <a:cxn ang="T121">
                <a:pos x="T30" y="T31"/>
              </a:cxn>
              <a:cxn ang="T122">
                <a:pos x="T32" y="T33"/>
              </a:cxn>
              <a:cxn ang="T123">
                <a:pos x="T34" y="T35"/>
              </a:cxn>
              <a:cxn ang="T124">
                <a:pos x="T36" y="T37"/>
              </a:cxn>
              <a:cxn ang="T125">
                <a:pos x="T38" y="T39"/>
              </a:cxn>
              <a:cxn ang="T126">
                <a:pos x="T40" y="T41"/>
              </a:cxn>
              <a:cxn ang="T127">
                <a:pos x="T42" y="T43"/>
              </a:cxn>
              <a:cxn ang="T128">
                <a:pos x="T44" y="T45"/>
              </a:cxn>
              <a:cxn ang="T129">
                <a:pos x="T46" y="T47"/>
              </a:cxn>
              <a:cxn ang="T130">
                <a:pos x="T48" y="T49"/>
              </a:cxn>
              <a:cxn ang="T131">
                <a:pos x="T50" y="T51"/>
              </a:cxn>
              <a:cxn ang="T132">
                <a:pos x="T52" y="T53"/>
              </a:cxn>
              <a:cxn ang="T133">
                <a:pos x="T54" y="T55"/>
              </a:cxn>
              <a:cxn ang="T134">
                <a:pos x="T56" y="T57"/>
              </a:cxn>
              <a:cxn ang="T135">
                <a:pos x="T58" y="T59"/>
              </a:cxn>
              <a:cxn ang="T136">
                <a:pos x="T60" y="T61"/>
              </a:cxn>
              <a:cxn ang="T137">
                <a:pos x="T62" y="T63"/>
              </a:cxn>
              <a:cxn ang="T138">
                <a:pos x="T64" y="T65"/>
              </a:cxn>
              <a:cxn ang="T139">
                <a:pos x="T66" y="T67"/>
              </a:cxn>
              <a:cxn ang="T140">
                <a:pos x="T68" y="T69"/>
              </a:cxn>
              <a:cxn ang="T141">
                <a:pos x="T70" y="T71"/>
              </a:cxn>
              <a:cxn ang="T142">
                <a:pos x="T72" y="T73"/>
              </a:cxn>
              <a:cxn ang="T143">
                <a:pos x="T74" y="T75"/>
              </a:cxn>
              <a:cxn ang="T144">
                <a:pos x="T76" y="T77"/>
              </a:cxn>
              <a:cxn ang="T145">
                <a:pos x="T78" y="T79"/>
              </a:cxn>
              <a:cxn ang="T146">
                <a:pos x="T80" y="T81"/>
              </a:cxn>
              <a:cxn ang="T147">
                <a:pos x="T82" y="T83"/>
              </a:cxn>
              <a:cxn ang="T148">
                <a:pos x="T84" y="T85"/>
              </a:cxn>
              <a:cxn ang="T149">
                <a:pos x="T86" y="T87"/>
              </a:cxn>
              <a:cxn ang="T150">
                <a:pos x="T88" y="T89"/>
              </a:cxn>
              <a:cxn ang="T151">
                <a:pos x="T90" y="T91"/>
              </a:cxn>
              <a:cxn ang="T152">
                <a:pos x="T92" y="T93"/>
              </a:cxn>
              <a:cxn ang="T153">
                <a:pos x="T94" y="T95"/>
              </a:cxn>
              <a:cxn ang="T154">
                <a:pos x="T96" y="T97"/>
              </a:cxn>
              <a:cxn ang="T155">
                <a:pos x="T98" y="T99"/>
              </a:cxn>
              <a:cxn ang="T156">
                <a:pos x="T100" y="T101"/>
              </a:cxn>
              <a:cxn ang="T157">
                <a:pos x="T102" y="T103"/>
              </a:cxn>
              <a:cxn ang="T158">
                <a:pos x="T104" y="T105"/>
              </a:cxn>
            </a:cxnLst>
            <a:rect l="T159" t="T160" r="T161" b="T162"/>
            <a:pathLst>
              <a:path w="387349" h="311151">
                <a:moveTo>
                  <a:pt x="299460" y="0"/>
                </a:moveTo>
                <a:lnTo>
                  <a:pt x="322778" y="0"/>
                </a:lnTo>
                <a:lnTo>
                  <a:pt x="349699" y="0"/>
                </a:lnTo>
                <a:lnTo>
                  <a:pt x="373017" y="5527"/>
                </a:lnTo>
                <a:lnTo>
                  <a:pt x="381965" y="25843"/>
                </a:lnTo>
                <a:cubicBezTo>
                  <a:pt x="383697" y="34216"/>
                  <a:pt x="385465" y="42567"/>
                  <a:pt x="387198" y="50938"/>
                </a:cubicBezTo>
                <a:lnTo>
                  <a:pt x="387348" y="50799"/>
                </a:lnTo>
                <a:lnTo>
                  <a:pt x="387282" y="51344"/>
                </a:lnTo>
                <a:lnTo>
                  <a:pt x="387349" y="51665"/>
                </a:lnTo>
                <a:lnTo>
                  <a:pt x="387226" y="51806"/>
                </a:lnTo>
                <a:lnTo>
                  <a:pt x="383683" y="81104"/>
                </a:lnTo>
                <a:lnTo>
                  <a:pt x="370831" y="163141"/>
                </a:lnTo>
                <a:lnTo>
                  <a:pt x="343295" y="170275"/>
                </a:lnTo>
                <a:lnTo>
                  <a:pt x="324946" y="177408"/>
                </a:lnTo>
                <a:lnTo>
                  <a:pt x="286391" y="218414"/>
                </a:lnTo>
                <a:lnTo>
                  <a:pt x="247860" y="263012"/>
                </a:lnTo>
                <a:lnTo>
                  <a:pt x="214802" y="273712"/>
                </a:lnTo>
                <a:lnTo>
                  <a:pt x="201951" y="286183"/>
                </a:lnTo>
                <a:lnTo>
                  <a:pt x="174438" y="302247"/>
                </a:lnTo>
                <a:lnTo>
                  <a:pt x="154328" y="310372"/>
                </a:lnTo>
                <a:lnTo>
                  <a:pt x="154803" y="310861"/>
                </a:lnTo>
                <a:cubicBezTo>
                  <a:pt x="154350" y="310851"/>
                  <a:pt x="153901" y="310836"/>
                  <a:pt x="153462" y="310722"/>
                </a:cubicBezTo>
                <a:lnTo>
                  <a:pt x="152400" y="311151"/>
                </a:lnTo>
                <a:lnTo>
                  <a:pt x="151799" y="310550"/>
                </a:lnTo>
                <a:lnTo>
                  <a:pt x="132287" y="308529"/>
                </a:lnTo>
                <a:lnTo>
                  <a:pt x="91077" y="308529"/>
                </a:lnTo>
                <a:cubicBezTo>
                  <a:pt x="88009" y="302754"/>
                  <a:pt x="83400" y="295888"/>
                  <a:pt x="80574" y="288580"/>
                </a:cubicBezTo>
                <a:lnTo>
                  <a:pt x="67472" y="245487"/>
                </a:lnTo>
                <a:lnTo>
                  <a:pt x="40558" y="219460"/>
                </a:lnTo>
                <a:lnTo>
                  <a:pt x="15873" y="208381"/>
                </a:lnTo>
                <a:lnTo>
                  <a:pt x="3602" y="210372"/>
                </a:lnTo>
                <a:lnTo>
                  <a:pt x="0" y="188221"/>
                </a:lnTo>
                <a:lnTo>
                  <a:pt x="14332" y="180837"/>
                </a:lnTo>
                <a:lnTo>
                  <a:pt x="37650" y="177146"/>
                </a:lnTo>
                <a:lnTo>
                  <a:pt x="53803" y="177146"/>
                </a:lnTo>
                <a:lnTo>
                  <a:pt x="78903" y="177146"/>
                </a:lnTo>
                <a:cubicBezTo>
                  <a:pt x="80104" y="179002"/>
                  <a:pt x="81305" y="180837"/>
                  <a:pt x="82505" y="182694"/>
                </a:cubicBezTo>
                <a:lnTo>
                  <a:pt x="91453" y="202989"/>
                </a:lnTo>
                <a:lnTo>
                  <a:pt x="104003" y="215899"/>
                </a:lnTo>
                <a:lnTo>
                  <a:pt x="130924" y="212208"/>
                </a:lnTo>
                <a:lnTo>
                  <a:pt x="141654" y="204824"/>
                </a:lnTo>
                <a:lnTo>
                  <a:pt x="156024" y="190056"/>
                </a:lnTo>
                <a:lnTo>
                  <a:pt x="172138" y="167927"/>
                </a:lnTo>
                <a:lnTo>
                  <a:pt x="179343" y="151324"/>
                </a:lnTo>
                <a:cubicBezTo>
                  <a:pt x="181125" y="147006"/>
                  <a:pt x="182945" y="142710"/>
                  <a:pt x="184727" y="138392"/>
                </a:cubicBezTo>
                <a:lnTo>
                  <a:pt x="197277" y="123624"/>
                </a:lnTo>
                <a:lnTo>
                  <a:pt x="206225" y="110713"/>
                </a:lnTo>
                <a:lnTo>
                  <a:pt x="218775" y="103329"/>
                </a:lnTo>
                <a:lnTo>
                  <a:pt x="229543" y="94111"/>
                </a:lnTo>
                <a:cubicBezTo>
                  <a:pt x="231945" y="86122"/>
                  <a:pt x="234308" y="78112"/>
                  <a:pt x="236709" y="70124"/>
                </a:cubicBezTo>
                <a:lnTo>
                  <a:pt x="252862" y="42446"/>
                </a:lnTo>
                <a:cubicBezTo>
                  <a:pt x="256464" y="38149"/>
                  <a:pt x="260028" y="33831"/>
                  <a:pt x="263630" y="29535"/>
                </a:cubicBezTo>
                <a:lnTo>
                  <a:pt x="277962" y="16603"/>
                </a:lnTo>
                <a:close/>
              </a:path>
            </a:pathLst>
          </a:custGeom>
          <a:solidFill>
            <a:srgbClr val="70B0DF"/>
          </a:solidFill>
          <a:ln w="3175" cap="flat" cmpd="sng">
            <a:noFill/>
            <a:prstDash val="solid"/>
            <a:round/>
            <a:headEnd type="none" w="med" len="med"/>
            <a:tailEnd type="none" w="med" len="med"/>
          </a:ln>
        </p:spPr>
        <p:txBody>
          <a:bodyPr wrap="none" lIns="32632" tIns="32632" rIns="32632" bIns="32632" anchor="ctr"/>
          <a:lstStyle/>
          <a:p>
            <a:pPr defTabSz="891045"/>
            <a:endParaRPr lang="en-US" sz="1700" dirty="0">
              <a:solidFill>
                <a:srgbClr val="003149"/>
              </a:solidFill>
              <a:cs typeface="Arial" panose="020B0604020202020204" pitchFamily="34" charset="0"/>
            </a:endParaRPr>
          </a:p>
        </p:txBody>
      </p:sp>
      <p:sp>
        <p:nvSpPr>
          <p:cNvPr id="57" name="Freeform 785"/>
          <p:cNvSpPr>
            <a:spLocks noChangeAspect="1"/>
          </p:cNvSpPr>
          <p:nvPr>
            <p:custDataLst>
              <p:tags r:id="rId37"/>
            </p:custDataLst>
          </p:nvPr>
        </p:nvSpPr>
        <p:spPr bwMode="gray">
          <a:xfrm>
            <a:off x="2276324" y="3664289"/>
            <a:ext cx="103782" cy="71741"/>
          </a:xfrm>
          <a:custGeom>
            <a:avLst/>
            <a:gdLst>
              <a:gd name="T0" fmla="*/ 0 w 598978"/>
              <a:gd name="T1" fmla="*/ 0 h 368652"/>
              <a:gd name="T2" fmla="*/ 0 w 598978"/>
              <a:gd name="T3" fmla="*/ 0 h 368652"/>
              <a:gd name="T4" fmla="*/ 0 w 598978"/>
              <a:gd name="T5" fmla="*/ 0 h 368652"/>
              <a:gd name="T6" fmla="*/ 0 w 598978"/>
              <a:gd name="T7" fmla="*/ 0 h 368652"/>
              <a:gd name="T8" fmla="*/ 0 w 598978"/>
              <a:gd name="T9" fmla="*/ 0 h 368652"/>
              <a:gd name="T10" fmla="*/ 0 w 598978"/>
              <a:gd name="T11" fmla="*/ 0 h 368652"/>
              <a:gd name="T12" fmla="*/ 0 w 598978"/>
              <a:gd name="T13" fmla="*/ 0 h 368652"/>
              <a:gd name="T14" fmla="*/ 0 w 598978"/>
              <a:gd name="T15" fmla="*/ 0 h 368652"/>
              <a:gd name="T16" fmla="*/ 0 w 598978"/>
              <a:gd name="T17" fmla="*/ 0 h 368652"/>
              <a:gd name="T18" fmla="*/ 0 w 598978"/>
              <a:gd name="T19" fmla="*/ 0 h 368652"/>
              <a:gd name="T20" fmla="*/ 0 w 598978"/>
              <a:gd name="T21" fmla="*/ 0 h 368652"/>
              <a:gd name="T22" fmla="*/ 0 w 598978"/>
              <a:gd name="T23" fmla="*/ 0 h 368652"/>
              <a:gd name="T24" fmla="*/ 0 w 598978"/>
              <a:gd name="T25" fmla="*/ 0 h 368652"/>
              <a:gd name="T26" fmla="*/ 0 w 598978"/>
              <a:gd name="T27" fmla="*/ 0 h 368652"/>
              <a:gd name="T28" fmla="*/ 0 w 598978"/>
              <a:gd name="T29" fmla="*/ 0 h 368652"/>
              <a:gd name="T30" fmla="*/ 0 w 598978"/>
              <a:gd name="T31" fmla="*/ 0 h 368652"/>
              <a:gd name="T32" fmla="*/ 0 w 598978"/>
              <a:gd name="T33" fmla="*/ 0 h 368652"/>
              <a:gd name="T34" fmla="*/ 0 w 598978"/>
              <a:gd name="T35" fmla="*/ 0 h 368652"/>
              <a:gd name="T36" fmla="*/ 0 w 598978"/>
              <a:gd name="T37" fmla="*/ 0 h 368652"/>
              <a:gd name="T38" fmla="*/ 0 w 598978"/>
              <a:gd name="T39" fmla="*/ 0 h 368652"/>
              <a:gd name="T40" fmla="*/ 0 w 598978"/>
              <a:gd name="T41" fmla="*/ 0 h 368652"/>
              <a:gd name="T42" fmla="*/ 0 w 598978"/>
              <a:gd name="T43" fmla="*/ 0 h 368652"/>
              <a:gd name="T44" fmla="*/ 0 w 598978"/>
              <a:gd name="T45" fmla="*/ 0 h 368652"/>
              <a:gd name="T46" fmla="*/ 0 w 598978"/>
              <a:gd name="T47" fmla="*/ 0 h 368652"/>
              <a:gd name="T48" fmla="*/ 0 w 598978"/>
              <a:gd name="T49" fmla="*/ 0 h 368652"/>
              <a:gd name="T50" fmla="*/ 0 w 598978"/>
              <a:gd name="T51" fmla="*/ 0 h 368652"/>
              <a:gd name="T52" fmla="*/ 0 w 598978"/>
              <a:gd name="T53" fmla="*/ 0 h 368652"/>
              <a:gd name="T54" fmla="*/ 0 w 598978"/>
              <a:gd name="T55" fmla="*/ 0 h 368652"/>
              <a:gd name="T56" fmla="*/ 0 w 598978"/>
              <a:gd name="T57" fmla="*/ 0 h 368652"/>
              <a:gd name="T58" fmla="*/ 0 w 598978"/>
              <a:gd name="T59" fmla="*/ 0 h 368652"/>
              <a:gd name="T60" fmla="*/ 0 w 598978"/>
              <a:gd name="T61" fmla="*/ 0 h 368652"/>
              <a:gd name="T62" fmla="*/ 0 w 598978"/>
              <a:gd name="T63" fmla="*/ 0 h 368652"/>
              <a:gd name="T64" fmla="*/ 0 w 598978"/>
              <a:gd name="T65" fmla="*/ 0 h 368652"/>
              <a:gd name="T66" fmla="*/ 0 w 598978"/>
              <a:gd name="T67" fmla="*/ 0 h 368652"/>
              <a:gd name="T68" fmla="*/ 0 w 598978"/>
              <a:gd name="T69" fmla="*/ 0 h 368652"/>
              <a:gd name="T70" fmla="*/ 0 w 598978"/>
              <a:gd name="T71" fmla="*/ 0 h 368652"/>
              <a:gd name="T72" fmla="*/ 0 w 598978"/>
              <a:gd name="T73" fmla="*/ 0 h 368652"/>
              <a:gd name="T74" fmla="*/ 0 w 598978"/>
              <a:gd name="T75" fmla="*/ 0 h 368652"/>
              <a:gd name="T76" fmla="*/ 0 w 598978"/>
              <a:gd name="T77" fmla="*/ 0 h 368652"/>
              <a:gd name="T78" fmla="*/ 0 w 598978"/>
              <a:gd name="T79" fmla="*/ 0 h 368652"/>
              <a:gd name="T80" fmla="*/ 0 w 598978"/>
              <a:gd name="T81" fmla="*/ 0 h 368652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w 598978"/>
              <a:gd name="T124" fmla="*/ 0 h 368652"/>
              <a:gd name="T125" fmla="*/ 598978 w 598978"/>
              <a:gd name="T126" fmla="*/ 368652 h 368652"/>
            </a:gdLst>
            <a:ahLst/>
            <a:cxnLst>
              <a:cxn ang="T82">
                <a:pos x="T0" y="T1"/>
              </a:cxn>
              <a:cxn ang="T83">
                <a:pos x="T2" y="T3"/>
              </a:cxn>
              <a:cxn ang="T84">
                <a:pos x="T4" y="T5"/>
              </a:cxn>
              <a:cxn ang="T85">
                <a:pos x="T6" y="T7"/>
              </a:cxn>
              <a:cxn ang="T86">
                <a:pos x="T8" y="T9"/>
              </a:cxn>
              <a:cxn ang="T87">
                <a:pos x="T10" y="T11"/>
              </a:cxn>
              <a:cxn ang="T88">
                <a:pos x="T12" y="T13"/>
              </a:cxn>
              <a:cxn ang="T89">
                <a:pos x="T14" y="T15"/>
              </a:cxn>
              <a:cxn ang="T90">
                <a:pos x="T16" y="T17"/>
              </a:cxn>
              <a:cxn ang="T91">
                <a:pos x="T18" y="T19"/>
              </a:cxn>
              <a:cxn ang="T92">
                <a:pos x="T20" y="T21"/>
              </a:cxn>
              <a:cxn ang="T93">
                <a:pos x="T22" y="T23"/>
              </a:cxn>
              <a:cxn ang="T94">
                <a:pos x="T24" y="T25"/>
              </a:cxn>
              <a:cxn ang="T95">
                <a:pos x="T26" y="T27"/>
              </a:cxn>
              <a:cxn ang="T96">
                <a:pos x="T28" y="T29"/>
              </a:cxn>
              <a:cxn ang="T97">
                <a:pos x="T30" y="T31"/>
              </a:cxn>
              <a:cxn ang="T98">
                <a:pos x="T32" y="T33"/>
              </a:cxn>
              <a:cxn ang="T99">
                <a:pos x="T34" y="T35"/>
              </a:cxn>
              <a:cxn ang="T100">
                <a:pos x="T36" y="T37"/>
              </a:cxn>
              <a:cxn ang="T101">
                <a:pos x="T38" y="T39"/>
              </a:cxn>
              <a:cxn ang="T102">
                <a:pos x="T40" y="T41"/>
              </a:cxn>
              <a:cxn ang="T103">
                <a:pos x="T42" y="T43"/>
              </a:cxn>
              <a:cxn ang="T104">
                <a:pos x="T44" y="T45"/>
              </a:cxn>
              <a:cxn ang="T105">
                <a:pos x="T46" y="T47"/>
              </a:cxn>
              <a:cxn ang="T106">
                <a:pos x="T48" y="T49"/>
              </a:cxn>
              <a:cxn ang="T107">
                <a:pos x="T50" y="T51"/>
              </a:cxn>
              <a:cxn ang="T108">
                <a:pos x="T52" y="T53"/>
              </a:cxn>
              <a:cxn ang="T109">
                <a:pos x="T54" y="T55"/>
              </a:cxn>
              <a:cxn ang="T110">
                <a:pos x="T56" y="T57"/>
              </a:cxn>
              <a:cxn ang="T111">
                <a:pos x="T58" y="T59"/>
              </a:cxn>
              <a:cxn ang="T112">
                <a:pos x="T60" y="T61"/>
              </a:cxn>
              <a:cxn ang="T113">
                <a:pos x="T62" y="T63"/>
              </a:cxn>
              <a:cxn ang="T114">
                <a:pos x="T64" y="T65"/>
              </a:cxn>
              <a:cxn ang="T115">
                <a:pos x="T66" y="T67"/>
              </a:cxn>
              <a:cxn ang="T116">
                <a:pos x="T68" y="T69"/>
              </a:cxn>
              <a:cxn ang="T117">
                <a:pos x="T70" y="T71"/>
              </a:cxn>
              <a:cxn ang="T118">
                <a:pos x="T72" y="T73"/>
              </a:cxn>
              <a:cxn ang="T119">
                <a:pos x="T74" y="T75"/>
              </a:cxn>
              <a:cxn ang="T120">
                <a:pos x="T76" y="T77"/>
              </a:cxn>
              <a:cxn ang="T121">
                <a:pos x="T78" y="T79"/>
              </a:cxn>
              <a:cxn ang="T122">
                <a:pos x="T80" y="T81"/>
              </a:cxn>
            </a:cxnLst>
            <a:rect l="T123" t="T124" r="T125" b="T126"/>
            <a:pathLst>
              <a:path w="598978" h="368652">
                <a:moveTo>
                  <a:pt x="6218" y="0"/>
                </a:moveTo>
                <a:lnTo>
                  <a:pt x="13173" y="7738"/>
                </a:lnTo>
                <a:lnTo>
                  <a:pt x="60684" y="13904"/>
                </a:lnTo>
                <a:lnTo>
                  <a:pt x="76880" y="8824"/>
                </a:lnTo>
                <a:cubicBezTo>
                  <a:pt x="81090" y="7135"/>
                  <a:pt x="85251" y="5433"/>
                  <a:pt x="89461" y="3744"/>
                </a:cubicBezTo>
                <a:lnTo>
                  <a:pt x="120120" y="3744"/>
                </a:lnTo>
                <a:lnTo>
                  <a:pt x="129085" y="3744"/>
                </a:lnTo>
                <a:lnTo>
                  <a:pt x="156128" y="17282"/>
                </a:lnTo>
                <a:cubicBezTo>
                  <a:pt x="159744" y="21232"/>
                  <a:pt x="163310" y="25194"/>
                  <a:pt x="166926" y="29144"/>
                </a:cubicBezTo>
                <a:lnTo>
                  <a:pt x="192137" y="35913"/>
                </a:lnTo>
                <a:lnTo>
                  <a:pt x="226362" y="46073"/>
                </a:lnTo>
                <a:lnTo>
                  <a:pt x="244391" y="52842"/>
                </a:lnTo>
                <a:cubicBezTo>
                  <a:pt x="252167" y="63002"/>
                  <a:pt x="259993" y="73162"/>
                  <a:pt x="267769" y="83322"/>
                </a:cubicBezTo>
                <a:cubicBezTo>
                  <a:pt x="276189" y="92352"/>
                  <a:pt x="284560" y="101394"/>
                  <a:pt x="292980" y="110424"/>
                </a:cubicBezTo>
                <a:lnTo>
                  <a:pt x="325422" y="122273"/>
                </a:lnTo>
                <a:lnTo>
                  <a:pt x="357864" y="127353"/>
                </a:lnTo>
                <a:lnTo>
                  <a:pt x="388473" y="122273"/>
                </a:lnTo>
                <a:lnTo>
                  <a:pt x="411852" y="108722"/>
                </a:lnTo>
                <a:lnTo>
                  <a:pt x="433496" y="86713"/>
                </a:lnTo>
                <a:lnTo>
                  <a:pt x="435279" y="68082"/>
                </a:lnTo>
                <a:cubicBezTo>
                  <a:pt x="436468" y="59611"/>
                  <a:pt x="437706" y="51153"/>
                  <a:pt x="438895" y="42682"/>
                </a:cubicBezTo>
                <a:cubicBezTo>
                  <a:pt x="440084" y="35341"/>
                  <a:pt x="441322" y="28014"/>
                  <a:pt x="442511" y="20673"/>
                </a:cubicBezTo>
                <a:lnTo>
                  <a:pt x="458707" y="5433"/>
                </a:lnTo>
                <a:cubicBezTo>
                  <a:pt x="462323" y="3744"/>
                  <a:pt x="465889" y="2042"/>
                  <a:pt x="469505" y="353"/>
                </a:cubicBezTo>
                <a:lnTo>
                  <a:pt x="503730" y="353"/>
                </a:lnTo>
                <a:lnTo>
                  <a:pt x="518103" y="353"/>
                </a:lnTo>
                <a:lnTo>
                  <a:pt x="527095" y="14206"/>
                </a:lnTo>
                <a:lnTo>
                  <a:pt x="545068" y="24596"/>
                </a:lnTo>
                <a:lnTo>
                  <a:pt x="552250" y="34986"/>
                </a:lnTo>
                <a:lnTo>
                  <a:pt x="561241" y="57498"/>
                </a:lnTo>
                <a:lnTo>
                  <a:pt x="577414" y="80010"/>
                </a:lnTo>
                <a:lnTo>
                  <a:pt x="589996" y="104270"/>
                </a:lnTo>
                <a:lnTo>
                  <a:pt x="598978" y="112928"/>
                </a:lnTo>
                <a:lnTo>
                  <a:pt x="598978" y="135440"/>
                </a:lnTo>
                <a:lnTo>
                  <a:pt x="598978" y="157952"/>
                </a:lnTo>
                <a:lnTo>
                  <a:pt x="597312" y="170774"/>
                </a:lnTo>
                <a:cubicBezTo>
                  <a:pt x="597800" y="171895"/>
                  <a:pt x="598446" y="171943"/>
                  <a:pt x="598978" y="171804"/>
                </a:cubicBezTo>
                <a:lnTo>
                  <a:pt x="593400" y="186745"/>
                </a:lnTo>
                <a:lnTo>
                  <a:pt x="574815" y="194215"/>
                </a:lnTo>
                <a:lnTo>
                  <a:pt x="537645" y="192348"/>
                </a:lnTo>
                <a:lnTo>
                  <a:pt x="523243" y="203202"/>
                </a:lnTo>
                <a:lnTo>
                  <a:pt x="522779" y="204417"/>
                </a:lnTo>
                <a:cubicBezTo>
                  <a:pt x="520997" y="195803"/>
                  <a:pt x="519177" y="187210"/>
                  <a:pt x="517395" y="178595"/>
                </a:cubicBezTo>
                <a:lnTo>
                  <a:pt x="508447" y="158279"/>
                </a:lnTo>
                <a:lnTo>
                  <a:pt x="485128" y="152752"/>
                </a:lnTo>
                <a:lnTo>
                  <a:pt x="458208" y="152752"/>
                </a:lnTo>
                <a:lnTo>
                  <a:pt x="434889" y="152752"/>
                </a:lnTo>
                <a:lnTo>
                  <a:pt x="413391" y="169355"/>
                </a:lnTo>
                <a:lnTo>
                  <a:pt x="399060" y="182287"/>
                </a:lnTo>
                <a:cubicBezTo>
                  <a:pt x="395457" y="186584"/>
                  <a:pt x="391894" y="190902"/>
                  <a:pt x="388291" y="195198"/>
                </a:cubicBezTo>
                <a:lnTo>
                  <a:pt x="372139" y="222877"/>
                </a:lnTo>
                <a:cubicBezTo>
                  <a:pt x="369737" y="230865"/>
                  <a:pt x="367375" y="238875"/>
                  <a:pt x="364973" y="246863"/>
                </a:cubicBezTo>
                <a:lnTo>
                  <a:pt x="354205" y="256082"/>
                </a:lnTo>
                <a:lnTo>
                  <a:pt x="341655" y="263466"/>
                </a:lnTo>
                <a:lnTo>
                  <a:pt x="332707" y="276376"/>
                </a:lnTo>
                <a:lnTo>
                  <a:pt x="320157" y="291144"/>
                </a:lnTo>
                <a:cubicBezTo>
                  <a:pt x="318375" y="295462"/>
                  <a:pt x="316554" y="299758"/>
                  <a:pt x="314773" y="304076"/>
                </a:cubicBezTo>
                <a:lnTo>
                  <a:pt x="307568" y="320679"/>
                </a:lnTo>
                <a:lnTo>
                  <a:pt x="291454" y="342809"/>
                </a:lnTo>
                <a:lnTo>
                  <a:pt x="277084" y="357576"/>
                </a:lnTo>
                <a:lnTo>
                  <a:pt x="266354" y="364960"/>
                </a:lnTo>
                <a:lnTo>
                  <a:pt x="239433" y="368652"/>
                </a:lnTo>
                <a:lnTo>
                  <a:pt x="226883" y="355741"/>
                </a:lnTo>
                <a:lnTo>
                  <a:pt x="217936" y="335447"/>
                </a:lnTo>
                <a:cubicBezTo>
                  <a:pt x="216735" y="333590"/>
                  <a:pt x="215534" y="331755"/>
                  <a:pt x="214333" y="329898"/>
                </a:cubicBezTo>
                <a:lnTo>
                  <a:pt x="189233" y="329898"/>
                </a:lnTo>
                <a:lnTo>
                  <a:pt x="173081" y="329898"/>
                </a:lnTo>
                <a:lnTo>
                  <a:pt x="149762" y="333590"/>
                </a:lnTo>
                <a:lnTo>
                  <a:pt x="135430" y="340974"/>
                </a:lnTo>
                <a:lnTo>
                  <a:pt x="136449" y="347236"/>
                </a:lnTo>
                <a:lnTo>
                  <a:pt x="139417" y="356280"/>
                </a:lnTo>
                <a:lnTo>
                  <a:pt x="137840" y="355790"/>
                </a:lnTo>
                <a:lnTo>
                  <a:pt x="139033" y="363125"/>
                </a:lnTo>
                <a:lnTo>
                  <a:pt x="136428" y="355351"/>
                </a:lnTo>
                <a:lnTo>
                  <a:pt x="47876" y="327813"/>
                </a:lnTo>
                <a:lnTo>
                  <a:pt x="0" y="273409"/>
                </a:lnTo>
                <a:lnTo>
                  <a:pt x="17720" y="265037"/>
                </a:lnTo>
                <a:lnTo>
                  <a:pt x="38911" y="252567"/>
                </a:lnTo>
                <a:cubicBezTo>
                  <a:pt x="44209" y="241843"/>
                  <a:pt x="48503" y="231261"/>
                  <a:pt x="52936" y="219896"/>
                </a:cubicBezTo>
                <a:cubicBezTo>
                  <a:pt x="48196" y="201619"/>
                  <a:pt x="44209" y="184019"/>
                  <a:pt x="38911" y="166917"/>
                </a:cubicBezTo>
                <a:cubicBezTo>
                  <a:pt x="33404" y="145647"/>
                  <a:pt x="26838" y="124591"/>
                  <a:pt x="21303" y="103891"/>
                </a:cubicBezTo>
                <a:cubicBezTo>
                  <a:pt x="18542" y="88500"/>
                  <a:pt x="15364" y="73572"/>
                  <a:pt x="11976" y="59142"/>
                </a:cubicBezTo>
                <a:cubicBezTo>
                  <a:pt x="10582" y="39191"/>
                  <a:pt x="8421" y="18954"/>
                  <a:pt x="6218" y="0"/>
                </a:cubicBezTo>
                <a:close/>
              </a:path>
            </a:pathLst>
          </a:custGeom>
          <a:solidFill>
            <a:srgbClr val="70B0DF"/>
          </a:solidFill>
          <a:ln w="3175" cap="flat" cmpd="sng">
            <a:noFill/>
            <a:prstDash val="solid"/>
            <a:round/>
            <a:headEnd type="none" w="med" len="med"/>
            <a:tailEnd type="none" w="med" len="med"/>
          </a:ln>
        </p:spPr>
        <p:txBody>
          <a:bodyPr wrap="none" lIns="32632" tIns="32632" rIns="32632" bIns="32632" anchor="ctr"/>
          <a:lstStyle/>
          <a:p>
            <a:pPr defTabSz="891045"/>
            <a:endParaRPr lang="en-US" sz="1700" dirty="0">
              <a:solidFill>
                <a:srgbClr val="003149"/>
              </a:solidFill>
              <a:cs typeface="Arial" panose="020B0604020202020204" pitchFamily="34" charset="0"/>
            </a:endParaRPr>
          </a:p>
        </p:txBody>
      </p:sp>
      <p:sp>
        <p:nvSpPr>
          <p:cNvPr id="58" name="Freeform 787"/>
          <p:cNvSpPr>
            <a:spLocks noChangeAspect="1"/>
          </p:cNvSpPr>
          <p:nvPr>
            <p:custDataLst>
              <p:tags r:id="rId38"/>
            </p:custDataLst>
          </p:nvPr>
        </p:nvSpPr>
        <p:spPr bwMode="gray">
          <a:xfrm>
            <a:off x="2243652" y="3582494"/>
            <a:ext cx="120843" cy="104742"/>
          </a:xfrm>
          <a:custGeom>
            <a:avLst/>
            <a:gdLst>
              <a:gd name="T0" fmla="*/ 0 w 692152"/>
              <a:gd name="T1" fmla="*/ 0 h 533398"/>
              <a:gd name="T2" fmla="*/ 0 w 692152"/>
              <a:gd name="T3" fmla="*/ 0 h 533398"/>
              <a:gd name="T4" fmla="*/ 0 w 692152"/>
              <a:gd name="T5" fmla="*/ 0 h 533398"/>
              <a:gd name="T6" fmla="*/ 0 w 692152"/>
              <a:gd name="T7" fmla="*/ 0 h 533398"/>
              <a:gd name="T8" fmla="*/ 0 w 692152"/>
              <a:gd name="T9" fmla="*/ 0 h 533398"/>
              <a:gd name="T10" fmla="*/ 0 w 692152"/>
              <a:gd name="T11" fmla="*/ 0 h 533398"/>
              <a:gd name="T12" fmla="*/ 0 w 692152"/>
              <a:gd name="T13" fmla="*/ 0 h 533398"/>
              <a:gd name="T14" fmla="*/ 0 w 692152"/>
              <a:gd name="T15" fmla="*/ 0 h 533398"/>
              <a:gd name="T16" fmla="*/ 0 w 692152"/>
              <a:gd name="T17" fmla="*/ 0 h 533398"/>
              <a:gd name="T18" fmla="*/ 0 w 692152"/>
              <a:gd name="T19" fmla="*/ 0 h 533398"/>
              <a:gd name="T20" fmla="*/ 0 w 692152"/>
              <a:gd name="T21" fmla="*/ 0 h 533398"/>
              <a:gd name="T22" fmla="*/ 0 w 692152"/>
              <a:gd name="T23" fmla="*/ 0 h 533398"/>
              <a:gd name="T24" fmla="*/ 0 w 692152"/>
              <a:gd name="T25" fmla="*/ 0 h 533398"/>
              <a:gd name="T26" fmla="*/ 0 w 692152"/>
              <a:gd name="T27" fmla="*/ 0 h 533398"/>
              <a:gd name="T28" fmla="*/ 0 w 692152"/>
              <a:gd name="T29" fmla="*/ 0 h 533398"/>
              <a:gd name="T30" fmla="*/ 0 w 692152"/>
              <a:gd name="T31" fmla="*/ 0 h 533398"/>
              <a:gd name="T32" fmla="*/ 0 w 692152"/>
              <a:gd name="T33" fmla="*/ 0 h 533398"/>
              <a:gd name="T34" fmla="*/ 0 w 692152"/>
              <a:gd name="T35" fmla="*/ 0 h 533398"/>
              <a:gd name="T36" fmla="*/ 0 w 692152"/>
              <a:gd name="T37" fmla="*/ 0 h 533398"/>
              <a:gd name="T38" fmla="*/ 0 w 692152"/>
              <a:gd name="T39" fmla="*/ 0 h 533398"/>
              <a:gd name="T40" fmla="*/ 0 w 692152"/>
              <a:gd name="T41" fmla="*/ 0 h 533398"/>
              <a:gd name="T42" fmla="*/ 0 w 692152"/>
              <a:gd name="T43" fmla="*/ 0 h 533398"/>
              <a:gd name="T44" fmla="*/ 0 w 692152"/>
              <a:gd name="T45" fmla="*/ 0 h 533398"/>
              <a:gd name="T46" fmla="*/ 0 w 692152"/>
              <a:gd name="T47" fmla="*/ 0 h 533398"/>
              <a:gd name="T48" fmla="*/ 0 w 692152"/>
              <a:gd name="T49" fmla="*/ 0 h 533398"/>
              <a:gd name="T50" fmla="*/ 0 w 692152"/>
              <a:gd name="T51" fmla="*/ 0 h 533398"/>
              <a:gd name="T52" fmla="*/ 0 w 692152"/>
              <a:gd name="T53" fmla="*/ 0 h 533398"/>
              <a:gd name="T54" fmla="*/ 0 w 692152"/>
              <a:gd name="T55" fmla="*/ 0 h 533398"/>
              <a:gd name="T56" fmla="*/ 0 w 692152"/>
              <a:gd name="T57" fmla="*/ 0 h 533398"/>
              <a:gd name="T58" fmla="*/ 0 w 692152"/>
              <a:gd name="T59" fmla="*/ 0 h 533398"/>
              <a:gd name="T60" fmla="*/ 0 w 692152"/>
              <a:gd name="T61" fmla="*/ 0 h 533398"/>
              <a:gd name="T62" fmla="*/ 0 w 692152"/>
              <a:gd name="T63" fmla="*/ 0 h 533398"/>
              <a:gd name="T64" fmla="*/ 0 w 692152"/>
              <a:gd name="T65" fmla="*/ 0 h 533398"/>
              <a:gd name="T66" fmla="*/ 0 w 692152"/>
              <a:gd name="T67" fmla="*/ 0 h 533398"/>
              <a:gd name="T68" fmla="*/ 0 w 692152"/>
              <a:gd name="T69" fmla="*/ 0 h 533398"/>
              <a:gd name="T70" fmla="*/ 0 w 692152"/>
              <a:gd name="T71" fmla="*/ 0 h 533398"/>
              <a:gd name="T72" fmla="*/ 0 w 692152"/>
              <a:gd name="T73" fmla="*/ 0 h 533398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w 692152"/>
              <a:gd name="T112" fmla="*/ 0 h 533398"/>
              <a:gd name="T113" fmla="*/ 692152 w 692152"/>
              <a:gd name="T114" fmla="*/ 533398 h 533398"/>
            </a:gdLst>
            <a:ahLst/>
            <a:cxnLst>
              <a:cxn ang="T74">
                <a:pos x="T0" y="T1"/>
              </a:cxn>
              <a:cxn ang="T75">
                <a:pos x="T2" y="T3"/>
              </a:cxn>
              <a:cxn ang="T76">
                <a:pos x="T4" y="T5"/>
              </a:cxn>
              <a:cxn ang="T77">
                <a:pos x="T6" y="T7"/>
              </a:cxn>
              <a:cxn ang="T78">
                <a:pos x="T8" y="T9"/>
              </a:cxn>
              <a:cxn ang="T79">
                <a:pos x="T10" y="T11"/>
              </a:cxn>
              <a:cxn ang="T80">
                <a:pos x="T12" y="T13"/>
              </a:cxn>
              <a:cxn ang="T81">
                <a:pos x="T14" y="T15"/>
              </a:cxn>
              <a:cxn ang="T82">
                <a:pos x="T16" y="T17"/>
              </a:cxn>
              <a:cxn ang="T83">
                <a:pos x="T18" y="T19"/>
              </a:cxn>
              <a:cxn ang="T84">
                <a:pos x="T20" y="T21"/>
              </a:cxn>
              <a:cxn ang="T85">
                <a:pos x="T22" y="T23"/>
              </a:cxn>
              <a:cxn ang="T86">
                <a:pos x="T24" y="T25"/>
              </a:cxn>
              <a:cxn ang="T87">
                <a:pos x="T26" y="T27"/>
              </a:cxn>
              <a:cxn ang="T88">
                <a:pos x="T28" y="T29"/>
              </a:cxn>
              <a:cxn ang="T89">
                <a:pos x="T30" y="T31"/>
              </a:cxn>
              <a:cxn ang="T90">
                <a:pos x="T32" y="T33"/>
              </a:cxn>
              <a:cxn ang="T91">
                <a:pos x="T34" y="T35"/>
              </a:cxn>
              <a:cxn ang="T92">
                <a:pos x="T36" y="T37"/>
              </a:cxn>
              <a:cxn ang="T93">
                <a:pos x="T38" y="T39"/>
              </a:cxn>
              <a:cxn ang="T94">
                <a:pos x="T40" y="T41"/>
              </a:cxn>
              <a:cxn ang="T95">
                <a:pos x="T42" y="T43"/>
              </a:cxn>
              <a:cxn ang="T96">
                <a:pos x="T44" y="T45"/>
              </a:cxn>
              <a:cxn ang="T97">
                <a:pos x="T46" y="T47"/>
              </a:cxn>
              <a:cxn ang="T98">
                <a:pos x="T48" y="T49"/>
              </a:cxn>
              <a:cxn ang="T99">
                <a:pos x="T50" y="T51"/>
              </a:cxn>
              <a:cxn ang="T100">
                <a:pos x="T52" y="T53"/>
              </a:cxn>
              <a:cxn ang="T101">
                <a:pos x="T54" y="T55"/>
              </a:cxn>
              <a:cxn ang="T102">
                <a:pos x="T56" y="T57"/>
              </a:cxn>
              <a:cxn ang="T103">
                <a:pos x="T58" y="T59"/>
              </a:cxn>
              <a:cxn ang="T104">
                <a:pos x="T60" y="T61"/>
              </a:cxn>
              <a:cxn ang="T105">
                <a:pos x="T62" y="T63"/>
              </a:cxn>
              <a:cxn ang="T106">
                <a:pos x="T64" y="T65"/>
              </a:cxn>
              <a:cxn ang="T107">
                <a:pos x="T66" y="T67"/>
              </a:cxn>
              <a:cxn ang="T108">
                <a:pos x="T68" y="T69"/>
              </a:cxn>
              <a:cxn ang="T109">
                <a:pos x="T70" y="T71"/>
              </a:cxn>
              <a:cxn ang="T110">
                <a:pos x="T72" y="T73"/>
              </a:cxn>
            </a:cxnLst>
            <a:rect l="T111" t="T112" r="T113" b="T114"/>
            <a:pathLst>
              <a:path w="692152" h="533398">
                <a:moveTo>
                  <a:pt x="219933" y="0"/>
                </a:moveTo>
                <a:lnTo>
                  <a:pt x="243603" y="0"/>
                </a:lnTo>
                <a:lnTo>
                  <a:pt x="256319" y="3600"/>
                </a:lnTo>
                <a:lnTo>
                  <a:pt x="272654" y="12615"/>
                </a:lnTo>
                <a:lnTo>
                  <a:pt x="292657" y="28831"/>
                </a:lnTo>
                <a:lnTo>
                  <a:pt x="309040" y="37845"/>
                </a:lnTo>
                <a:lnTo>
                  <a:pt x="332662" y="39645"/>
                </a:lnTo>
                <a:lnTo>
                  <a:pt x="356284" y="39645"/>
                </a:lnTo>
                <a:lnTo>
                  <a:pt x="370810" y="37845"/>
                </a:lnTo>
                <a:lnTo>
                  <a:pt x="381716" y="39645"/>
                </a:lnTo>
                <a:lnTo>
                  <a:pt x="405338" y="46860"/>
                </a:lnTo>
                <a:lnTo>
                  <a:pt x="423531" y="52261"/>
                </a:lnTo>
                <a:lnTo>
                  <a:pt x="456250" y="61275"/>
                </a:lnTo>
                <a:lnTo>
                  <a:pt x="472786" y="67228"/>
                </a:lnTo>
                <a:lnTo>
                  <a:pt x="476251" y="63498"/>
                </a:lnTo>
                <a:lnTo>
                  <a:pt x="492314" y="94668"/>
                </a:lnTo>
                <a:lnTo>
                  <a:pt x="520856" y="153338"/>
                </a:lnTo>
                <a:lnTo>
                  <a:pt x="556544" y="224867"/>
                </a:lnTo>
                <a:lnTo>
                  <a:pt x="579732" y="224867"/>
                </a:lnTo>
                <a:lnTo>
                  <a:pt x="611858" y="226684"/>
                </a:lnTo>
                <a:lnTo>
                  <a:pt x="633275" y="228536"/>
                </a:lnTo>
                <a:lnTo>
                  <a:pt x="656463" y="259705"/>
                </a:lnTo>
                <a:lnTo>
                  <a:pt x="677880" y="292692"/>
                </a:lnTo>
                <a:lnTo>
                  <a:pt x="681442" y="316558"/>
                </a:lnTo>
                <a:lnTo>
                  <a:pt x="676088" y="320227"/>
                </a:lnTo>
                <a:cubicBezTo>
                  <a:pt x="677880" y="334903"/>
                  <a:pt x="679651" y="349545"/>
                  <a:pt x="681442" y="364221"/>
                </a:cubicBezTo>
                <a:lnTo>
                  <a:pt x="688589" y="377046"/>
                </a:lnTo>
                <a:lnTo>
                  <a:pt x="692151" y="406396"/>
                </a:lnTo>
                <a:lnTo>
                  <a:pt x="692152" y="406398"/>
                </a:lnTo>
                <a:lnTo>
                  <a:pt x="692151" y="406398"/>
                </a:lnTo>
                <a:lnTo>
                  <a:pt x="657927" y="406398"/>
                </a:lnTo>
                <a:cubicBezTo>
                  <a:pt x="654311" y="408087"/>
                  <a:pt x="650745" y="409789"/>
                  <a:pt x="647129" y="411478"/>
                </a:cubicBezTo>
                <a:lnTo>
                  <a:pt x="630933" y="426718"/>
                </a:lnTo>
                <a:cubicBezTo>
                  <a:pt x="629744" y="434059"/>
                  <a:pt x="628506" y="441387"/>
                  <a:pt x="627317" y="448727"/>
                </a:cubicBezTo>
                <a:cubicBezTo>
                  <a:pt x="626129" y="457198"/>
                  <a:pt x="624890" y="465656"/>
                  <a:pt x="623702" y="474127"/>
                </a:cubicBezTo>
                <a:lnTo>
                  <a:pt x="621919" y="492758"/>
                </a:lnTo>
                <a:lnTo>
                  <a:pt x="600274" y="514767"/>
                </a:lnTo>
                <a:lnTo>
                  <a:pt x="576896" y="528318"/>
                </a:lnTo>
                <a:lnTo>
                  <a:pt x="546286" y="533398"/>
                </a:lnTo>
                <a:lnTo>
                  <a:pt x="513844" y="528318"/>
                </a:lnTo>
                <a:lnTo>
                  <a:pt x="481402" y="516469"/>
                </a:lnTo>
                <a:cubicBezTo>
                  <a:pt x="472982" y="507439"/>
                  <a:pt x="464611" y="498397"/>
                  <a:pt x="456191" y="489367"/>
                </a:cubicBezTo>
                <a:cubicBezTo>
                  <a:pt x="448415" y="479207"/>
                  <a:pt x="440589" y="469047"/>
                  <a:pt x="432813" y="458887"/>
                </a:cubicBezTo>
                <a:lnTo>
                  <a:pt x="414784" y="452118"/>
                </a:lnTo>
                <a:lnTo>
                  <a:pt x="380559" y="441958"/>
                </a:lnTo>
                <a:lnTo>
                  <a:pt x="355348" y="435189"/>
                </a:lnTo>
                <a:cubicBezTo>
                  <a:pt x="351732" y="431239"/>
                  <a:pt x="348166" y="427277"/>
                  <a:pt x="344551" y="423327"/>
                </a:cubicBezTo>
                <a:lnTo>
                  <a:pt x="317507" y="409789"/>
                </a:lnTo>
                <a:lnTo>
                  <a:pt x="308542" y="409789"/>
                </a:lnTo>
                <a:lnTo>
                  <a:pt x="277883" y="409789"/>
                </a:lnTo>
                <a:cubicBezTo>
                  <a:pt x="273673" y="411478"/>
                  <a:pt x="269513" y="413180"/>
                  <a:pt x="265303" y="414869"/>
                </a:cubicBezTo>
                <a:lnTo>
                  <a:pt x="249106" y="419949"/>
                </a:lnTo>
                <a:lnTo>
                  <a:pt x="196852" y="413167"/>
                </a:lnTo>
                <a:lnTo>
                  <a:pt x="201300" y="402018"/>
                </a:lnTo>
                <a:lnTo>
                  <a:pt x="194640" y="406115"/>
                </a:lnTo>
                <a:cubicBezTo>
                  <a:pt x="191200" y="381852"/>
                  <a:pt x="187019" y="357343"/>
                  <a:pt x="182401" y="332588"/>
                </a:cubicBezTo>
                <a:lnTo>
                  <a:pt x="151822" y="315128"/>
                </a:lnTo>
                <a:lnTo>
                  <a:pt x="133843" y="305948"/>
                </a:lnTo>
                <a:lnTo>
                  <a:pt x="133843" y="266438"/>
                </a:lnTo>
                <a:cubicBezTo>
                  <a:pt x="127229" y="247695"/>
                  <a:pt x="119494" y="230563"/>
                  <a:pt x="112368" y="213021"/>
                </a:cubicBezTo>
                <a:lnTo>
                  <a:pt x="93040" y="217939"/>
                </a:lnTo>
                <a:lnTo>
                  <a:pt x="53186" y="187693"/>
                </a:lnTo>
                <a:lnTo>
                  <a:pt x="31939" y="163703"/>
                </a:lnTo>
                <a:lnTo>
                  <a:pt x="7824" y="136526"/>
                </a:lnTo>
                <a:lnTo>
                  <a:pt x="0" y="133352"/>
                </a:lnTo>
                <a:lnTo>
                  <a:pt x="18193" y="118936"/>
                </a:lnTo>
                <a:lnTo>
                  <a:pt x="36338" y="106321"/>
                </a:lnTo>
                <a:lnTo>
                  <a:pt x="52721" y="106321"/>
                </a:lnTo>
                <a:lnTo>
                  <a:pt x="69056" y="97307"/>
                </a:lnTo>
                <a:lnTo>
                  <a:pt x="103632" y="63075"/>
                </a:lnTo>
                <a:lnTo>
                  <a:pt x="147257" y="18016"/>
                </a:lnTo>
                <a:lnTo>
                  <a:pt x="167212" y="12615"/>
                </a:lnTo>
                <a:lnTo>
                  <a:pt x="183595" y="12615"/>
                </a:lnTo>
                <a:lnTo>
                  <a:pt x="205408" y="1800"/>
                </a:lnTo>
                <a:close/>
              </a:path>
            </a:pathLst>
          </a:custGeom>
          <a:solidFill>
            <a:srgbClr val="70B0DF"/>
          </a:solidFill>
          <a:ln w="3175" cap="flat" cmpd="sng">
            <a:noFill/>
            <a:prstDash val="solid"/>
            <a:round/>
            <a:headEnd type="none" w="med" len="med"/>
            <a:tailEnd type="none" w="med" len="med"/>
          </a:ln>
        </p:spPr>
        <p:txBody>
          <a:bodyPr wrap="none" lIns="32632" tIns="32632" rIns="32632" bIns="32632" anchor="ctr"/>
          <a:lstStyle/>
          <a:p>
            <a:pPr defTabSz="891045"/>
            <a:endParaRPr lang="en-US" sz="1700" dirty="0">
              <a:solidFill>
                <a:srgbClr val="003149"/>
              </a:solidFill>
              <a:cs typeface="Arial" panose="020B0604020202020204" pitchFamily="34" charset="0"/>
            </a:endParaRPr>
          </a:p>
        </p:txBody>
      </p:sp>
      <p:sp>
        <p:nvSpPr>
          <p:cNvPr id="59" name="Freeform 779"/>
          <p:cNvSpPr>
            <a:spLocks noChangeAspect="1"/>
          </p:cNvSpPr>
          <p:nvPr>
            <p:custDataLst>
              <p:tags r:id="rId39"/>
            </p:custDataLst>
          </p:nvPr>
        </p:nvSpPr>
        <p:spPr bwMode="gray">
          <a:xfrm>
            <a:off x="2213772" y="3505013"/>
            <a:ext cx="116578" cy="104742"/>
          </a:xfrm>
          <a:custGeom>
            <a:avLst/>
            <a:gdLst>
              <a:gd name="T0" fmla="*/ 0 w 666747"/>
              <a:gd name="T1" fmla="*/ 0 h 533398"/>
              <a:gd name="T2" fmla="*/ 0 w 666747"/>
              <a:gd name="T3" fmla="*/ 0 h 533398"/>
              <a:gd name="T4" fmla="*/ 0 w 666747"/>
              <a:gd name="T5" fmla="*/ 0 h 533398"/>
              <a:gd name="T6" fmla="*/ 0 w 666747"/>
              <a:gd name="T7" fmla="*/ 0 h 533398"/>
              <a:gd name="T8" fmla="*/ 0 w 666747"/>
              <a:gd name="T9" fmla="*/ 0 h 533398"/>
              <a:gd name="T10" fmla="*/ 0 w 666747"/>
              <a:gd name="T11" fmla="*/ 0 h 533398"/>
              <a:gd name="T12" fmla="*/ 0 w 666747"/>
              <a:gd name="T13" fmla="*/ 0 h 533398"/>
              <a:gd name="T14" fmla="*/ 0 w 666747"/>
              <a:gd name="T15" fmla="*/ 0 h 533398"/>
              <a:gd name="T16" fmla="*/ 0 w 666747"/>
              <a:gd name="T17" fmla="*/ 0 h 533398"/>
              <a:gd name="T18" fmla="*/ 0 w 666747"/>
              <a:gd name="T19" fmla="*/ 0 h 533398"/>
              <a:gd name="T20" fmla="*/ 0 w 666747"/>
              <a:gd name="T21" fmla="*/ 0 h 533398"/>
              <a:gd name="T22" fmla="*/ 0 w 666747"/>
              <a:gd name="T23" fmla="*/ 0 h 533398"/>
              <a:gd name="T24" fmla="*/ 0 w 666747"/>
              <a:gd name="T25" fmla="*/ 0 h 533398"/>
              <a:gd name="T26" fmla="*/ 0 w 666747"/>
              <a:gd name="T27" fmla="*/ 0 h 533398"/>
              <a:gd name="T28" fmla="*/ 0 w 666747"/>
              <a:gd name="T29" fmla="*/ 0 h 533398"/>
              <a:gd name="T30" fmla="*/ 0 w 666747"/>
              <a:gd name="T31" fmla="*/ 0 h 533398"/>
              <a:gd name="T32" fmla="*/ 0 w 666747"/>
              <a:gd name="T33" fmla="*/ 0 h 533398"/>
              <a:gd name="T34" fmla="*/ 0 w 666747"/>
              <a:gd name="T35" fmla="*/ 0 h 533398"/>
              <a:gd name="T36" fmla="*/ 0 w 666747"/>
              <a:gd name="T37" fmla="*/ 0 h 533398"/>
              <a:gd name="T38" fmla="*/ 0 w 666747"/>
              <a:gd name="T39" fmla="*/ 0 h 533398"/>
              <a:gd name="T40" fmla="*/ 0 w 666747"/>
              <a:gd name="T41" fmla="*/ 0 h 533398"/>
              <a:gd name="T42" fmla="*/ 0 w 666747"/>
              <a:gd name="T43" fmla="*/ 0 h 533398"/>
              <a:gd name="T44" fmla="*/ 0 w 666747"/>
              <a:gd name="T45" fmla="*/ 0 h 533398"/>
              <a:gd name="T46" fmla="*/ 0 w 666747"/>
              <a:gd name="T47" fmla="*/ 0 h 533398"/>
              <a:gd name="T48" fmla="*/ 0 w 666747"/>
              <a:gd name="T49" fmla="*/ 0 h 533398"/>
              <a:gd name="T50" fmla="*/ 0 w 666747"/>
              <a:gd name="T51" fmla="*/ 0 h 533398"/>
              <a:gd name="T52" fmla="*/ 0 w 666747"/>
              <a:gd name="T53" fmla="*/ 0 h 533398"/>
              <a:gd name="T54" fmla="*/ 0 w 666747"/>
              <a:gd name="T55" fmla="*/ 0 h 533398"/>
              <a:gd name="T56" fmla="*/ 0 w 666747"/>
              <a:gd name="T57" fmla="*/ 0 h 533398"/>
              <a:gd name="T58" fmla="*/ 0 w 666747"/>
              <a:gd name="T59" fmla="*/ 0 h 533398"/>
              <a:gd name="T60" fmla="*/ 0 w 666747"/>
              <a:gd name="T61" fmla="*/ 0 h 533398"/>
              <a:gd name="T62" fmla="*/ 0 w 666747"/>
              <a:gd name="T63" fmla="*/ 0 h 533398"/>
              <a:gd name="T64" fmla="*/ 0 w 666747"/>
              <a:gd name="T65" fmla="*/ 0 h 533398"/>
              <a:gd name="T66" fmla="*/ 0 w 666747"/>
              <a:gd name="T67" fmla="*/ 0 h 533398"/>
              <a:gd name="T68" fmla="*/ 0 w 666747"/>
              <a:gd name="T69" fmla="*/ 0 h 533398"/>
              <a:gd name="T70" fmla="*/ 0 w 666747"/>
              <a:gd name="T71" fmla="*/ 0 h 533398"/>
              <a:gd name="T72" fmla="*/ 0 w 666747"/>
              <a:gd name="T73" fmla="*/ 0 h 533398"/>
              <a:gd name="T74" fmla="*/ 0 w 666747"/>
              <a:gd name="T75" fmla="*/ 0 h 533398"/>
              <a:gd name="T76" fmla="*/ 0 w 666747"/>
              <a:gd name="T77" fmla="*/ 0 h 533398"/>
              <a:gd name="T78" fmla="*/ 0 w 666747"/>
              <a:gd name="T79" fmla="*/ 0 h 533398"/>
              <a:gd name="T80" fmla="*/ 0 w 666747"/>
              <a:gd name="T81" fmla="*/ 0 h 533398"/>
              <a:gd name="T82" fmla="*/ 0 w 666747"/>
              <a:gd name="T83" fmla="*/ 0 h 533398"/>
              <a:gd name="T84" fmla="*/ 0 w 666747"/>
              <a:gd name="T85" fmla="*/ 0 h 533398"/>
              <a:gd name="T86" fmla="*/ 0 w 666747"/>
              <a:gd name="T87" fmla="*/ 0 h 533398"/>
              <a:gd name="T88" fmla="*/ 0 w 666747"/>
              <a:gd name="T89" fmla="*/ 0 h 533398"/>
              <a:gd name="T90" fmla="*/ 0 w 666747"/>
              <a:gd name="T91" fmla="*/ 0 h 533398"/>
              <a:gd name="T92" fmla="*/ 0 w 666747"/>
              <a:gd name="T93" fmla="*/ 0 h 533398"/>
              <a:gd name="T94" fmla="*/ 0 w 666747"/>
              <a:gd name="T95" fmla="*/ 0 h 533398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w 666747"/>
              <a:gd name="T145" fmla="*/ 0 h 533398"/>
              <a:gd name="T146" fmla="*/ 666747 w 666747"/>
              <a:gd name="T147" fmla="*/ 533398 h 533398"/>
            </a:gdLst>
            <a:ahLst/>
            <a:cxnLst>
              <a:cxn ang="T96">
                <a:pos x="T0" y="T1"/>
              </a:cxn>
              <a:cxn ang="T97">
                <a:pos x="T2" y="T3"/>
              </a:cxn>
              <a:cxn ang="T98">
                <a:pos x="T4" y="T5"/>
              </a:cxn>
              <a:cxn ang="T99">
                <a:pos x="T6" y="T7"/>
              </a:cxn>
              <a:cxn ang="T100">
                <a:pos x="T8" y="T9"/>
              </a:cxn>
              <a:cxn ang="T101">
                <a:pos x="T10" y="T11"/>
              </a:cxn>
              <a:cxn ang="T102">
                <a:pos x="T12" y="T13"/>
              </a:cxn>
              <a:cxn ang="T103">
                <a:pos x="T14" y="T15"/>
              </a:cxn>
              <a:cxn ang="T104">
                <a:pos x="T16" y="T17"/>
              </a:cxn>
              <a:cxn ang="T105">
                <a:pos x="T18" y="T19"/>
              </a:cxn>
              <a:cxn ang="T106">
                <a:pos x="T20" y="T21"/>
              </a:cxn>
              <a:cxn ang="T107">
                <a:pos x="T22" y="T23"/>
              </a:cxn>
              <a:cxn ang="T108">
                <a:pos x="T24" y="T25"/>
              </a:cxn>
              <a:cxn ang="T109">
                <a:pos x="T26" y="T27"/>
              </a:cxn>
              <a:cxn ang="T110">
                <a:pos x="T28" y="T29"/>
              </a:cxn>
              <a:cxn ang="T111">
                <a:pos x="T30" y="T31"/>
              </a:cxn>
              <a:cxn ang="T112">
                <a:pos x="T32" y="T33"/>
              </a:cxn>
              <a:cxn ang="T113">
                <a:pos x="T34" y="T35"/>
              </a:cxn>
              <a:cxn ang="T114">
                <a:pos x="T36" y="T37"/>
              </a:cxn>
              <a:cxn ang="T115">
                <a:pos x="T38" y="T39"/>
              </a:cxn>
              <a:cxn ang="T116">
                <a:pos x="T40" y="T41"/>
              </a:cxn>
              <a:cxn ang="T117">
                <a:pos x="T42" y="T43"/>
              </a:cxn>
              <a:cxn ang="T118">
                <a:pos x="T44" y="T45"/>
              </a:cxn>
              <a:cxn ang="T119">
                <a:pos x="T46" y="T47"/>
              </a:cxn>
              <a:cxn ang="T120">
                <a:pos x="T48" y="T49"/>
              </a:cxn>
              <a:cxn ang="T121">
                <a:pos x="T50" y="T51"/>
              </a:cxn>
              <a:cxn ang="T122">
                <a:pos x="T52" y="T53"/>
              </a:cxn>
              <a:cxn ang="T123">
                <a:pos x="T54" y="T55"/>
              </a:cxn>
              <a:cxn ang="T124">
                <a:pos x="T56" y="T57"/>
              </a:cxn>
              <a:cxn ang="T125">
                <a:pos x="T58" y="T59"/>
              </a:cxn>
              <a:cxn ang="T126">
                <a:pos x="T60" y="T61"/>
              </a:cxn>
              <a:cxn ang="T127">
                <a:pos x="T62" y="T63"/>
              </a:cxn>
              <a:cxn ang="T128">
                <a:pos x="T64" y="T65"/>
              </a:cxn>
              <a:cxn ang="T129">
                <a:pos x="T66" y="T67"/>
              </a:cxn>
              <a:cxn ang="T130">
                <a:pos x="T68" y="T69"/>
              </a:cxn>
              <a:cxn ang="T131">
                <a:pos x="T70" y="T71"/>
              </a:cxn>
              <a:cxn ang="T132">
                <a:pos x="T72" y="T73"/>
              </a:cxn>
              <a:cxn ang="T133">
                <a:pos x="T74" y="T75"/>
              </a:cxn>
              <a:cxn ang="T134">
                <a:pos x="T76" y="T77"/>
              </a:cxn>
              <a:cxn ang="T135">
                <a:pos x="T78" y="T79"/>
              </a:cxn>
              <a:cxn ang="T136">
                <a:pos x="T80" y="T81"/>
              </a:cxn>
              <a:cxn ang="T137">
                <a:pos x="T82" y="T83"/>
              </a:cxn>
              <a:cxn ang="T138">
                <a:pos x="T84" y="T85"/>
              </a:cxn>
              <a:cxn ang="T139">
                <a:pos x="T86" y="T87"/>
              </a:cxn>
              <a:cxn ang="T140">
                <a:pos x="T88" y="T89"/>
              </a:cxn>
              <a:cxn ang="T141">
                <a:pos x="T90" y="T91"/>
              </a:cxn>
              <a:cxn ang="T142">
                <a:pos x="T92" y="T93"/>
              </a:cxn>
              <a:cxn ang="T143">
                <a:pos x="T94" y="T95"/>
              </a:cxn>
            </a:cxnLst>
            <a:rect l="T144" t="T145" r="T146" b="T147"/>
            <a:pathLst>
              <a:path w="666747" h="533398">
                <a:moveTo>
                  <a:pt x="328519" y="0"/>
                </a:moveTo>
                <a:lnTo>
                  <a:pt x="337404" y="5564"/>
                </a:lnTo>
                <a:lnTo>
                  <a:pt x="348133" y="20406"/>
                </a:lnTo>
                <a:lnTo>
                  <a:pt x="366014" y="37098"/>
                </a:lnTo>
                <a:lnTo>
                  <a:pt x="380264" y="59370"/>
                </a:lnTo>
                <a:cubicBezTo>
                  <a:pt x="383225" y="64306"/>
                  <a:pt x="386243" y="69259"/>
                  <a:pt x="389204" y="74196"/>
                </a:cubicBezTo>
                <a:lnTo>
                  <a:pt x="401666" y="83475"/>
                </a:lnTo>
                <a:lnTo>
                  <a:pt x="415971" y="89038"/>
                </a:lnTo>
                <a:cubicBezTo>
                  <a:pt x="420162" y="92126"/>
                  <a:pt x="424297" y="95230"/>
                  <a:pt x="428488" y="98317"/>
                </a:cubicBezTo>
                <a:cubicBezTo>
                  <a:pt x="432623" y="100794"/>
                  <a:pt x="436814" y="103254"/>
                  <a:pt x="440949" y="105730"/>
                </a:cubicBezTo>
                <a:lnTo>
                  <a:pt x="462407" y="105730"/>
                </a:lnTo>
                <a:lnTo>
                  <a:pt x="473080" y="102032"/>
                </a:lnTo>
                <a:lnTo>
                  <a:pt x="490962" y="107596"/>
                </a:lnTo>
                <a:lnTo>
                  <a:pt x="523093" y="115009"/>
                </a:lnTo>
                <a:lnTo>
                  <a:pt x="558800" y="126136"/>
                </a:lnTo>
                <a:lnTo>
                  <a:pt x="527785" y="138669"/>
                </a:lnTo>
                <a:cubicBezTo>
                  <a:pt x="537661" y="137807"/>
                  <a:pt x="545542" y="136108"/>
                  <a:pt x="550862" y="133837"/>
                </a:cubicBezTo>
                <a:lnTo>
                  <a:pt x="543787" y="139519"/>
                </a:lnTo>
                <a:lnTo>
                  <a:pt x="536866" y="144903"/>
                </a:lnTo>
                <a:lnTo>
                  <a:pt x="536866" y="171760"/>
                </a:lnTo>
                <a:lnTo>
                  <a:pt x="533399" y="193232"/>
                </a:lnTo>
                <a:lnTo>
                  <a:pt x="533399" y="212920"/>
                </a:lnTo>
                <a:lnTo>
                  <a:pt x="543787" y="225473"/>
                </a:lnTo>
                <a:lnTo>
                  <a:pt x="552455" y="241560"/>
                </a:lnTo>
                <a:lnTo>
                  <a:pt x="562842" y="261248"/>
                </a:lnTo>
                <a:lnTo>
                  <a:pt x="576697" y="266633"/>
                </a:lnTo>
                <a:lnTo>
                  <a:pt x="583618" y="268416"/>
                </a:lnTo>
                <a:cubicBezTo>
                  <a:pt x="584191" y="270806"/>
                  <a:pt x="584778" y="273195"/>
                  <a:pt x="585352" y="275585"/>
                </a:cubicBezTo>
                <a:lnTo>
                  <a:pt x="581885" y="282753"/>
                </a:lnTo>
                <a:lnTo>
                  <a:pt x="578431" y="300658"/>
                </a:lnTo>
                <a:cubicBezTo>
                  <a:pt x="577857" y="306009"/>
                  <a:pt x="577271" y="311393"/>
                  <a:pt x="576697" y="316744"/>
                </a:cubicBezTo>
                <a:lnTo>
                  <a:pt x="581885" y="336433"/>
                </a:lnTo>
                <a:lnTo>
                  <a:pt x="588819" y="361505"/>
                </a:lnTo>
                <a:lnTo>
                  <a:pt x="604407" y="390146"/>
                </a:lnTo>
                <a:lnTo>
                  <a:pt x="623449" y="406266"/>
                </a:lnTo>
                <a:lnTo>
                  <a:pt x="649425" y="418786"/>
                </a:lnTo>
                <a:lnTo>
                  <a:pt x="663280" y="424170"/>
                </a:lnTo>
                <a:lnTo>
                  <a:pt x="666747" y="438474"/>
                </a:lnTo>
                <a:lnTo>
                  <a:pt x="654626" y="452811"/>
                </a:lnTo>
                <a:lnTo>
                  <a:pt x="650945" y="465936"/>
                </a:lnTo>
                <a:lnTo>
                  <a:pt x="640366" y="459072"/>
                </a:lnTo>
                <a:lnTo>
                  <a:pt x="647699" y="468522"/>
                </a:lnTo>
                <a:lnTo>
                  <a:pt x="627697" y="461321"/>
                </a:lnTo>
                <a:lnTo>
                  <a:pt x="594978" y="452307"/>
                </a:lnTo>
                <a:lnTo>
                  <a:pt x="576785" y="446906"/>
                </a:lnTo>
                <a:lnTo>
                  <a:pt x="553163" y="439692"/>
                </a:lnTo>
                <a:lnTo>
                  <a:pt x="542257" y="437891"/>
                </a:lnTo>
                <a:lnTo>
                  <a:pt x="527731" y="439692"/>
                </a:lnTo>
                <a:lnTo>
                  <a:pt x="504109" y="439692"/>
                </a:lnTo>
                <a:lnTo>
                  <a:pt x="480487" y="437891"/>
                </a:lnTo>
                <a:lnTo>
                  <a:pt x="464104" y="428877"/>
                </a:lnTo>
                <a:lnTo>
                  <a:pt x="444101" y="412661"/>
                </a:lnTo>
                <a:lnTo>
                  <a:pt x="427766" y="403647"/>
                </a:lnTo>
                <a:lnTo>
                  <a:pt x="415050" y="400046"/>
                </a:lnTo>
                <a:lnTo>
                  <a:pt x="391380" y="400046"/>
                </a:lnTo>
                <a:lnTo>
                  <a:pt x="376855" y="401846"/>
                </a:lnTo>
                <a:lnTo>
                  <a:pt x="355042" y="412661"/>
                </a:lnTo>
                <a:lnTo>
                  <a:pt x="338659" y="412661"/>
                </a:lnTo>
                <a:lnTo>
                  <a:pt x="318704" y="418062"/>
                </a:lnTo>
                <a:lnTo>
                  <a:pt x="275080" y="463122"/>
                </a:lnTo>
                <a:lnTo>
                  <a:pt x="240504" y="497353"/>
                </a:lnTo>
                <a:lnTo>
                  <a:pt x="224168" y="506368"/>
                </a:lnTo>
                <a:lnTo>
                  <a:pt x="207785" y="506368"/>
                </a:lnTo>
                <a:lnTo>
                  <a:pt x="189640" y="518983"/>
                </a:lnTo>
                <a:lnTo>
                  <a:pt x="181265" y="525619"/>
                </a:lnTo>
                <a:lnTo>
                  <a:pt x="176075" y="533073"/>
                </a:lnTo>
                <a:lnTo>
                  <a:pt x="174185" y="531228"/>
                </a:lnTo>
                <a:lnTo>
                  <a:pt x="171447" y="533398"/>
                </a:lnTo>
                <a:lnTo>
                  <a:pt x="171931" y="529028"/>
                </a:lnTo>
                <a:lnTo>
                  <a:pt x="138433" y="496325"/>
                </a:lnTo>
                <a:cubicBezTo>
                  <a:pt x="132761" y="476347"/>
                  <a:pt x="127332" y="455312"/>
                  <a:pt x="122248" y="434933"/>
                </a:cubicBezTo>
                <a:lnTo>
                  <a:pt x="95326" y="388560"/>
                </a:lnTo>
                <a:lnTo>
                  <a:pt x="74007" y="367270"/>
                </a:lnTo>
                <a:lnTo>
                  <a:pt x="58393" y="354255"/>
                </a:lnTo>
                <a:cubicBezTo>
                  <a:pt x="59673" y="347511"/>
                  <a:pt x="61315" y="341021"/>
                  <a:pt x="63044" y="335006"/>
                </a:cubicBezTo>
                <a:lnTo>
                  <a:pt x="63044" y="305732"/>
                </a:lnTo>
                <a:cubicBezTo>
                  <a:pt x="62145" y="279264"/>
                  <a:pt x="60762" y="253672"/>
                  <a:pt x="59880" y="226950"/>
                </a:cubicBezTo>
                <a:lnTo>
                  <a:pt x="37990" y="222065"/>
                </a:lnTo>
                <a:lnTo>
                  <a:pt x="10722" y="189181"/>
                </a:lnTo>
                <a:cubicBezTo>
                  <a:pt x="4895" y="180249"/>
                  <a:pt x="5829" y="174963"/>
                  <a:pt x="3166" y="168510"/>
                </a:cubicBezTo>
                <a:lnTo>
                  <a:pt x="5583" y="167386"/>
                </a:lnTo>
                <a:lnTo>
                  <a:pt x="0" y="165100"/>
                </a:lnTo>
                <a:cubicBezTo>
                  <a:pt x="2403" y="156449"/>
                  <a:pt x="4750" y="147781"/>
                  <a:pt x="7153" y="139130"/>
                </a:cubicBezTo>
                <a:cubicBezTo>
                  <a:pt x="8326" y="134177"/>
                  <a:pt x="9556" y="129240"/>
                  <a:pt x="10729" y="124287"/>
                </a:cubicBezTo>
                <a:cubicBezTo>
                  <a:pt x="11903" y="120573"/>
                  <a:pt x="13132" y="116874"/>
                  <a:pt x="14305" y="113160"/>
                </a:cubicBezTo>
                <a:lnTo>
                  <a:pt x="39284" y="102032"/>
                </a:lnTo>
                <a:lnTo>
                  <a:pt x="67838" y="90904"/>
                </a:lnTo>
                <a:lnTo>
                  <a:pt x="99969" y="74196"/>
                </a:lnTo>
                <a:lnTo>
                  <a:pt x="124948" y="63068"/>
                </a:lnTo>
                <a:lnTo>
                  <a:pt x="146406" y="48226"/>
                </a:lnTo>
                <a:lnTo>
                  <a:pt x="160655" y="44527"/>
                </a:lnTo>
                <a:lnTo>
                  <a:pt x="185689" y="44527"/>
                </a:lnTo>
                <a:lnTo>
                  <a:pt x="228493" y="44527"/>
                </a:lnTo>
                <a:cubicBezTo>
                  <a:pt x="232684" y="42678"/>
                  <a:pt x="236820" y="40813"/>
                  <a:pt x="241011" y="38964"/>
                </a:cubicBezTo>
                <a:lnTo>
                  <a:pt x="264201" y="18557"/>
                </a:lnTo>
                <a:cubicBezTo>
                  <a:pt x="268951" y="12993"/>
                  <a:pt x="273756" y="7413"/>
                  <a:pt x="278506" y="1849"/>
                </a:cubicBezTo>
                <a:close/>
              </a:path>
            </a:pathLst>
          </a:custGeom>
          <a:solidFill>
            <a:srgbClr val="70B0DF"/>
          </a:solidFill>
          <a:ln w="3175" cap="flat" cmpd="sng">
            <a:noFill/>
            <a:prstDash val="solid"/>
            <a:round/>
            <a:headEnd type="none" w="med" len="med"/>
            <a:tailEnd type="none" w="med" len="med"/>
          </a:ln>
        </p:spPr>
        <p:txBody>
          <a:bodyPr wrap="none" lIns="32632" tIns="32632" rIns="32632" bIns="32632" anchor="ctr"/>
          <a:lstStyle/>
          <a:p>
            <a:pPr defTabSz="891045"/>
            <a:endParaRPr lang="en-US" sz="1700" dirty="0">
              <a:solidFill>
                <a:srgbClr val="003149"/>
              </a:solidFill>
              <a:cs typeface="Arial" panose="020B0604020202020204" pitchFamily="34" charset="0"/>
            </a:endParaRPr>
          </a:p>
        </p:txBody>
      </p:sp>
      <p:sp>
        <p:nvSpPr>
          <p:cNvPr id="60" name="Freeform 770"/>
          <p:cNvSpPr>
            <a:spLocks noChangeAspect="1"/>
          </p:cNvSpPr>
          <p:nvPr>
            <p:custDataLst>
              <p:tags r:id="rId40"/>
            </p:custDataLst>
          </p:nvPr>
        </p:nvSpPr>
        <p:spPr bwMode="gray">
          <a:xfrm>
            <a:off x="2306179" y="3466264"/>
            <a:ext cx="154962" cy="238183"/>
          </a:xfrm>
          <a:custGeom>
            <a:avLst/>
            <a:gdLst>
              <a:gd name="T0" fmla="*/ 0 w 895347"/>
              <a:gd name="T1" fmla="*/ 0 h 1218834"/>
              <a:gd name="T2" fmla="*/ 0 w 895347"/>
              <a:gd name="T3" fmla="*/ 0 h 1218834"/>
              <a:gd name="T4" fmla="*/ 0 w 895347"/>
              <a:gd name="T5" fmla="*/ 0 h 1218834"/>
              <a:gd name="T6" fmla="*/ 0 w 895347"/>
              <a:gd name="T7" fmla="*/ 0 h 1218834"/>
              <a:gd name="T8" fmla="*/ 0 w 895347"/>
              <a:gd name="T9" fmla="*/ 0 h 1218834"/>
              <a:gd name="T10" fmla="*/ 0 w 895347"/>
              <a:gd name="T11" fmla="*/ 0 h 1218834"/>
              <a:gd name="T12" fmla="*/ 0 w 895347"/>
              <a:gd name="T13" fmla="*/ 0 h 1218834"/>
              <a:gd name="T14" fmla="*/ 0 w 895347"/>
              <a:gd name="T15" fmla="*/ 0 h 1218834"/>
              <a:gd name="T16" fmla="*/ 0 w 895347"/>
              <a:gd name="T17" fmla="*/ 0 h 1218834"/>
              <a:gd name="T18" fmla="*/ 0 w 895347"/>
              <a:gd name="T19" fmla="*/ 0 h 1218834"/>
              <a:gd name="T20" fmla="*/ 0 w 895347"/>
              <a:gd name="T21" fmla="*/ 0 h 1218834"/>
              <a:gd name="T22" fmla="*/ 0 w 895347"/>
              <a:gd name="T23" fmla="*/ 0 h 1218834"/>
              <a:gd name="T24" fmla="*/ 0 w 895347"/>
              <a:gd name="T25" fmla="*/ 0 h 1218834"/>
              <a:gd name="T26" fmla="*/ 0 w 895347"/>
              <a:gd name="T27" fmla="*/ 0 h 1218834"/>
              <a:gd name="T28" fmla="*/ 0 w 895347"/>
              <a:gd name="T29" fmla="*/ 0 h 1218834"/>
              <a:gd name="T30" fmla="*/ 0 w 895347"/>
              <a:gd name="T31" fmla="*/ 0 h 1218834"/>
              <a:gd name="T32" fmla="*/ 0 w 895347"/>
              <a:gd name="T33" fmla="*/ 0 h 1218834"/>
              <a:gd name="T34" fmla="*/ 0 w 895347"/>
              <a:gd name="T35" fmla="*/ 0 h 1218834"/>
              <a:gd name="T36" fmla="*/ 0 w 895347"/>
              <a:gd name="T37" fmla="*/ 0 h 1218834"/>
              <a:gd name="T38" fmla="*/ 0 w 895347"/>
              <a:gd name="T39" fmla="*/ 0 h 1218834"/>
              <a:gd name="T40" fmla="*/ 0 w 895347"/>
              <a:gd name="T41" fmla="*/ 0 h 1218834"/>
              <a:gd name="T42" fmla="*/ 0 w 895347"/>
              <a:gd name="T43" fmla="*/ 0 h 1218834"/>
              <a:gd name="T44" fmla="*/ 0 w 895347"/>
              <a:gd name="T45" fmla="*/ 0 h 1218834"/>
              <a:gd name="T46" fmla="*/ 0 w 895347"/>
              <a:gd name="T47" fmla="*/ 0 h 1218834"/>
              <a:gd name="T48" fmla="*/ 0 w 895347"/>
              <a:gd name="T49" fmla="*/ 0 h 1218834"/>
              <a:gd name="T50" fmla="*/ 0 w 895347"/>
              <a:gd name="T51" fmla="*/ 0 h 1218834"/>
              <a:gd name="T52" fmla="*/ 0 w 895347"/>
              <a:gd name="T53" fmla="*/ 0 h 1218834"/>
              <a:gd name="T54" fmla="*/ 0 w 895347"/>
              <a:gd name="T55" fmla="*/ 0 h 1218834"/>
              <a:gd name="T56" fmla="*/ 0 w 895347"/>
              <a:gd name="T57" fmla="*/ 0 h 1218834"/>
              <a:gd name="T58" fmla="*/ 0 w 895347"/>
              <a:gd name="T59" fmla="*/ 0 h 1218834"/>
              <a:gd name="T60" fmla="*/ 0 w 895347"/>
              <a:gd name="T61" fmla="*/ 0 h 1218834"/>
              <a:gd name="T62" fmla="*/ 0 w 895347"/>
              <a:gd name="T63" fmla="*/ 0 h 1218834"/>
              <a:gd name="T64" fmla="*/ 0 w 895347"/>
              <a:gd name="T65" fmla="*/ 0 h 1218834"/>
              <a:gd name="T66" fmla="*/ 0 w 895347"/>
              <a:gd name="T67" fmla="*/ 0 h 1218834"/>
              <a:gd name="T68" fmla="*/ 0 w 895347"/>
              <a:gd name="T69" fmla="*/ 0 h 1218834"/>
              <a:gd name="T70" fmla="*/ 0 w 895347"/>
              <a:gd name="T71" fmla="*/ 0 h 1218834"/>
              <a:gd name="T72" fmla="*/ 0 w 895347"/>
              <a:gd name="T73" fmla="*/ 0 h 1218834"/>
              <a:gd name="T74" fmla="*/ 0 w 895347"/>
              <a:gd name="T75" fmla="*/ 0 h 1218834"/>
              <a:gd name="T76" fmla="*/ 0 w 895347"/>
              <a:gd name="T77" fmla="*/ 0 h 1218834"/>
              <a:gd name="T78" fmla="*/ 0 w 895347"/>
              <a:gd name="T79" fmla="*/ 0 h 1218834"/>
              <a:gd name="T80" fmla="*/ 0 w 895347"/>
              <a:gd name="T81" fmla="*/ 0 h 1218834"/>
              <a:gd name="T82" fmla="*/ 0 w 895347"/>
              <a:gd name="T83" fmla="*/ 0 h 1218834"/>
              <a:gd name="T84" fmla="*/ 0 w 895347"/>
              <a:gd name="T85" fmla="*/ 0 h 1218834"/>
              <a:gd name="T86" fmla="*/ 0 w 895347"/>
              <a:gd name="T87" fmla="*/ 0 h 1218834"/>
              <a:gd name="T88" fmla="*/ 0 w 895347"/>
              <a:gd name="T89" fmla="*/ 0 h 1218834"/>
              <a:gd name="T90" fmla="*/ 0 w 895347"/>
              <a:gd name="T91" fmla="*/ 0 h 1218834"/>
              <a:gd name="T92" fmla="*/ 0 w 895347"/>
              <a:gd name="T93" fmla="*/ 0 h 1218834"/>
              <a:gd name="T94" fmla="*/ 0 w 895347"/>
              <a:gd name="T95" fmla="*/ 0 h 1218834"/>
              <a:gd name="T96" fmla="*/ 0 w 895347"/>
              <a:gd name="T97" fmla="*/ 0 h 1218834"/>
              <a:gd name="T98" fmla="*/ 0 w 895347"/>
              <a:gd name="T99" fmla="*/ 0 h 1218834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w 895347"/>
              <a:gd name="T151" fmla="*/ 0 h 1218834"/>
              <a:gd name="T152" fmla="*/ 895347 w 895347"/>
              <a:gd name="T153" fmla="*/ 1218834 h 1218834"/>
            </a:gdLst>
            <a:ahLst/>
            <a:cxnLst>
              <a:cxn ang="T100">
                <a:pos x="T0" y="T1"/>
              </a:cxn>
              <a:cxn ang="T101">
                <a:pos x="T2" y="T3"/>
              </a:cxn>
              <a:cxn ang="T102">
                <a:pos x="T4" y="T5"/>
              </a:cxn>
              <a:cxn ang="T103">
                <a:pos x="T6" y="T7"/>
              </a:cxn>
              <a:cxn ang="T104">
                <a:pos x="T8" y="T9"/>
              </a:cxn>
              <a:cxn ang="T105">
                <a:pos x="T10" y="T11"/>
              </a:cxn>
              <a:cxn ang="T106">
                <a:pos x="T12" y="T13"/>
              </a:cxn>
              <a:cxn ang="T107">
                <a:pos x="T14" y="T15"/>
              </a:cxn>
              <a:cxn ang="T108">
                <a:pos x="T16" y="T17"/>
              </a:cxn>
              <a:cxn ang="T109">
                <a:pos x="T18" y="T19"/>
              </a:cxn>
              <a:cxn ang="T110">
                <a:pos x="T20" y="T21"/>
              </a:cxn>
              <a:cxn ang="T111">
                <a:pos x="T22" y="T23"/>
              </a:cxn>
              <a:cxn ang="T112">
                <a:pos x="T24" y="T25"/>
              </a:cxn>
              <a:cxn ang="T113">
                <a:pos x="T26" y="T27"/>
              </a:cxn>
              <a:cxn ang="T114">
                <a:pos x="T28" y="T29"/>
              </a:cxn>
              <a:cxn ang="T115">
                <a:pos x="T30" y="T31"/>
              </a:cxn>
              <a:cxn ang="T116">
                <a:pos x="T32" y="T33"/>
              </a:cxn>
              <a:cxn ang="T117">
                <a:pos x="T34" y="T35"/>
              </a:cxn>
              <a:cxn ang="T118">
                <a:pos x="T36" y="T37"/>
              </a:cxn>
              <a:cxn ang="T119">
                <a:pos x="T38" y="T39"/>
              </a:cxn>
              <a:cxn ang="T120">
                <a:pos x="T40" y="T41"/>
              </a:cxn>
              <a:cxn ang="T121">
                <a:pos x="T42" y="T43"/>
              </a:cxn>
              <a:cxn ang="T122">
                <a:pos x="T44" y="T45"/>
              </a:cxn>
              <a:cxn ang="T123">
                <a:pos x="T46" y="T47"/>
              </a:cxn>
              <a:cxn ang="T124">
                <a:pos x="T48" y="T49"/>
              </a:cxn>
              <a:cxn ang="T125">
                <a:pos x="T50" y="T51"/>
              </a:cxn>
              <a:cxn ang="T126">
                <a:pos x="T52" y="T53"/>
              </a:cxn>
              <a:cxn ang="T127">
                <a:pos x="T54" y="T55"/>
              </a:cxn>
              <a:cxn ang="T128">
                <a:pos x="T56" y="T57"/>
              </a:cxn>
              <a:cxn ang="T129">
                <a:pos x="T58" y="T59"/>
              </a:cxn>
              <a:cxn ang="T130">
                <a:pos x="T60" y="T61"/>
              </a:cxn>
              <a:cxn ang="T131">
                <a:pos x="T62" y="T63"/>
              </a:cxn>
              <a:cxn ang="T132">
                <a:pos x="T64" y="T65"/>
              </a:cxn>
              <a:cxn ang="T133">
                <a:pos x="T66" y="T67"/>
              </a:cxn>
              <a:cxn ang="T134">
                <a:pos x="T68" y="T69"/>
              </a:cxn>
              <a:cxn ang="T135">
                <a:pos x="T70" y="T71"/>
              </a:cxn>
              <a:cxn ang="T136">
                <a:pos x="T72" y="T73"/>
              </a:cxn>
              <a:cxn ang="T137">
                <a:pos x="T74" y="T75"/>
              </a:cxn>
              <a:cxn ang="T138">
                <a:pos x="T76" y="T77"/>
              </a:cxn>
              <a:cxn ang="T139">
                <a:pos x="T78" y="T79"/>
              </a:cxn>
              <a:cxn ang="T140">
                <a:pos x="T80" y="T81"/>
              </a:cxn>
              <a:cxn ang="T141">
                <a:pos x="T82" y="T83"/>
              </a:cxn>
              <a:cxn ang="T142">
                <a:pos x="T84" y="T85"/>
              </a:cxn>
              <a:cxn ang="T143">
                <a:pos x="T86" y="T87"/>
              </a:cxn>
              <a:cxn ang="T144">
                <a:pos x="T88" y="T89"/>
              </a:cxn>
              <a:cxn ang="T145">
                <a:pos x="T90" y="T91"/>
              </a:cxn>
              <a:cxn ang="T146">
                <a:pos x="T92" y="T93"/>
              </a:cxn>
              <a:cxn ang="T147">
                <a:pos x="T94" y="T95"/>
              </a:cxn>
              <a:cxn ang="T148">
                <a:pos x="T96" y="T97"/>
              </a:cxn>
              <a:cxn ang="T149">
                <a:pos x="T98" y="T99"/>
              </a:cxn>
            </a:cxnLst>
            <a:rect l="T150" t="T151" r="T152" b="T153"/>
            <a:pathLst>
              <a:path w="895347" h="1218834">
                <a:moveTo>
                  <a:pt x="355599" y="0"/>
                </a:moveTo>
                <a:lnTo>
                  <a:pt x="375974" y="18042"/>
                </a:lnTo>
                <a:lnTo>
                  <a:pt x="392668" y="33064"/>
                </a:lnTo>
                <a:cubicBezTo>
                  <a:pt x="393908" y="36683"/>
                  <a:pt x="395147" y="40276"/>
                  <a:pt x="396387" y="43895"/>
                </a:cubicBezTo>
                <a:lnTo>
                  <a:pt x="414282" y="43895"/>
                </a:lnTo>
                <a:lnTo>
                  <a:pt x="431597" y="63134"/>
                </a:lnTo>
                <a:lnTo>
                  <a:pt x="448253" y="82973"/>
                </a:lnTo>
                <a:cubicBezTo>
                  <a:pt x="450538" y="86774"/>
                  <a:pt x="452785" y="90601"/>
                  <a:pt x="455070" y="94402"/>
                </a:cubicBezTo>
                <a:lnTo>
                  <a:pt x="466807" y="96199"/>
                </a:lnTo>
                <a:cubicBezTo>
                  <a:pt x="470913" y="105024"/>
                  <a:pt x="475057" y="113824"/>
                  <a:pt x="479163" y="122650"/>
                </a:cubicBezTo>
                <a:lnTo>
                  <a:pt x="490900" y="143113"/>
                </a:lnTo>
                <a:lnTo>
                  <a:pt x="516852" y="158734"/>
                </a:lnTo>
                <a:cubicBezTo>
                  <a:pt x="516659" y="165555"/>
                  <a:pt x="516426" y="172350"/>
                  <a:pt x="516232" y="179171"/>
                </a:cubicBezTo>
                <a:cubicBezTo>
                  <a:pt x="518092" y="183181"/>
                  <a:pt x="519912" y="187190"/>
                  <a:pt x="521772" y="191199"/>
                </a:cubicBezTo>
                <a:lnTo>
                  <a:pt x="531068" y="191199"/>
                </a:lnTo>
                <a:lnTo>
                  <a:pt x="540945" y="187607"/>
                </a:lnTo>
                <a:cubicBezTo>
                  <a:pt x="542572" y="181593"/>
                  <a:pt x="544238" y="175579"/>
                  <a:pt x="545865" y="169565"/>
                </a:cubicBezTo>
                <a:lnTo>
                  <a:pt x="557601" y="155115"/>
                </a:lnTo>
                <a:lnTo>
                  <a:pt x="569958" y="155740"/>
                </a:lnTo>
                <a:lnTo>
                  <a:pt x="579254" y="162952"/>
                </a:lnTo>
                <a:cubicBezTo>
                  <a:pt x="581113" y="165946"/>
                  <a:pt x="582934" y="168966"/>
                  <a:pt x="584793" y="171960"/>
                </a:cubicBezTo>
                <a:cubicBezTo>
                  <a:pt x="584367" y="175969"/>
                  <a:pt x="583980" y="179978"/>
                  <a:pt x="583554" y="183988"/>
                </a:cubicBezTo>
                <a:lnTo>
                  <a:pt x="575535" y="202629"/>
                </a:lnTo>
                <a:cubicBezTo>
                  <a:pt x="574490" y="210439"/>
                  <a:pt x="573482" y="218276"/>
                  <a:pt x="572437" y="226086"/>
                </a:cubicBezTo>
                <a:lnTo>
                  <a:pt x="603928" y="245925"/>
                </a:lnTo>
                <a:lnTo>
                  <a:pt x="647815" y="260348"/>
                </a:lnTo>
                <a:lnTo>
                  <a:pt x="692902" y="260348"/>
                </a:lnTo>
                <a:lnTo>
                  <a:pt x="721953" y="254933"/>
                </a:lnTo>
                <a:lnTo>
                  <a:pt x="736788" y="254933"/>
                </a:lnTo>
                <a:lnTo>
                  <a:pt x="742947" y="257953"/>
                </a:lnTo>
                <a:lnTo>
                  <a:pt x="736620" y="273649"/>
                </a:lnTo>
                <a:cubicBezTo>
                  <a:pt x="736613" y="273706"/>
                  <a:pt x="736606" y="273762"/>
                  <a:pt x="736599" y="273818"/>
                </a:cubicBezTo>
                <a:lnTo>
                  <a:pt x="736599" y="295444"/>
                </a:lnTo>
                <a:lnTo>
                  <a:pt x="740104" y="306291"/>
                </a:lnTo>
                <a:lnTo>
                  <a:pt x="748867" y="318856"/>
                </a:lnTo>
                <a:lnTo>
                  <a:pt x="754110" y="335059"/>
                </a:lnTo>
                <a:lnTo>
                  <a:pt x="757615" y="351262"/>
                </a:lnTo>
                <a:lnTo>
                  <a:pt x="764626" y="365746"/>
                </a:lnTo>
                <a:cubicBezTo>
                  <a:pt x="765205" y="373549"/>
                  <a:pt x="765799" y="381353"/>
                  <a:pt x="766378" y="389157"/>
                </a:cubicBezTo>
                <a:lnTo>
                  <a:pt x="762873" y="396366"/>
                </a:lnTo>
                <a:lnTo>
                  <a:pt x="762873" y="419778"/>
                </a:lnTo>
                <a:lnTo>
                  <a:pt x="768131" y="437832"/>
                </a:lnTo>
                <a:lnTo>
                  <a:pt x="778646" y="448612"/>
                </a:lnTo>
                <a:lnTo>
                  <a:pt x="789147" y="455821"/>
                </a:lnTo>
                <a:lnTo>
                  <a:pt x="792652" y="470238"/>
                </a:lnTo>
                <a:lnTo>
                  <a:pt x="799662" y="486441"/>
                </a:lnTo>
                <a:lnTo>
                  <a:pt x="808425" y="502711"/>
                </a:lnTo>
                <a:lnTo>
                  <a:pt x="820678" y="526122"/>
                </a:lnTo>
                <a:lnTo>
                  <a:pt x="829441" y="542325"/>
                </a:lnTo>
                <a:cubicBezTo>
                  <a:pt x="830020" y="548277"/>
                  <a:pt x="830615" y="554362"/>
                  <a:pt x="831194" y="560380"/>
                </a:cubicBezTo>
                <a:lnTo>
                  <a:pt x="818926" y="591000"/>
                </a:lnTo>
                <a:lnTo>
                  <a:pt x="803168" y="630615"/>
                </a:lnTo>
                <a:lnTo>
                  <a:pt x="797910" y="666658"/>
                </a:lnTo>
                <a:lnTo>
                  <a:pt x="797910" y="699131"/>
                </a:lnTo>
                <a:lnTo>
                  <a:pt x="811931" y="724328"/>
                </a:lnTo>
                <a:lnTo>
                  <a:pt x="820678" y="744102"/>
                </a:lnTo>
                <a:lnTo>
                  <a:pt x="831194" y="764009"/>
                </a:lnTo>
                <a:lnTo>
                  <a:pt x="846952" y="771217"/>
                </a:lnTo>
                <a:lnTo>
                  <a:pt x="855715" y="781997"/>
                </a:lnTo>
                <a:lnTo>
                  <a:pt x="860973" y="803623"/>
                </a:lnTo>
                <a:lnTo>
                  <a:pt x="878484" y="816189"/>
                </a:lnTo>
                <a:lnTo>
                  <a:pt x="869736" y="827101"/>
                </a:lnTo>
                <a:lnTo>
                  <a:pt x="869736" y="839667"/>
                </a:lnTo>
                <a:cubicBezTo>
                  <a:pt x="870909" y="851042"/>
                  <a:pt x="872068" y="862483"/>
                  <a:pt x="873241" y="873859"/>
                </a:cubicBezTo>
                <a:lnTo>
                  <a:pt x="881989" y="900974"/>
                </a:lnTo>
                <a:lnTo>
                  <a:pt x="884995" y="909452"/>
                </a:lnTo>
                <a:lnTo>
                  <a:pt x="895347" y="923914"/>
                </a:lnTo>
                <a:lnTo>
                  <a:pt x="878221" y="938725"/>
                </a:lnTo>
                <a:lnTo>
                  <a:pt x="866804" y="946161"/>
                </a:lnTo>
                <a:lnTo>
                  <a:pt x="845899" y="946161"/>
                </a:lnTo>
                <a:lnTo>
                  <a:pt x="823064" y="946161"/>
                </a:lnTo>
                <a:lnTo>
                  <a:pt x="804048" y="947997"/>
                </a:lnTo>
                <a:lnTo>
                  <a:pt x="773615" y="936889"/>
                </a:lnTo>
                <a:lnTo>
                  <a:pt x="748891" y="920211"/>
                </a:lnTo>
                <a:lnTo>
                  <a:pt x="731765" y="910970"/>
                </a:lnTo>
                <a:lnTo>
                  <a:pt x="708970" y="901698"/>
                </a:lnTo>
                <a:lnTo>
                  <a:pt x="689954" y="901698"/>
                </a:lnTo>
                <a:lnTo>
                  <a:pt x="665230" y="901698"/>
                </a:lnTo>
                <a:lnTo>
                  <a:pt x="649994" y="910970"/>
                </a:lnTo>
                <a:lnTo>
                  <a:pt x="638577" y="925781"/>
                </a:lnTo>
                <a:lnTo>
                  <a:pt x="627159" y="942459"/>
                </a:lnTo>
                <a:cubicBezTo>
                  <a:pt x="625269" y="946784"/>
                  <a:pt x="623340" y="951077"/>
                  <a:pt x="621451" y="955402"/>
                </a:cubicBezTo>
                <a:cubicBezTo>
                  <a:pt x="618931" y="961563"/>
                  <a:pt x="616372" y="967755"/>
                  <a:pt x="613852" y="973916"/>
                </a:cubicBezTo>
                <a:lnTo>
                  <a:pt x="598655" y="986890"/>
                </a:lnTo>
                <a:lnTo>
                  <a:pt x="581529" y="1003568"/>
                </a:lnTo>
                <a:lnTo>
                  <a:pt x="566333" y="1012809"/>
                </a:lnTo>
                <a:lnTo>
                  <a:pt x="552986" y="1018379"/>
                </a:lnTo>
                <a:lnTo>
                  <a:pt x="535900" y="1022081"/>
                </a:lnTo>
                <a:lnTo>
                  <a:pt x="514325" y="1027651"/>
                </a:lnTo>
                <a:cubicBezTo>
                  <a:pt x="514522" y="1042461"/>
                  <a:pt x="514758" y="1057272"/>
                  <a:pt x="514955" y="1072083"/>
                </a:cubicBezTo>
                <a:lnTo>
                  <a:pt x="537789" y="1103571"/>
                </a:lnTo>
                <a:lnTo>
                  <a:pt x="552356" y="1120248"/>
                </a:lnTo>
                <a:lnTo>
                  <a:pt x="552356" y="1149870"/>
                </a:lnTo>
                <a:lnTo>
                  <a:pt x="539679" y="1165925"/>
                </a:lnTo>
                <a:lnTo>
                  <a:pt x="516845" y="1186927"/>
                </a:lnTo>
                <a:lnTo>
                  <a:pt x="503963" y="1193204"/>
                </a:lnTo>
                <a:cubicBezTo>
                  <a:pt x="503100" y="1207735"/>
                  <a:pt x="502356" y="1218195"/>
                  <a:pt x="501956" y="1218834"/>
                </a:cubicBezTo>
                <a:lnTo>
                  <a:pt x="501648" y="1209352"/>
                </a:lnTo>
                <a:lnTo>
                  <a:pt x="501648" y="1212846"/>
                </a:lnTo>
                <a:lnTo>
                  <a:pt x="500580" y="1209584"/>
                </a:lnTo>
                <a:lnTo>
                  <a:pt x="487359" y="1212848"/>
                </a:lnTo>
                <a:lnTo>
                  <a:pt x="473072" y="1209321"/>
                </a:lnTo>
                <a:lnTo>
                  <a:pt x="454022" y="1189919"/>
                </a:lnTo>
                <a:lnTo>
                  <a:pt x="446082" y="1181100"/>
                </a:lnTo>
                <a:lnTo>
                  <a:pt x="425447" y="1182865"/>
                </a:lnTo>
                <a:lnTo>
                  <a:pt x="426964" y="1179977"/>
                </a:lnTo>
                <a:lnTo>
                  <a:pt x="423647" y="1181100"/>
                </a:lnTo>
                <a:lnTo>
                  <a:pt x="425447" y="1167247"/>
                </a:lnTo>
                <a:lnTo>
                  <a:pt x="425447" y="1144735"/>
                </a:lnTo>
                <a:lnTo>
                  <a:pt x="425447" y="1122223"/>
                </a:lnTo>
                <a:lnTo>
                  <a:pt x="416465" y="1113565"/>
                </a:lnTo>
                <a:lnTo>
                  <a:pt x="403883" y="1089304"/>
                </a:lnTo>
                <a:lnTo>
                  <a:pt x="387710" y="1066793"/>
                </a:lnTo>
                <a:lnTo>
                  <a:pt x="378719" y="1044281"/>
                </a:lnTo>
                <a:lnTo>
                  <a:pt x="371537" y="1033891"/>
                </a:lnTo>
                <a:lnTo>
                  <a:pt x="353564" y="1023501"/>
                </a:lnTo>
                <a:lnTo>
                  <a:pt x="344572" y="1009648"/>
                </a:lnTo>
                <a:lnTo>
                  <a:pt x="330199" y="1009648"/>
                </a:lnTo>
                <a:lnTo>
                  <a:pt x="330200" y="1009647"/>
                </a:lnTo>
                <a:lnTo>
                  <a:pt x="330199" y="1009647"/>
                </a:lnTo>
                <a:lnTo>
                  <a:pt x="326637" y="980295"/>
                </a:lnTo>
                <a:lnTo>
                  <a:pt x="319490" y="967470"/>
                </a:lnTo>
                <a:cubicBezTo>
                  <a:pt x="317698" y="952794"/>
                  <a:pt x="315928" y="938152"/>
                  <a:pt x="314136" y="923476"/>
                </a:cubicBezTo>
                <a:lnTo>
                  <a:pt x="319490" y="919807"/>
                </a:lnTo>
                <a:lnTo>
                  <a:pt x="315928" y="895941"/>
                </a:lnTo>
                <a:lnTo>
                  <a:pt x="294511" y="862954"/>
                </a:lnTo>
                <a:lnTo>
                  <a:pt x="271323" y="831785"/>
                </a:lnTo>
                <a:lnTo>
                  <a:pt x="249906" y="829933"/>
                </a:lnTo>
                <a:lnTo>
                  <a:pt x="217780" y="828116"/>
                </a:lnTo>
                <a:lnTo>
                  <a:pt x="194592" y="828116"/>
                </a:lnTo>
                <a:lnTo>
                  <a:pt x="158904" y="756587"/>
                </a:lnTo>
                <a:lnTo>
                  <a:pt x="130362" y="697917"/>
                </a:lnTo>
                <a:lnTo>
                  <a:pt x="114299" y="666747"/>
                </a:lnTo>
                <a:lnTo>
                  <a:pt x="118565" y="665503"/>
                </a:lnTo>
                <a:lnTo>
                  <a:pt x="121227" y="656013"/>
                </a:lnTo>
                <a:lnTo>
                  <a:pt x="133348" y="641676"/>
                </a:lnTo>
                <a:lnTo>
                  <a:pt x="129881" y="627372"/>
                </a:lnTo>
                <a:lnTo>
                  <a:pt x="116026" y="621988"/>
                </a:lnTo>
                <a:lnTo>
                  <a:pt x="90050" y="609468"/>
                </a:lnTo>
                <a:lnTo>
                  <a:pt x="71008" y="593347"/>
                </a:lnTo>
                <a:lnTo>
                  <a:pt x="55419" y="564707"/>
                </a:lnTo>
                <a:lnTo>
                  <a:pt x="48485" y="539635"/>
                </a:lnTo>
                <a:lnTo>
                  <a:pt x="43298" y="519946"/>
                </a:lnTo>
                <a:cubicBezTo>
                  <a:pt x="43871" y="514595"/>
                  <a:pt x="44458" y="509211"/>
                  <a:pt x="45031" y="503860"/>
                </a:cubicBezTo>
                <a:lnTo>
                  <a:pt x="48485" y="485955"/>
                </a:lnTo>
                <a:lnTo>
                  <a:pt x="51952" y="478787"/>
                </a:lnTo>
                <a:cubicBezTo>
                  <a:pt x="51379" y="476397"/>
                  <a:pt x="50792" y="474008"/>
                  <a:pt x="50219" y="471618"/>
                </a:cubicBezTo>
                <a:lnTo>
                  <a:pt x="43298" y="469835"/>
                </a:lnTo>
                <a:lnTo>
                  <a:pt x="29443" y="464450"/>
                </a:lnTo>
                <a:lnTo>
                  <a:pt x="19055" y="444762"/>
                </a:lnTo>
                <a:lnTo>
                  <a:pt x="10388" y="428675"/>
                </a:lnTo>
                <a:lnTo>
                  <a:pt x="0" y="416122"/>
                </a:lnTo>
                <a:lnTo>
                  <a:pt x="0" y="396434"/>
                </a:lnTo>
                <a:lnTo>
                  <a:pt x="3467" y="374962"/>
                </a:lnTo>
                <a:lnTo>
                  <a:pt x="3467" y="348105"/>
                </a:lnTo>
                <a:lnTo>
                  <a:pt x="10388" y="342721"/>
                </a:lnTo>
                <a:lnTo>
                  <a:pt x="25077" y="330923"/>
                </a:lnTo>
                <a:lnTo>
                  <a:pt x="24589" y="329665"/>
                </a:lnTo>
                <a:lnTo>
                  <a:pt x="25955" y="330218"/>
                </a:lnTo>
                <a:lnTo>
                  <a:pt x="25976" y="330201"/>
                </a:lnTo>
                <a:lnTo>
                  <a:pt x="26052" y="330257"/>
                </a:lnTo>
                <a:lnTo>
                  <a:pt x="52796" y="341084"/>
                </a:lnTo>
                <a:lnTo>
                  <a:pt x="72616" y="342901"/>
                </a:lnTo>
                <a:lnTo>
                  <a:pt x="97391" y="336798"/>
                </a:lnTo>
                <a:lnTo>
                  <a:pt x="123396" y="333129"/>
                </a:lnTo>
                <a:lnTo>
                  <a:pt x="133921" y="325791"/>
                </a:lnTo>
                <a:lnTo>
                  <a:pt x="135767" y="315401"/>
                </a:lnTo>
                <a:lnTo>
                  <a:pt x="123396" y="298907"/>
                </a:lnTo>
                <a:cubicBezTo>
                  <a:pt x="122166" y="291981"/>
                  <a:pt x="120902" y="285054"/>
                  <a:pt x="119672" y="278128"/>
                </a:cubicBezTo>
                <a:lnTo>
                  <a:pt x="119672" y="263451"/>
                </a:lnTo>
                <a:lnTo>
                  <a:pt x="128966" y="250593"/>
                </a:lnTo>
                <a:lnTo>
                  <a:pt x="152478" y="227378"/>
                </a:lnTo>
                <a:cubicBezTo>
                  <a:pt x="153709" y="221686"/>
                  <a:pt x="154972" y="215960"/>
                  <a:pt x="156202" y="210268"/>
                </a:cubicBezTo>
                <a:lnTo>
                  <a:pt x="149401" y="192540"/>
                </a:lnTo>
                <a:lnTo>
                  <a:pt x="135767" y="180915"/>
                </a:lnTo>
                <a:lnTo>
                  <a:pt x="119057" y="166856"/>
                </a:lnTo>
                <a:cubicBezTo>
                  <a:pt x="118636" y="161164"/>
                  <a:pt x="118247" y="155438"/>
                  <a:pt x="117826" y="149746"/>
                </a:cubicBezTo>
                <a:cubicBezTo>
                  <a:pt x="118247" y="141996"/>
                  <a:pt x="118636" y="134281"/>
                  <a:pt x="119057" y="126531"/>
                </a:cubicBezTo>
                <a:lnTo>
                  <a:pt x="136383" y="118576"/>
                </a:lnTo>
                <a:lnTo>
                  <a:pt x="145677" y="108186"/>
                </a:lnTo>
                <a:lnTo>
                  <a:pt x="154972" y="93510"/>
                </a:lnTo>
                <a:lnTo>
                  <a:pt x="154972" y="80685"/>
                </a:lnTo>
                <a:lnTo>
                  <a:pt x="163651" y="69061"/>
                </a:lnTo>
                <a:lnTo>
                  <a:pt x="176637" y="67861"/>
                </a:lnTo>
                <a:lnTo>
                  <a:pt x="188393" y="49516"/>
                </a:lnTo>
                <a:lnTo>
                  <a:pt x="193996" y="36074"/>
                </a:lnTo>
                <a:cubicBezTo>
                  <a:pt x="196457" y="31171"/>
                  <a:pt x="198951" y="26301"/>
                  <a:pt x="201412" y="21398"/>
                </a:cubicBezTo>
                <a:lnTo>
                  <a:pt x="216277" y="10391"/>
                </a:lnTo>
                <a:lnTo>
                  <a:pt x="232988" y="10391"/>
                </a:lnTo>
                <a:lnTo>
                  <a:pt x="247237" y="22015"/>
                </a:lnTo>
                <a:lnTo>
                  <a:pt x="265826" y="38509"/>
                </a:lnTo>
                <a:lnTo>
                  <a:pt x="278813" y="43412"/>
                </a:lnTo>
                <a:cubicBezTo>
                  <a:pt x="280270" y="47287"/>
                  <a:pt x="281695" y="51127"/>
                  <a:pt x="283152" y="55002"/>
                </a:cubicBezTo>
                <a:lnTo>
                  <a:pt x="298017" y="56854"/>
                </a:lnTo>
                <a:lnTo>
                  <a:pt x="303587" y="59906"/>
                </a:lnTo>
                <a:lnTo>
                  <a:pt x="333317" y="58054"/>
                </a:lnTo>
                <a:lnTo>
                  <a:pt x="347535" y="51333"/>
                </a:lnTo>
                <a:lnTo>
                  <a:pt x="343842" y="28736"/>
                </a:lnTo>
                <a:cubicBezTo>
                  <a:pt x="344652" y="22838"/>
                  <a:pt x="345494" y="16906"/>
                  <a:pt x="346304" y="11008"/>
                </a:cubicBezTo>
                <a:lnTo>
                  <a:pt x="355598" y="1"/>
                </a:lnTo>
                <a:lnTo>
                  <a:pt x="355599" y="3"/>
                </a:lnTo>
                <a:close/>
              </a:path>
            </a:pathLst>
          </a:custGeom>
          <a:solidFill>
            <a:srgbClr val="70B0DF"/>
          </a:solidFill>
          <a:ln w="3175" cap="flat" cmpd="sng">
            <a:noFill/>
            <a:prstDash val="solid"/>
            <a:round/>
            <a:headEnd type="none" w="med" len="med"/>
            <a:tailEnd type="none" w="med" len="med"/>
          </a:ln>
        </p:spPr>
        <p:txBody>
          <a:bodyPr wrap="none" lIns="32632" tIns="32632" rIns="32632" bIns="32632" anchor="ctr"/>
          <a:lstStyle/>
          <a:p>
            <a:pPr defTabSz="891045"/>
            <a:endParaRPr lang="en-US" sz="1700" dirty="0">
              <a:solidFill>
                <a:srgbClr val="003149"/>
              </a:solidFill>
              <a:cs typeface="Arial" panose="020B0604020202020204" pitchFamily="34" charset="0"/>
            </a:endParaRPr>
          </a:p>
        </p:txBody>
      </p:sp>
      <p:sp>
        <p:nvSpPr>
          <p:cNvPr id="61" name="Freeform 339"/>
          <p:cNvSpPr>
            <a:spLocks noChangeAspect="1"/>
          </p:cNvSpPr>
          <p:nvPr/>
        </p:nvSpPr>
        <p:spPr bwMode="gray">
          <a:xfrm>
            <a:off x="2183917" y="3298396"/>
            <a:ext cx="196190" cy="239618"/>
          </a:xfrm>
          <a:custGeom>
            <a:avLst/>
            <a:gdLst>
              <a:gd name="T0" fmla="*/ 0 w 1136660"/>
              <a:gd name="T1" fmla="*/ 0 h 1222642"/>
              <a:gd name="T2" fmla="*/ 0 w 1136660"/>
              <a:gd name="T3" fmla="*/ 0 h 1222642"/>
              <a:gd name="T4" fmla="*/ 0 w 1136660"/>
              <a:gd name="T5" fmla="*/ 0 h 1222642"/>
              <a:gd name="T6" fmla="*/ 0 w 1136660"/>
              <a:gd name="T7" fmla="*/ 0 h 1222642"/>
              <a:gd name="T8" fmla="*/ 0 w 1136660"/>
              <a:gd name="T9" fmla="*/ 0 h 1222642"/>
              <a:gd name="T10" fmla="*/ 0 w 1136660"/>
              <a:gd name="T11" fmla="*/ 0 h 1222642"/>
              <a:gd name="T12" fmla="*/ 0 w 1136660"/>
              <a:gd name="T13" fmla="*/ 0 h 1222642"/>
              <a:gd name="T14" fmla="*/ 0 w 1136660"/>
              <a:gd name="T15" fmla="*/ 0 h 1222642"/>
              <a:gd name="T16" fmla="*/ 0 w 1136660"/>
              <a:gd name="T17" fmla="*/ 0 h 1222642"/>
              <a:gd name="T18" fmla="*/ 0 w 1136660"/>
              <a:gd name="T19" fmla="*/ 0 h 1222642"/>
              <a:gd name="T20" fmla="*/ 0 w 1136660"/>
              <a:gd name="T21" fmla="*/ 0 h 1222642"/>
              <a:gd name="T22" fmla="*/ 0 w 1136660"/>
              <a:gd name="T23" fmla="*/ 0 h 1222642"/>
              <a:gd name="T24" fmla="*/ 0 w 1136660"/>
              <a:gd name="T25" fmla="*/ 0 h 1222642"/>
              <a:gd name="T26" fmla="*/ 0 w 1136660"/>
              <a:gd name="T27" fmla="*/ 0 h 1222642"/>
              <a:gd name="T28" fmla="*/ 0 w 1136660"/>
              <a:gd name="T29" fmla="*/ 0 h 1222642"/>
              <a:gd name="T30" fmla="*/ 0 w 1136660"/>
              <a:gd name="T31" fmla="*/ 0 h 1222642"/>
              <a:gd name="T32" fmla="*/ 0 w 1136660"/>
              <a:gd name="T33" fmla="*/ 0 h 1222642"/>
              <a:gd name="T34" fmla="*/ 0 w 1136660"/>
              <a:gd name="T35" fmla="*/ 0 h 1222642"/>
              <a:gd name="T36" fmla="*/ 0 w 1136660"/>
              <a:gd name="T37" fmla="*/ 0 h 1222642"/>
              <a:gd name="T38" fmla="*/ 0 w 1136660"/>
              <a:gd name="T39" fmla="*/ 0 h 1222642"/>
              <a:gd name="T40" fmla="*/ 0 w 1136660"/>
              <a:gd name="T41" fmla="*/ 0 h 1222642"/>
              <a:gd name="T42" fmla="*/ 0 w 1136660"/>
              <a:gd name="T43" fmla="*/ 0 h 1222642"/>
              <a:gd name="T44" fmla="*/ 0 w 1136660"/>
              <a:gd name="T45" fmla="*/ 0 h 1222642"/>
              <a:gd name="T46" fmla="*/ 0 w 1136660"/>
              <a:gd name="T47" fmla="*/ 0 h 1222642"/>
              <a:gd name="T48" fmla="*/ 0 w 1136660"/>
              <a:gd name="T49" fmla="*/ 0 h 1222642"/>
              <a:gd name="T50" fmla="*/ 0 w 1136660"/>
              <a:gd name="T51" fmla="*/ 0 h 1222642"/>
              <a:gd name="T52" fmla="*/ 0 w 1136660"/>
              <a:gd name="T53" fmla="*/ 0 h 1222642"/>
              <a:gd name="T54" fmla="*/ 0 w 1136660"/>
              <a:gd name="T55" fmla="*/ 0 h 1222642"/>
              <a:gd name="T56" fmla="*/ 0 w 1136660"/>
              <a:gd name="T57" fmla="*/ 0 h 1222642"/>
              <a:gd name="T58" fmla="*/ 0 w 1136660"/>
              <a:gd name="T59" fmla="*/ 0 h 1222642"/>
              <a:gd name="T60" fmla="*/ 0 w 1136660"/>
              <a:gd name="T61" fmla="*/ 0 h 1222642"/>
              <a:gd name="T62" fmla="*/ 0 w 1136660"/>
              <a:gd name="T63" fmla="*/ 0 h 1222642"/>
              <a:gd name="T64" fmla="*/ 0 w 1136660"/>
              <a:gd name="T65" fmla="*/ 0 h 1222642"/>
              <a:gd name="T66" fmla="*/ 0 w 1136660"/>
              <a:gd name="T67" fmla="*/ 0 h 1222642"/>
              <a:gd name="T68" fmla="*/ 0 w 1136660"/>
              <a:gd name="T69" fmla="*/ 0 h 1222642"/>
              <a:gd name="T70" fmla="*/ 0 w 1136660"/>
              <a:gd name="T71" fmla="*/ 0 h 1222642"/>
              <a:gd name="T72" fmla="*/ 0 w 1136660"/>
              <a:gd name="T73" fmla="*/ 0 h 1222642"/>
              <a:gd name="T74" fmla="*/ 0 w 1136660"/>
              <a:gd name="T75" fmla="*/ 0 h 1222642"/>
              <a:gd name="T76" fmla="*/ 0 w 1136660"/>
              <a:gd name="T77" fmla="*/ 0 h 1222642"/>
              <a:gd name="T78" fmla="*/ 0 w 1136660"/>
              <a:gd name="T79" fmla="*/ 0 h 1222642"/>
              <a:gd name="T80" fmla="*/ 0 w 1136660"/>
              <a:gd name="T81" fmla="*/ 0 h 1222642"/>
              <a:gd name="T82" fmla="*/ 0 w 1136660"/>
              <a:gd name="T83" fmla="*/ 0 h 1222642"/>
              <a:gd name="T84" fmla="*/ 0 w 1136660"/>
              <a:gd name="T85" fmla="*/ 0 h 1222642"/>
              <a:gd name="T86" fmla="*/ 0 w 1136660"/>
              <a:gd name="T87" fmla="*/ 0 h 1222642"/>
              <a:gd name="T88" fmla="*/ 0 w 1136660"/>
              <a:gd name="T89" fmla="*/ 0 h 1222642"/>
              <a:gd name="T90" fmla="*/ 0 w 1136660"/>
              <a:gd name="T91" fmla="*/ 0 h 1222642"/>
              <a:gd name="T92" fmla="*/ 0 w 1136660"/>
              <a:gd name="T93" fmla="*/ 0 h 1222642"/>
              <a:gd name="T94" fmla="*/ 0 w 1136660"/>
              <a:gd name="T95" fmla="*/ 0 h 1222642"/>
              <a:gd name="T96" fmla="*/ 0 w 1136660"/>
              <a:gd name="T97" fmla="*/ 0 h 1222642"/>
              <a:gd name="T98" fmla="*/ 0 w 1136660"/>
              <a:gd name="T99" fmla="*/ 0 h 1222642"/>
              <a:gd name="T100" fmla="*/ 0 w 1136660"/>
              <a:gd name="T101" fmla="*/ 0 h 1222642"/>
              <a:gd name="T102" fmla="*/ 0 w 1136660"/>
              <a:gd name="T103" fmla="*/ 0 h 1222642"/>
              <a:gd name="T104" fmla="*/ 0 w 1136660"/>
              <a:gd name="T105" fmla="*/ 0 h 1222642"/>
              <a:gd name="T106" fmla="*/ 0 w 1136660"/>
              <a:gd name="T107" fmla="*/ 0 h 1222642"/>
              <a:gd name="T108" fmla="*/ 0 w 1136660"/>
              <a:gd name="T109" fmla="*/ 0 h 1222642"/>
              <a:gd name="T110" fmla="*/ 0 w 1136660"/>
              <a:gd name="T111" fmla="*/ 0 h 1222642"/>
              <a:gd name="T112" fmla="*/ 0 w 1136660"/>
              <a:gd name="T113" fmla="*/ 0 h 1222642"/>
              <a:gd name="T114" fmla="*/ 0 w 1136660"/>
              <a:gd name="T115" fmla="*/ 0 h 1222642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w 1136660"/>
              <a:gd name="T175" fmla="*/ 0 h 1222642"/>
              <a:gd name="T176" fmla="*/ 1136660 w 1136660"/>
              <a:gd name="T177" fmla="*/ 1222642 h 1222642"/>
            </a:gdLst>
            <a:ahLst/>
            <a:cxnLst>
              <a:cxn ang="T116">
                <a:pos x="T0" y="T1"/>
              </a:cxn>
              <a:cxn ang="T117">
                <a:pos x="T2" y="T3"/>
              </a:cxn>
              <a:cxn ang="T118">
                <a:pos x="T4" y="T5"/>
              </a:cxn>
              <a:cxn ang="T119">
                <a:pos x="T6" y="T7"/>
              </a:cxn>
              <a:cxn ang="T120">
                <a:pos x="T8" y="T9"/>
              </a:cxn>
              <a:cxn ang="T121">
                <a:pos x="T10" y="T11"/>
              </a:cxn>
              <a:cxn ang="T122">
                <a:pos x="T12" y="T13"/>
              </a:cxn>
              <a:cxn ang="T123">
                <a:pos x="T14" y="T15"/>
              </a:cxn>
              <a:cxn ang="T124">
                <a:pos x="T16" y="T17"/>
              </a:cxn>
              <a:cxn ang="T125">
                <a:pos x="T18" y="T19"/>
              </a:cxn>
              <a:cxn ang="T126">
                <a:pos x="T20" y="T21"/>
              </a:cxn>
              <a:cxn ang="T127">
                <a:pos x="T22" y="T23"/>
              </a:cxn>
              <a:cxn ang="T128">
                <a:pos x="T24" y="T25"/>
              </a:cxn>
              <a:cxn ang="T129">
                <a:pos x="T26" y="T27"/>
              </a:cxn>
              <a:cxn ang="T130">
                <a:pos x="T28" y="T29"/>
              </a:cxn>
              <a:cxn ang="T131">
                <a:pos x="T30" y="T31"/>
              </a:cxn>
              <a:cxn ang="T132">
                <a:pos x="T32" y="T33"/>
              </a:cxn>
              <a:cxn ang="T133">
                <a:pos x="T34" y="T35"/>
              </a:cxn>
              <a:cxn ang="T134">
                <a:pos x="T36" y="T37"/>
              </a:cxn>
              <a:cxn ang="T135">
                <a:pos x="T38" y="T39"/>
              </a:cxn>
              <a:cxn ang="T136">
                <a:pos x="T40" y="T41"/>
              </a:cxn>
              <a:cxn ang="T137">
                <a:pos x="T42" y="T43"/>
              </a:cxn>
              <a:cxn ang="T138">
                <a:pos x="T44" y="T45"/>
              </a:cxn>
              <a:cxn ang="T139">
                <a:pos x="T46" y="T47"/>
              </a:cxn>
              <a:cxn ang="T140">
                <a:pos x="T48" y="T49"/>
              </a:cxn>
              <a:cxn ang="T141">
                <a:pos x="T50" y="T51"/>
              </a:cxn>
              <a:cxn ang="T142">
                <a:pos x="T52" y="T53"/>
              </a:cxn>
              <a:cxn ang="T143">
                <a:pos x="T54" y="T55"/>
              </a:cxn>
              <a:cxn ang="T144">
                <a:pos x="T56" y="T57"/>
              </a:cxn>
              <a:cxn ang="T145">
                <a:pos x="T58" y="T59"/>
              </a:cxn>
              <a:cxn ang="T146">
                <a:pos x="T60" y="T61"/>
              </a:cxn>
              <a:cxn ang="T147">
                <a:pos x="T62" y="T63"/>
              </a:cxn>
              <a:cxn ang="T148">
                <a:pos x="T64" y="T65"/>
              </a:cxn>
              <a:cxn ang="T149">
                <a:pos x="T66" y="T67"/>
              </a:cxn>
              <a:cxn ang="T150">
                <a:pos x="T68" y="T69"/>
              </a:cxn>
              <a:cxn ang="T151">
                <a:pos x="T70" y="T71"/>
              </a:cxn>
              <a:cxn ang="T152">
                <a:pos x="T72" y="T73"/>
              </a:cxn>
              <a:cxn ang="T153">
                <a:pos x="T74" y="T75"/>
              </a:cxn>
              <a:cxn ang="T154">
                <a:pos x="T76" y="T77"/>
              </a:cxn>
              <a:cxn ang="T155">
                <a:pos x="T78" y="T79"/>
              </a:cxn>
              <a:cxn ang="T156">
                <a:pos x="T80" y="T81"/>
              </a:cxn>
              <a:cxn ang="T157">
                <a:pos x="T82" y="T83"/>
              </a:cxn>
              <a:cxn ang="T158">
                <a:pos x="T84" y="T85"/>
              </a:cxn>
              <a:cxn ang="T159">
                <a:pos x="T86" y="T87"/>
              </a:cxn>
              <a:cxn ang="T160">
                <a:pos x="T88" y="T89"/>
              </a:cxn>
              <a:cxn ang="T161">
                <a:pos x="T90" y="T91"/>
              </a:cxn>
              <a:cxn ang="T162">
                <a:pos x="T92" y="T93"/>
              </a:cxn>
              <a:cxn ang="T163">
                <a:pos x="T94" y="T95"/>
              </a:cxn>
              <a:cxn ang="T164">
                <a:pos x="T96" y="T97"/>
              </a:cxn>
              <a:cxn ang="T165">
                <a:pos x="T98" y="T99"/>
              </a:cxn>
              <a:cxn ang="T166">
                <a:pos x="T100" y="T101"/>
              </a:cxn>
              <a:cxn ang="T167">
                <a:pos x="T102" y="T103"/>
              </a:cxn>
              <a:cxn ang="T168">
                <a:pos x="T104" y="T105"/>
              </a:cxn>
              <a:cxn ang="T169">
                <a:pos x="T106" y="T107"/>
              </a:cxn>
              <a:cxn ang="T170">
                <a:pos x="T108" y="T109"/>
              </a:cxn>
              <a:cxn ang="T171">
                <a:pos x="T110" y="T111"/>
              </a:cxn>
              <a:cxn ang="T172">
                <a:pos x="T112" y="T113"/>
              </a:cxn>
              <a:cxn ang="T173">
                <a:pos x="T114" y="T115"/>
              </a:cxn>
            </a:cxnLst>
            <a:rect l="T174" t="T175" r="T176" b="T177"/>
            <a:pathLst>
              <a:path w="1136660" h="1222642">
                <a:moveTo>
                  <a:pt x="692867" y="0"/>
                </a:moveTo>
                <a:cubicBezTo>
                  <a:pt x="695408" y="7458"/>
                  <a:pt x="697385" y="14305"/>
                  <a:pt x="698985" y="22252"/>
                </a:cubicBezTo>
                <a:cubicBezTo>
                  <a:pt x="699455" y="28977"/>
                  <a:pt x="699832" y="36068"/>
                  <a:pt x="701338" y="42670"/>
                </a:cubicBezTo>
                <a:cubicBezTo>
                  <a:pt x="704067" y="48172"/>
                  <a:pt x="707173" y="54285"/>
                  <a:pt x="709620" y="59298"/>
                </a:cubicBezTo>
                <a:lnTo>
                  <a:pt x="742089" y="78983"/>
                </a:lnTo>
                <a:lnTo>
                  <a:pt x="776252" y="100746"/>
                </a:lnTo>
                <a:lnTo>
                  <a:pt x="776252" y="124098"/>
                </a:lnTo>
                <a:cubicBezTo>
                  <a:pt x="784440" y="134491"/>
                  <a:pt x="793475" y="144027"/>
                  <a:pt x="801287" y="153931"/>
                </a:cubicBezTo>
                <a:lnTo>
                  <a:pt x="830274" y="165057"/>
                </a:lnTo>
                <a:cubicBezTo>
                  <a:pt x="832156" y="156987"/>
                  <a:pt x="833944" y="147940"/>
                  <a:pt x="835638" y="139748"/>
                </a:cubicBezTo>
                <a:cubicBezTo>
                  <a:pt x="829427" y="128255"/>
                  <a:pt x="823874" y="117618"/>
                  <a:pt x="817945" y="106125"/>
                </a:cubicBezTo>
                <a:lnTo>
                  <a:pt x="839215" y="106125"/>
                </a:lnTo>
                <a:lnTo>
                  <a:pt x="871402" y="117129"/>
                </a:lnTo>
                <a:lnTo>
                  <a:pt x="889377" y="132901"/>
                </a:lnTo>
                <a:cubicBezTo>
                  <a:pt x="896436" y="138648"/>
                  <a:pt x="904059" y="144394"/>
                  <a:pt x="910741" y="150507"/>
                </a:cubicBezTo>
                <a:lnTo>
                  <a:pt x="941140" y="150507"/>
                </a:lnTo>
                <a:lnTo>
                  <a:pt x="938705" y="152789"/>
                </a:lnTo>
                <a:lnTo>
                  <a:pt x="938873" y="152684"/>
                </a:lnTo>
                <a:cubicBezTo>
                  <a:pt x="936973" y="156421"/>
                  <a:pt x="920824" y="176805"/>
                  <a:pt x="918924" y="180542"/>
                </a:cubicBezTo>
                <a:cubicBezTo>
                  <a:pt x="917890" y="184890"/>
                  <a:pt x="916828" y="189239"/>
                  <a:pt x="915794" y="193587"/>
                </a:cubicBezTo>
                <a:lnTo>
                  <a:pt x="921438" y="203507"/>
                </a:lnTo>
                <a:lnTo>
                  <a:pt x="934039" y="208467"/>
                </a:lnTo>
                <a:lnTo>
                  <a:pt x="947255" y="210370"/>
                </a:lnTo>
                <a:lnTo>
                  <a:pt x="951027" y="218455"/>
                </a:lnTo>
                <a:lnTo>
                  <a:pt x="941583" y="225250"/>
                </a:lnTo>
                <a:lnTo>
                  <a:pt x="917052" y="236460"/>
                </a:lnTo>
                <a:lnTo>
                  <a:pt x="889363" y="240809"/>
                </a:lnTo>
                <a:lnTo>
                  <a:pt x="866061" y="250117"/>
                </a:lnTo>
                <a:lnTo>
                  <a:pt x="857260" y="265065"/>
                </a:lnTo>
                <a:lnTo>
                  <a:pt x="864804" y="271928"/>
                </a:lnTo>
                <a:lnTo>
                  <a:pt x="887463" y="281848"/>
                </a:lnTo>
                <a:lnTo>
                  <a:pt x="898779" y="285585"/>
                </a:lnTo>
                <a:lnTo>
                  <a:pt x="903836" y="300465"/>
                </a:lnTo>
                <a:lnTo>
                  <a:pt x="908223" y="315413"/>
                </a:lnTo>
                <a:lnTo>
                  <a:pt x="915152" y="315413"/>
                </a:lnTo>
                <a:lnTo>
                  <a:pt x="934654" y="314801"/>
                </a:lnTo>
                <a:lnTo>
                  <a:pt x="945998" y="309230"/>
                </a:lnTo>
                <a:lnTo>
                  <a:pt x="964857" y="311676"/>
                </a:lnTo>
                <a:lnTo>
                  <a:pt x="981845" y="313578"/>
                </a:lnTo>
                <a:lnTo>
                  <a:pt x="991288" y="307939"/>
                </a:lnTo>
                <a:lnTo>
                  <a:pt x="1008276" y="309230"/>
                </a:lnTo>
                <a:lnTo>
                  <a:pt x="1021491" y="319150"/>
                </a:lnTo>
                <a:lnTo>
                  <a:pt x="1038479" y="328458"/>
                </a:lnTo>
                <a:lnTo>
                  <a:pt x="1049180" y="343406"/>
                </a:lnTo>
                <a:lnTo>
                  <a:pt x="1062396" y="359577"/>
                </a:lnTo>
                <a:lnTo>
                  <a:pt x="1090727" y="383766"/>
                </a:lnTo>
                <a:lnTo>
                  <a:pt x="1103942" y="394977"/>
                </a:lnTo>
                <a:cubicBezTo>
                  <a:pt x="1104557" y="400548"/>
                  <a:pt x="1105200" y="406188"/>
                  <a:pt x="1105814" y="411759"/>
                </a:cubicBezTo>
                <a:lnTo>
                  <a:pt x="1115258" y="425416"/>
                </a:lnTo>
                <a:lnTo>
                  <a:pt x="1119030" y="455312"/>
                </a:lnTo>
                <a:lnTo>
                  <a:pt x="1097013" y="475832"/>
                </a:lnTo>
                <a:lnTo>
                  <a:pt x="1068067" y="488266"/>
                </a:lnTo>
                <a:lnTo>
                  <a:pt x="1068067" y="503146"/>
                </a:lnTo>
                <a:lnTo>
                  <a:pt x="1068067" y="522442"/>
                </a:lnTo>
                <a:cubicBezTo>
                  <a:pt x="1067006" y="528421"/>
                  <a:pt x="1065972" y="534468"/>
                  <a:pt x="1064910" y="540447"/>
                </a:cubicBezTo>
                <a:lnTo>
                  <a:pt x="1058624" y="572789"/>
                </a:lnTo>
                <a:lnTo>
                  <a:pt x="1047308" y="572789"/>
                </a:lnTo>
                <a:lnTo>
                  <a:pt x="1040379" y="575915"/>
                </a:lnTo>
                <a:lnTo>
                  <a:pt x="1032192" y="579584"/>
                </a:lnTo>
                <a:lnTo>
                  <a:pt x="1028421" y="595143"/>
                </a:lnTo>
                <a:cubicBezTo>
                  <a:pt x="1029259" y="601123"/>
                  <a:pt x="1030097" y="607170"/>
                  <a:pt x="1030935" y="613149"/>
                </a:cubicBezTo>
                <a:lnTo>
                  <a:pt x="1041636" y="628097"/>
                </a:lnTo>
                <a:lnTo>
                  <a:pt x="1057366" y="641142"/>
                </a:lnTo>
                <a:lnTo>
                  <a:pt x="1076254" y="652965"/>
                </a:lnTo>
                <a:lnTo>
                  <a:pt x="1086955" y="670970"/>
                </a:lnTo>
                <a:cubicBezTo>
                  <a:pt x="1087151" y="676134"/>
                  <a:pt x="1087374" y="681366"/>
                  <a:pt x="1087570" y="686530"/>
                </a:cubicBezTo>
                <a:lnTo>
                  <a:pt x="1092599" y="708272"/>
                </a:lnTo>
                <a:lnTo>
                  <a:pt x="1100785" y="725055"/>
                </a:lnTo>
                <a:lnTo>
                  <a:pt x="1117773" y="736877"/>
                </a:lnTo>
                <a:lnTo>
                  <a:pt x="1129116" y="744351"/>
                </a:lnTo>
                <a:lnTo>
                  <a:pt x="1136660" y="754883"/>
                </a:lnTo>
                <a:lnTo>
                  <a:pt x="1121545" y="767996"/>
                </a:lnTo>
                <a:lnTo>
                  <a:pt x="1113386" y="777916"/>
                </a:lnTo>
                <a:cubicBezTo>
                  <a:pt x="1114001" y="785390"/>
                  <a:pt x="1114643" y="792796"/>
                  <a:pt x="1115258" y="800270"/>
                </a:cubicBezTo>
                <a:lnTo>
                  <a:pt x="1107714" y="805910"/>
                </a:lnTo>
                <a:lnTo>
                  <a:pt x="1091342" y="818344"/>
                </a:lnTo>
                <a:lnTo>
                  <a:pt x="1079383" y="832001"/>
                </a:lnTo>
                <a:lnTo>
                  <a:pt x="1068710" y="848783"/>
                </a:lnTo>
                <a:lnTo>
                  <a:pt x="1066470" y="848100"/>
                </a:lnTo>
                <a:lnTo>
                  <a:pt x="1066811" y="848783"/>
                </a:lnTo>
                <a:lnTo>
                  <a:pt x="1057517" y="859791"/>
                </a:lnTo>
                <a:cubicBezTo>
                  <a:pt x="1056707" y="865688"/>
                  <a:pt x="1055865" y="871621"/>
                  <a:pt x="1055055" y="877518"/>
                </a:cubicBezTo>
                <a:lnTo>
                  <a:pt x="1058747" y="900116"/>
                </a:lnTo>
                <a:lnTo>
                  <a:pt x="1044530" y="906836"/>
                </a:lnTo>
                <a:lnTo>
                  <a:pt x="1014801" y="908688"/>
                </a:lnTo>
                <a:lnTo>
                  <a:pt x="1009230" y="905636"/>
                </a:lnTo>
                <a:lnTo>
                  <a:pt x="994365" y="903785"/>
                </a:lnTo>
                <a:cubicBezTo>
                  <a:pt x="992908" y="899910"/>
                  <a:pt x="991483" y="896069"/>
                  <a:pt x="990026" y="892195"/>
                </a:cubicBezTo>
                <a:lnTo>
                  <a:pt x="977039" y="887291"/>
                </a:lnTo>
                <a:lnTo>
                  <a:pt x="958450" y="870798"/>
                </a:lnTo>
                <a:lnTo>
                  <a:pt x="944201" y="859173"/>
                </a:lnTo>
                <a:lnTo>
                  <a:pt x="927490" y="859173"/>
                </a:lnTo>
                <a:lnTo>
                  <a:pt x="912625" y="870180"/>
                </a:lnTo>
                <a:cubicBezTo>
                  <a:pt x="910164" y="875084"/>
                  <a:pt x="907670" y="879953"/>
                  <a:pt x="905209" y="884857"/>
                </a:cubicBezTo>
                <a:lnTo>
                  <a:pt x="899606" y="898298"/>
                </a:lnTo>
                <a:lnTo>
                  <a:pt x="887850" y="916643"/>
                </a:lnTo>
                <a:lnTo>
                  <a:pt x="874864" y="917843"/>
                </a:lnTo>
                <a:lnTo>
                  <a:pt x="866185" y="929468"/>
                </a:lnTo>
                <a:lnTo>
                  <a:pt x="866185" y="942292"/>
                </a:lnTo>
                <a:lnTo>
                  <a:pt x="856890" y="956968"/>
                </a:lnTo>
                <a:lnTo>
                  <a:pt x="847596" y="967358"/>
                </a:lnTo>
                <a:lnTo>
                  <a:pt x="830270" y="975313"/>
                </a:lnTo>
                <a:cubicBezTo>
                  <a:pt x="829849" y="983063"/>
                  <a:pt x="829460" y="990778"/>
                  <a:pt x="829039" y="998528"/>
                </a:cubicBezTo>
                <a:cubicBezTo>
                  <a:pt x="829460" y="1004220"/>
                  <a:pt x="829849" y="1009946"/>
                  <a:pt x="830270" y="1015638"/>
                </a:cubicBezTo>
                <a:lnTo>
                  <a:pt x="846980" y="1029697"/>
                </a:lnTo>
                <a:lnTo>
                  <a:pt x="860615" y="1041322"/>
                </a:lnTo>
                <a:lnTo>
                  <a:pt x="867415" y="1059049"/>
                </a:lnTo>
                <a:cubicBezTo>
                  <a:pt x="866185" y="1064742"/>
                  <a:pt x="864922" y="1070468"/>
                  <a:pt x="863691" y="1076160"/>
                </a:cubicBezTo>
                <a:lnTo>
                  <a:pt x="840179" y="1099374"/>
                </a:lnTo>
                <a:lnTo>
                  <a:pt x="830885" y="1112233"/>
                </a:lnTo>
                <a:lnTo>
                  <a:pt x="830885" y="1126909"/>
                </a:lnTo>
                <a:cubicBezTo>
                  <a:pt x="832116" y="1133836"/>
                  <a:pt x="833379" y="1140762"/>
                  <a:pt x="834609" y="1147689"/>
                </a:cubicBezTo>
                <a:lnTo>
                  <a:pt x="846980" y="1164182"/>
                </a:lnTo>
                <a:lnTo>
                  <a:pt x="845134" y="1174572"/>
                </a:lnTo>
                <a:lnTo>
                  <a:pt x="834609" y="1181910"/>
                </a:lnTo>
                <a:lnTo>
                  <a:pt x="808604" y="1185579"/>
                </a:lnTo>
                <a:lnTo>
                  <a:pt x="783829" y="1191683"/>
                </a:lnTo>
                <a:lnTo>
                  <a:pt x="764009" y="1189866"/>
                </a:lnTo>
                <a:lnTo>
                  <a:pt x="735802" y="1178447"/>
                </a:lnTo>
                <a:lnTo>
                  <a:pt x="735075" y="1177641"/>
                </a:lnTo>
                <a:lnTo>
                  <a:pt x="700905" y="1166993"/>
                </a:lnTo>
                <a:lnTo>
                  <a:pt x="668774" y="1159580"/>
                </a:lnTo>
                <a:lnTo>
                  <a:pt x="650892" y="1154016"/>
                </a:lnTo>
                <a:lnTo>
                  <a:pt x="640219" y="1157714"/>
                </a:lnTo>
                <a:lnTo>
                  <a:pt x="618761" y="1157714"/>
                </a:lnTo>
                <a:cubicBezTo>
                  <a:pt x="614626" y="1155237"/>
                  <a:pt x="610435" y="1152777"/>
                  <a:pt x="606300" y="1150301"/>
                </a:cubicBezTo>
                <a:cubicBezTo>
                  <a:pt x="602109" y="1147214"/>
                  <a:pt x="597974" y="1144110"/>
                  <a:pt x="593783" y="1141022"/>
                </a:cubicBezTo>
                <a:lnTo>
                  <a:pt x="579478" y="1135458"/>
                </a:lnTo>
                <a:lnTo>
                  <a:pt x="567016" y="1126180"/>
                </a:lnTo>
                <a:cubicBezTo>
                  <a:pt x="564055" y="1121243"/>
                  <a:pt x="561037" y="1116290"/>
                  <a:pt x="558076" y="1111354"/>
                </a:cubicBezTo>
                <a:lnTo>
                  <a:pt x="543826" y="1089082"/>
                </a:lnTo>
                <a:lnTo>
                  <a:pt x="525945" y="1072390"/>
                </a:lnTo>
                <a:lnTo>
                  <a:pt x="515216" y="1057548"/>
                </a:lnTo>
                <a:lnTo>
                  <a:pt x="506331" y="1051984"/>
                </a:lnTo>
                <a:lnTo>
                  <a:pt x="456318" y="1053833"/>
                </a:lnTo>
                <a:cubicBezTo>
                  <a:pt x="451568" y="1059397"/>
                  <a:pt x="446763" y="1064977"/>
                  <a:pt x="442013" y="1070541"/>
                </a:cubicBezTo>
                <a:lnTo>
                  <a:pt x="418823" y="1090947"/>
                </a:lnTo>
                <a:cubicBezTo>
                  <a:pt x="414632" y="1092796"/>
                  <a:pt x="410497" y="1094662"/>
                  <a:pt x="406306" y="1096511"/>
                </a:cubicBezTo>
                <a:lnTo>
                  <a:pt x="363502" y="1096511"/>
                </a:lnTo>
                <a:lnTo>
                  <a:pt x="338467" y="1096511"/>
                </a:lnTo>
                <a:lnTo>
                  <a:pt x="324218" y="1100209"/>
                </a:lnTo>
                <a:lnTo>
                  <a:pt x="302760" y="1115052"/>
                </a:lnTo>
                <a:lnTo>
                  <a:pt x="277782" y="1126180"/>
                </a:lnTo>
                <a:lnTo>
                  <a:pt x="245651" y="1142888"/>
                </a:lnTo>
                <a:lnTo>
                  <a:pt x="217096" y="1154016"/>
                </a:lnTo>
                <a:lnTo>
                  <a:pt x="192118" y="1165143"/>
                </a:lnTo>
                <a:cubicBezTo>
                  <a:pt x="190944" y="1168858"/>
                  <a:pt x="189715" y="1172556"/>
                  <a:pt x="188541" y="1176271"/>
                </a:cubicBezTo>
                <a:cubicBezTo>
                  <a:pt x="187368" y="1181224"/>
                  <a:pt x="186139" y="1186161"/>
                  <a:pt x="184965" y="1191114"/>
                </a:cubicBezTo>
                <a:lnTo>
                  <a:pt x="179402" y="1211312"/>
                </a:lnTo>
                <a:cubicBezTo>
                  <a:pt x="179138" y="1215087"/>
                  <a:pt x="178883" y="1218864"/>
                  <a:pt x="178629" y="1222642"/>
                </a:cubicBezTo>
                <a:cubicBezTo>
                  <a:pt x="175993" y="1216407"/>
                  <a:pt x="177311" y="1210905"/>
                  <a:pt x="172417" y="1204180"/>
                </a:cubicBezTo>
                <a:lnTo>
                  <a:pt x="149359" y="1182417"/>
                </a:lnTo>
                <a:lnTo>
                  <a:pt x="108137" y="1153563"/>
                </a:lnTo>
                <a:lnTo>
                  <a:pt x="53927" y="1160654"/>
                </a:lnTo>
                <a:lnTo>
                  <a:pt x="32093" y="1148794"/>
                </a:lnTo>
                <a:lnTo>
                  <a:pt x="32093" y="1112360"/>
                </a:lnTo>
                <a:cubicBezTo>
                  <a:pt x="35199" y="1107836"/>
                  <a:pt x="38210" y="1101356"/>
                  <a:pt x="41316" y="1096710"/>
                </a:cubicBezTo>
                <a:cubicBezTo>
                  <a:pt x="45645" y="1082283"/>
                  <a:pt x="49786" y="1068100"/>
                  <a:pt x="53927" y="1053673"/>
                </a:cubicBezTo>
                <a:lnTo>
                  <a:pt x="53927" y="994008"/>
                </a:lnTo>
                <a:cubicBezTo>
                  <a:pt x="55716" y="985694"/>
                  <a:pt x="57316" y="975791"/>
                  <a:pt x="59010" y="967966"/>
                </a:cubicBezTo>
                <a:cubicBezTo>
                  <a:pt x="60421" y="961486"/>
                  <a:pt x="61833" y="955617"/>
                  <a:pt x="62868" y="949381"/>
                </a:cubicBezTo>
                <a:cubicBezTo>
                  <a:pt x="66539" y="928474"/>
                  <a:pt x="69927" y="907812"/>
                  <a:pt x="73315" y="886538"/>
                </a:cubicBezTo>
                <a:cubicBezTo>
                  <a:pt x="75574" y="876634"/>
                  <a:pt x="77079" y="865997"/>
                  <a:pt x="79621" y="854505"/>
                </a:cubicBezTo>
                <a:cubicBezTo>
                  <a:pt x="75291" y="838488"/>
                  <a:pt x="71715" y="821126"/>
                  <a:pt x="68233" y="804865"/>
                </a:cubicBezTo>
                <a:lnTo>
                  <a:pt x="89597" y="800586"/>
                </a:lnTo>
                <a:cubicBezTo>
                  <a:pt x="85926" y="792517"/>
                  <a:pt x="82820" y="784936"/>
                  <a:pt x="79621" y="777478"/>
                </a:cubicBezTo>
                <a:lnTo>
                  <a:pt x="106443" y="772710"/>
                </a:lnTo>
                <a:cubicBezTo>
                  <a:pt x="102961" y="764273"/>
                  <a:pt x="100043" y="755348"/>
                  <a:pt x="97220" y="746912"/>
                </a:cubicBezTo>
                <a:lnTo>
                  <a:pt x="97220" y="713045"/>
                </a:lnTo>
                <a:cubicBezTo>
                  <a:pt x="96561" y="703019"/>
                  <a:pt x="95996" y="692871"/>
                  <a:pt x="95338" y="682723"/>
                </a:cubicBezTo>
                <a:cubicBezTo>
                  <a:pt x="91573" y="671475"/>
                  <a:pt x="88373" y="659860"/>
                  <a:pt x="84420" y="648612"/>
                </a:cubicBezTo>
                <a:lnTo>
                  <a:pt x="48469" y="634429"/>
                </a:lnTo>
                <a:cubicBezTo>
                  <a:pt x="49786" y="621224"/>
                  <a:pt x="50822" y="608020"/>
                  <a:pt x="52328" y="594571"/>
                </a:cubicBezTo>
                <a:cubicBezTo>
                  <a:pt x="49222" y="571952"/>
                  <a:pt x="46210" y="548722"/>
                  <a:pt x="42257" y="526959"/>
                </a:cubicBezTo>
                <a:lnTo>
                  <a:pt x="62868" y="505318"/>
                </a:lnTo>
                <a:cubicBezTo>
                  <a:pt x="64939" y="497371"/>
                  <a:pt x="66256" y="487101"/>
                  <a:pt x="68233" y="479276"/>
                </a:cubicBezTo>
                <a:lnTo>
                  <a:pt x="42257" y="473774"/>
                </a:lnTo>
                <a:cubicBezTo>
                  <a:pt x="44798" y="465827"/>
                  <a:pt x="46022" y="458613"/>
                  <a:pt x="46869" y="451888"/>
                </a:cubicBezTo>
                <a:cubicBezTo>
                  <a:pt x="48469" y="444553"/>
                  <a:pt x="50445" y="436116"/>
                  <a:pt x="52328" y="428169"/>
                </a:cubicBezTo>
                <a:lnTo>
                  <a:pt x="21552" y="419122"/>
                </a:lnTo>
                <a:cubicBezTo>
                  <a:pt x="16188" y="408240"/>
                  <a:pt x="10917" y="397114"/>
                  <a:pt x="5553" y="386355"/>
                </a:cubicBezTo>
                <a:lnTo>
                  <a:pt x="5553" y="358601"/>
                </a:lnTo>
                <a:lnTo>
                  <a:pt x="35763" y="352977"/>
                </a:lnTo>
                <a:cubicBezTo>
                  <a:pt x="29646" y="344663"/>
                  <a:pt x="22682" y="337082"/>
                  <a:pt x="16470" y="328157"/>
                </a:cubicBezTo>
                <a:cubicBezTo>
                  <a:pt x="19105" y="322166"/>
                  <a:pt x="21929" y="315808"/>
                  <a:pt x="25129" y="309817"/>
                </a:cubicBezTo>
                <a:lnTo>
                  <a:pt x="42257" y="300892"/>
                </a:lnTo>
                <a:cubicBezTo>
                  <a:pt x="45175" y="292945"/>
                  <a:pt x="46963" y="285120"/>
                  <a:pt x="48469" y="277662"/>
                </a:cubicBezTo>
                <a:lnTo>
                  <a:pt x="48469" y="247585"/>
                </a:lnTo>
                <a:lnTo>
                  <a:pt x="48469" y="202714"/>
                </a:lnTo>
                <a:cubicBezTo>
                  <a:pt x="44893" y="188898"/>
                  <a:pt x="40187" y="173860"/>
                  <a:pt x="35763" y="159922"/>
                </a:cubicBezTo>
                <a:lnTo>
                  <a:pt x="5553" y="138036"/>
                </a:lnTo>
                <a:lnTo>
                  <a:pt x="5553" y="111994"/>
                </a:lnTo>
                <a:cubicBezTo>
                  <a:pt x="2635" y="105881"/>
                  <a:pt x="847" y="98667"/>
                  <a:pt x="0" y="91454"/>
                </a:cubicBezTo>
                <a:lnTo>
                  <a:pt x="32093" y="80694"/>
                </a:lnTo>
                <a:cubicBezTo>
                  <a:pt x="36893" y="84729"/>
                  <a:pt x="41599" y="88030"/>
                  <a:pt x="46869" y="91454"/>
                </a:cubicBezTo>
                <a:cubicBezTo>
                  <a:pt x="52233" y="96833"/>
                  <a:pt x="57504" y="102580"/>
                  <a:pt x="62868" y="108082"/>
                </a:cubicBezTo>
                <a:lnTo>
                  <a:pt x="89597" y="122020"/>
                </a:lnTo>
                <a:lnTo>
                  <a:pt x="89597" y="100746"/>
                </a:lnTo>
                <a:lnTo>
                  <a:pt x="111055" y="94755"/>
                </a:lnTo>
                <a:cubicBezTo>
                  <a:pt x="108419" y="88030"/>
                  <a:pt x="105502" y="80694"/>
                  <a:pt x="102490" y="73359"/>
                </a:cubicBezTo>
                <a:cubicBezTo>
                  <a:pt x="109549" y="67612"/>
                  <a:pt x="116419" y="62722"/>
                  <a:pt x="124513" y="57586"/>
                </a:cubicBezTo>
                <a:cubicBezTo>
                  <a:pt x="127619" y="63577"/>
                  <a:pt x="134207" y="68835"/>
                  <a:pt x="138254" y="75070"/>
                </a:cubicBezTo>
                <a:lnTo>
                  <a:pt x="161688" y="85829"/>
                </a:lnTo>
                <a:cubicBezTo>
                  <a:pt x="160935" y="93899"/>
                  <a:pt x="160370" y="102457"/>
                  <a:pt x="159806" y="111138"/>
                </a:cubicBezTo>
                <a:cubicBezTo>
                  <a:pt x="160370" y="119452"/>
                  <a:pt x="160935" y="126788"/>
                  <a:pt x="161688" y="134613"/>
                </a:cubicBezTo>
                <a:cubicBezTo>
                  <a:pt x="165547" y="147695"/>
                  <a:pt x="169029" y="161878"/>
                  <a:pt x="172417" y="175449"/>
                </a:cubicBezTo>
                <a:lnTo>
                  <a:pt x="194440" y="183029"/>
                </a:lnTo>
                <a:cubicBezTo>
                  <a:pt x="192557" y="191588"/>
                  <a:pt x="190581" y="200147"/>
                  <a:pt x="188416" y="207727"/>
                </a:cubicBezTo>
                <a:cubicBezTo>
                  <a:pt x="194440" y="204915"/>
                  <a:pt x="199239" y="201247"/>
                  <a:pt x="204698" y="197334"/>
                </a:cubicBezTo>
                <a:lnTo>
                  <a:pt x="231521" y="215185"/>
                </a:lnTo>
                <a:lnTo>
                  <a:pt x="253167" y="215185"/>
                </a:lnTo>
                <a:lnTo>
                  <a:pt x="289401" y="215185"/>
                </a:lnTo>
                <a:lnTo>
                  <a:pt x="318200" y="193544"/>
                </a:lnTo>
                <a:lnTo>
                  <a:pt x="350387" y="188898"/>
                </a:lnTo>
                <a:lnTo>
                  <a:pt x="386150" y="175449"/>
                </a:lnTo>
                <a:cubicBezTo>
                  <a:pt x="388597" y="181807"/>
                  <a:pt x="391138" y="188165"/>
                  <a:pt x="393491" y="193544"/>
                </a:cubicBezTo>
                <a:lnTo>
                  <a:pt x="429725" y="192322"/>
                </a:lnTo>
                <a:lnTo>
                  <a:pt x="447418" y="192322"/>
                </a:lnTo>
                <a:lnTo>
                  <a:pt x="474711" y="188898"/>
                </a:lnTo>
                <a:lnTo>
                  <a:pt x="505204" y="180340"/>
                </a:lnTo>
                <a:lnTo>
                  <a:pt x="526662" y="180340"/>
                </a:lnTo>
                <a:lnTo>
                  <a:pt x="543885" y="187309"/>
                </a:lnTo>
                <a:cubicBezTo>
                  <a:pt x="553202" y="194278"/>
                  <a:pt x="561014" y="202592"/>
                  <a:pt x="569860" y="208950"/>
                </a:cubicBezTo>
                <a:lnTo>
                  <a:pt x="590754" y="193544"/>
                </a:lnTo>
                <a:lnTo>
                  <a:pt x="618423" y="187309"/>
                </a:lnTo>
                <a:lnTo>
                  <a:pt x="650422" y="187309"/>
                </a:lnTo>
                <a:cubicBezTo>
                  <a:pt x="654751" y="172393"/>
                  <a:pt x="658798" y="158088"/>
                  <a:pt x="662751" y="143538"/>
                </a:cubicBezTo>
                <a:cubicBezTo>
                  <a:pt x="658892" y="132901"/>
                  <a:pt x="654657" y="122020"/>
                  <a:pt x="650422" y="111138"/>
                </a:cubicBezTo>
                <a:lnTo>
                  <a:pt x="618423" y="132901"/>
                </a:lnTo>
                <a:cubicBezTo>
                  <a:pt x="620400" y="124343"/>
                  <a:pt x="621811" y="116762"/>
                  <a:pt x="623694" y="108082"/>
                </a:cubicBezTo>
                <a:cubicBezTo>
                  <a:pt x="626235" y="98423"/>
                  <a:pt x="628399" y="89008"/>
                  <a:pt x="630564" y="78983"/>
                </a:cubicBezTo>
                <a:cubicBezTo>
                  <a:pt x="635270" y="69446"/>
                  <a:pt x="641011" y="61132"/>
                  <a:pt x="645340" y="52818"/>
                </a:cubicBezTo>
                <a:cubicBezTo>
                  <a:pt x="650422" y="41448"/>
                  <a:pt x="656163" y="31544"/>
                  <a:pt x="661057" y="22252"/>
                </a:cubicBezTo>
                <a:close/>
              </a:path>
            </a:pathLst>
          </a:custGeom>
          <a:solidFill>
            <a:srgbClr val="70B0DF"/>
          </a:solidFill>
          <a:ln w="3175">
            <a:noFill/>
            <a:round/>
            <a:headEnd/>
            <a:tailEnd/>
          </a:ln>
        </p:spPr>
        <p:txBody>
          <a:bodyPr wrap="none" lIns="32632" tIns="32632" rIns="32632" bIns="32632" anchor="ctr"/>
          <a:lstStyle/>
          <a:p>
            <a:pPr defTabSz="891045"/>
            <a:endParaRPr lang="en-US" sz="1700" dirty="0">
              <a:solidFill>
                <a:srgbClr val="003149"/>
              </a:solidFill>
              <a:cs typeface="Arial" panose="020B0604020202020204" pitchFamily="34" charset="0"/>
            </a:endParaRPr>
          </a:p>
        </p:txBody>
      </p:sp>
      <p:sp>
        <p:nvSpPr>
          <p:cNvPr id="62" name="Freeform 776"/>
          <p:cNvSpPr>
            <a:spLocks noChangeAspect="1"/>
          </p:cNvSpPr>
          <p:nvPr>
            <p:custDataLst>
              <p:tags r:id="rId41"/>
            </p:custDataLst>
          </p:nvPr>
        </p:nvSpPr>
        <p:spPr bwMode="gray">
          <a:xfrm>
            <a:off x="2427044" y="3466257"/>
            <a:ext cx="193347" cy="275488"/>
          </a:xfrm>
          <a:custGeom>
            <a:avLst/>
            <a:gdLst>
              <a:gd name="T0" fmla="*/ 0 w 1117599"/>
              <a:gd name="T1" fmla="*/ 0 h 1409281"/>
              <a:gd name="T2" fmla="*/ 0 w 1117599"/>
              <a:gd name="T3" fmla="*/ 0 h 1409281"/>
              <a:gd name="T4" fmla="*/ 0 w 1117599"/>
              <a:gd name="T5" fmla="*/ 0 h 1409281"/>
              <a:gd name="T6" fmla="*/ 0 w 1117599"/>
              <a:gd name="T7" fmla="*/ 0 h 1409281"/>
              <a:gd name="T8" fmla="*/ 0 w 1117599"/>
              <a:gd name="T9" fmla="*/ 0 h 1409281"/>
              <a:gd name="T10" fmla="*/ 0 w 1117599"/>
              <a:gd name="T11" fmla="*/ 0 h 1409281"/>
              <a:gd name="T12" fmla="*/ 0 w 1117599"/>
              <a:gd name="T13" fmla="*/ 0 h 1409281"/>
              <a:gd name="T14" fmla="*/ 0 w 1117599"/>
              <a:gd name="T15" fmla="*/ 0 h 1409281"/>
              <a:gd name="T16" fmla="*/ 0 w 1117599"/>
              <a:gd name="T17" fmla="*/ 0 h 1409281"/>
              <a:gd name="T18" fmla="*/ 0 w 1117599"/>
              <a:gd name="T19" fmla="*/ 0 h 1409281"/>
              <a:gd name="T20" fmla="*/ 0 w 1117599"/>
              <a:gd name="T21" fmla="*/ 0 h 1409281"/>
              <a:gd name="T22" fmla="*/ 0 w 1117599"/>
              <a:gd name="T23" fmla="*/ 0 h 1409281"/>
              <a:gd name="T24" fmla="*/ 0 w 1117599"/>
              <a:gd name="T25" fmla="*/ 0 h 1409281"/>
              <a:gd name="T26" fmla="*/ 0 w 1117599"/>
              <a:gd name="T27" fmla="*/ 0 h 1409281"/>
              <a:gd name="T28" fmla="*/ 0 w 1117599"/>
              <a:gd name="T29" fmla="*/ 0 h 1409281"/>
              <a:gd name="T30" fmla="*/ 0 w 1117599"/>
              <a:gd name="T31" fmla="*/ 0 h 1409281"/>
              <a:gd name="T32" fmla="*/ 0 w 1117599"/>
              <a:gd name="T33" fmla="*/ 0 h 1409281"/>
              <a:gd name="T34" fmla="*/ 0 w 1117599"/>
              <a:gd name="T35" fmla="*/ 0 h 1409281"/>
              <a:gd name="T36" fmla="*/ 0 w 1117599"/>
              <a:gd name="T37" fmla="*/ 0 h 1409281"/>
              <a:gd name="T38" fmla="*/ 0 w 1117599"/>
              <a:gd name="T39" fmla="*/ 0 h 1409281"/>
              <a:gd name="T40" fmla="*/ 0 w 1117599"/>
              <a:gd name="T41" fmla="*/ 0 h 1409281"/>
              <a:gd name="T42" fmla="*/ 0 w 1117599"/>
              <a:gd name="T43" fmla="*/ 0 h 1409281"/>
              <a:gd name="T44" fmla="*/ 0 w 1117599"/>
              <a:gd name="T45" fmla="*/ 0 h 1409281"/>
              <a:gd name="T46" fmla="*/ 0 w 1117599"/>
              <a:gd name="T47" fmla="*/ 0 h 1409281"/>
              <a:gd name="T48" fmla="*/ 0 w 1117599"/>
              <a:gd name="T49" fmla="*/ 0 h 1409281"/>
              <a:gd name="T50" fmla="*/ 0 w 1117599"/>
              <a:gd name="T51" fmla="*/ 0 h 1409281"/>
              <a:gd name="T52" fmla="*/ 0 w 1117599"/>
              <a:gd name="T53" fmla="*/ 0 h 1409281"/>
              <a:gd name="T54" fmla="*/ 0 w 1117599"/>
              <a:gd name="T55" fmla="*/ 0 h 1409281"/>
              <a:gd name="T56" fmla="*/ 0 w 1117599"/>
              <a:gd name="T57" fmla="*/ 0 h 1409281"/>
              <a:gd name="T58" fmla="*/ 0 w 1117599"/>
              <a:gd name="T59" fmla="*/ 0 h 1409281"/>
              <a:gd name="T60" fmla="*/ 0 w 1117599"/>
              <a:gd name="T61" fmla="*/ 0 h 1409281"/>
              <a:gd name="T62" fmla="*/ 0 w 1117599"/>
              <a:gd name="T63" fmla="*/ 0 h 1409281"/>
              <a:gd name="T64" fmla="*/ 0 w 1117599"/>
              <a:gd name="T65" fmla="*/ 0 h 1409281"/>
              <a:gd name="T66" fmla="*/ 0 w 1117599"/>
              <a:gd name="T67" fmla="*/ 0 h 1409281"/>
              <a:gd name="T68" fmla="*/ 0 w 1117599"/>
              <a:gd name="T69" fmla="*/ 0 h 1409281"/>
              <a:gd name="T70" fmla="*/ 0 w 1117599"/>
              <a:gd name="T71" fmla="*/ 0 h 1409281"/>
              <a:gd name="T72" fmla="*/ 0 w 1117599"/>
              <a:gd name="T73" fmla="*/ 0 h 1409281"/>
              <a:gd name="T74" fmla="*/ 0 w 1117599"/>
              <a:gd name="T75" fmla="*/ 0 h 1409281"/>
              <a:gd name="T76" fmla="*/ 0 w 1117599"/>
              <a:gd name="T77" fmla="*/ 0 h 1409281"/>
              <a:gd name="T78" fmla="*/ 0 w 1117599"/>
              <a:gd name="T79" fmla="*/ 0 h 1409281"/>
              <a:gd name="T80" fmla="*/ 0 w 1117599"/>
              <a:gd name="T81" fmla="*/ 0 h 1409281"/>
              <a:gd name="T82" fmla="*/ 0 w 1117599"/>
              <a:gd name="T83" fmla="*/ 0 h 1409281"/>
              <a:gd name="T84" fmla="*/ 0 w 1117599"/>
              <a:gd name="T85" fmla="*/ 0 h 1409281"/>
              <a:gd name="T86" fmla="*/ 0 w 1117599"/>
              <a:gd name="T87" fmla="*/ 0 h 1409281"/>
              <a:gd name="T88" fmla="*/ 0 w 1117599"/>
              <a:gd name="T89" fmla="*/ 0 h 1409281"/>
              <a:gd name="T90" fmla="*/ 0 w 1117599"/>
              <a:gd name="T91" fmla="*/ 0 h 1409281"/>
              <a:gd name="T92" fmla="*/ 0 w 1117599"/>
              <a:gd name="T93" fmla="*/ 0 h 1409281"/>
              <a:gd name="T94" fmla="*/ 0 w 1117599"/>
              <a:gd name="T95" fmla="*/ 0 h 1409281"/>
              <a:gd name="T96" fmla="*/ 0 w 1117599"/>
              <a:gd name="T97" fmla="*/ 0 h 1409281"/>
              <a:gd name="T98" fmla="*/ 0 w 1117599"/>
              <a:gd name="T99" fmla="*/ 0 h 1409281"/>
              <a:gd name="T100" fmla="*/ 0 w 1117599"/>
              <a:gd name="T101" fmla="*/ 0 h 1409281"/>
              <a:gd name="T102" fmla="*/ 0 w 1117599"/>
              <a:gd name="T103" fmla="*/ 0 h 1409281"/>
              <a:gd name="T104" fmla="*/ 0 w 1117599"/>
              <a:gd name="T105" fmla="*/ 0 h 1409281"/>
              <a:gd name="T106" fmla="*/ 0 w 1117599"/>
              <a:gd name="T107" fmla="*/ 0 h 1409281"/>
              <a:gd name="T108" fmla="*/ 0 w 1117599"/>
              <a:gd name="T109" fmla="*/ 0 h 1409281"/>
              <a:gd name="T110" fmla="*/ 0 w 1117599"/>
              <a:gd name="T111" fmla="*/ 0 h 1409281"/>
              <a:gd name="T112" fmla="*/ 0 w 1117599"/>
              <a:gd name="T113" fmla="*/ 0 h 1409281"/>
              <a:gd name="T114" fmla="*/ 0 w 1117599"/>
              <a:gd name="T115" fmla="*/ 0 h 1409281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w 1117599"/>
              <a:gd name="T175" fmla="*/ 0 h 1409281"/>
              <a:gd name="T176" fmla="*/ 1117599 w 1117599"/>
              <a:gd name="T177" fmla="*/ 1409281 h 1409281"/>
            </a:gdLst>
            <a:ahLst/>
            <a:cxnLst>
              <a:cxn ang="T116">
                <a:pos x="T0" y="T1"/>
              </a:cxn>
              <a:cxn ang="T117">
                <a:pos x="T2" y="T3"/>
              </a:cxn>
              <a:cxn ang="T118">
                <a:pos x="T4" y="T5"/>
              </a:cxn>
              <a:cxn ang="T119">
                <a:pos x="T6" y="T7"/>
              </a:cxn>
              <a:cxn ang="T120">
                <a:pos x="T8" y="T9"/>
              </a:cxn>
              <a:cxn ang="T121">
                <a:pos x="T10" y="T11"/>
              </a:cxn>
              <a:cxn ang="T122">
                <a:pos x="T12" y="T13"/>
              </a:cxn>
              <a:cxn ang="T123">
                <a:pos x="T14" y="T15"/>
              </a:cxn>
              <a:cxn ang="T124">
                <a:pos x="T16" y="T17"/>
              </a:cxn>
              <a:cxn ang="T125">
                <a:pos x="T18" y="T19"/>
              </a:cxn>
              <a:cxn ang="T126">
                <a:pos x="T20" y="T21"/>
              </a:cxn>
              <a:cxn ang="T127">
                <a:pos x="T22" y="T23"/>
              </a:cxn>
              <a:cxn ang="T128">
                <a:pos x="T24" y="T25"/>
              </a:cxn>
              <a:cxn ang="T129">
                <a:pos x="T26" y="T27"/>
              </a:cxn>
              <a:cxn ang="T130">
                <a:pos x="T28" y="T29"/>
              </a:cxn>
              <a:cxn ang="T131">
                <a:pos x="T30" y="T31"/>
              </a:cxn>
              <a:cxn ang="T132">
                <a:pos x="T32" y="T33"/>
              </a:cxn>
              <a:cxn ang="T133">
                <a:pos x="T34" y="T35"/>
              </a:cxn>
              <a:cxn ang="T134">
                <a:pos x="T36" y="T37"/>
              </a:cxn>
              <a:cxn ang="T135">
                <a:pos x="T38" y="T39"/>
              </a:cxn>
              <a:cxn ang="T136">
                <a:pos x="T40" y="T41"/>
              </a:cxn>
              <a:cxn ang="T137">
                <a:pos x="T42" y="T43"/>
              </a:cxn>
              <a:cxn ang="T138">
                <a:pos x="T44" y="T45"/>
              </a:cxn>
              <a:cxn ang="T139">
                <a:pos x="T46" y="T47"/>
              </a:cxn>
              <a:cxn ang="T140">
                <a:pos x="T48" y="T49"/>
              </a:cxn>
              <a:cxn ang="T141">
                <a:pos x="T50" y="T51"/>
              </a:cxn>
              <a:cxn ang="T142">
                <a:pos x="T52" y="T53"/>
              </a:cxn>
              <a:cxn ang="T143">
                <a:pos x="T54" y="T55"/>
              </a:cxn>
              <a:cxn ang="T144">
                <a:pos x="T56" y="T57"/>
              </a:cxn>
              <a:cxn ang="T145">
                <a:pos x="T58" y="T59"/>
              </a:cxn>
              <a:cxn ang="T146">
                <a:pos x="T60" y="T61"/>
              </a:cxn>
              <a:cxn ang="T147">
                <a:pos x="T62" y="T63"/>
              </a:cxn>
              <a:cxn ang="T148">
                <a:pos x="T64" y="T65"/>
              </a:cxn>
              <a:cxn ang="T149">
                <a:pos x="T66" y="T67"/>
              </a:cxn>
              <a:cxn ang="T150">
                <a:pos x="T68" y="T69"/>
              </a:cxn>
              <a:cxn ang="T151">
                <a:pos x="T70" y="T71"/>
              </a:cxn>
              <a:cxn ang="T152">
                <a:pos x="T72" y="T73"/>
              </a:cxn>
              <a:cxn ang="T153">
                <a:pos x="T74" y="T75"/>
              </a:cxn>
              <a:cxn ang="T154">
                <a:pos x="T76" y="T77"/>
              </a:cxn>
              <a:cxn ang="T155">
                <a:pos x="T78" y="T79"/>
              </a:cxn>
              <a:cxn ang="T156">
                <a:pos x="T80" y="T81"/>
              </a:cxn>
              <a:cxn ang="T157">
                <a:pos x="T82" y="T83"/>
              </a:cxn>
              <a:cxn ang="T158">
                <a:pos x="T84" y="T85"/>
              </a:cxn>
              <a:cxn ang="T159">
                <a:pos x="T86" y="T87"/>
              </a:cxn>
              <a:cxn ang="T160">
                <a:pos x="T88" y="T89"/>
              </a:cxn>
              <a:cxn ang="T161">
                <a:pos x="T90" y="T91"/>
              </a:cxn>
              <a:cxn ang="T162">
                <a:pos x="T92" y="T93"/>
              </a:cxn>
              <a:cxn ang="T163">
                <a:pos x="T94" y="T95"/>
              </a:cxn>
              <a:cxn ang="T164">
                <a:pos x="T96" y="T97"/>
              </a:cxn>
              <a:cxn ang="T165">
                <a:pos x="T98" y="T99"/>
              </a:cxn>
              <a:cxn ang="T166">
                <a:pos x="T100" y="T101"/>
              </a:cxn>
              <a:cxn ang="T167">
                <a:pos x="T102" y="T103"/>
              </a:cxn>
              <a:cxn ang="T168">
                <a:pos x="T104" y="T105"/>
              </a:cxn>
              <a:cxn ang="T169">
                <a:pos x="T106" y="T107"/>
              </a:cxn>
              <a:cxn ang="T170">
                <a:pos x="T108" y="T109"/>
              </a:cxn>
              <a:cxn ang="T171">
                <a:pos x="T110" y="T111"/>
              </a:cxn>
              <a:cxn ang="T172">
                <a:pos x="T112" y="T113"/>
              </a:cxn>
              <a:cxn ang="T173">
                <a:pos x="T114" y="T115"/>
              </a:cxn>
            </a:cxnLst>
            <a:rect l="T174" t="T175" r="T176" b="T177"/>
            <a:pathLst>
              <a:path w="1117599" h="1409281">
                <a:moveTo>
                  <a:pt x="76371" y="308549"/>
                </a:moveTo>
                <a:lnTo>
                  <a:pt x="77156" y="313784"/>
                </a:lnTo>
                <a:lnTo>
                  <a:pt x="77002" y="309540"/>
                </a:lnTo>
                <a:close/>
                <a:moveTo>
                  <a:pt x="713588" y="0"/>
                </a:moveTo>
                <a:cubicBezTo>
                  <a:pt x="715404" y="1786"/>
                  <a:pt x="717187" y="3572"/>
                  <a:pt x="719004" y="5359"/>
                </a:cubicBezTo>
                <a:lnTo>
                  <a:pt x="733433" y="17881"/>
                </a:lnTo>
                <a:lnTo>
                  <a:pt x="751495" y="19667"/>
                </a:lnTo>
                <a:lnTo>
                  <a:pt x="774939" y="14308"/>
                </a:lnTo>
                <a:lnTo>
                  <a:pt x="789369" y="1786"/>
                </a:lnTo>
                <a:lnTo>
                  <a:pt x="814630" y="0"/>
                </a:lnTo>
                <a:lnTo>
                  <a:pt x="832691" y="0"/>
                </a:lnTo>
                <a:lnTo>
                  <a:pt x="872381" y="44693"/>
                </a:lnTo>
                <a:lnTo>
                  <a:pt x="901241" y="73309"/>
                </a:lnTo>
                <a:lnTo>
                  <a:pt x="937332" y="84027"/>
                </a:lnTo>
                <a:lnTo>
                  <a:pt x="953578" y="103694"/>
                </a:lnTo>
                <a:lnTo>
                  <a:pt x="971607" y="103694"/>
                </a:lnTo>
                <a:lnTo>
                  <a:pt x="984253" y="103694"/>
                </a:lnTo>
                <a:lnTo>
                  <a:pt x="977009" y="107645"/>
                </a:lnTo>
                <a:lnTo>
                  <a:pt x="981358" y="107185"/>
                </a:lnTo>
                <a:cubicBezTo>
                  <a:pt x="980554" y="109701"/>
                  <a:pt x="979751" y="112327"/>
                  <a:pt x="978948" y="114953"/>
                </a:cubicBezTo>
                <a:lnTo>
                  <a:pt x="971928" y="118564"/>
                </a:lnTo>
                <a:lnTo>
                  <a:pt x="971928" y="138368"/>
                </a:lnTo>
                <a:lnTo>
                  <a:pt x="971928" y="177756"/>
                </a:lnTo>
                <a:lnTo>
                  <a:pt x="971928" y="195590"/>
                </a:lnTo>
                <a:lnTo>
                  <a:pt x="987714" y="210033"/>
                </a:lnTo>
                <a:lnTo>
                  <a:pt x="994734" y="244060"/>
                </a:lnTo>
                <a:lnTo>
                  <a:pt x="1003535" y="278087"/>
                </a:lnTo>
                <a:lnTo>
                  <a:pt x="1029833" y="301392"/>
                </a:lnTo>
                <a:lnTo>
                  <a:pt x="1070206" y="326448"/>
                </a:lnTo>
                <a:lnTo>
                  <a:pt x="1070206" y="348002"/>
                </a:lnTo>
                <a:lnTo>
                  <a:pt x="1056166" y="376668"/>
                </a:lnTo>
                <a:lnTo>
                  <a:pt x="1038634" y="412555"/>
                </a:lnTo>
                <a:lnTo>
                  <a:pt x="1029833" y="428748"/>
                </a:lnTo>
                <a:lnTo>
                  <a:pt x="1031614" y="469778"/>
                </a:lnTo>
                <a:lnTo>
                  <a:pt x="1031614" y="511136"/>
                </a:lnTo>
                <a:cubicBezTo>
                  <a:pt x="1032767" y="518904"/>
                  <a:pt x="1033954" y="526563"/>
                  <a:pt x="1035107" y="534331"/>
                </a:cubicBezTo>
                <a:lnTo>
                  <a:pt x="1052674" y="543412"/>
                </a:lnTo>
                <a:lnTo>
                  <a:pt x="1059694" y="590022"/>
                </a:lnTo>
                <a:cubicBezTo>
                  <a:pt x="1060846" y="596587"/>
                  <a:pt x="1062034" y="603042"/>
                  <a:pt x="1063186" y="609607"/>
                </a:cubicBezTo>
                <a:lnTo>
                  <a:pt x="1105306" y="636741"/>
                </a:lnTo>
                <a:lnTo>
                  <a:pt x="1117599" y="650965"/>
                </a:lnTo>
                <a:lnTo>
                  <a:pt x="1098286" y="674379"/>
                </a:lnTo>
                <a:lnTo>
                  <a:pt x="1077226" y="684992"/>
                </a:lnTo>
                <a:lnTo>
                  <a:pt x="1059694" y="693964"/>
                </a:lnTo>
                <a:cubicBezTo>
                  <a:pt x="1058506" y="721536"/>
                  <a:pt x="1057354" y="748889"/>
                  <a:pt x="1056166" y="776461"/>
                </a:cubicBezTo>
                <a:cubicBezTo>
                  <a:pt x="1055573" y="798562"/>
                  <a:pt x="1055014" y="820664"/>
                  <a:pt x="1054420" y="842765"/>
                </a:cubicBezTo>
                <a:lnTo>
                  <a:pt x="1024594" y="878652"/>
                </a:lnTo>
                <a:lnTo>
                  <a:pt x="991241" y="903708"/>
                </a:lnTo>
                <a:lnTo>
                  <a:pt x="956142" y="903708"/>
                </a:lnTo>
                <a:lnTo>
                  <a:pt x="940356" y="898346"/>
                </a:lnTo>
                <a:lnTo>
                  <a:pt x="931555" y="884013"/>
                </a:lnTo>
                <a:lnTo>
                  <a:pt x="903475" y="882263"/>
                </a:lnTo>
                <a:lnTo>
                  <a:pt x="877177" y="882263"/>
                </a:lnTo>
                <a:lnTo>
                  <a:pt x="842077" y="882263"/>
                </a:lnTo>
                <a:lnTo>
                  <a:pt x="821018" y="894736"/>
                </a:lnTo>
                <a:cubicBezTo>
                  <a:pt x="819272" y="906005"/>
                  <a:pt x="817490" y="917384"/>
                  <a:pt x="815744" y="928763"/>
                </a:cubicBezTo>
                <a:lnTo>
                  <a:pt x="849097" y="986205"/>
                </a:lnTo>
                <a:lnTo>
                  <a:pt x="863137" y="1027344"/>
                </a:lnTo>
                <a:lnTo>
                  <a:pt x="845570" y="1050649"/>
                </a:lnTo>
                <a:lnTo>
                  <a:pt x="824510" y="1052509"/>
                </a:lnTo>
                <a:lnTo>
                  <a:pt x="794685" y="1061371"/>
                </a:lnTo>
                <a:lnTo>
                  <a:pt x="768351" y="1084785"/>
                </a:lnTo>
                <a:cubicBezTo>
                  <a:pt x="768945" y="1094851"/>
                  <a:pt x="769504" y="1105136"/>
                  <a:pt x="770097" y="1115311"/>
                </a:cubicBezTo>
                <a:lnTo>
                  <a:pt x="789411" y="1156450"/>
                </a:lnTo>
                <a:lnTo>
                  <a:pt x="806978" y="1183256"/>
                </a:lnTo>
                <a:cubicBezTo>
                  <a:pt x="807572" y="1189274"/>
                  <a:pt x="796990" y="1212688"/>
                  <a:pt x="797583" y="1218706"/>
                </a:cubicBezTo>
                <a:lnTo>
                  <a:pt x="789928" y="1219934"/>
                </a:lnTo>
                <a:lnTo>
                  <a:pt x="790437" y="1220808"/>
                </a:lnTo>
                <a:cubicBezTo>
                  <a:pt x="787449" y="1232191"/>
                  <a:pt x="784418" y="1243500"/>
                  <a:pt x="781471" y="1254884"/>
                </a:cubicBezTo>
                <a:lnTo>
                  <a:pt x="752679" y="1274655"/>
                </a:lnTo>
                <a:cubicBezTo>
                  <a:pt x="750827" y="1285435"/>
                  <a:pt x="749059" y="1296141"/>
                  <a:pt x="747249" y="1306959"/>
                </a:cubicBezTo>
                <a:lnTo>
                  <a:pt x="716689" y="1297950"/>
                </a:lnTo>
                <a:lnTo>
                  <a:pt x="700525" y="1324939"/>
                </a:lnTo>
                <a:lnTo>
                  <a:pt x="671691" y="1335701"/>
                </a:lnTo>
                <a:lnTo>
                  <a:pt x="633932" y="1341091"/>
                </a:lnTo>
                <a:cubicBezTo>
                  <a:pt x="630944" y="1335701"/>
                  <a:pt x="627913" y="1330311"/>
                  <a:pt x="624966" y="1324939"/>
                </a:cubicBezTo>
                <a:lnTo>
                  <a:pt x="603372" y="1335701"/>
                </a:lnTo>
                <a:lnTo>
                  <a:pt x="585356" y="1360806"/>
                </a:lnTo>
                <a:lnTo>
                  <a:pt x="547598" y="1366196"/>
                </a:lnTo>
                <a:lnTo>
                  <a:pt x="511608" y="1376958"/>
                </a:lnTo>
                <a:cubicBezTo>
                  <a:pt x="509208" y="1382367"/>
                  <a:pt x="506851" y="1387814"/>
                  <a:pt x="504410" y="1393129"/>
                </a:cubicBezTo>
                <a:lnTo>
                  <a:pt x="484626" y="1409281"/>
                </a:lnTo>
                <a:lnTo>
                  <a:pt x="455834" y="1387814"/>
                </a:lnTo>
                <a:cubicBezTo>
                  <a:pt x="452256" y="1380595"/>
                  <a:pt x="448636" y="1373396"/>
                  <a:pt x="445058" y="1366196"/>
                </a:cubicBezTo>
                <a:lnTo>
                  <a:pt x="423463" y="1362634"/>
                </a:lnTo>
                <a:lnTo>
                  <a:pt x="398291" y="1357187"/>
                </a:lnTo>
                <a:lnTo>
                  <a:pt x="369499" y="1323130"/>
                </a:lnTo>
                <a:lnTo>
                  <a:pt x="369420" y="1320863"/>
                </a:lnTo>
                <a:lnTo>
                  <a:pt x="368299" y="1320797"/>
                </a:lnTo>
                <a:lnTo>
                  <a:pt x="354138" y="1272591"/>
                </a:lnTo>
                <a:lnTo>
                  <a:pt x="348816" y="1261870"/>
                </a:lnTo>
                <a:cubicBezTo>
                  <a:pt x="348226" y="1254109"/>
                  <a:pt x="347637" y="1246388"/>
                  <a:pt x="347048" y="1238627"/>
                </a:cubicBezTo>
                <a:lnTo>
                  <a:pt x="327565" y="1226145"/>
                </a:lnTo>
                <a:lnTo>
                  <a:pt x="311636" y="1210063"/>
                </a:lnTo>
                <a:lnTo>
                  <a:pt x="306333" y="1197582"/>
                </a:lnTo>
                <a:lnTo>
                  <a:pt x="290385" y="1192221"/>
                </a:lnTo>
                <a:lnTo>
                  <a:pt x="274457" y="1168978"/>
                </a:lnTo>
                <a:lnTo>
                  <a:pt x="265599" y="1143975"/>
                </a:lnTo>
                <a:lnTo>
                  <a:pt x="253206" y="1136854"/>
                </a:lnTo>
                <a:lnTo>
                  <a:pt x="210704" y="1102930"/>
                </a:lnTo>
                <a:lnTo>
                  <a:pt x="198311" y="1088608"/>
                </a:lnTo>
                <a:lnTo>
                  <a:pt x="224884" y="1067205"/>
                </a:lnTo>
                <a:cubicBezTo>
                  <a:pt x="225473" y="1058284"/>
                  <a:pt x="226062" y="1049323"/>
                  <a:pt x="226652" y="1040402"/>
                </a:cubicBezTo>
                <a:lnTo>
                  <a:pt x="221330" y="1013598"/>
                </a:lnTo>
                <a:lnTo>
                  <a:pt x="214258" y="999316"/>
                </a:lnTo>
                <a:lnTo>
                  <a:pt x="203633" y="965392"/>
                </a:lnTo>
                <a:lnTo>
                  <a:pt x="198311" y="943949"/>
                </a:lnTo>
                <a:lnTo>
                  <a:pt x="193008" y="927907"/>
                </a:lnTo>
                <a:lnTo>
                  <a:pt x="193531" y="926153"/>
                </a:lnTo>
                <a:lnTo>
                  <a:pt x="184151" y="920746"/>
                </a:lnTo>
                <a:lnTo>
                  <a:pt x="177141" y="900972"/>
                </a:lnTo>
                <a:lnTo>
                  <a:pt x="168393" y="873857"/>
                </a:lnTo>
                <a:cubicBezTo>
                  <a:pt x="167220" y="862481"/>
                  <a:pt x="166062" y="851040"/>
                  <a:pt x="164888" y="839665"/>
                </a:cubicBezTo>
                <a:lnTo>
                  <a:pt x="164888" y="827099"/>
                </a:lnTo>
                <a:lnTo>
                  <a:pt x="173636" y="816187"/>
                </a:lnTo>
                <a:lnTo>
                  <a:pt x="156125" y="803621"/>
                </a:lnTo>
                <a:lnTo>
                  <a:pt x="150867" y="781995"/>
                </a:lnTo>
                <a:lnTo>
                  <a:pt x="142104" y="771215"/>
                </a:lnTo>
                <a:lnTo>
                  <a:pt x="126346" y="764007"/>
                </a:lnTo>
                <a:lnTo>
                  <a:pt x="115831" y="744100"/>
                </a:lnTo>
                <a:lnTo>
                  <a:pt x="107083" y="724326"/>
                </a:lnTo>
                <a:lnTo>
                  <a:pt x="93062" y="699129"/>
                </a:lnTo>
                <a:lnTo>
                  <a:pt x="93062" y="666656"/>
                </a:lnTo>
                <a:lnTo>
                  <a:pt x="98320" y="630613"/>
                </a:lnTo>
                <a:lnTo>
                  <a:pt x="114078" y="590998"/>
                </a:lnTo>
                <a:lnTo>
                  <a:pt x="126346" y="560378"/>
                </a:lnTo>
                <a:cubicBezTo>
                  <a:pt x="125767" y="554360"/>
                  <a:pt x="125173" y="548275"/>
                  <a:pt x="124594" y="542323"/>
                </a:cubicBezTo>
                <a:lnTo>
                  <a:pt x="115831" y="526120"/>
                </a:lnTo>
                <a:lnTo>
                  <a:pt x="103578" y="502709"/>
                </a:lnTo>
                <a:lnTo>
                  <a:pt x="94815" y="486439"/>
                </a:lnTo>
                <a:lnTo>
                  <a:pt x="87804" y="470236"/>
                </a:lnTo>
                <a:lnTo>
                  <a:pt x="84299" y="455819"/>
                </a:lnTo>
                <a:lnTo>
                  <a:pt x="73799" y="448610"/>
                </a:lnTo>
                <a:lnTo>
                  <a:pt x="63283" y="437830"/>
                </a:lnTo>
                <a:lnTo>
                  <a:pt x="58025" y="419776"/>
                </a:lnTo>
                <a:lnTo>
                  <a:pt x="58025" y="396364"/>
                </a:lnTo>
                <a:lnTo>
                  <a:pt x="61531" y="389155"/>
                </a:lnTo>
                <a:cubicBezTo>
                  <a:pt x="60952" y="381351"/>
                  <a:pt x="60357" y="373547"/>
                  <a:pt x="59778" y="365744"/>
                </a:cubicBezTo>
                <a:lnTo>
                  <a:pt x="52768" y="351260"/>
                </a:lnTo>
                <a:lnTo>
                  <a:pt x="49262" y="335057"/>
                </a:lnTo>
                <a:lnTo>
                  <a:pt x="44020" y="318854"/>
                </a:lnTo>
                <a:lnTo>
                  <a:pt x="35257" y="306289"/>
                </a:lnTo>
                <a:lnTo>
                  <a:pt x="31752" y="295442"/>
                </a:lnTo>
                <a:lnTo>
                  <a:pt x="31752" y="273816"/>
                </a:lnTo>
                <a:cubicBezTo>
                  <a:pt x="32331" y="268989"/>
                  <a:pt x="32925" y="264227"/>
                  <a:pt x="33504" y="259399"/>
                </a:cubicBezTo>
                <a:lnTo>
                  <a:pt x="51450" y="269417"/>
                </a:lnTo>
                <a:lnTo>
                  <a:pt x="41077" y="253129"/>
                </a:lnTo>
                <a:cubicBezTo>
                  <a:pt x="42860" y="250125"/>
                  <a:pt x="51775" y="249470"/>
                  <a:pt x="53558" y="246466"/>
                </a:cubicBezTo>
                <a:cubicBezTo>
                  <a:pt x="52964" y="239831"/>
                  <a:pt x="52369" y="233223"/>
                  <a:pt x="51775" y="226588"/>
                </a:cubicBezTo>
                <a:cubicBezTo>
                  <a:pt x="52964" y="224786"/>
                  <a:pt x="54153" y="222957"/>
                  <a:pt x="55341" y="221155"/>
                </a:cubicBezTo>
                <a:lnTo>
                  <a:pt x="49992" y="217550"/>
                </a:lnTo>
                <a:lnTo>
                  <a:pt x="41077" y="215721"/>
                </a:lnTo>
                <a:cubicBezTo>
                  <a:pt x="41671" y="212117"/>
                  <a:pt x="42265" y="208485"/>
                  <a:pt x="42860" y="204881"/>
                </a:cubicBezTo>
                <a:cubicBezTo>
                  <a:pt x="42265" y="201277"/>
                  <a:pt x="41671" y="197645"/>
                  <a:pt x="41077" y="194041"/>
                </a:cubicBezTo>
                <a:cubicBezTo>
                  <a:pt x="39294" y="192239"/>
                  <a:pt x="37510" y="190409"/>
                  <a:pt x="35727" y="188607"/>
                </a:cubicBezTo>
                <a:lnTo>
                  <a:pt x="19614" y="195843"/>
                </a:lnTo>
                <a:lnTo>
                  <a:pt x="8915" y="195843"/>
                </a:lnTo>
                <a:lnTo>
                  <a:pt x="1783" y="188607"/>
                </a:lnTo>
                <a:cubicBezTo>
                  <a:pt x="1188" y="186204"/>
                  <a:pt x="594" y="183774"/>
                  <a:pt x="0" y="181371"/>
                </a:cubicBezTo>
                <a:cubicBezTo>
                  <a:pt x="1188" y="177139"/>
                  <a:pt x="2377" y="172934"/>
                  <a:pt x="3566" y="168702"/>
                </a:cubicBezTo>
                <a:lnTo>
                  <a:pt x="12481" y="165098"/>
                </a:lnTo>
                <a:lnTo>
                  <a:pt x="28529" y="165098"/>
                </a:lnTo>
                <a:lnTo>
                  <a:pt x="48209" y="168702"/>
                </a:lnTo>
                <a:lnTo>
                  <a:pt x="64257" y="181371"/>
                </a:lnTo>
                <a:lnTo>
                  <a:pt x="67823" y="201277"/>
                </a:lnTo>
                <a:lnTo>
                  <a:pt x="74955" y="210315"/>
                </a:lnTo>
                <a:lnTo>
                  <a:pt x="92786" y="208485"/>
                </a:lnTo>
                <a:cubicBezTo>
                  <a:pt x="96352" y="212117"/>
                  <a:pt x="99984" y="215721"/>
                  <a:pt x="103550" y="219352"/>
                </a:cubicBezTo>
                <a:lnTo>
                  <a:pt x="112466" y="233824"/>
                </a:lnTo>
                <a:lnTo>
                  <a:pt x="110683" y="259136"/>
                </a:lnTo>
                <a:lnTo>
                  <a:pt x="99984" y="273607"/>
                </a:lnTo>
                <a:lnTo>
                  <a:pt x="99984" y="295287"/>
                </a:lnTo>
                <a:cubicBezTo>
                  <a:pt x="97607" y="301322"/>
                  <a:pt x="95163" y="307329"/>
                  <a:pt x="92786" y="313363"/>
                </a:cubicBezTo>
                <a:lnTo>
                  <a:pt x="92786" y="326033"/>
                </a:lnTo>
                <a:cubicBezTo>
                  <a:pt x="92192" y="328435"/>
                  <a:pt x="91597" y="330865"/>
                  <a:pt x="91003" y="333268"/>
                </a:cubicBezTo>
                <a:cubicBezTo>
                  <a:pt x="92192" y="344108"/>
                  <a:pt x="93380" y="354976"/>
                  <a:pt x="94569" y="365816"/>
                </a:cubicBezTo>
                <a:cubicBezTo>
                  <a:pt x="98135" y="372451"/>
                  <a:pt x="101767" y="379059"/>
                  <a:pt x="105334" y="385694"/>
                </a:cubicBezTo>
                <a:lnTo>
                  <a:pt x="130297" y="409203"/>
                </a:lnTo>
                <a:lnTo>
                  <a:pt x="176723" y="411033"/>
                </a:lnTo>
                <a:lnTo>
                  <a:pt x="226649" y="398363"/>
                </a:lnTo>
                <a:lnTo>
                  <a:pt x="239197" y="396561"/>
                </a:lnTo>
                <a:cubicBezTo>
                  <a:pt x="240980" y="394759"/>
                  <a:pt x="242763" y="392929"/>
                  <a:pt x="244546" y="391127"/>
                </a:cubicBezTo>
                <a:lnTo>
                  <a:pt x="253461" y="394759"/>
                </a:lnTo>
                <a:lnTo>
                  <a:pt x="260593" y="401967"/>
                </a:lnTo>
                <a:cubicBezTo>
                  <a:pt x="259405" y="404370"/>
                  <a:pt x="258216" y="406800"/>
                  <a:pt x="257027" y="409203"/>
                </a:cubicBezTo>
                <a:cubicBezTo>
                  <a:pt x="255839" y="411005"/>
                  <a:pt x="254650" y="412835"/>
                  <a:pt x="253461" y="414637"/>
                </a:cubicBezTo>
                <a:lnTo>
                  <a:pt x="255244" y="434542"/>
                </a:lnTo>
                <a:lnTo>
                  <a:pt x="271292" y="438146"/>
                </a:lnTo>
                <a:lnTo>
                  <a:pt x="289123" y="416439"/>
                </a:lnTo>
                <a:cubicBezTo>
                  <a:pt x="290311" y="412234"/>
                  <a:pt x="291500" y="408002"/>
                  <a:pt x="292689" y="403797"/>
                </a:cubicBezTo>
                <a:lnTo>
                  <a:pt x="314152" y="394759"/>
                </a:lnTo>
                <a:lnTo>
                  <a:pt x="321284" y="382089"/>
                </a:lnTo>
                <a:cubicBezTo>
                  <a:pt x="320690" y="377857"/>
                  <a:pt x="320096" y="373652"/>
                  <a:pt x="319501" y="369420"/>
                </a:cubicBezTo>
                <a:lnTo>
                  <a:pt x="333766" y="362211"/>
                </a:lnTo>
                <a:lnTo>
                  <a:pt x="340898" y="358580"/>
                </a:lnTo>
                <a:lnTo>
                  <a:pt x="348030" y="362211"/>
                </a:lnTo>
                <a:lnTo>
                  <a:pt x="360512" y="358580"/>
                </a:lnTo>
                <a:cubicBezTo>
                  <a:pt x="362295" y="356778"/>
                  <a:pt x="364144" y="354948"/>
                  <a:pt x="365927" y="353146"/>
                </a:cubicBezTo>
                <a:lnTo>
                  <a:pt x="374843" y="349542"/>
                </a:lnTo>
                <a:lnTo>
                  <a:pt x="383758" y="349542"/>
                </a:lnTo>
                <a:cubicBezTo>
                  <a:pt x="384352" y="351344"/>
                  <a:pt x="384947" y="353174"/>
                  <a:pt x="385541" y="354976"/>
                </a:cubicBezTo>
                <a:lnTo>
                  <a:pt x="412287" y="349542"/>
                </a:lnTo>
                <a:lnTo>
                  <a:pt x="421203" y="353146"/>
                </a:lnTo>
                <a:lnTo>
                  <a:pt x="440883" y="353146"/>
                </a:lnTo>
                <a:lnTo>
                  <a:pt x="448015" y="358580"/>
                </a:lnTo>
                <a:lnTo>
                  <a:pt x="462280" y="358580"/>
                </a:lnTo>
                <a:lnTo>
                  <a:pt x="472978" y="358580"/>
                </a:lnTo>
                <a:lnTo>
                  <a:pt x="480110" y="360382"/>
                </a:lnTo>
                <a:lnTo>
                  <a:pt x="489026" y="345938"/>
                </a:lnTo>
                <a:cubicBezTo>
                  <a:pt x="491403" y="341105"/>
                  <a:pt x="493847" y="336299"/>
                  <a:pt x="496224" y="331466"/>
                </a:cubicBezTo>
                <a:lnTo>
                  <a:pt x="537235" y="316995"/>
                </a:lnTo>
                <a:lnTo>
                  <a:pt x="574746" y="293485"/>
                </a:lnTo>
                <a:lnTo>
                  <a:pt x="592576" y="275409"/>
                </a:lnTo>
                <a:lnTo>
                  <a:pt x="619323" y="264542"/>
                </a:lnTo>
                <a:lnTo>
                  <a:pt x="642569" y="241033"/>
                </a:lnTo>
                <a:cubicBezTo>
                  <a:pt x="643163" y="236828"/>
                  <a:pt x="643757" y="232595"/>
                  <a:pt x="644352" y="228390"/>
                </a:cubicBezTo>
                <a:lnTo>
                  <a:pt x="653267" y="217550"/>
                </a:lnTo>
                <a:cubicBezTo>
                  <a:pt x="655051" y="214519"/>
                  <a:pt x="656834" y="211516"/>
                  <a:pt x="658617" y="208485"/>
                </a:cubicBezTo>
                <a:lnTo>
                  <a:pt x="658617" y="201277"/>
                </a:lnTo>
                <a:cubicBezTo>
                  <a:pt x="659211" y="197645"/>
                  <a:pt x="659806" y="194041"/>
                  <a:pt x="660400" y="190409"/>
                </a:cubicBezTo>
                <a:lnTo>
                  <a:pt x="651484" y="184976"/>
                </a:lnTo>
                <a:lnTo>
                  <a:pt x="654306" y="183230"/>
                </a:lnTo>
                <a:cubicBezTo>
                  <a:pt x="656036" y="176980"/>
                  <a:pt x="657737" y="170730"/>
                  <a:pt x="659469" y="164481"/>
                </a:cubicBezTo>
                <a:lnTo>
                  <a:pt x="659469" y="146600"/>
                </a:lnTo>
                <a:cubicBezTo>
                  <a:pt x="660657" y="144814"/>
                  <a:pt x="661879" y="143028"/>
                  <a:pt x="663068" y="141241"/>
                </a:cubicBezTo>
                <a:cubicBezTo>
                  <a:pt x="662473" y="133489"/>
                  <a:pt x="661879" y="125755"/>
                  <a:pt x="661285" y="118002"/>
                </a:cubicBezTo>
                <a:lnTo>
                  <a:pt x="661285" y="87599"/>
                </a:lnTo>
                <a:cubicBezTo>
                  <a:pt x="662473" y="79846"/>
                  <a:pt x="663695" y="72112"/>
                  <a:pt x="664884" y="64360"/>
                </a:cubicBezTo>
                <a:cubicBezTo>
                  <a:pt x="665478" y="57804"/>
                  <a:pt x="666106" y="51248"/>
                  <a:pt x="666700" y="44693"/>
                </a:cubicBezTo>
                <a:lnTo>
                  <a:pt x="668483" y="25026"/>
                </a:lnTo>
                <a:lnTo>
                  <a:pt x="679314" y="5359"/>
                </a:lnTo>
                <a:lnTo>
                  <a:pt x="690144" y="1786"/>
                </a:lnTo>
                <a:close/>
              </a:path>
            </a:pathLst>
          </a:custGeom>
          <a:solidFill>
            <a:srgbClr val="70B0DF"/>
          </a:solidFill>
          <a:ln w="3175" cap="flat" cmpd="sng">
            <a:noFill/>
            <a:prstDash val="solid"/>
            <a:round/>
            <a:headEnd type="none" w="med" len="med"/>
            <a:tailEnd type="none" w="med" len="med"/>
          </a:ln>
        </p:spPr>
        <p:txBody>
          <a:bodyPr wrap="none" lIns="32632" tIns="32632" rIns="32632" bIns="32632" anchor="ctr"/>
          <a:lstStyle/>
          <a:p>
            <a:pPr defTabSz="891045"/>
            <a:endParaRPr lang="en-US" sz="1700" dirty="0">
              <a:solidFill>
                <a:srgbClr val="003149"/>
              </a:solidFill>
              <a:cs typeface="Arial" panose="020B0604020202020204" pitchFamily="34" charset="0"/>
            </a:endParaRPr>
          </a:p>
        </p:txBody>
      </p:sp>
      <p:sp>
        <p:nvSpPr>
          <p:cNvPr id="63" name="Freeform 852"/>
          <p:cNvSpPr>
            <a:spLocks noChangeAspect="1"/>
          </p:cNvSpPr>
          <p:nvPr/>
        </p:nvSpPr>
        <p:spPr bwMode="gray">
          <a:xfrm>
            <a:off x="2560658" y="3472001"/>
            <a:ext cx="126528" cy="264010"/>
          </a:xfrm>
          <a:custGeom>
            <a:avLst/>
            <a:gdLst>
              <a:gd name="T0" fmla="*/ 0 w 736599"/>
              <a:gd name="T1" fmla="*/ 0 h 1354789"/>
              <a:gd name="T2" fmla="*/ 0 w 736599"/>
              <a:gd name="T3" fmla="*/ 0 h 1354789"/>
              <a:gd name="T4" fmla="*/ 0 w 736599"/>
              <a:gd name="T5" fmla="*/ 0 h 1354789"/>
              <a:gd name="T6" fmla="*/ 0 w 736599"/>
              <a:gd name="T7" fmla="*/ 0 h 1354789"/>
              <a:gd name="T8" fmla="*/ 0 w 736599"/>
              <a:gd name="T9" fmla="*/ 0 h 1354789"/>
              <a:gd name="T10" fmla="*/ 0 w 736599"/>
              <a:gd name="T11" fmla="*/ 0 h 1354789"/>
              <a:gd name="T12" fmla="*/ 0 w 736599"/>
              <a:gd name="T13" fmla="*/ 0 h 1354789"/>
              <a:gd name="T14" fmla="*/ 0 w 736599"/>
              <a:gd name="T15" fmla="*/ 0 h 1354789"/>
              <a:gd name="T16" fmla="*/ 0 w 736599"/>
              <a:gd name="T17" fmla="*/ 0 h 1354789"/>
              <a:gd name="T18" fmla="*/ 0 w 736599"/>
              <a:gd name="T19" fmla="*/ 0 h 1354789"/>
              <a:gd name="T20" fmla="*/ 0 w 736599"/>
              <a:gd name="T21" fmla="*/ 0 h 1354789"/>
              <a:gd name="T22" fmla="*/ 0 w 736599"/>
              <a:gd name="T23" fmla="*/ 0 h 1354789"/>
              <a:gd name="T24" fmla="*/ 0 w 736599"/>
              <a:gd name="T25" fmla="*/ 0 h 1354789"/>
              <a:gd name="T26" fmla="*/ 0 w 736599"/>
              <a:gd name="T27" fmla="*/ 0 h 1354789"/>
              <a:gd name="T28" fmla="*/ 0 w 736599"/>
              <a:gd name="T29" fmla="*/ 0 h 1354789"/>
              <a:gd name="T30" fmla="*/ 0 w 736599"/>
              <a:gd name="T31" fmla="*/ 0 h 1354789"/>
              <a:gd name="T32" fmla="*/ 0 w 736599"/>
              <a:gd name="T33" fmla="*/ 0 h 1354789"/>
              <a:gd name="T34" fmla="*/ 0 w 736599"/>
              <a:gd name="T35" fmla="*/ 0 h 1354789"/>
              <a:gd name="T36" fmla="*/ 0 w 736599"/>
              <a:gd name="T37" fmla="*/ 0 h 1354789"/>
              <a:gd name="T38" fmla="*/ 0 w 736599"/>
              <a:gd name="T39" fmla="*/ 0 h 1354789"/>
              <a:gd name="T40" fmla="*/ 0 w 736599"/>
              <a:gd name="T41" fmla="*/ 0 h 1354789"/>
              <a:gd name="T42" fmla="*/ 0 w 736599"/>
              <a:gd name="T43" fmla="*/ 0 h 1354789"/>
              <a:gd name="T44" fmla="*/ 0 w 736599"/>
              <a:gd name="T45" fmla="*/ 0 h 1354789"/>
              <a:gd name="T46" fmla="*/ 0 w 736599"/>
              <a:gd name="T47" fmla="*/ 0 h 1354789"/>
              <a:gd name="T48" fmla="*/ 0 w 736599"/>
              <a:gd name="T49" fmla="*/ 0 h 1354789"/>
              <a:gd name="T50" fmla="*/ 0 w 736599"/>
              <a:gd name="T51" fmla="*/ 0 h 1354789"/>
              <a:gd name="T52" fmla="*/ 0 w 736599"/>
              <a:gd name="T53" fmla="*/ 0 h 1354789"/>
              <a:gd name="T54" fmla="*/ 0 w 736599"/>
              <a:gd name="T55" fmla="*/ 0 h 1354789"/>
              <a:gd name="T56" fmla="*/ 0 w 736599"/>
              <a:gd name="T57" fmla="*/ 0 h 1354789"/>
              <a:gd name="T58" fmla="*/ 0 w 736599"/>
              <a:gd name="T59" fmla="*/ 0 h 1354789"/>
              <a:gd name="T60" fmla="*/ 0 w 736599"/>
              <a:gd name="T61" fmla="*/ 0 h 1354789"/>
              <a:gd name="T62" fmla="*/ 0 w 736599"/>
              <a:gd name="T63" fmla="*/ 0 h 1354789"/>
              <a:gd name="T64" fmla="*/ 0 w 736599"/>
              <a:gd name="T65" fmla="*/ 0 h 1354789"/>
              <a:gd name="T66" fmla="*/ 0 w 736599"/>
              <a:gd name="T67" fmla="*/ 0 h 1354789"/>
              <a:gd name="T68" fmla="*/ 0 w 736599"/>
              <a:gd name="T69" fmla="*/ 0 h 1354789"/>
              <a:gd name="T70" fmla="*/ 0 w 736599"/>
              <a:gd name="T71" fmla="*/ 0 h 1354789"/>
              <a:gd name="T72" fmla="*/ 0 w 736599"/>
              <a:gd name="T73" fmla="*/ 0 h 1354789"/>
              <a:gd name="T74" fmla="*/ 0 w 736599"/>
              <a:gd name="T75" fmla="*/ 0 h 1354789"/>
              <a:gd name="T76" fmla="*/ 0 w 736599"/>
              <a:gd name="T77" fmla="*/ 0 h 1354789"/>
              <a:gd name="T78" fmla="*/ 0 w 736599"/>
              <a:gd name="T79" fmla="*/ 0 h 1354789"/>
              <a:gd name="T80" fmla="*/ 0 w 736599"/>
              <a:gd name="T81" fmla="*/ 0 h 1354789"/>
              <a:gd name="T82" fmla="*/ 0 w 736599"/>
              <a:gd name="T83" fmla="*/ 0 h 1354789"/>
              <a:gd name="T84" fmla="*/ 0 w 736599"/>
              <a:gd name="T85" fmla="*/ 0 h 1354789"/>
              <a:gd name="T86" fmla="*/ 0 w 736599"/>
              <a:gd name="T87" fmla="*/ 0 h 1354789"/>
              <a:gd name="T88" fmla="*/ 0 w 736599"/>
              <a:gd name="T89" fmla="*/ 0 h 1354789"/>
              <a:gd name="T90" fmla="*/ 0 w 736599"/>
              <a:gd name="T91" fmla="*/ 0 h 1354789"/>
              <a:gd name="T92" fmla="*/ 0 w 736599"/>
              <a:gd name="T93" fmla="*/ 0 h 1354789"/>
              <a:gd name="T94" fmla="*/ 0 w 736599"/>
              <a:gd name="T95" fmla="*/ 0 h 1354789"/>
              <a:gd name="T96" fmla="*/ 0 w 736599"/>
              <a:gd name="T97" fmla="*/ 0 h 1354789"/>
              <a:gd name="T98" fmla="*/ 0 w 736599"/>
              <a:gd name="T99" fmla="*/ 0 h 1354789"/>
              <a:gd name="T100" fmla="*/ 0 w 736599"/>
              <a:gd name="T101" fmla="*/ 0 h 1354789"/>
              <a:gd name="T102" fmla="*/ 0 w 736599"/>
              <a:gd name="T103" fmla="*/ 0 h 1354789"/>
              <a:gd name="T104" fmla="*/ 0 w 736599"/>
              <a:gd name="T105" fmla="*/ 0 h 1354789"/>
              <a:gd name="T106" fmla="*/ 0 w 736599"/>
              <a:gd name="T107" fmla="*/ 0 h 1354789"/>
              <a:gd name="T108" fmla="*/ 0 w 736599"/>
              <a:gd name="T109" fmla="*/ 0 h 1354789"/>
              <a:gd name="T110" fmla="*/ 0 w 736599"/>
              <a:gd name="T111" fmla="*/ 0 h 1354789"/>
              <a:gd name="T112" fmla="*/ 0 w 736599"/>
              <a:gd name="T113" fmla="*/ 0 h 1354789"/>
              <a:gd name="T114" fmla="*/ 0 w 736599"/>
              <a:gd name="T115" fmla="*/ 0 h 1354789"/>
              <a:gd name="T116" fmla="*/ 0 w 736599"/>
              <a:gd name="T117" fmla="*/ 0 h 1354789"/>
              <a:gd name="T118" fmla="*/ 0 w 736599"/>
              <a:gd name="T119" fmla="*/ 0 h 1354789"/>
              <a:gd name="T120" fmla="*/ 0 w 736599"/>
              <a:gd name="T121" fmla="*/ 0 h 1354789"/>
              <a:gd name="T122" fmla="*/ 0 w 736599"/>
              <a:gd name="T123" fmla="*/ 0 h 1354789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w 736599"/>
              <a:gd name="T187" fmla="*/ 0 h 1354789"/>
              <a:gd name="T188" fmla="*/ 736599 w 736599"/>
              <a:gd name="T189" fmla="*/ 1354789 h 1354789"/>
            </a:gdLst>
            <a:ahLst/>
            <a:cxnLst>
              <a:cxn ang="T124">
                <a:pos x="T0" y="T1"/>
              </a:cxn>
              <a:cxn ang="T125">
                <a:pos x="T2" y="T3"/>
              </a:cxn>
              <a:cxn ang="T126">
                <a:pos x="T4" y="T5"/>
              </a:cxn>
              <a:cxn ang="T127">
                <a:pos x="T6" y="T7"/>
              </a:cxn>
              <a:cxn ang="T128">
                <a:pos x="T8" y="T9"/>
              </a:cxn>
              <a:cxn ang="T129">
                <a:pos x="T10" y="T11"/>
              </a:cxn>
              <a:cxn ang="T130">
                <a:pos x="T12" y="T13"/>
              </a:cxn>
              <a:cxn ang="T131">
                <a:pos x="T14" y="T15"/>
              </a:cxn>
              <a:cxn ang="T132">
                <a:pos x="T16" y="T17"/>
              </a:cxn>
              <a:cxn ang="T133">
                <a:pos x="T18" y="T19"/>
              </a:cxn>
              <a:cxn ang="T134">
                <a:pos x="T20" y="T21"/>
              </a:cxn>
              <a:cxn ang="T135">
                <a:pos x="T22" y="T23"/>
              </a:cxn>
              <a:cxn ang="T136">
                <a:pos x="T24" y="T25"/>
              </a:cxn>
              <a:cxn ang="T137">
                <a:pos x="T26" y="T27"/>
              </a:cxn>
              <a:cxn ang="T138">
                <a:pos x="T28" y="T29"/>
              </a:cxn>
              <a:cxn ang="T139">
                <a:pos x="T30" y="T31"/>
              </a:cxn>
              <a:cxn ang="T140">
                <a:pos x="T32" y="T33"/>
              </a:cxn>
              <a:cxn ang="T141">
                <a:pos x="T34" y="T35"/>
              </a:cxn>
              <a:cxn ang="T142">
                <a:pos x="T36" y="T37"/>
              </a:cxn>
              <a:cxn ang="T143">
                <a:pos x="T38" y="T39"/>
              </a:cxn>
              <a:cxn ang="T144">
                <a:pos x="T40" y="T41"/>
              </a:cxn>
              <a:cxn ang="T145">
                <a:pos x="T42" y="T43"/>
              </a:cxn>
              <a:cxn ang="T146">
                <a:pos x="T44" y="T45"/>
              </a:cxn>
              <a:cxn ang="T147">
                <a:pos x="T46" y="T47"/>
              </a:cxn>
              <a:cxn ang="T148">
                <a:pos x="T48" y="T49"/>
              </a:cxn>
              <a:cxn ang="T149">
                <a:pos x="T50" y="T51"/>
              </a:cxn>
              <a:cxn ang="T150">
                <a:pos x="T52" y="T53"/>
              </a:cxn>
              <a:cxn ang="T151">
                <a:pos x="T54" y="T55"/>
              </a:cxn>
              <a:cxn ang="T152">
                <a:pos x="T56" y="T57"/>
              </a:cxn>
              <a:cxn ang="T153">
                <a:pos x="T58" y="T59"/>
              </a:cxn>
              <a:cxn ang="T154">
                <a:pos x="T60" y="T61"/>
              </a:cxn>
              <a:cxn ang="T155">
                <a:pos x="T62" y="T63"/>
              </a:cxn>
              <a:cxn ang="T156">
                <a:pos x="T64" y="T65"/>
              </a:cxn>
              <a:cxn ang="T157">
                <a:pos x="T66" y="T67"/>
              </a:cxn>
              <a:cxn ang="T158">
                <a:pos x="T68" y="T69"/>
              </a:cxn>
              <a:cxn ang="T159">
                <a:pos x="T70" y="T71"/>
              </a:cxn>
              <a:cxn ang="T160">
                <a:pos x="T72" y="T73"/>
              </a:cxn>
              <a:cxn ang="T161">
                <a:pos x="T74" y="T75"/>
              </a:cxn>
              <a:cxn ang="T162">
                <a:pos x="T76" y="T77"/>
              </a:cxn>
              <a:cxn ang="T163">
                <a:pos x="T78" y="T79"/>
              </a:cxn>
              <a:cxn ang="T164">
                <a:pos x="T80" y="T81"/>
              </a:cxn>
              <a:cxn ang="T165">
                <a:pos x="T82" y="T83"/>
              </a:cxn>
              <a:cxn ang="T166">
                <a:pos x="T84" y="T85"/>
              </a:cxn>
              <a:cxn ang="T167">
                <a:pos x="T86" y="T87"/>
              </a:cxn>
              <a:cxn ang="T168">
                <a:pos x="T88" y="T89"/>
              </a:cxn>
              <a:cxn ang="T169">
                <a:pos x="T90" y="T91"/>
              </a:cxn>
              <a:cxn ang="T170">
                <a:pos x="T92" y="T93"/>
              </a:cxn>
              <a:cxn ang="T171">
                <a:pos x="T94" y="T95"/>
              </a:cxn>
              <a:cxn ang="T172">
                <a:pos x="T96" y="T97"/>
              </a:cxn>
              <a:cxn ang="T173">
                <a:pos x="T98" y="T99"/>
              </a:cxn>
              <a:cxn ang="T174">
                <a:pos x="T100" y="T101"/>
              </a:cxn>
              <a:cxn ang="T175">
                <a:pos x="T102" y="T103"/>
              </a:cxn>
              <a:cxn ang="T176">
                <a:pos x="T104" y="T105"/>
              </a:cxn>
              <a:cxn ang="T177">
                <a:pos x="T106" y="T107"/>
              </a:cxn>
              <a:cxn ang="T178">
                <a:pos x="T108" y="T109"/>
              </a:cxn>
              <a:cxn ang="T179">
                <a:pos x="T110" y="T111"/>
              </a:cxn>
              <a:cxn ang="T180">
                <a:pos x="T112" y="T113"/>
              </a:cxn>
              <a:cxn ang="T181">
                <a:pos x="T114" y="T115"/>
              </a:cxn>
              <a:cxn ang="T182">
                <a:pos x="T116" y="T117"/>
              </a:cxn>
              <a:cxn ang="T183">
                <a:pos x="T118" y="T119"/>
              </a:cxn>
              <a:cxn ang="T184">
                <a:pos x="T120" y="T121"/>
              </a:cxn>
              <a:cxn ang="T185">
                <a:pos x="T122" y="T123"/>
              </a:cxn>
            </a:cxnLst>
            <a:rect l="T186" t="T187" r="T188" b="T189"/>
            <a:pathLst>
              <a:path w="736599" h="1354789">
                <a:moveTo>
                  <a:pt x="276196" y="0"/>
                </a:moveTo>
                <a:lnTo>
                  <a:pt x="300149" y="0"/>
                </a:lnTo>
                <a:lnTo>
                  <a:pt x="320560" y="0"/>
                </a:lnTo>
                <a:lnTo>
                  <a:pt x="344512" y="8125"/>
                </a:lnTo>
                <a:lnTo>
                  <a:pt x="373775" y="27124"/>
                </a:lnTo>
                <a:lnTo>
                  <a:pt x="416369" y="43399"/>
                </a:lnTo>
                <a:lnTo>
                  <a:pt x="445632" y="54249"/>
                </a:lnTo>
                <a:lnTo>
                  <a:pt x="473125" y="67799"/>
                </a:lnTo>
                <a:lnTo>
                  <a:pt x="510407" y="71415"/>
                </a:lnTo>
                <a:lnTo>
                  <a:pt x="546752" y="77732"/>
                </a:lnTo>
                <a:lnTo>
                  <a:pt x="572475" y="85881"/>
                </a:lnTo>
                <a:lnTo>
                  <a:pt x="586690" y="106689"/>
                </a:lnTo>
                <a:lnTo>
                  <a:pt x="635479" y="111198"/>
                </a:lnTo>
                <a:lnTo>
                  <a:pt x="678958" y="120239"/>
                </a:lnTo>
                <a:lnTo>
                  <a:pt x="732173" y="182613"/>
                </a:lnTo>
                <a:cubicBezTo>
                  <a:pt x="733631" y="193760"/>
                  <a:pt x="735141" y="204931"/>
                  <a:pt x="736599" y="216078"/>
                </a:cubicBezTo>
                <a:cubicBezTo>
                  <a:pt x="735402" y="222395"/>
                  <a:pt x="734256" y="228736"/>
                  <a:pt x="733058" y="235078"/>
                </a:cubicBezTo>
                <a:lnTo>
                  <a:pt x="721499" y="247711"/>
                </a:lnTo>
                <a:lnTo>
                  <a:pt x="721174" y="247725"/>
                </a:lnTo>
                <a:lnTo>
                  <a:pt x="723132" y="249218"/>
                </a:lnTo>
                <a:lnTo>
                  <a:pt x="665789" y="262157"/>
                </a:lnTo>
                <a:lnTo>
                  <a:pt x="601905" y="299498"/>
                </a:lnTo>
                <a:lnTo>
                  <a:pt x="580697" y="331370"/>
                </a:lnTo>
                <a:lnTo>
                  <a:pt x="601905" y="373971"/>
                </a:lnTo>
                <a:lnTo>
                  <a:pt x="639156" y="421726"/>
                </a:lnTo>
                <a:cubicBezTo>
                  <a:pt x="640869" y="441502"/>
                  <a:pt x="642686" y="460961"/>
                  <a:pt x="644451" y="480421"/>
                </a:cubicBezTo>
                <a:lnTo>
                  <a:pt x="612574" y="512608"/>
                </a:lnTo>
                <a:lnTo>
                  <a:pt x="575194" y="544585"/>
                </a:lnTo>
                <a:lnTo>
                  <a:pt x="532751" y="592446"/>
                </a:lnTo>
                <a:cubicBezTo>
                  <a:pt x="529169" y="603175"/>
                  <a:pt x="525638" y="613904"/>
                  <a:pt x="522056" y="624212"/>
                </a:cubicBezTo>
                <a:lnTo>
                  <a:pt x="532751" y="645671"/>
                </a:lnTo>
                <a:lnTo>
                  <a:pt x="564654" y="635152"/>
                </a:lnTo>
                <a:lnTo>
                  <a:pt x="586018" y="651035"/>
                </a:lnTo>
                <a:lnTo>
                  <a:pt x="628539" y="683012"/>
                </a:lnTo>
                <a:lnTo>
                  <a:pt x="660520" y="714884"/>
                </a:lnTo>
                <a:lnTo>
                  <a:pt x="692371" y="762955"/>
                </a:lnTo>
                <a:lnTo>
                  <a:pt x="692371" y="805766"/>
                </a:lnTo>
                <a:cubicBezTo>
                  <a:pt x="688867" y="818073"/>
                  <a:pt x="685284" y="830485"/>
                  <a:pt x="681754" y="843108"/>
                </a:cubicBezTo>
                <a:lnTo>
                  <a:pt x="660520" y="912111"/>
                </a:lnTo>
                <a:lnTo>
                  <a:pt x="628539" y="1056008"/>
                </a:lnTo>
                <a:lnTo>
                  <a:pt x="601905" y="1178656"/>
                </a:lnTo>
                <a:lnTo>
                  <a:pt x="564654" y="1189280"/>
                </a:lnTo>
                <a:lnTo>
                  <a:pt x="527326" y="1146785"/>
                </a:lnTo>
                <a:lnTo>
                  <a:pt x="511439" y="1119857"/>
                </a:lnTo>
                <a:lnTo>
                  <a:pt x="468971" y="1119857"/>
                </a:lnTo>
                <a:cubicBezTo>
                  <a:pt x="467102" y="1130375"/>
                  <a:pt x="465233" y="1141420"/>
                  <a:pt x="463545" y="1151834"/>
                </a:cubicBezTo>
                <a:lnTo>
                  <a:pt x="484857" y="1205059"/>
                </a:lnTo>
                <a:lnTo>
                  <a:pt x="515762" y="1298317"/>
                </a:lnTo>
                <a:lnTo>
                  <a:pt x="518071" y="1300617"/>
                </a:lnTo>
                <a:lnTo>
                  <a:pt x="516599" y="1300841"/>
                </a:lnTo>
                <a:lnTo>
                  <a:pt x="516683" y="1301095"/>
                </a:lnTo>
                <a:lnTo>
                  <a:pt x="515790" y="1300965"/>
                </a:lnTo>
                <a:lnTo>
                  <a:pt x="492834" y="1304463"/>
                </a:lnTo>
                <a:lnTo>
                  <a:pt x="417172" y="1325561"/>
                </a:lnTo>
                <a:lnTo>
                  <a:pt x="373986" y="1315560"/>
                </a:lnTo>
                <a:lnTo>
                  <a:pt x="336998" y="1320367"/>
                </a:lnTo>
                <a:lnTo>
                  <a:pt x="336998" y="1344181"/>
                </a:lnTo>
                <a:cubicBezTo>
                  <a:pt x="328420" y="1347149"/>
                  <a:pt x="320933" y="1351770"/>
                  <a:pt x="313248" y="1354789"/>
                </a:cubicBezTo>
                <a:cubicBezTo>
                  <a:pt x="304125" y="1349223"/>
                  <a:pt x="294952" y="1342730"/>
                  <a:pt x="285879" y="1336945"/>
                </a:cubicBezTo>
                <a:cubicBezTo>
                  <a:pt x="290093" y="1323605"/>
                  <a:pt x="293762" y="1312052"/>
                  <a:pt x="299068" y="1299352"/>
                </a:cubicBezTo>
                <a:lnTo>
                  <a:pt x="228165" y="1300617"/>
                </a:lnTo>
                <a:lnTo>
                  <a:pt x="145512" y="1299352"/>
                </a:lnTo>
                <a:lnTo>
                  <a:pt x="83286" y="1252753"/>
                </a:lnTo>
                <a:lnTo>
                  <a:pt x="28201" y="1252753"/>
                </a:lnTo>
                <a:cubicBezTo>
                  <a:pt x="33506" y="1246176"/>
                  <a:pt x="39009" y="1240222"/>
                  <a:pt x="43571" y="1233712"/>
                </a:cubicBezTo>
                <a:lnTo>
                  <a:pt x="43571" y="1186135"/>
                </a:lnTo>
                <a:lnTo>
                  <a:pt x="32091" y="1186135"/>
                </a:lnTo>
                <a:lnTo>
                  <a:pt x="29232" y="1186961"/>
                </a:lnTo>
                <a:lnTo>
                  <a:pt x="29451" y="1186135"/>
                </a:lnTo>
                <a:lnTo>
                  <a:pt x="22251" y="1186135"/>
                </a:lnTo>
                <a:lnTo>
                  <a:pt x="30270" y="1183044"/>
                </a:lnTo>
                <a:cubicBezTo>
                  <a:pt x="31717" y="1173946"/>
                  <a:pt x="39126" y="1156573"/>
                  <a:pt x="38627" y="1151511"/>
                </a:cubicBezTo>
                <a:lnTo>
                  <a:pt x="21059" y="1124705"/>
                </a:lnTo>
                <a:lnTo>
                  <a:pt x="1746" y="1083566"/>
                </a:lnTo>
                <a:cubicBezTo>
                  <a:pt x="1152" y="1073391"/>
                  <a:pt x="593" y="1063106"/>
                  <a:pt x="0" y="1053040"/>
                </a:cubicBezTo>
                <a:lnTo>
                  <a:pt x="26333" y="1029626"/>
                </a:lnTo>
                <a:lnTo>
                  <a:pt x="56159" y="1020764"/>
                </a:lnTo>
                <a:lnTo>
                  <a:pt x="77218" y="1018904"/>
                </a:lnTo>
                <a:lnTo>
                  <a:pt x="94786" y="995599"/>
                </a:lnTo>
                <a:lnTo>
                  <a:pt x="80746" y="954460"/>
                </a:lnTo>
                <a:lnTo>
                  <a:pt x="47393" y="897018"/>
                </a:lnTo>
                <a:cubicBezTo>
                  <a:pt x="49139" y="885639"/>
                  <a:pt x="50920" y="874260"/>
                  <a:pt x="52666" y="862991"/>
                </a:cubicBezTo>
                <a:lnTo>
                  <a:pt x="73726" y="850518"/>
                </a:lnTo>
                <a:lnTo>
                  <a:pt x="108825" y="850518"/>
                </a:lnTo>
                <a:lnTo>
                  <a:pt x="135124" y="850518"/>
                </a:lnTo>
                <a:lnTo>
                  <a:pt x="163203" y="852268"/>
                </a:lnTo>
                <a:lnTo>
                  <a:pt x="172004" y="866601"/>
                </a:lnTo>
                <a:lnTo>
                  <a:pt x="187790" y="871963"/>
                </a:lnTo>
                <a:lnTo>
                  <a:pt x="222890" y="871963"/>
                </a:lnTo>
                <a:lnTo>
                  <a:pt x="256244" y="846907"/>
                </a:lnTo>
                <a:lnTo>
                  <a:pt x="286069" y="811020"/>
                </a:lnTo>
                <a:cubicBezTo>
                  <a:pt x="286663" y="788919"/>
                  <a:pt x="287222" y="766817"/>
                  <a:pt x="287816" y="744716"/>
                </a:cubicBezTo>
                <a:cubicBezTo>
                  <a:pt x="289003" y="717144"/>
                  <a:pt x="290156" y="689791"/>
                  <a:pt x="291343" y="662219"/>
                </a:cubicBezTo>
                <a:lnTo>
                  <a:pt x="308875" y="653247"/>
                </a:lnTo>
                <a:lnTo>
                  <a:pt x="329935" y="642634"/>
                </a:lnTo>
                <a:lnTo>
                  <a:pt x="349248" y="619220"/>
                </a:lnTo>
                <a:lnTo>
                  <a:pt x="336955" y="604996"/>
                </a:lnTo>
                <a:lnTo>
                  <a:pt x="294835" y="577862"/>
                </a:lnTo>
                <a:cubicBezTo>
                  <a:pt x="293683" y="571297"/>
                  <a:pt x="292495" y="564842"/>
                  <a:pt x="291343" y="558277"/>
                </a:cubicBezTo>
                <a:lnTo>
                  <a:pt x="284323" y="511668"/>
                </a:lnTo>
                <a:lnTo>
                  <a:pt x="266756" y="502586"/>
                </a:lnTo>
                <a:cubicBezTo>
                  <a:pt x="265603" y="494818"/>
                  <a:pt x="264416" y="487159"/>
                  <a:pt x="263263" y="479391"/>
                </a:cubicBezTo>
                <a:lnTo>
                  <a:pt x="263263" y="438033"/>
                </a:lnTo>
                <a:lnTo>
                  <a:pt x="261482" y="397003"/>
                </a:lnTo>
                <a:lnTo>
                  <a:pt x="270283" y="380810"/>
                </a:lnTo>
                <a:lnTo>
                  <a:pt x="287816" y="344923"/>
                </a:lnTo>
                <a:lnTo>
                  <a:pt x="301855" y="316257"/>
                </a:lnTo>
                <a:lnTo>
                  <a:pt x="301855" y="294703"/>
                </a:lnTo>
                <a:lnTo>
                  <a:pt x="261482" y="269647"/>
                </a:lnTo>
                <a:lnTo>
                  <a:pt x="235184" y="246342"/>
                </a:lnTo>
                <a:lnTo>
                  <a:pt x="226382" y="212315"/>
                </a:lnTo>
                <a:lnTo>
                  <a:pt x="219362" y="178288"/>
                </a:lnTo>
                <a:lnTo>
                  <a:pt x="203576" y="163845"/>
                </a:lnTo>
                <a:lnTo>
                  <a:pt x="203576" y="146011"/>
                </a:lnTo>
                <a:lnTo>
                  <a:pt x="203576" y="106623"/>
                </a:lnTo>
                <a:lnTo>
                  <a:pt x="203576" y="86819"/>
                </a:lnTo>
                <a:lnTo>
                  <a:pt x="210596" y="83209"/>
                </a:lnTo>
                <a:cubicBezTo>
                  <a:pt x="211400" y="80583"/>
                  <a:pt x="212203" y="77957"/>
                  <a:pt x="213006" y="75440"/>
                </a:cubicBezTo>
                <a:lnTo>
                  <a:pt x="217139" y="75264"/>
                </a:lnTo>
                <a:cubicBezTo>
                  <a:pt x="216726" y="73378"/>
                  <a:pt x="216313" y="71493"/>
                  <a:pt x="215899" y="69607"/>
                </a:cubicBezTo>
                <a:lnTo>
                  <a:pt x="221210" y="55165"/>
                </a:lnTo>
                <a:lnTo>
                  <a:pt x="221210" y="30741"/>
                </a:lnTo>
                <a:cubicBezTo>
                  <a:pt x="221783" y="24102"/>
                  <a:pt x="222408" y="17488"/>
                  <a:pt x="222980" y="10850"/>
                </a:cubicBezTo>
                <a:lnTo>
                  <a:pt x="260263" y="2725"/>
                </a:lnTo>
                <a:close/>
              </a:path>
            </a:pathLst>
          </a:custGeom>
          <a:solidFill>
            <a:srgbClr val="70B0DF"/>
          </a:solidFill>
          <a:ln w="3175" cap="flat" cmpd="sng">
            <a:noFill/>
            <a:prstDash val="solid"/>
            <a:round/>
            <a:headEnd/>
            <a:tailEnd/>
          </a:ln>
        </p:spPr>
        <p:txBody>
          <a:bodyPr wrap="none" lIns="32632" tIns="32632" rIns="32632" bIns="32632" anchor="ctr"/>
          <a:lstStyle/>
          <a:p>
            <a:pPr defTabSz="891045"/>
            <a:endParaRPr lang="en-US" sz="1700" dirty="0">
              <a:solidFill>
                <a:srgbClr val="003149"/>
              </a:solidFill>
              <a:cs typeface="Arial" panose="020B0604020202020204" pitchFamily="34" charset="0"/>
            </a:endParaRPr>
          </a:p>
        </p:txBody>
      </p:sp>
      <p:sp>
        <p:nvSpPr>
          <p:cNvPr id="64" name="Freeform 789"/>
          <p:cNvSpPr>
            <a:spLocks noChangeAspect="1"/>
          </p:cNvSpPr>
          <p:nvPr>
            <p:custDataLst>
              <p:tags r:id="rId42"/>
            </p:custDataLst>
          </p:nvPr>
        </p:nvSpPr>
        <p:spPr bwMode="gray">
          <a:xfrm>
            <a:off x="2478239" y="3248201"/>
            <a:ext cx="291443" cy="272619"/>
          </a:xfrm>
          <a:custGeom>
            <a:avLst/>
            <a:gdLst>
              <a:gd name="T0" fmla="*/ 0 w 1689098"/>
              <a:gd name="T1" fmla="*/ 0 h 1385626"/>
              <a:gd name="T2" fmla="*/ 0 w 1689098"/>
              <a:gd name="T3" fmla="*/ 0 h 1385626"/>
              <a:gd name="T4" fmla="*/ 0 w 1689098"/>
              <a:gd name="T5" fmla="*/ 0 h 1385626"/>
              <a:gd name="T6" fmla="*/ 0 w 1689098"/>
              <a:gd name="T7" fmla="*/ 0 h 1385626"/>
              <a:gd name="T8" fmla="*/ 0 w 1689098"/>
              <a:gd name="T9" fmla="*/ 0 h 1385626"/>
              <a:gd name="T10" fmla="*/ 0 w 1689098"/>
              <a:gd name="T11" fmla="*/ 0 h 1385626"/>
              <a:gd name="T12" fmla="*/ 0 w 1689098"/>
              <a:gd name="T13" fmla="*/ 0 h 1385626"/>
              <a:gd name="T14" fmla="*/ 0 w 1689098"/>
              <a:gd name="T15" fmla="*/ 0 h 1385626"/>
              <a:gd name="T16" fmla="*/ 0 w 1689098"/>
              <a:gd name="T17" fmla="*/ 0 h 1385626"/>
              <a:gd name="T18" fmla="*/ 0 w 1689098"/>
              <a:gd name="T19" fmla="*/ 0 h 1385626"/>
              <a:gd name="T20" fmla="*/ 0 w 1689098"/>
              <a:gd name="T21" fmla="*/ 0 h 1385626"/>
              <a:gd name="T22" fmla="*/ 0 w 1689098"/>
              <a:gd name="T23" fmla="*/ 0 h 1385626"/>
              <a:gd name="T24" fmla="*/ 0 w 1689098"/>
              <a:gd name="T25" fmla="*/ 0 h 1385626"/>
              <a:gd name="T26" fmla="*/ 0 w 1689098"/>
              <a:gd name="T27" fmla="*/ 0 h 1385626"/>
              <a:gd name="T28" fmla="*/ 0 w 1689098"/>
              <a:gd name="T29" fmla="*/ 0 h 1385626"/>
              <a:gd name="T30" fmla="*/ 0 w 1689098"/>
              <a:gd name="T31" fmla="*/ 0 h 1385626"/>
              <a:gd name="T32" fmla="*/ 0 w 1689098"/>
              <a:gd name="T33" fmla="*/ 0 h 1385626"/>
              <a:gd name="T34" fmla="*/ 0 w 1689098"/>
              <a:gd name="T35" fmla="*/ 0 h 1385626"/>
              <a:gd name="T36" fmla="*/ 0 w 1689098"/>
              <a:gd name="T37" fmla="*/ 0 h 1385626"/>
              <a:gd name="T38" fmla="*/ 0 w 1689098"/>
              <a:gd name="T39" fmla="*/ 0 h 1385626"/>
              <a:gd name="T40" fmla="*/ 0 w 1689098"/>
              <a:gd name="T41" fmla="*/ 0 h 1385626"/>
              <a:gd name="T42" fmla="*/ 0 w 1689098"/>
              <a:gd name="T43" fmla="*/ 0 h 1385626"/>
              <a:gd name="T44" fmla="*/ 0 w 1689098"/>
              <a:gd name="T45" fmla="*/ 0 h 1385626"/>
              <a:gd name="T46" fmla="*/ 0 w 1689098"/>
              <a:gd name="T47" fmla="*/ 0 h 1385626"/>
              <a:gd name="T48" fmla="*/ 0 w 1689098"/>
              <a:gd name="T49" fmla="*/ 0 h 1385626"/>
              <a:gd name="T50" fmla="*/ 0 w 1689098"/>
              <a:gd name="T51" fmla="*/ 0 h 1385626"/>
              <a:gd name="T52" fmla="*/ 0 w 1689098"/>
              <a:gd name="T53" fmla="*/ 0 h 1385626"/>
              <a:gd name="T54" fmla="*/ 0 w 1689098"/>
              <a:gd name="T55" fmla="*/ 0 h 1385626"/>
              <a:gd name="T56" fmla="*/ 0 w 1689098"/>
              <a:gd name="T57" fmla="*/ 0 h 1385626"/>
              <a:gd name="T58" fmla="*/ 0 w 1689098"/>
              <a:gd name="T59" fmla="*/ 0 h 1385626"/>
              <a:gd name="T60" fmla="*/ 0 w 1689098"/>
              <a:gd name="T61" fmla="*/ 0 h 1385626"/>
              <a:gd name="T62" fmla="*/ 0 w 1689098"/>
              <a:gd name="T63" fmla="*/ 0 h 1385626"/>
              <a:gd name="T64" fmla="*/ 0 w 1689098"/>
              <a:gd name="T65" fmla="*/ 0 h 1385626"/>
              <a:gd name="T66" fmla="*/ 0 w 1689098"/>
              <a:gd name="T67" fmla="*/ 0 h 1385626"/>
              <a:gd name="T68" fmla="*/ 0 w 1689098"/>
              <a:gd name="T69" fmla="*/ 0 h 1385626"/>
              <a:gd name="T70" fmla="*/ 0 w 1689098"/>
              <a:gd name="T71" fmla="*/ 0 h 1385626"/>
              <a:gd name="T72" fmla="*/ 0 w 1689098"/>
              <a:gd name="T73" fmla="*/ 0 h 1385626"/>
              <a:gd name="T74" fmla="*/ 0 w 1689098"/>
              <a:gd name="T75" fmla="*/ 0 h 1385626"/>
              <a:gd name="T76" fmla="*/ 0 w 1689098"/>
              <a:gd name="T77" fmla="*/ 0 h 1385626"/>
              <a:gd name="T78" fmla="*/ 0 w 1689098"/>
              <a:gd name="T79" fmla="*/ 0 h 1385626"/>
              <a:gd name="T80" fmla="*/ 0 w 1689098"/>
              <a:gd name="T81" fmla="*/ 0 h 1385626"/>
              <a:gd name="T82" fmla="*/ 0 w 1689098"/>
              <a:gd name="T83" fmla="*/ 0 h 1385626"/>
              <a:gd name="T84" fmla="*/ 0 w 1689098"/>
              <a:gd name="T85" fmla="*/ 0 h 1385626"/>
              <a:gd name="T86" fmla="*/ 0 w 1689098"/>
              <a:gd name="T87" fmla="*/ 0 h 1385626"/>
              <a:gd name="T88" fmla="*/ 0 w 1689098"/>
              <a:gd name="T89" fmla="*/ 0 h 1385626"/>
              <a:gd name="T90" fmla="*/ 0 w 1689098"/>
              <a:gd name="T91" fmla="*/ 0 h 1385626"/>
              <a:gd name="T92" fmla="*/ 0 w 1689098"/>
              <a:gd name="T93" fmla="*/ 0 h 1385626"/>
              <a:gd name="T94" fmla="*/ 0 w 1689098"/>
              <a:gd name="T95" fmla="*/ 0 h 1385626"/>
              <a:gd name="T96" fmla="*/ 0 w 1689098"/>
              <a:gd name="T97" fmla="*/ 0 h 1385626"/>
              <a:gd name="T98" fmla="*/ 0 w 1689098"/>
              <a:gd name="T99" fmla="*/ 0 h 1385626"/>
              <a:gd name="T100" fmla="*/ 0 w 1689098"/>
              <a:gd name="T101" fmla="*/ 0 h 1385626"/>
              <a:gd name="T102" fmla="*/ 0 w 1689098"/>
              <a:gd name="T103" fmla="*/ 0 h 1385626"/>
              <a:gd name="T104" fmla="*/ 0 w 1689098"/>
              <a:gd name="T105" fmla="*/ 0 h 1385626"/>
              <a:gd name="T106" fmla="*/ 0 w 1689098"/>
              <a:gd name="T107" fmla="*/ 0 h 1385626"/>
              <a:gd name="T108" fmla="*/ 0 w 1689098"/>
              <a:gd name="T109" fmla="*/ 0 h 1385626"/>
              <a:gd name="T110" fmla="*/ 0 w 1689098"/>
              <a:gd name="T111" fmla="*/ 0 h 1385626"/>
              <a:gd name="T112" fmla="*/ 0 w 1689098"/>
              <a:gd name="T113" fmla="*/ 0 h 1385626"/>
              <a:gd name="T114" fmla="*/ 0 w 1689098"/>
              <a:gd name="T115" fmla="*/ 0 h 1385626"/>
              <a:gd name="T116" fmla="*/ 0 w 1689098"/>
              <a:gd name="T117" fmla="*/ 0 h 1385626"/>
              <a:gd name="T118" fmla="*/ 0 w 1689098"/>
              <a:gd name="T119" fmla="*/ 0 h 138562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w 1689098"/>
              <a:gd name="T181" fmla="*/ 0 h 1385626"/>
              <a:gd name="T182" fmla="*/ 1689098 w 1689098"/>
              <a:gd name="T183" fmla="*/ 1385626 h 1385626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T180" t="T181" r="T182" b="T183"/>
            <a:pathLst>
              <a:path w="1689098" h="1385626">
                <a:moveTo>
                  <a:pt x="867466" y="0"/>
                </a:moveTo>
                <a:lnTo>
                  <a:pt x="928729" y="14361"/>
                </a:lnTo>
                <a:lnTo>
                  <a:pt x="986347" y="21523"/>
                </a:lnTo>
                <a:lnTo>
                  <a:pt x="1058169" y="21523"/>
                </a:lnTo>
                <a:cubicBezTo>
                  <a:pt x="1062993" y="33510"/>
                  <a:pt x="1067871" y="45459"/>
                  <a:pt x="1072694" y="57408"/>
                </a:cubicBezTo>
                <a:cubicBezTo>
                  <a:pt x="1078483" y="68188"/>
                  <a:pt x="1084700" y="78969"/>
                  <a:pt x="1090596" y="89749"/>
                </a:cubicBezTo>
                <a:lnTo>
                  <a:pt x="1122970" y="122015"/>
                </a:lnTo>
                <a:lnTo>
                  <a:pt x="1176890" y="150738"/>
                </a:lnTo>
                <a:lnTo>
                  <a:pt x="1212854" y="165099"/>
                </a:lnTo>
                <a:lnTo>
                  <a:pt x="1212717" y="165827"/>
                </a:lnTo>
                <a:lnTo>
                  <a:pt x="1215860" y="165200"/>
                </a:lnTo>
                <a:cubicBezTo>
                  <a:pt x="1214060" y="175392"/>
                  <a:pt x="1221778" y="185385"/>
                  <a:pt x="1220026" y="195577"/>
                </a:cubicBezTo>
                <a:cubicBezTo>
                  <a:pt x="1221778" y="208767"/>
                  <a:pt x="1235509" y="221857"/>
                  <a:pt x="1237308" y="235047"/>
                </a:cubicBezTo>
                <a:lnTo>
                  <a:pt x="1264296" y="251234"/>
                </a:lnTo>
                <a:lnTo>
                  <a:pt x="1312922" y="278214"/>
                </a:lnTo>
                <a:lnTo>
                  <a:pt x="1374095" y="313987"/>
                </a:lnTo>
                <a:lnTo>
                  <a:pt x="1417276" y="340966"/>
                </a:lnTo>
                <a:lnTo>
                  <a:pt x="1458705" y="391228"/>
                </a:lnTo>
                <a:lnTo>
                  <a:pt x="1500087" y="443388"/>
                </a:lnTo>
                <a:lnTo>
                  <a:pt x="1521725" y="488154"/>
                </a:lnTo>
                <a:lnTo>
                  <a:pt x="1527122" y="558101"/>
                </a:lnTo>
                <a:lnTo>
                  <a:pt x="1521725" y="606564"/>
                </a:lnTo>
                <a:lnTo>
                  <a:pt x="1482095" y="644335"/>
                </a:lnTo>
                <a:lnTo>
                  <a:pt x="1428071" y="669516"/>
                </a:lnTo>
                <a:cubicBezTo>
                  <a:pt x="1427503" y="683905"/>
                  <a:pt x="1426888" y="698394"/>
                  <a:pt x="1426319" y="712683"/>
                </a:cubicBezTo>
                <a:lnTo>
                  <a:pt x="1465902" y="768240"/>
                </a:lnTo>
                <a:lnTo>
                  <a:pt x="1536118" y="795120"/>
                </a:lnTo>
                <a:lnTo>
                  <a:pt x="1590095" y="820401"/>
                </a:lnTo>
                <a:lnTo>
                  <a:pt x="1617083" y="858072"/>
                </a:lnTo>
                <a:lnTo>
                  <a:pt x="1656665" y="902838"/>
                </a:lnTo>
                <a:lnTo>
                  <a:pt x="1672905" y="917227"/>
                </a:lnTo>
                <a:lnTo>
                  <a:pt x="1689098" y="987273"/>
                </a:lnTo>
                <a:lnTo>
                  <a:pt x="1671106" y="1010656"/>
                </a:lnTo>
                <a:cubicBezTo>
                  <a:pt x="1671674" y="1020748"/>
                  <a:pt x="1672337" y="1030940"/>
                  <a:pt x="1672905" y="1041132"/>
                </a:cubicBezTo>
                <a:lnTo>
                  <a:pt x="1651268" y="1057220"/>
                </a:lnTo>
                <a:cubicBezTo>
                  <a:pt x="1652499" y="1069811"/>
                  <a:pt x="1653730" y="1082401"/>
                  <a:pt x="1654913" y="1094991"/>
                </a:cubicBezTo>
                <a:lnTo>
                  <a:pt x="1676456" y="1096790"/>
                </a:lnTo>
                <a:lnTo>
                  <a:pt x="1687299" y="1123669"/>
                </a:lnTo>
                <a:cubicBezTo>
                  <a:pt x="1686115" y="1142755"/>
                  <a:pt x="1670633" y="1152448"/>
                  <a:pt x="1669449" y="1171533"/>
                </a:cubicBezTo>
                <a:lnTo>
                  <a:pt x="1664668" y="1170149"/>
                </a:lnTo>
                <a:lnTo>
                  <a:pt x="1626234" y="1174926"/>
                </a:lnTo>
                <a:lnTo>
                  <a:pt x="1573003" y="1169634"/>
                </a:lnTo>
                <a:lnTo>
                  <a:pt x="1498555" y="1174926"/>
                </a:lnTo>
                <a:lnTo>
                  <a:pt x="1445184" y="1212077"/>
                </a:lnTo>
                <a:lnTo>
                  <a:pt x="1397398" y="1233395"/>
                </a:lnTo>
                <a:cubicBezTo>
                  <a:pt x="1390357" y="1244065"/>
                  <a:pt x="1383175" y="1254670"/>
                  <a:pt x="1376087" y="1265340"/>
                </a:cubicBezTo>
                <a:cubicBezTo>
                  <a:pt x="1374303" y="1277889"/>
                  <a:pt x="1372520" y="1290331"/>
                  <a:pt x="1370877" y="1302793"/>
                </a:cubicBezTo>
                <a:cubicBezTo>
                  <a:pt x="1368952" y="1315278"/>
                  <a:pt x="1367215" y="1327891"/>
                  <a:pt x="1365338" y="1340203"/>
                </a:cubicBezTo>
                <a:lnTo>
                  <a:pt x="1333512" y="1377440"/>
                </a:lnTo>
                <a:lnTo>
                  <a:pt x="1291077" y="1377440"/>
                </a:lnTo>
                <a:lnTo>
                  <a:pt x="1221840" y="1382689"/>
                </a:lnTo>
                <a:lnTo>
                  <a:pt x="1199402" y="1385626"/>
                </a:lnTo>
                <a:lnTo>
                  <a:pt x="1204206" y="1382372"/>
                </a:lnTo>
                <a:lnTo>
                  <a:pt x="1197751" y="1384358"/>
                </a:lnTo>
                <a:lnTo>
                  <a:pt x="1209311" y="1371725"/>
                </a:lnTo>
                <a:cubicBezTo>
                  <a:pt x="1210508" y="1365383"/>
                  <a:pt x="1211654" y="1359042"/>
                  <a:pt x="1212852" y="1352725"/>
                </a:cubicBezTo>
                <a:cubicBezTo>
                  <a:pt x="1211394" y="1341578"/>
                  <a:pt x="1209884" y="1330407"/>
                  <a:pt x="1208426" y="1319260"/>
                </a:cubicBezTo>
                <a:lnTo>
                  <a:pt x="1155210" y="1256886"/>
                </a:lnTo>
                <a:lnTo>
                  <a:pt x="1111732" y="1247844"/>
                </a:lnTo>
                <a:lnTo>
                  <a:pt x="1062942" y="1243336"/>
                </a:lnTo>
                <a:lnTo>
                  <a:pt x="1048727" y="1222528"/>
                </a:lnTo>
                <a:lnTo>
                  <a:pt x="1023004" y="1214379"/>
                </a:lnTo>
                <a:lnTo>
                  <a:pt x="986659" y="1208062"/>
                </a:lnTo>
                <a:lnTo>
                  <a:pt x="949377" y="1204445"/>
                </a:lnTo>
                <a:lnTo>
                  <a:pt x="921884" y="1190896"/>
                </a:lnTo>
                <a:lnTo>
                  <a:pt x="892621" y="1180046"/>
                </a:lnTo>
                <a:lnTo>
                  <a:pt x="850027" y="1163771"/>
                </a:lnTo>
                <a:lnTo>
                  <a:pt x="820764" y="1144772"/>
                </a:lnTo>
                <a:lnTo>
                  <a:pt x="796812" y="1136647"/>
                </a:lnTo>
                <a:lnTo>
                  <a:pt x="776400" y="1136647"/>
                </a:lnTo>
                <a:lnTo>
                  <a:pt x="752448" y="1136647"/>
                </a:lnTo>
                <a:lnTo>
                  <a:pt x="736515" y="1139372"/>
                </a:lnTo>
                <a:lnTo>
                  <a:pt x="699233" y="1147497"/>
                </a:lnTo>
                <a:cubicBezTo>
                  <a:pt x="698660" y="1154135"/>
                  <a:pt x="698035" y="1160749"/>
                  <a:pt x="697462" y="1167388"/>
                </a:cubicBezTo>
                <a:lnTo>
                  <a:pt x="697462" y="1191812"/>
                </a:lnTo>
                <a:lnTo>
                  <a:pt x="692151" y="1206254"/>
                </a:lnTo>
                <a:lnTo>
                  <a:pt x="691806" y="1205158"/>
                </a:lnTo>
                <a:lnTo>
                  <a:pt x="692153" y="1208594"/>
                </a:lnTo>
                <a:lnTo>
                  <a:pt x="679506" y="1208594"/>
                </a:lnTo>
                <a:lnTo>
                  <a:pt x="661477" y="1208594"/>
                </a:lnTo>
                <a:lnTo>
                  <a:pt x="645231" y="1188927"/>
                </a:lnTo>
                <a:lnTo>
                  <a:pt x="609140" y="1178209"/>
                </a:lnTo>
                <a:lnTo>
                  <a:pt x="580281" y="1149593"/>
                </a:lnTo>
                <a:lnTo>
                  <a:pt x="540591" y="1104900"/>
                </a:lnTo>
                <a:lnTo>
                  <a:pt x="522529" y="1104900"/>
                </a:lnTo>
                <a:lnTo>
                  <a:pt x="497268" y="1106686"/>
                </a:lnTo>
                <a:lnTo>
                  <a:pt x="482839" y="1119208"/>
                </a:lnTo>
                <a:lnTo>
                  <a:pt x="459394" y="1124567"/>
                </a:lnTo>
                <a:lnTo>
                  <a:pt x="441333" y="1122781"/>
                </a:lnTo>
                <a:lnTo>
                  <a:pt x="426903" y="1110259"/>
                </a:lnTo>
                <a:cubicBezTo>
                  <a:pt x="425087" y="1108472"/>
                  <a:pt x="423304" y="1106686"/>
                  <a:pt x="421488" y="1104900"/>
                </a:cubicBezTo>
                <a:lnTo>
                  <a:pt x="398043" y="1106686"/>
                </a:lnTo>
                <a:lnTo>
                  <a:pt x="387213" y="1110259"/>
                </a:lnTo>
                <a:lnTo>
                  <a:pt x="376382" y="1129926"/>
                </a:lnTo>
                <a:lnTo>
                  <a:pt x="374599" y="1149593"/>
                </a:lnTo>
                <a:cubicBezTo>
                  <a:pt x="374005" y="1156148"/>
                  <a:pt x="373377" y="1162704"/>
                  <a:pt x="372783" y="1169260"/>
                </a:cubicBezTo>
                <a:cubicBezTo>
                  <a:pt x="371594" y="1177012"/>
                  <a:pt x="370373" y="1184747"/>
                  <a:pt x="369184" y="1192499"/>
                </a:cubicBezTo>
                <a:lnTo>
                  <a:pt x="369184" y="1222902"/>
                </a:lnTo>
                <a:cubicBezTo>
                  <a:pt x="369778" y="1230655"/>
                  <a:pt x="370373" y="1238389"/>
                  <a:pt x="370967" y="1246141"/>
                </a:cubicBezTo>
                <a:cubicBezTo>
                  <a:pt x="369778" y="1247928"/>
                  <a:pt x="368556" y="1249714"/>
                  <a:pt x="367368" y="1251500"/>
                </a:cubicBezTo>
                <a:lnTo>
                  <a:pt x="367368" y="1269381"/>
                </a:lnTo>
                <a:cubicBezTo>
                  <a:pt x="366091" y="1273989"/>
                  <a:pt x="364831" y="1278596"/>
                  <a:pt x="363562" y="1283203"/>
                </a:cubicBezTo>
                <a:lnTo>
                  <a:pt x="364484" y="1290071"/>
                </a:lnTo>
                <a:lnTo>
                  <a:pt x="338098" y="1292614"/>
                </a:lnTo>
                <a:lnTo>
                  <a:pt x="315684" y="1298161"/>
                </a:lnTo>
                <a:lnTo>
                  <a:pt x="297577" y="1298161"/>
                </a:lnTo>
                <a:lnTo>
                  <a:pt x="280077" y="1296312"/>
                </a:lnTo>
                <a:lnTo>
                  <a:pt x="261970" y="1298161"/>
                </a:lnTo>
                <a:lnTo>
                  <a:pt x="246422" y="1308100"/>
                </a:lnTo>
                <a:lnTo>
                  <a:pt x="224546" y="1308100"/>
                </a:lnTo>
                <a:cubicBezTo>
                  <a:pt x="222459" y="1305442"/>
                  <a:pt x="220440" y="1302668"/>
                  <a:pt x="218353" y="1300010"/>
                </a:cubicBezTo>
                <a:cubicBezTo>
                  <a:pt x="217277" y="1295850"/>
                  <a:pt x="216267" y="1291805"/>
                  <a:pt x="215190" y="1287644"/>
                </a:cubicBezTo>
                <a:cubicBezTo>
                  <a:pt x="215796" y="1282675"/>
                  <a:pt x="216469" y="1277705"/>
                  <a:pt x="217075" y="1272736"/>
                </a:cubicBezTo>
                <a:lnTo>
                  <a:pt x="228315" y="1248466"/>
                </a:lnTo>
                <a:cubicBezTo>
                  <a:pt x="226835" y="1239798"/>
                  <a:pt x="225421" y="1231015"/>
                  <a:pt x="223940" y="1222347"/>
                </a:cubicBezTo>
                <a:cubicBezTo>
                  <a:pt x="222931" y="1214257"/>
                  <a:pt x="221854" y="1206167"/>
                  <a:pt x="220844" y="1198077"/>
                </a:cubicBezTo>
                <a:cubicBezTo>
                  <a:pt x="218959" y="1193570"/>
                  <a:pt x="217075" y="1188947"/>
                  <a:pt x="215190" y="1184440"/>
                </a:cubicBezTo>
                <a:cubicBezTo>
                  <a:pt x="213305" y="1178893"/>
                  <a:pt x="211488" y="1173230"/>
                  <a:pt x="209603" y="1167682"/>
                </a:cubicBezTo>
                <a:lnTo>
                  <a:pt x="177766" y="1144106"/>
                </a:lnTo>
                <a:lnTo>
                  <a:pt x="165919" y="1128504"/>
                </a:lnTo>
                <a:cubicBezTo>
                  <a:pt x="165313" y="1122957"/>
                  <a:pt x="164640" y="1117294"/>
                  <a:pt x="164034" y="1111747"/>
                </a:cubicBezTo>
                <a:cubicBezTo>
                  <a:pt x="166121" y="1108048"/>
                  <a:pt x="168208" y="1104235"/>
                  <a:pt x="170294" y="1100536"/>
                </a:cubicBezTo>
                <a:cubicBezTo>
                  <a:pt x="168208" y="1094989"/>
                  <a:pt x="166121" y="1089326"/>
                  <a:pt x="164034" y="1083779"/>
                </a:cubicBezTo>
                <a:lnTo>
                  <a:pt x="149697" y="1072568"/>
                </a:lnTo>
                <a:lnTo>
                  <a:pt x="141620" y="1072568"/>
                </a:lnTo>
                <a:lnTo>
                  <a:pt x="130379" y="1072568"/>
                </a:lnTo>
                <a:cubicBezTo>
                  <a:pt x="129773" y="1068177"/>
                  <a:pt x="129100" y="1063901"/>
                  <a:pt x="128495" y="1059509"/>
                </a:cubicBezTo>
                <a:lnTo>
                  <a:pt x="143505" y="1027843"/>
                </a:lnTo>
                <a:lnTo>
                  <a:pt x="159053" y="1004266"/>
                </a:lnTo>
                <a:cubicBezTo>
                  <a:pt x="160332" y="997795"/>
                  <a:pt x="161544" y="991438"/>
                  <a:pt x="162823" y="984966"/>
                </a:cubicBezTo>
                <a:lnTo>
                  <a:pt x="149697" y="981846"/>
                </a:lnTo>
                <a:lnTo>
                  <a:pt x="130985" y="977570"/>
                </a:lnTo>
                <a:lnTo>
                  <a:pt x="113552" y="976299"/>
                </a:lnTo>
                <a:lnTo>
                  <a:pt x="99215" y="976299"/>
                </a:lnTo>
                <a:lnTo>
                  <a:pt x="91676" y="981846"/>
                </a:lnTo>
                <a:lnTo>
                  <a:pt x="83599" y="987509"/>
                </a:lnTo>
                <a:lnTo>
                  <a:pt x="76127" y="970751"/>
                </a:lnTo>
                <a:lnTo>
                  <a:pt x="77945" y="952029"/>
                </a:lnTo>
                <a:lnTo>
                  <a:pt x="72358" y="942090"/>
                </a:lnTo>
                <a:lnTo>
                  <a:pt x="61790" y="944632"/>
                </a:lnTo>
                <a:lnTo>
                  <a:pt x="53646" y="950180"/>
                </a:lnTo>
                <a:lnTo>
                  <a:pt x="44290" y="952029"/>
                </a:lnTo>
                <a:lnTo>
                  <a:pt x="38703" y="938969"/>
                </a:lnTo>
                <a:lnTo>
                  <a:pt x="22481" y="929724"/>
                </a:lnTo>
                <a:lnTo>
                  <a:pt x="9356" y="930995"/>
                </a:lnTo>
                <a:lnTo>
                  <a:pt x="0" y="932844"/>
                </a:lnTo>
                <a:lnTo>
                  <a:pt x="0" y="909152"/>
                </a:lnTo>
                <a:lnTo>
                  <a:pt x="4981" y="906725"/>
                </a:lnTo>
                <a:lnTo>
                  <a:pt x="4981" y="891817"/>
                </a:lnTo>
                <a:lnTo>
                  <a:pt x="33049" y="886154"/>
                </a:lnTo>
                <a:lnTo>
                  <a:pt x="53646" y="883149"/>
                </a:lnTo>
                <a:lnTo>
                  <a:pt x="65492" y="886154"/>
                </a:lnTo>
                <a:lnTo>
                  <a:pt x="77945" y="877486"/>
                </a:lnTo>
                <a:cubicBezTo>
                  <a:pt x="80031" y="874135"/>
                  <a:pt x="82118" y="870899"/>
                  <a:pt x="84205" y="867547"/>
                </a:cubicBezTo>
                <a:cubicBezTo>
                  <a:pt x="84810" y="864427"/>
                  <a:pt x="85483" y="861422"/>
                  <a:pt x="86089" y="858302"/>
                </a:cubicBezTo>
                <a:cubicBezTo>
                  <a:pt x="87974" y="857839"/>
                  <a:pt x="89791" y="857493"/>
                  <a:pt x="91676" y="857030"/>
                </a:cubicBezTo>
                <a:cubicBezTo>
                  <a:pt x="92955" y="858879"/>
                  <a:pt x="94166" y="860729"/>
                  <a:pt x="95445" y="862578"/>
                </a:cubicBezTo>
                <a:cubicBezTo>
                  <a:pt x="96051" y="865120"/>
                  <a:pt x="96724" y="867547"/>
                  <a:pt x="97330" y="870090"/>
                </a:cubicBezTo>
                <a:lnTo>
                  <a:pt x="102917" y="869396"/>
                </a:lnTo>
                <a:cubicBezTo>
                  <a:pt x="106013" y="867085"/>
                  <a:pt x="109177" y="864889"/>
                  <a:pt x="112273" y="862578"/>
                </a:cubicBezTo>
                <a:cubicBezTo>
                  <a:pt x="113350" y="859226"/>
                  <a:pt x="114359" y="855990"/>
                  <a:pt x="115436" y="852639"/>
                </a:cubicBezTo>
                <a:cubicBezTo>
                  <a:pt x="117321" y="857146"/>
                  <a:pt x="119139" y="861769"/>
                  <a:pt x="121023" y="866276"/>
                </a:cubicBezTo>
                <a:lnTo>
                  <a:pt x="128495" y="871939"/>
                </a:lnTo>
                <a:lnTo>
                  <a:pt x="140341" y="865698"/>
                </a:lnTo>
                <a:cubicBezTo>
                  <a:pt x="142226" y="862000"/>
                  <a:pt x="144111" y="858186"/>
                  <a:pt x="145995" y="854488"/>
                </a:cubicBezTo>
                <a:cubicBezTo>
                  <a:pt x="147880" y="851599"/>
                  <a:pt x="149697" y="848709"/>
                  <a:pt x="151582" y="845820"/>
                </a:cubicBezTo>
                <a:lnTo>
                  <a:pt x="160938" y="842122"/>
                </a:lnTo>
                <a:cubicBezTo>
                  <a:pt x="162621" y="845820"/>
                  <a:pt x="164236" y="849634"/>
                  <a:pt x="165919" y="853332"/>
                </a:cubicBezTo>
                <a:lnTo>
                  <a:pt x="179650" y="850789"/>
                </a:lnTo>
                <a:cubicBezTo>
                  <a:pt x="181535" y="847322"/>
                  <a:pt x="183420" y="843740"/>
                  <a:pt x="185304" y="840273"/>
                </a:cubicBezTo>
                <a:lnTo>
                  <a:pt x="177766" y="828369"/>
                </a:lnTo>
                <a:lnTo>
                  <a:pt x="160332" y="819123"/>
                </a:lnTo>
                <a:lnTo>
                  <a:pt x="147813" y="800517"/>
                </a:lnTo>
                <a:cubicBezTo>
                  <a:pt x="145928" y="795547"/>
                  <a:pt x="144111" y="790462"/>
                  <a:pt x="142226" y="785492"/>
                </a:cubicBezTo>
                <a:cubicBezTo>
                  <a:pt x="140341" y="781794"/>
                  <a:pt x="138524" y="778096"/>
                  <a:pt x="136639" y="774398"/>
                </a:cubicBezTo>
                <a:cubicBezTo>
                  <a:pt x="138322" y="770699"/>
                  <a:pt x="139937" y="766886"/>
                  <a:pt x="141620" y="763187"/>
                </a:cubicBezTo>
                <a:lnTo>
                  <a:pt x="152861" y="757640"/>
                </a:lnTo>
                <a:lnTo>
                  <a:pt x="162823" y="748857"/>
                </a:lnTo>
                <a:lnTo>
                  <a:pt x="175948" y="744581"/>
                </a:lnTo>
                <a:lnTo>
                  <a:pt x="193987" y="735797"/>
                </a:lnTo>
                <a:lnTo>
                  <a:pt x="211488" y="722738"/>
                </a:lnTo>
                <a:lnTo>
                  <a:pt x="229594" y="722738"/>
                </a:lnTo>
                <a:lnTo>
                  <a:pt x="245143" y="717191"/>
                </a:lnTo>
                <a:lnTo>
                  <a:pt x="258268" y="710950"/>
                </a:lnTo>
                <a:lnTo>
                  <a:pt x="274490" y="712799"/>
                </a:lnTo>
                <a:lnTo>
                  <a:pt x="296904" y="710950"/>
                </a:lnTo>
                <a:lnTo>
                  <a:pt x="316290" y="713492"/>
                </a:lnTo>
                <a:lnTo>
                  <a:pt x="325040" y="717191"/>
                </a:lnTo>
                <a:lnTo>
                  <a:pt x="333117" y="737069"/>
                </a:lnTo>
                <a:lnTo>
                  <a:pt x="351829" y="750706"/>
                </a:lnTo>
                <a:lnTo>
                  <a:pt x="366166" y="765037"/>
                </a:lnTo>
                <a:lnTo>
                  <a:pt x="388648" y="768735"/>
                </a:lnTo>
                <a:lnTo>
                  <a:pt x="414831" y="766886"/>
                </a:lnTo>
                <a:lnTo>
                  <a:pt x="424188" y="752671"/>
                </a:lnTo>
                <a:lnTo>
                  <a:pt x="437919" y="745159"/>
                </a:lnTo>
                <a:lnTo>
                  <a:pt x="456025" y="722160"/>
                </a:lnTo>
                <a:lnTo>
                  <a:pt x="475343" y="709101"/>
                </a:lnTo>
                <a:lnTo>
                  <a:pt x="494055" y="690494"/>
                </a:lnTo>
                <a:cubicBezTo>
                  <a:pt x="495334" y="681942"/>
                  <a:pt x="496546" y="673505"/>
                  <a:pt x="497825" y="664953"/>
                </a:cubicBezTo>
                <a:lnTo>
                  <a:pt x="497825" y="646346"/>
                </a:lnTo>
                <a:lnTo>
                  <a:pt x="489680" y="634558"/>
                </a:lnTo>
                <a:lnTo>
                  <a:pt x="488469" y="625197"/>
                </a:lnTo>
                <a:lnTo>
                  <a:pt x="497152" y="617800"/>
                </a:lnTo>
                <a:cubicBezTo>
                  <a:pt x="496748" y="610982"/>
                  <a:pt x="496344" y="604048"/>
                  <a:pt x="495940" y="597229"/>
                </a:cubicBezTo>
                <a:cubicBezTo>
                  <a:pt x="494661" y="591682"/>
                  <a:pt x="493450" y="586019"/>
                  <a:pt x="492171" y="580471"/>
                </a:cubicBezTo>
                <a:lnTo>
                  <a:pt x="479113" y="558744"/>
                </a:lnTo>
                <a:cubicBezTo>
                  <a:pt x="479516" y="553543"/>
                  <a:pt x="479920" y="548458"/>
                  <a:pt x="480324" y="543258"/>
                </a:cubicBezTo>
                <a:cubicBezTo>
                  <a:pt x="479718" y="539559"/>
                  <a:pt x="479045" y="535746"/>
                  <a:pt x="478439" y="532047"/>
                </a:cubicBezTo>
                <a:cubicBezTo>
                  <a:pt x="480324" y="526616"/>
                  <a:pt x="482209" y="521299"/>
                  <a:pt x="484093" y="515868"/>
                </a:cubicBezTo>
                <a:lnTo>
                  <a:pt x="499709" y="504657"/>
                </a:lnTo>
                <a:lnTo>
                  <a:pt x="516537" y="491020"/>
                </a:lnTo>
                <a:lnTo>
                  <a:pt x="534643" y="474840"/>
                </a:lnTo>
                <a:lnTo>
                  <a:pt x="552077" y="459932"/>
                </a:lnTo>
                <a:lnTo>
                  <a:pt x="572674" y="451842"/>
                </a:lnTo>
                <a:lnTo>
                  <a:pt x="594482" y="441325"/>
                </a:lnTo>
                <a:lnTo>
                  <a:pt x="616963" y="437627"/>
                </a:lnTo>
                <a:lnTo>
                  <a:pt x="631906" y="433813"/>
                </a:lnTo>
                <a:cubicBezTo>
                  <a:pt x="633993" y="426416"/>
                  <a:pt x="636080" y="418904"/>
                  <a:pt x="638166" y="411508"/>
                </a:cubicBezTo>
                <a:lnTo>
                  <a:pt x="645638" y="386660"/>
                </a:lnTo>
                <a:cubicBezTo>
                  <a:pt x="646243" y="379148"/>
                  <a:pt x="646916" y="371752"/>
                  <a:pt x="647522" y="364240"/>
                </a:cubicBezTo>
                <a:cubicBezTo>
                  <a:pt x="648801" y="357421"/>
                  <a:pt x="650013" y="350603"/>
                  <a:pt x="651292" y="343784"/>
                </a:cubicBezTo>
                <a:lnTo>
                  <a:pt x="659975" y="338237"/>
                </a:lnTo>
                <a:cubicBezTo>
                  <a:pt x="658965" y="328298"/>
                  <a:pt x="657888" y="318243"/>
                  <a:pt x="656878" y="308304"/>
                </a:cubicBezTo>
                <a:lnTo>
                  <a:pt x="645032" y="299058"/>
                </a:lnTo>
                <a:cubicBezTo>
                  <a:pt x="642137" y="295476"/>
                  <a:pt x="639176" y="292009"/>
                  <a:pt x="636281" y="288426"/>
                </a:cubicBezTo>
                <a:cubicBezTo>
                  <a:pt x="635474" y="284497"/>
                  <a:pt x="634599" y="280567"/>
                  <a:pt x="633791" y="276638"/>
                </a:cubicBezTo>
                <a:cubicBezTo>
                  <a:pt x="633993" y="272477"/>
                  <a:pt x="634195" y="268432"/>
                  <a:pt x="634397" y="264272"/>
                </a:cubicBezTo>
                <a:cubicBezTo>
                  <a:pt x="635474" y="259302"/>
                  <a:pt x="636483" y="254333"/>
                  <a:pt x="637560" y="249363"/>
                </a:cubicBezTo>
                <a:lnTo>
                  <a:pt x="647522" y="234455"/>
                </a:lnTo>
                <a:cubicBezTo>
                  <a:pt x="647926" y="227405"/>
                  <a:pt x="648397" y="220355"/>
                  <a:pt x="648801" y="213305"/>
                </a:cubicBezTo>
                <a:lnTo>
                  <a:pt x="648801" y="195276"/>
                </a:lnTo>
                <a:cubicBezTo>
                  <a:pt x="651897" y="190885"/>
                  <a:pt x="655061" y="186609"/>
                  <a:pt x="658157" y="182217"/>
                </a:cubicBezTo>
                <a:lnTo>
                  <a:pt x="673100" y="152400"/>
                </a:lnTo>
                <a:lnTo>
                  <a:pt x="677134" y="153432"/>
                </a:lnTo>
                <a:cubicBezTo>
                  <a:pt x="677046" y="152534"/>
                  <a:pt x="676958" y="151636"/>
                  <a:pt x="676870" y="150738"/>
                </a:cubicBezTo>
                <a:cubicBezTo>
                  <a:pt x="700882" y="147157"/>
                  <a:pt x="717712" y="143538"/>
                  <a:pt x="741617" y="139958"/>
                </a:cubicBezTo>
                <a:cubicBezTo>
                  <a:pt x="747674" y="130383"/>
                  <a:pt x="753730" y="120847"/>
                  <a:pt x="759680" y="111272"/>
                </a:cubicBezTo>
                <a:lnTo>
                  <a:pt x="815315" y="87940"/>
                </a:lnTo>
                <a:cubicBezTo>
                  <a:pt x="817244" y="69395"/>
                  <a:pt x="818960" y="50849"/>
                  <a:pt x="820728" y="32304"/>
                </a:cubicBezTo>
                <a:cubicBezTo>
                  <a:pt x="826195" y="23333"/>
                  <a:pt x="831555" y="14361"/>
                  <a:pt x="836915" y="5390"/>
                </a:cubicBezTo>
                <a:close/>
              </a:path>
            </a:pathLst>
          </a:custGeom>
          <a:solidFill>
            <a:srgbClr val="70B0DF"/>
          </a:solidFill>
          <a:ln w="3175" cap="flat" cmpd="sng">
            <a:noFill/>
            <a:prstDash val="solid"/>
            <a:round/>
            <a:headEnd/>
            <a:tailEnd/>
          </a:ln>
        </p:spPr>
        <p:txBody>
          <a:bodyPr wrap="none" lIns="32632" tIns="32632" rIns="32632" bIns="32632" anchor="ctr"/>
          <a:lstStyle/>
          <a:p>
            <a:pPr defTabSz="891045"/>
            <a:endParaRPr lang="en-US" sz="1700" dirty="0">
              <a:solidFill>
                <a:srgbClr val="003149"/>
              </a:solidFill>
              <a:cs typeface="Arial" panose="020B0604020202020204" pitchFamily="34" charset="0"/>
            </a:endParaRPr>
          </a:p>
        </p:txBody>
      </p:sp>
      <p:sp>
        <p:nvSpPr>
          <p:cNvPr id="65" name="Freeform 339"/>
          <p:cNvSpPr>
            <a:spLocks noChangeAspect="1"/>
          </p:cNvSpPr>
          <p:nvPr/>
        </p:nvSpPr>
        <p:spPr bwMode="gray">
          <a:xfrm>
            <a:off x="2331768" y="3263985"/>
            <a:ext cx="263009" cy="286967"/>
          </a:xfrm>
          <a:custGeom>
            <a:avLst/>
            <a:gdLst>
              <a:gd name="T0" fmla="*/ 0 w 1527636"/>
              <a:gd name="T1" fmla="*/ 0 h 1473083"/>
              <a:gd name="T2" fmla="*/ 0 w 1527636"/>
              <a:gd name="T3" fmla="*/ 0 h 1473083"/>
              <a:gd name="T4" fmla="*/ 0 w 1527636"/>
              <a:gd name="T5" fmla="*/ 0 h 1473083"/>
              <a:gd name="T6" fmla="*/ 0 w 1527636"/>
              <a:gd name="T7" fmla="*/ 0 h 1473083"/>
              <a:gd name="T8" fmla="*/ 0 w 1527636"/>
              <a:gd name="T9" fmla="*/ 0 h 1473083"/>
              <a:gd name="T10" fmla="*/ 0 w 1527636"/>
              <a:gd name="T11" fmla="*/ 0 h 1473083"/>
              <a:gd name="T12" fmla="*/ 0 w 1527636"/>
              <a:gd name="T13" fmla="*/ 0 h 1473083"/>
              <a:gd name="T14" fmla="*/ 0 w 1527636"/>
              <a:gd name="T15" fmla="*/ 0 h 1473083"/>
              <a:gd name="T16" fmla="*/ 0 w 1527636"/>
              <a:gd name="T17" fmla="*/ 0 h 1473083"/>
              <a:gd name="T18" fmla="*/ 0 w 1527636"/>
              <a:gd name="T19" fmla="*/ 0 h 1473083"/>
              <a:gd name="T20" fmla="*/ 0 w 1527636"/>
              <a:gd name="T21" fmla="*/ 0 h 1473083"/>
              <a:gd name="T22" fmla="*/ 0 w 1527636"/>
              <a:gd name="T23" fmla="*/ 0 h 1473083"/>
              <a:gd name="T24" fmla="*/ 0 w 1527636"/>
              <a:gd name="T25" fmla="*/ 0 h 1473083"/>
              <a:gd name="T26" fmla="*/ 0 w 1527636"/>
              <a:gd name="T27" fmla="*/ 0 h 1473083"/>
              <a:gd name="T28" fmla="*/ 0 w 1527636"/>
              <a:gd name="T29" fmla="*/ 0 h 1473083"/>
              <a:gd name="T30" fmla="*/ 0 w 1527636"/>
              <a:gd name="T31" fmla="*/ 0 h 1473083"/>
              <a:gd name="T32" fmla="*/ 0 w 1527636"/>
              <a:gd name="T33" fmla="*/ 0 h 1473083"/>
              <a:gd name="T34" fmla="*/ 0 w 1527636"/>
              <a:gd name="T35" fmla="*/ 0 h 1473083"/>
              <a:gd name="T36" fmla="*/ 0 w 1527636"/>
              <a:gd name="T37" fmla="*/ 0 h 1473083"/>
              <a:gd name="T38" fmla="*/ 0 w 1527636"/>
              <a:gd name="T39" fmla="*/ 0 h 1473083"/>
              <a:gd name="T40" fmla="*/ 0 w 1527636"/>
              <a:gd name="T41" fmla="*/ 0 h 1473083"/>
              <a:gd name="T42" fmla="*/ 0 w 1527636"/>
              <a:gd name="T43" fmla="*/ 0 h 1473083"/>
              <a:gd name="T44" fmla="*/ 0 w 1527636"/>
              <a:gd name="T45" fmla="*/ 0 h 1473083"/>
              <a:gd name="T46" fmla="*/ 0 w 1527636"/>
              <a:gd name="T47" fmla="*/ 0 h 1473083"/>
              <a:gd name="T48" fmla="*/ 0 w 1527636"/>
              <a:gd name="T49" fmla="*/ 0 h 1473083"/>
              <a:gd name="T50" fmla="*/ 0 w 1527636"/>
              <a:gd name="T51" fmla="*/ 0 h 1473083"/>
              <a:gd name="T52" fmla="*/ 0 w 1527636"/>
              <a:gd name="T53" fmla="*/ 0 h 1473083"/>
              <a:gd name="T54" fmla="*/ 0 w 1527636"/>
              <a:gd name="T55" fmla="*/ 0 h 1473083"/>
              <a:gd name="T56" fmla="*/ 0 w 1527636"/>
              <a:gd name="T57" fmla="*/ 0 h 1473083"/>
              <a:gd name="T58" fmla="*/ 0 w 1527636"/>
              <a:gd name="T59" fmla="*/ 0 h 1473083"/>
              <a:gd name="T60" fmla="*/ 0 w 1527636"/>
              <a:gd name="T61" fmla="*/ 0 h 1473083"/>
              <a:gd name="T62" fmla="*/ 0 w 1527636"/>
              <a:gd name="T63" fmla="*/ 0 h 1473083"/>
              <a:gd name="T64" fmla="*/ 0 w 1527636"/>
              <a:gd name="T65" fmla="*/ 0 h 1473083"/>
              <a:gd name="T66" fmla="*/ 0 w 1527636"/>
              <a:gd name="T67" fmla="*/ 0 h 1473083"/>
              <a:gd name="T68" fmla="*/ 0 w 1527636"/>
              <a:gd name="T69" fmla="*/ 0 h 1473083"/>
              <a:gd name="T70" fmla="*/ 0 w 1527636"/>
              <a:gd name="T71" fmla="*/ 0 h 1473083"/>
              <a:gd name="T72" fmla="*/ 0 w 1527636"/>
              <a:gd name="T73" fmla="*/ 0 h 1473083"/>
              <a:gd name="T74" fmla="*/ 0 w 1527636"/>
              <a:gd name="T75" fmla="*/ 0 h 1473083"/>
              <a:gd name="T76" fmla="*/ 0 w 1527636"/>
              <a:gd name="T77" fmla="*/ 0 h 1473083"/>
              <a:gd name="T78" fmla="*/ 0 w 1527636"/>
              <a:gd name="T79" fmla="*/ 0 h 1473083"/>
              <a:gd name="T80" fmla="*/ 0 w 1527636"/>
              <a:gd name="T81" fmla="*/ 0 h 1473083"/>
              <a:gd name="T82" fmla="*/ 0 w 1527636"/>
              <a:gd name="T83" fmla="*/ 0 h 1473083"/>
              <a:gd name="T84" fmla="*/ 0 w 1527636"/>
              <a:gd name="T85" fmla="*/ 0 h 1473083"/>
              <a:gd name="T86" fmla="*/ 0 w 1527636"/>
              <a:gd name="T87" fmla="*/ 0 h 1473083"/>
              <a:gd name="T88" fmla="*/ 0 w 1527636"/>
              <a:gd name="T89" fmla="*/ 0 h 1473083"/>
              <a:gd name="T90" fmla="*/ 0 w 1527636"/>
              <a:gd name="T91" fmla="*/ 0 h 1473083"/>
              <a:gd name="T92" fmla="*/ 0 w 1527636"/>
              <a:gd name="T93" fmla="*/ 0 h 1473083"/>
              <a:gd name="T94" fmla="*/ 0 w 1527636"/>
              <a:gd name="T95" fmla="*/ 0 h 1473083"/>
              <a:gd name="T96" fmla="*/ 0 w 1527636"/>
              <a:gd name="T97" fmla="*/ 0 h 1473083"/>
              <a:gd name="T98" fmla="*/ 0 w 1527636"/>
              <a:gd name="T99" fmla="*/ 0 h 1473083"/>
              <a:gd name="T100" fmla="*/ 0 w 1527636"/>
              <a:gd name="T101" fmla="*/ 0 h 1473083"/>
              <a:gd name="T102" fmla="*/ 0 w 1527636"/>
              <a:gd name="T103" fmla="*/ 0 h 1473083"/>
              <a:gd name="T104" fmla="*/ 0 w 1527636"/>
              <a:gd name="T105" fmla="*/ 0 h 1473083"/>
              <a:gd name="T106" fmla="*/ 0 w 1527636"/>
              <a:gd name="T107" fmla="*/ 0 h 1473083"/>
              <a:gd name="T108" fmla="*/ 0 w 1527636"/>
              <a:gd name="T109" fmla="*/ 0 h 1473083"/>
              <a:gd name="T110" fmla="*/ 0 w 1527636"/>
              <a:gd name="T111" fmla="*/ 0 h 1473083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w 1527636"/>
              <a:gd name="T169" fmla="*/ 0 h 1473083"/>
              <a:gd name="T170" fmla="*/ 1527636 w 1527636"/>
              <a:gd name="T171" fmla="*/ 1473083 h 1473083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T168" t="T169" r="T170" b="T171"/>
            <a:pathLst>
              <a:path w="1527636" h="1473083">
                <a:moveTo>
                  <a:pt x="1130298" y="0"/>
                </a:moveTo>
                <a:lnTo>
                  <a:pt x="1155529" y="8988"/>
                </a:lnTo>
                <a:lnTo>
                  <a:pt x="1198600" y="44871"/>
                </a:lnTo>
                <a:lnTo>
                  <a:pt x="1241871" y="61069"/>
                </a:lnTo>
                <a:lnTo>
                  <a:pt x="1284982" y="62846"/>
                </a:lnTo>
                <a:lnTo>
                  <a:pt x="1306637" y="91553"/>
                </a:lnTo>
                <a:lnTo>
                  <a:pt x="1353364" y="80755"/>
                </a:lnTo>
                <a:lnTo>
                  <a:pt x="1389402" y="59258"/>
                </a:lnTo>
                <a:lnTo>
                  <a:pt x="1428778" y="70023"/>
                </a:lnTo>
                <a:lnTo>
                  <a:pt x="1475545" y="80755"/>
                </a:lnTo>
                <a:lnTo>
                  <a:pt x="1527636" y="80755"/>
                </a:lnTo>
                <a:lnTo>
                  <a:pt x="1523285" y="83864"/>
                </a:lnTo>
                <a:lnTo>
                  <a:pt x="1509057" y="112253"/>
                </a:lnTo>
                <a:cubicBezTo>
                  <a:pt x="1505961" y="116645"/>
                  <a:pt x="1502798" y="120921"/>
                  <a:pt x="1499701" y="125312"/>
                </a:cubicBezTo>
                <a:lnTo>
                  <a:pt x="1499701" y="143341"/>
                </a:lnTo>
                <a:cubicBezTo>
                  <a:pt x="1499297" y="150391"/>
                  <a:pt x="1498826" y="157441"/>
                  <a:pt x="1498422" y="164491"/>
                </a:cubicBezTo>
                <a:lnTo>
                  <a:pt x="1488461" y="179399"/>
                </a:lnTo>
                <a:cubicBezTo>
                  <a:pt x="1487384" y="184369"/>
                  <a:pt x="1486374" y="189338"/>
                  <a:pt x="1485297" y="194308"/>
                </a:cubicBezTo>
                <a:cubicBezTo>
                  <a:pt x="1485095" y="198468"/>
                  <a:pt x="1484893" y="202513"/>
                  <a:pt x="1484691" y="206674"/>
                </a:cubicBezTo>
                <a:cubicBezTo>
                  <a:pt x="1485499" y="210603"/>
                  <a:pt x="1486374" y="214533"/>
                  <a:pt x="1487182" y="218462"/>
                </a:cubicBezTo>
                <a:cubicBezTo>
                  <a:pt x="1490076" y="222045"/>
                  <a:pt x="1493038" y="225512"/>
                  <a:pt x="1495932" y="229094"/>
                </a:cubicBezTo>
                <a:lnTo>
                  <a:pt x="1507779" y="238340"/>
                </a:lnTo>
                <a:cubicBezTo>
                  <a:pt x="1508788" y="248279"/>
                  <a:pt x="1509865" y="258334"/>
                  <a:pt x="1510875" y="268273"/>
                </a:cubicBezTo>
                <a:lnTo>
                  <a:pt x="1502192" y="273820"/>
                </a:lnTo>
                <a:cubicBezTo>
                  <a:pt x="1500913" y="280639"/>
                  <a:pt x="1499701" y="287457"/>
                  <a:pt x="1498422" y="294276"/>
                </a:cubicBezTo>
                <a:cubicBezTo>
                  <a:pt x="1497817" y="301788"/>
                  <a:pt x="1497144" y="309184"/>
                  <a:pt x="1496538" y="316696"/>
                </a:cubicBezTo>
                <a:lnTo>
                  <a:pt x="1489066" y="341544"/>
                </a:lnTo>
                <a:cubicBezTo>
                  <a:pt x="1486980" y="348940"/>
                  <a:pt x="1484893" y="356452"/>
                  <a:pt x="1482807" y="363849"/>
                </a:cubicBezTo>
                <a:lnTo>
                  <a:pt x="1467864" y="367663"/>
                </a:lnTo>
                <a:lnTo>
                  <a:pt x="1445382" y="371361"/>
                </a:lnTo>
                <a:lnTo>
                  <a:pt x="1423574" y="381878"/>
                </a:lnTo>
                <a:lnTo>
                  <a:pt x="1402977" y="389968"/>
                </a:lnTo>
                <a:lnTo>
                  <a:pt x="1385544" y="404876"/>
                </a:lnTo>
                <a:lnTo>
                  <a:pt x="1367437" y="421056"/>
                </a:lnTo>
                <a:lnTo>
                  <a:pt x="1350610" y="434693"/>
                </a:lnTo>
                <a:lnTo>
                  <a:pt x="1334994" y="445904"/>
                </a:lnTo>
                <a:cubicBezTo>
                  <a:pt x="1333109" y="451335"/>
                  <a:pt x="1331224" y="456652"/>
                  <a:pt x="1329340" y="462083"/>
                </a:cubicBezTo>
                <a:cubicBezTo>
                  <a:pt x="1329945" y="465782"/>
                  <a:pt x="1330619" y="469595"/>
                  <a:pt x="1331224" y="473294"/>
                </a:cubicBezTo>
                <a:cubicBezTo>
                  <a:pt x="1330820" y="478494"/>
                  <a:pt x="1330417" y="483579"/>
                  <a:pt x="1330013" y="488780"/>
                </a:cubicBezTo>
                <a:lnTo>
                  <a:pt x="1343071" y="510507"/>
                </a:lnTo>
                <a:cubicBezTo>
                  <a:pt x="1344350" y="516055"/>
                  <a:pt x="1345561" y="521718"/>
                  <a:pt x="1346840" y="527265"/>
                </a:cubicBezTo>
                <a:cubicBezTo>
                  <a:pt x="1347244" y="534084"/>
                  <a:pt x="1347648" y="541018"/>
                  <a:pt x="1348052" y="547836"/>
                </a:cubicBezTo>
                <a:lnTo>
                  <a:pt x="1339369" y="555233"/>
                </a:lnTo>
                <a:lnTo>
                  <a:pt x="1340580" y="564594"/>
                </a:lnTo>
                <a:lnTo>
                  <a:pt x="1348725" y="576382"/>
                </a:lnTo>
                <a:lnTo>
                  <a:pt x="1348725" y="594989"/>
                </a:lnTo>
                <a:cubicBezTo>
                  <a:pt x="1347446" y="603541"/>
                  <a:pt x="1346234" y="611978"/>
                  <a:pt x="1344956" y="620530"/>
                </a:cubicBezTo>
                <a:lnTo>
                  <a:pt x="1326243" y="639137"/>
                </a:lnTo>
                <a:lnTo>
                  <a:pt x="1306925" y="652196"/>
                </a:lnTo>
                <a:lnTo>
                  <a:pt x="1288819" y="675195"/>
                </a:lnTo>
                <a:lnTo>
                  <a:pt x="1275088" y="682707"/>
                </a:lnTo>
                <a:lnTo>
                  <a:pt x="1265732" y="696922"/>
                </a:lnTo>
                <a:lnTo>
                  <a:pt x="1239548" y="698771"/>
                </a:lnTo>
                <a:lnTo>
                  <a:pt x="1217066" y="695073"/>
                </a:lnTo>
                <a:lnTo>
                  <a:pt x="1202729" y="680742"/>
                </a:lnTo>
                <a:lnTo>
                  <a:pt x="1184017" y="667105"/>
                </a:lnTo>
                <a:lnTo>
                  <a:pt x="1175940" y="647227"/>
                </a:lnTo>
                <a:lnTo>
                  <a:pt x="1167190" y="643528"/>
                </a:lnTo>
                <a:lnTo>
                  <a:pt x="1147804" y="640986"/>
                </a:lnTo>
                <a:lnTo>
                  <a:pt x="1125390" y="642835"/>
                </a:lnTo>
                <a:lnTo>
                  <a:pt x="1109169" y="640986"/>
                </a:lnTo>
                <a:lnTo>
                  <a:pt x="1096043" y="647227"/>
                </a:lnTo>
                <a:lnTo>
                  <a:pt x="1080494" y="652774"/>
                </a:lnTo>
                <a:lnTo>
                  <a:pt x="1062388" y="652774"/>
                </a:lnTo>
                <a:lnTo>
                  <a:pt x="1044887" y="665833"/>
                </a:lnTo>
                <a:lnTo>
                  <a:pt x="1026848" y="674617"/>
                </a:lnTo>
                <a:lnTo>
                  <a:pt x="1013723" y="678893"/>
                </a:lnTo>
                <a:lnTo>
                  <a:pt x="1003761" y="687676"/>
                </a:lnTo>
                <a:lnTo>
                  <a:pt x="992520" y="693223"/>
                </a:lnTo>
                <a:cubicBezTo>
                  <a:pt x="990837" y="696922"/>
                  <a:pt x="989222" y="700735"/>
                  <a:pt x="987539" y="704434"/>
                </a:cubicBezTo>
                <a:cubicBezTo>
                  <a:pt x="989424" y="708132"/>
                  <a:pt x="991241" y="711830"/>
                  <a:pt x="993126" y="715528"/>
                </a:cubicBezTo>
                <a:cubicBezTo>
                  <a:pt x="995011" y="720498"/>
                  <a:pt x="996828" y="725583"/>
                  <a:pt x="998713" y="730553"/>
                </a:cubicBezTo>
                <a:lnTo>
                  <a:pt x="1011232" y="749159"/>
                </a:lnTo>
                <a:lnTo>
                  <a:pt x="1028666" y="758405"/>
                </a:lnTo>
                <a:lnTo>
                  <a:pt x="1036204" y="770309"/>
                </a:lnTo>
                <a:cubicBezTo>
                  <a:pt x="1034320" y="773776"/>
                  <a:pt x="1032435" y="777358"/>
                  <a:pt x="1030550" y="780825"/>
                </a:cubicBezTo>
                <a:lnTo>
                  <a:pt x="1016819" y="783368"/>
                </a:lnTo>
                <a:cubicBezTo>
                  <a:pt x="1015136" y="779670"/>
                  <a:pt x="1013521" y="775856"/>
                  <a:pt x="1011838" y="772158"/>
                </a:cubicBezTo>
                <a:lnTo>
                  <a:pt x="1002482" y="775856"/>
                </a:lnTo>
                <a:cubicBezTo>
                  <a:pt x="1000597" y="778745"/>
                  <a:pt x="998780" y="781635"/>
                  <a:pt x="996895" y="784524"/>
                </a:cubicBezTo>
                <a:cubicBezTo>
                  <a:pt x="995011" y="788222"/>
                  <a:pt x="993126" y="792036"/>
                  <a:pt x="991241" y="795734"/>
                </a:cubicBezTo>
                <a:lnTo>
                  <a:pt x="979395" y="801975"/>
                </a:lnTo>
                <a:lnTo>
                  <a:pt x="971923" y="796312"/>
                </a:lnTo>
                <a:cubicBezTo>
                  <a:pt x="970039" y="791805"/>
                  <a:pt x="968221" y="787182"/>
                  <a:pt x="966337" y="782675"/>
                </a:cubicBezTo>
                <a:cubicBezTo>
                  <a:pt x="965260" y="786026"/>
                  <a:pt x="964250" y="789262"/>
                  <a:pt x="963173" y="792614"/>
                </a:cubicBezTo>
                <a:cubicBezTo>
                  <a:pt x="960077" y="794925"/>
                  <a:pt x="956913" y="797121"/>
                  <a:pt x="953817" y="799432"/>
                </a:cubicBezTo>
                <a:lnTo>
                  <a:pt x="948230" y="800126"/>
                </a:lnTo>
                <a:cubicBezTo>
                  <a:pt x="947624" y="797583"/>
                  <a:pt x="946951" y="795156"/>
                  <a:pt x="946346" y="792614"/>
                </a:cubicBezTo>
                <a:cubicBezTo>
                  <a:pt x="945067" y="790765"/>
                  <a:pt x="943855" y="788915"/>
                  <a:pt x="942576" y="787066"/>
                </a:cubicBezTo>
                <a:cubicBezTo>
                  <a:pt x="940692" y="787529"/>
                  <a:pt x="938874" y="787875"/>
                  <a:pt x="936989" y="788338"/>
                </a:cubicBezTo>
                <a:cubicBezTo>
                  <a:pt x="936384" y="791458"/>
                  <a:pt x="935711" y="794463"/>
                  <a:pt x="935105" y="797583"/>
                </a:cubicBezTo>
                <a:cubicBezTo>
                  <a:pt x="933018" y="800935"/>
                  <a:pt x="930932" y="804171"/>
                  <a:pt x="928845" y="807522"/>
                </a:cubicBezTo>
                <a:lnTo>
                  <a:pt x="916393" y="816190"/>
                </a:lnTo>
                <a:lnTo>
                  <a:pt x="904546" y="813185"/>
                </a:lnTo>
                <a:lnTo>
                  <a:pt x="883949" y="816190"/>
                </a:lnTo>
                <a:lnTo>
                  <a:pt x="855881" y="821853"/>
                </a:lnTo>
                <a:lnTo>
                  <a:pt x="855881" y="836761"/>
                </a:lnTo>
                <a:lnTo>
                  <a:pt x="850900" y="839188"/>
                </a:lnTo>
                <a:lnTo>
                  <a:pt x="850900" y="862880"/>
                </a:lnTo>
                <a:lnTo>
                  <a:pt x="860256" y="861031"/>
                </a:lnTo>
                <a:lnTo>
                  <a:pt x="873381" y="859760"/>
                </a:lnTo>
                <a:lnTo>
                  <a:pt x="889603" y="869005"/>
                </a:lnTo>
                <a:lnTo>
                  <a:pt x="895190" y="882065"/>
                </a:lnTo>
                <a:lnTo>
                  <a:pt x="904546" y="880216"/>
                </a:lnTo>
                <a:lnTo>
                  <a:pt x="912691" y="874668"/>
                </a:lnTo>
                <a:lnTo>
                  <a:pt x="923258" y="872126"/>
                </a:lnTo>
                <a:lnTo>
                  <a:pt x="928845" y="882065"/>
                </a:lnTo>
                <a:lnTo>
                  <a:pt x="927028" y="900787"/>
                </a:lnTo>
                <a:lnTo>
                  <a:pt x="934499" y="917545"/>
                </a:lnTo>
                <a:lnTo>
                  <a:pt x="942576" y="911882"/>
                </a:lnTo>
                <a:lnTo>
                  <a:pt x="950115" y="906335"/>
                </a:lnTo>
                <a:lnTo>
                  <a:pt x="964452" y="906335"/>
                </a:lnTo>
                <a:lnTo>
                  <a:pt x="981885" y="907606"/>
                </a:lnTo>
                <a:lnTo>
                  <a:pt x="1000597" y="911882"/>
                </a:lnTo>
                <a:lnTo>
                  <a:pt x="1013723" y="915002"/>
                </a:lnTo>
                <a:cubicBezTo>
                  <a:pt x="1012444" y="921474"/>
                  <a:pt x="1011232" y="927831"/>
                  <a:pt x="1009954" y="934302"/>
                </a:cubicBezTo>
                <a:lnTo>
                  <a:pt x="994405" y="957879"/>
                </a:lnTo>
                <a:lnTo>
                  <a:pt x="979395" y="989545"/>
                </a:lnTo>
                <a:cubicBezTo>
                  <a:pt x="980001" y="993937"/>
                  <a:pt x="980674" y="998213"/>
                  <a:pt x="981279" y="1002604"/>
                </a:cubicBezTo>
                <a:lnTo>
                  <a:pt x="992520" y="1002604"/>
                </a:lnTo>
                <a:lnTo>
                  <a:pt x="1000597" y="1002604"/>
                </a:lnTo>
                <a:lnTo>
                  <a:pt x="1014934" y="1013815"/>
                </a:lnTo>
                <a:cubicBezTo>
                  <a:pt x="1017021" y="1019362"/>
                  <a:pt x="1019108" y="1025025"/>
                  <a:pt x="1021194" y="1030572"/>
                </a:cubicBezTo>
                <a:cubicBezTo>
                  <a:pt x="1019108" y="1034271"/>
                  <a:pt x="1017021" y="1038084"/>
                  <a:pt x="1014934" y="1041783"/>
                </a:cubicBezTo>
                <a:cubicBezTo>
                  <a:pt x="1015540" y="1047330"/>
                  <a:pt x="1016213" y="1052993"/>
                  <a:pt x="1016819" y="1058540"/>
                </a:cubicBezTo>
                <a:lnTo>
                  <a:pt x="1028666" y="1074142"/>
                </a:lnTo>
                <a:lnTo>
                  <a:pt x="1060503" y="1097718"/>
                </a:lnTo>
                <a:cubicBezTo>
                  <a:pt x="1062388" y="1103266"/>
                  <a:pt x="1064205" y="1108929"/>
                  <a:pt x="1066090" y="1114476"/>
                </a:cubicBezTo>
                <a:cubicBezTo>
                  <a:pt x="1067975" y="1118983"/>
                  <a:pt x="1069859" y="1123606"/>
                  <a:pt x="1071744" y="1128113"/>
                </a:cubicBezTo>
                <a:cubicBezTo>
                  <a:pt x="1072754" y="1136203"/>
                  <a:pt x="1073831" y="1144293"/>
                  <a:pt x="1074840" y="1152383"/>
                </a:cubicBezTo>
                <a:cubicBezTo>
                  <a:pt x="1076321" y="1161051"/>
                  <a:pt x="1077735" y="1169834"/>
                  <a:pt x="1079216" y="1178502"/>
                </a:cubicBezTo>
                <a:lnTo>
                  <a:pt x="1067975" y="1202772"/>
                </a:lnTo>
                <a:cubicBezTo>
                  <a:pt x="1067369" y="1207741"/>
                  <a:pt x="1066696" y="1212711"/>
                  <a:pt x="1066090" y="1217680"/>
                </a:cubicBezTo>
                <a:cubicBezTo>
                  <a:pt x="1067167" y="1221841"/>
                  <a:pt x="1068177" y="1225886"/>
                  <a:pt x="1069254" y="1230046"/>
                </a:cubicBezTo>
                <a:cubicBezTo>
                  <a:pt x="1071340" y="1232704"/>
                  <a:pt x="1073360" y="1235478"/>
                  <a:pt x="1075446" y="1238136"/>
                </a:cubicBezTo>
                <a:lnTo>
                  <a:pt x="1097322" y="1238136"/>
                </a:lnTo>
                <a:lnTo>
                  <a:pt x="1112871" y="1228197"/>
                </a:lnTo>
                <a:lnTo>
                  <a:pt x="1130977" y="1226348"/>
                </a:lnTo>
                <a:lnTo>
                  <a:pt x="1148478" y="1228197"/>
                </a:lnTo>
                <a:lnTo>
                  <a:pt x="1166584" y="1228197"/>
                </a:lnTo>
                <a:lnTo>
                  <a:pt x="1188998" y="1222650"/>
                </a:lnTo>
                <a:lnTo>
                  <a:pt x="1209036" y="1220719"/>
                </a:lnTo>
                <a:lnTo>
                  <a:pt x="1210284" y="1219913"/>
                </a:lnTo>
                <a:lnTo>
                  <a:pt x="1211255" y="1220505"/>
                </a:lnTo>
                <a:lnTo>
                  <a:pt x="1215384" y="1220107"/>
                </a:lnTo>
                <a:lnTo>
                  <a:pt x="1213491" y="1221867"/>
                </a:lnTo>
                <a:lnTo>
                  <a:pt x="1219199" y="1225346"/>
                </a:lnTo>
                <a:cubicBezTo>
                  <a:pt x="1218605" y="1228978"/>
                  <a:pt x="1218010" y="1232582"/>
                  <a:pt x="1217416" y="1236214"/>
                </a:cubicBezTo>
                <a:lnTo>
                  <a:pt x="1217416" y="1243422"/>
                </a:lnTo>
                <a:cubicBezTo>
                  <a:pt x="1215633" y="1246453"/>
                  <a:pt x="1213850" y="1249457"/>
                  <a:pt x="1212067" y="1252487"/>
                </a:cubicBezTo>
                <a:lnTo>
                  <a:pt x="1203151" y="1263327"/>
                </a:lnTo>
                <a:cubicBezTo>
                  <a:pt x="1202557" y="1267532"/>
                  <a:pt x="1201963" y="1271765"/>
                  <a:pt x="1201368" y="1275970"/>
                </a:cubicBezTo>
                <a:lnTo>
                  <a:pt x="1178122" y="1299479"/>
                </a:lnTo>
                <a:lnTo>
                  <a:pt x="1151376" y="1310346"/>
                </a:lnTo>
                <a:lnTo>
                  <a:pt x="1133545" y="1328422"/>
                </a:lnTo>
                <a:lnTo>
                  <a:pt x="1096035" y="1351932"/>
                </a:lnTo>
                <a:lnTo>
                  <a:pt x="1055024" y="1366403"/>
                </a:lnTo>
                <a:cubicBezTo>
                  <a:pt x="1052646" y="1371236"/>
                  <a:pt x="1050203" y="1376042"/>
                  <a:pt x="1047825" y="1380875"/>
                </a:cubicBezTo>
                <a:lnTo>
                  <a:pt x="1038910" y="1395319"/>
                </a:lnTo>
                <a:lnTo>
                  <a:pt x="1031778" y="1393517"/>
                </a:lnTo>
                <a:lnTo>
                  <a:pt x="1021079" y="1393517"/>
                </a:lnTo>
                <a:lnTo>
                  <a:pt x="1006815" y="1393517"/>
                </a:lnTo>
                <a:lnTo>
                  <a:pt x="999682" y="1388083"/>
                </a:lnTo>
                <a:lnTo>
                  <a:pt x="980002" y="1388083"/>
                </a:lnTo>
                <a:lnTo>
                  <a:pt x="971087" y="1384479"/>
                </a:lnTo>
                <a:lnTo>
                  <a:pt x="944341" y="1389913"/>
                </a:lnTo>
                <a:cubicBezTo>
                  <a:pt x="943747" y="1388110"/>
                  <a:pt x="943152" y="1386281"/>
                  <a:pt x="942558" y="1384479"/>
                </a:cubicBezTo>
                <a:lnTo>
                  <a:pt x="933642" y="1384479"/>
                </a:lnTo>
                <a:lnTo>
                  <a:pt x="924727" y="1388083"/>
                </a:lnTo>
                <a:cubicBezTo>
                  <a:pt x="922944" y="1389885"/>
                  <a:pt x="921095" y="1391715"/>
                  <a:pt x="919312" y="1393517"/>
                </a:cubicBezTo>
                <a:lnTo>
                  <a:pt x="906830" y="1397148"/>
                </a:lnTo>
                <a:lnTo>
                  <a:pt x="899698" y="1393517"/>
                </a:lnTo>
                <a:lnTo>
                  <a:pt x="892566" y="1397148"/>
                </a:lnTo>
                <a:lnTo>
                  <a:pt x="878301" y="1404357"/>
                </a:lnTo>
                <a:cubicBezTo>
                  <a:pt x="878895" y="1408589"/>
                  <a:pt x="879490" y="1412794"/>
                  <a:pt x="880084" y="1417026"/>
                </a:cubicBezTo>
                <a:lnTo>
                  <a:pt x="872952" y="1429696"/>
                </a:lnTo>
                <a:lnTo>
                  <a:pt x="851489" y="1438734"/>
                </a:lnTo>
                <a:cubicBezTo>
                  <a:pt x="850300" y="1442939"/>
                  <a:pt x="849111" y="1447171"/>
                  <a:pt x="847923" y="1451376"/>
                </a:cubicBezTo>
                <a:lnTo>
                  <a:pt x="830092" y="1473083"/>
                </a:lnTo>
                <a:lnTo>
                  <a:pt x="814044" y="1469479"/>
                </a:lnTo>
                <a:lnTo>
                  <a:pt x="812261" y="1449574"/>
                </a:lnTo>
                <a:cubicBezTo>
                  <a:pt x="813450" y="1447771"/>
                  <a:pt x="814638" y="1445942"/>
                  <a:pt x="815827" y="1444140"/>
                </a:cubicBezTo>
                <a:cubicBezTo>
                  <a:pt x="817016" y="1441737"/>
                  <a:pt x="818205" y="1439307"/>
                  <a:pt x="819393" y="1436904"/>
                </a:cubicBezTo>
                <a:lnTo>
                  <a:pt x="812261" y="1429696"/>
                </a:lnTo>
                <a:lnTo>
                  <a:pt x="803346" y="1426064"/>
                </a:lnTo>
                <a:cubicBezTo>
                  <a:pt x="801562" y="1427866"/>
                  <a:pt x="799779" y="1429696"/>
                  <a:pt x="797996" y="1431498"/>
                </a:cubicBezTo>
                <a:lnTo>
                  <a:pt x="785449" y="1433300"/>
                </a:lnTo>
                <a:lnTo>
                  <a:pt x="735523" y="1445969"/>
                </a:lnTo>
                <a:lnTo>
                  <a:pt x="689096" y="1444140"/>
                </a:lnTo>
                <a:lnTo>
                  <a:pt x="664133" y="1420630"/>
                </a:lnTo>
                <a:cubicBezTo>
                  <a:pt x="660567" y="1413995"/>
                  <a:pt x="656935" y="1407388"/>
                  <a:pt x="653369" y="1400753"/>
                </a:cubicBezTo>
                <a:cubicBezTo>
                  <a:pt x="652180" y="1389913"/>
                  <a:pt x="650991" y="1379045"/>
                  <a:pt x="649803" y="1368205"/>
                </a:cubicBezTo>
                <a:cubicBezTo>
                  <a:pt x="650397" y="1365802"/>
                  <a:pt x="650991" y="1363372"/>
                  <a:pt x="651586" y="1360969"/>
                </a:cubicBezTo>
                <a:lnTo>
                  <a:pt x="651586" y="1348300"/>
                </a:lnTo>
                <a:cubicBezTo>
                  <a:pt x="653963" y="1342266"/>
                  <a:pt x="656407" y="1336259"/>
                  <a:pt x="658784" y="1330224"/>
                </a:cubicBezTo>
                <a:lnTo>
                  <a:pt x="658784" y="1308544"/>
                </a:lnTo>
                <a:lnTo>
                  <a:pt x="669483" y="1294073"/>
                </a:lnTo>
                <a:lnTo>
                  <a:pt x="671266" y="1268761"/>
                </a:lnTo>
                <a:lnTo>
                  <a:pt x="662350" y="1254290"/>
                </a:lnTo>
                <a:cubicBezTo>
                  <a:pt x="658784" y="1250658"/>
                  <a:pt x="655152" y="1247054"/>
                  <a:pt x="651586" y="1243422"/>
                </a:cubicBezTo>
                <a:lnTo>
                  <a:pt x="633755" y="1245252"/>
                </a:lnTo>
                <a:lnTo>
                  <a:pt x="626623" y="1236214"/>
                </a:lnTo>
                <a:lnTo>
                  <a:pt x="623056" y="1216309"/>
                </a:lnTo>
                <a:lnTo>
                  <a:pt x="607009" y="1203639"/>
                </a:lnTo>
                <a:lnTo>
                  <a:pt x="587329" y="1200035"/>
                </a:lnTo>
                <a:lnTo>
                  <a:pt x="571281" y="1200035"/>
                </a:lnTo>
                <a:lnTo>
                  <a:pt x="562366" y="1203639"/>
                </a:lnTo>
                <a:cubicBezTo>
                  <a:pt x="561177" y="1207871"/>
                  <a:pt x="559988" y="1212076"/>
                  <a:pt x="558800" y="1216309"/>
                </a:cubicBezTo>
                <a:cubicBezTo>
                  <a:pt x="559394" y="1218711"/>
                  <a:pt x="559988" y="1221141"/>
                  <a:pt x="560583" y="1223544"/>
                </a:cubicBezTo>
                <a:lnTo>
                  <a:pt x="567715" y="1230780"/>
                </a:lnTo>
                <a:lnTo>
                  <a:pt x="578413" y="1230780"/>
                </a:lnTo>
                <a:lnTo>
                  <a:pt x="594527" y="1223544"/>
                </a:lnTo>
                <a:cubicBezTo>
                  <a:pt x="596310" y="1225346"/>
                  <a:pt x="598093" y="1227176"/>
                  <a:pt x="599876" y="1228978"/>
                </a:cubicBezTo>
                <a:cubicBezTo>
                  <a:pt x="600471" y="1232582"/>
                  <a:pt x="601065" y="1236214"/>
                  <a:pt x="601660" y="1239818"/>
                </a:cubicBezTo>
                <a:cubicBezTo>
                  <a:pt x="601065" y="1243422"/>
                  <a:pt x="600471" y="1247054"/>
                  <a:pt x="599876" y="1250658"/>
                </a:cubicBezTo>
                <a:lnTo>
                  <a:pt x="608792" y="1252487"/>
                </a:lnTo>
                <a:lnTo>
                  <a:pt x="614141" y="1256092"/>
                </a:lnTo>
                <a:cubicBezTo>
                  <a:pt x="612952" y="1257894"/>
                  <a:pt x="611764" y="1259723"/>
                  <a:pt x="610575" y="1261525"/>
                </a:cubicBezTo>
                <a:cubicBezTo>
                  <a:pt x="611169" y="1268160"/>
                  <a:pt x="611764" y="1274768"/>
                  <a:pt x="612358" y="1281403"/>
                </a:cubicBezTo>
                <a:cubicBezTo>
                  <a:pt x="610575" y="1284407"/>
                  <a:pt x="601660" y="1285062"/>
                  <a:pt x="599876" y="1288066"/>
                </a:cubicBezTo>
                <a:lnTo>
                  <a:pt x="594831" y="1285460"/>
                </a:lnTo>
                <a:lnTo>
                  <a:pt x="596900" y="1292888"/>
                </a:lnTo>
                <a:lnTo>
                  <a:pt x="590741" y="1289868"/>
                </a:lnTo>
                <a:lnTo>
                  <a:pt x="575906" y="1289868"/>
                </a:lnTo>
                <a:lnTo>
                  <a:pt x="546855" y="1295283"/>
                </a:lnTo>
                <a:lnTo>
                  <a:pt x="501768" y="1295283"/>
                </a:lnTo>
                <a:lnTo>
                  <a:pt x="457881" y="1280860"/>
                </a:lnTo>
                <a:lnTo>
                  <a:pt x="426390" y="1261021"/>
                </a:lnTo>
                <a:cubicBezTo>
                  <a:pt x="427435" y="1253211"/>
                  <a:pt x="428443" y="1245374"/>
                  <a:pt x="429488" y="1237564"/>
                </a:cubicBezTo>
                <a:lnTo>
                  <a:pt x="437507" y="1218923"/>
                </a:lnTo>
                <a:cubicBezTo>
                  <a:pt x="437933" y="1214914"/>
                  <a:pt x="438320" y="1210904"/>
                  <a:pt x="438746" y="1206895"/>
                </a:cubicBezTo>
                <a:cubicBezTo>
                  <a:pt x="436887" y="1203901"/>
                  <a:pt x="435066" y="1200881"/>
                  <a:pt x="433207" y="1197887"/>
                </a:cubicBezTo>
                <a:lnTo>
                  <a:pt x="423911" y="1190675"/>
                </a:lnTo>
                <a:lnTo>
                  <a:pt x="411554" y="1190050"/>
                </a:lnTo>
                <a:lnTo>
                  <a:pt x="399818" y="1204500"/>
                </a:lnTo>
                <a:cubicBezTo>
                  <a:pt x="398191" y="1210514"/>
                  <a:pt x="396525" y="1216528"/>
                  <a:pt x="394898" y="1222542"/>
                </a:cubicBezTo>
                <a:lnTo>
                  <a:pt x="385021" y="1226135"/>
                </a:lnTo>
                <a:lnTo>
                  <a:pt x="375725" y="1226135"/>
                </a:lnTo>
                <a:cubicBezTo>
                  <a:pt x="373865" y="1222125"/>
                  <a:pt x="372045" y="1218116"/>
                  <a:pt x="370185" y="1214107"/>
                </a:cubicBezTo>
                <a:cubicBezTo>
                  <a:pt x="370379" y="1207285"/>
                  <a:pt x="370612" y="1200490"/>
                  <a:pt x="370805" y="1193669"/>
                </a:cubicBezTo>
                <a:lnTo>
                  <a:pt x="344853" y="1178048"/>
                </a:lnTo>
                <a:lnTo>
                  <a:pt x="333116" y="1157585"/>
                </a:lnTo>
                <a:cubicBezTo>
                  <a:pt x="329010" y="1148759"/>
                  <a:pt x="324866" y="1139960"/>
                  <a:pt x="320760" y="1131134"/>
                </a:cubicBezTo>
                <a:lnTo>
                  <a:pt x="309023" y="1129337"/>
                </a:lnTo>
                <a:cubicBezTo>
                  <a:pt x="306738" y="1125536"/>
                  <a:pt x="304491" y="1121709"/>
                  <a:pt x="302206" y="1117908"/>
                </a:cubicBezTo>
                <a:lnTo>
                  <a:pt x="285550" y="1098070"/>
                </a:lnTo>
                <a:lnTo>
                  <a:pt x="268235" y="1078830"/>
                </a:lnTo>
                <a:lnTo>
                  <a:pt x="250340" y="1078830"/>
                </a:lnTo>
                <a:cubicBezTo>
                  <a:pt x="249100" y="1075211"/>
                  <a:pt x="247861" y="1071618"/>
                  <a:pt x="246621" y="1067999"/>
                </a:cubicBezTo>
                <a:lnTo>
                  <a:pt x="229927" y="1052977"/>
                </a:lnTo>
                <a:lnTo>
                  <a:pt x="209552" y="1034935"/>
                </a:lnTo>
                <a:lnTo>
                  <a:pt x="211633" y="1034647"/>
                </a:lnTo>
                <a:lnTo>
                  <a:pt x="222123" y="1018153"/>
                </a:lnTo>
                <a:lnTo>
                  <a:pt x="234081" y="1004495"/>
                </a:lnTo>
                <a:lnTo>
                  <a:pt x="250454" y="992061"/>
                </a:lnTo>
                <a:lnTo>
                  <a:pt x="257998" y="986422"/>
                </a:lnTo>
                <a:cubicBezTo>
                  <a:pt x="257383" y="978948"/>
                  <a:pt x="256741" y="971542"/>
                  <a:pt x="256126" y="964068"/>
                </a:cubicBezTo>
                <a:lnTo>
                  <a:pt x="264285" y="954148"/>
                </a:lnTo>
                <a:lnTo>
                  <a:pt x="279400" y="941035"/>
                </a:lnTo>
                <a:lnTo>
                  <a:pt x="271856" y="930503"/>
                </a:lnTo>
                <a:lnTo>
                  <a:pt x="260513" y="923029"/>
                </a:lnTo>
                <a:lnTo>
                  <a:pt x="243525" y="911207"/>
                </a:lnTo>
                <a:lnTo>
                  <a:pt x="235339" y="894424"/>
                </a:lnTo>
                <a:lnTo>
                  <a:pt x="230310" y="872682"/>
                </a:lnTo>
                <a:cubicBezTo>
                  <a:pt x="230114" y="867518"/>
                  <a:pt x="229890" y="862286"/>
                  <a:pt x="229695" y="857122"/>
                </a:cubicBezTo>
                <a:lnTo>
                  <a:pt x="218994" y="839117"/>
                </a:lnTo>
                <a:lnTo>
                  <a:pt x="200106" y="827294"/>
                </a:lnTo>
                <a:lnTo>
                  <a:pt x="184376" y="814249"/>
                </a:lnTo>
                <a:lnTo>
                  <a:pt x="173675" y="799301"/>
                </a:lnTo>
                <a:cubicBezTo>
                  <a:pt x="172837" y="793322"/>
                  <a:pt x="171999" y="787275"/>
                  <a:pt x="171160" y="781295"/>
                </a:cubicBezTo>
                <a:lnTo>
                  <a:pt x="174932" y="765736"/>
                </a:lnTo>
                <a:lnTo>
                  <a:pt x="183119" y="762067"/>
                </a:lnTo>
                <a:lnTo>
                  <a:pt x="190048" y="758941"/>
                </a:lnTo>
                <a:lnTo>
                  <a:pt x="201364" y="758941"/>
                </a:lnTo>
                <a:lnTo>
                  <a:pt x="207650" y="726599"/>
                </a:lnTo>
                <a:cubicBezTo>
                  <a:pt x="208712" y="720620"/>
                  <a:pt x="209746" y="714573"/>
                  <a:pt x="210807" y="708594"/>
                </a:cubicBezTo>
                <a:lnTo>
                  <a:pt x="210807" y="689298"/>
                </a:lnTo>
                <a:lnTo>
                  <a:pt x="210807" y="674418"/>
                </a:lnTo>
                <a:lnTo>
                  <a:pt x="239753" y="661984"/>
                </a:lnTo>
                <a:lnTo>
                  <a:pt x="261770" y="641464"/>
                </a:lnTo>
                <a:lnTo>
                  <a:pt x="257998" y="611568"/>
                </a:lnTo>
                <a:lnTo>
                  <a:pt x="248554" y="597911"/>
                </a:lnTo>
                <a:cubicBezTo>
                  <a:pt x="247940" y="592340"/>
                  <a:pt x="247297" y="586700"/>
                  <a:pt x="246682" y="581129"/>
                </a:cubicBezTo>
                <a:lnTo>
                  <a:pt x="233467" y="569918"/>
                </a:lnTo>
                <a:lnTo>
                  <a:pt x="205136" y="545729"/>
                </a:lnTo>
                <a:lnTo>
                  <a:pt x="191920" y="529558"/>
                </a:lnTo>
                <a:lnTo>
                  <a:pt x="181219" y="514610"/>
                </a:lnTo>
                <a:lnTo>
                  <a:pt x="164231" y="505302"/>
                </a:lnTo>
                <a:lnTo>
                  <a:pt x="151016" y="495382"/>
                </a:lnTo>
                <a:lnTo>
                  <a:pt x="134028" y="494091"/>
                </a:lnTo>
                <a:lnTo>
                  <a:pt x="124585" y="499730"/>
                </a:lnTo>
                <a:lnTo>
                  <a:pt x="107597" y="497828"/>
                </a:lnTo>
                <a:lnTo>
                  <a:pt x="88738" y="495382"/>
                </a:lnTo>
                <a:lnTo>
                  <a:pt x="77394" y="500953"/>
                </a:lnTo>
                <a:lnTo>
                  <a:pt x="57892" y="501565"/>
                </a:lnTo>
                <a:lnTo>
                  <a:pt x="50963" y="501565"/>
                </a:lnTo>
                <a:lnTo>
                  <a:pt x="46576" y="486617"/>
                </a:lnTo>
                <a:lnTo>
                  <a:pt x="41519" y="471737"/>
                </a:lnTo>
                <a:lnTo>
                  <a:pt x="30203" y="468000"/>
                </a:lnTo>
                <a:lnTo>
                  <a:pt x="7544" y="458080"/>
                </a:lnTo>
                <a:lnTo>
                  <a:pt x="0" y="451217"/>
                </a:lnTo>
                <a:lnTo>
                  <a:pt x="8801" y="436269"/>
                </a:lnTo>
                <a:lnTo>
                  <a:pt x="32103" y="426961"/>
                </a:lnTo>
                <a:lnTo>
                  <a:pt x="59792" y="422612"/>
                </a:lnTo>
                <a:lnTo>
                  <a:pt x="84323" y="411402"/>
                </a:lnTo>
                <a:lnTo>
                  <a:pt x="93767" y="404607"/>
                </a:lnTo>
                <a:lnTo>
                  <a:pt x="89995" y="396522"/>
                </a:lnTo>
                <a:lnTo>
                  <a:pt x="76779" y="394619"/>
                </a:lnTo>
                <a:lnTo>
                  <a:pt x="64178" y="389659"/>
                </a:lnTo>
                <a:lnTo>
                  <a:pt x="58534" y="379739"/>
                </a:lnTo>
                <a:cubicBezTo>
                  <a:pt x="59568" y="375391"/>
                  <a:pt x="60630" y="371042"/>
                  <a:pt x="61664" y="366694"/>
                </a:cubicBezTo>
                <a:cubicBezTo>
                  <a:pt x="63564" y="362957"/>
                  <a:pt x="79713" y="342573"/>
                  <a:pt x="81613" y="338836"/>
                </a:cubicBezTo>
                <a:lnTo>
                  <a:pt x="84794" y="343026"/>
                </a:lnTo>
                <a:cubicBezTo>
                  <a:pt x="85677" y="340951"/>
                  <a:pt x="85187" y="338805"/>
                  <a:pt x="83855" y="336590"/>
                </a:cubicBezTo>
                <a:lnTo>
                  <a:pt x="102022" y="352566"/>
                </a:lnTo>
                <a:lnTo>
                  <a:pt x="129423" y="352566"/>
                </a:lnTo>
                <a:cubicBezTo>
                  <a:pt x="134532" y="355902"/>
                  <a:pt x="139914" y="359890"/>
                  <a:pt x="145706" y="362935"/>
                </a:cubicBezTo>
                <a:lnTo>
                  <a:pt x="177970" y="367165"/>
                </a:lnTo>
                <a:cubicBezTo>
                  <a:pt x="181494" y="378839"/>
                  <a:pt x="184827" y="389982"/>
                  <a:pt x="189007" y="401487"/>
                </a:cubicBezTo>
                <a:cubicBezTo>
                  <a:pt x="192121" y="409970"/>
                  <a:pt x="196082" y="417922"/>
                  <a:pt x="199497" y="426285"/>
                </a:cubicBezTo>
                <a:lnTo>
                  <a:pt x="232253" y="426285"/>
                </a:lnTo>
                <a:cubicBezTo>
                  <a:pt x="230095" y="417922"/>
                  <a:pt x="227664" y="409970"/>
                  <a:pt x="226571" y="401487"/>
                </a:cubicBezTo>
                <a:cubicBezTo>
                  <a:pt x="231461" y="395807"/>
                  <a:pt x="235750" y="390973"/>
                  <a:pt x="240640" y="385969"/>
                </a:cubicBezTo>
                <a:cubicBezTo>
                  <a:pt x="243536" y="379878"/>
                  <a:pt x="245749" y="374875"/>
                  <a:pt x="247798" y="368833"/>
                </a:cubicBezTo>
                <a:cubicBezTo>
                  <a:pt x="258015" y="361896"/>
                  <a:pt x="268342" y="354983"/>
                  <a:pt x="278423" y="348046"/>
                </a:cubicBezTo>
                <a:lnTo>
                  <a:pt x="259135" y="335139"/>
                </a:lnTo>
                <a:cubicBezTo>
                  <a:pt x="250994" y="330329"/>
                  <a:pt x="243236" y="325495"/>
                  <a:pt x="235012" y="320686"/>
                </a:cubicBezTo>
                <a:lnTo>
                  <a:pt x="199497" y="336590"/>
                </a:lnTo>
                <a:cubicBezTo>
                  <a:pt x="195645" y="330257"/>
                  <a:pt x="191083" y="325036"/>
                  <a:pt x="186548" y="318994"/>
                </a:cubicBezTo>
                <a:lnTo>
                  <a:pt x="159639" y="292648"/>
                </a:lnTo>
                <a:lnTo>
                  <a:pt x="102022" y="250834"/>
                </a:lnTo>
                <a:lnTo>
                  <a:pt x="140023" y="250834"/>
                </a:lnTo>
                <a:lnTo>
                  <a:pt x="170402" y="259777"/>
                </a:lnTo>
                <a:lnTo>
                  <a:pt x="202748" y="270387"/>
                </a:lnTo>
                <a:cubicBezTo>
                  <a:pt x="199361" y="260429"/>
                  <a:pt x="196082" y="250350"/>
                  <a:pt x="191848" y="240223"/>
                </a:cubicBezTo>
                <a:lnTo>
                  <a:pt x="107869" y="213563"/>
                </a:lnTo>
                <a:lnTo>
                  <a:pt x="36074" y="200100"/>
                </a:lnTo>
                <a:lnTo>
                  <a:pt x="11364" y="187669"/>
                </a:lnTo>
                <a:lnTo>
                  <a:pt x="1590" y="185508"/>
                </a:lnTo>
                <a:lnTo>
                  <a:pt x="23065" y="174853"/>
                </a:lnTo>
                <a:lnTo>
                  <a:pt x="44426" y="174853"/>
                </a:lnTo>
                <a:lnTo>
                  <a:pt x="60561" y="185508"/>
                </a:lnTo>
                <a:lnTo>
                  <a:pt x="87376" y="185508"/>
                </a:lnTo>
                <a:cubicBezTo>
                  <a:pt x="96353" y="181967"/>
                  <a:pt x="105215" y="178394"/>
                  <a:pt x="114192" y="174853"/>
                </a:cubicBezTo>
                <a:cubicBezTo>
                  <a:pt x="116010" y="164230"/>
                  <a:pt x="117714" y="153575"/>
                  <a:pt x="119532" y="142951"/>
                </a:cubicBezTo>
                <a:lnTo>
                  <a:pt x="162368" y="127001"/>
                </a:lnTo>
                <a:lnTo>
                  <a:pt x="194524" y="111050"/>
                </a:lnTo>
                <a:cubicBezTo>
                  <a:pt x="203500" y="114591"/>
                  <a:pt x="212363" y="118164"/>
                  <a:pt x="221339" y="121705"/>
                </a:cubicBezTo>
                <a:lnTo>
                  <a:pt x="248155" y="132328"/>
                </a:lnTo>
                <a:lnTo>
                  <a:pt x="274970" y="148279"/>
                </a:lnTo>
                <a:lnTo>
                  <a:pt x="307126" y="169557"/>
                </a:lnTo>
                <a:lnTo>
                  <a:pt x="333941" y="169557"/>
                </a:lnTo>
                <a:cubicBezTo>
                  <a:pt x="337463" y="164230"/>
                  <a:pt x="341099" y="158934"/>
                  <a:pt x="344622" y="153607"/>
                </a:cubicBezTo>
                <a:lnTo>
                  <a:pt x="376777" y="153607"/>
                </a:lnTo>
                <a:lnTo>
                  <a:pt x="398252" y="153607"/>
                </a:lnTo>
                <a:lnTo>
                  <a:pt x="398252" y="174853"/>
                </a:lnTo>
                <a:lnTo>
                  <a:pt x="419614" y="180181"/>
                </a:lnTo>
                <a:lnTo>
                  <a:pt x="419614" y="206755"/>
                </a:lnTo>
                <a:lnTo>
                  <a:pt x="441089" y="222705"/>
                </a:lnTo>
                <a:cubicBezTo>
                  <a:pt x="451769" y="231574"/>
                  <a:pt x="462564" y="240443"/>
                  <a:pt x="473244" y="249311"/>
                </a:cubicBezTo>
                <a:cubicBezTo>
                  <a:pt x="476767" y="258180"/>
                  <a:pt x="480403" y="267017"/>
                  <a:pt x="483925" y="275885"/>
                </a:cubicBezTo>
                <a:cubicBezTo>
                  <a:pt x="485743" y="286508"/>
                  <a:pt x="487447" y="297163"/>
                  <a:pt x="489265" y="307787"/>
                </a:cubicBezTo>
                <a:lnTo>
                  <a:pt x="510740" y="323737"/>
                </a:lnTo>
                <a:lnTo>
                  <a:pt x="526875" y="323737"/>
                </a:lnTo>
                <a:lnTo>
                  <a:pt x="559031" y="318410"/>
                </a:lnTo>
                <a:lnTo>
                  <a:pt x="575052" y="281213"/>
                </a:lnTo>
                <a:lnTo>
                  <a:pt x="607207" y="291836"/>
                </a:lnTo>
                <a:lnTo>
                  <a:pt x="644703" y="286508"/>
                </a:lnTo>
                <a:lnTo>
                  <a:pt x="687653" y="286508"/>
                </a:lnTo>
                <a:lnTo>
                  <a:pt x="714468" y="286508"/>
                </a:lnTo>
                <a:lnTo>
                  <a:pt x="709015" y="238656"/>
                </a:lnTo>
                <a:lnTo>
                  <a:pt x="730490" y="228033"/>
                </a:lnTo>
                <a:cubicBezTo>
                  <a:pt x="734012" y="222705"/>
                  <a:pt x="737648" y="217410"/>
                  <a:pt x="741170" y="212082"/>
                </a:cubicBezTo>
                <a:lnTo>
                  <a:pt x="767985" y="201459"/>
                </a:lnTo>
                <a:cubicBezTo>
                  <a:pt x="769803" y="192590"/>
                  <a:pt x="771508" y="183722"/>
                  <a:pt x="773326" y="174853"/>
                </a:cubicBezTo>
                <a:cubicBezTo>
                  <a:pt x="769803" y="165984"/>
                  <a:pt x="766168" y="157148"/>
                  <a:pt x="762645" y="148279"/>
                </a:cubicBezTo>
                <a:lnTo>
                  <a:pt x="746624" y="127001"/>
                </a:lnTo>
                <a:lnTo>
                  <a:pt x="773326" y="127001"/>
                </a:lnTo>
                <a:lnTo>
                  <a:pt x="810935" y="111050"/>
                </a:lnTo>
                <a:lnTo>
                  <a:pt x="832297" y="116377"/>
                </a:lnTo>
                <a:cubicBezTo>
                  <a:pt x="837637" y="121705"/>
                  <a:pt x="843091" y="127001"/>
                  <a:pt x="848431" y="132328"/>
                </a:cubicBezTo>
                <a:lnTo>
                  <a:pt x="848431" y="153607"/>
                </a:lnTo>
                <a:lnTo>
                  <a:pt x="869906" y="185508"/>
                </a:lnTo>
                <a:lnTo>
                  <a:pt x="885927" y="185508"/>
                </a:lnTo>
                <a:cubicBezTo>
                  <a:pt x="884109" y="173098"/>
                  <a:pt x="882405" y="160689"/>
                  <a:pt x="880587" y="148279"/>
                </a:cubicBezTo>
                <a:cubicBezTo>
                  <a:pt x="877065" y="135869"/>
                  <a:pt x="873429" y="123460"/>
                  <a:pt x="869906" y="111050"/>
                </a:cubicBezTo>
                <a:lnTo>
                  <a:pt x="885927" y="84476"/>
                </a:lnTo>
                <a:lnTo>
                  <a:pt x="885927" y="63198"/>
                </a:lnTo>
                <a:cubicBezTo>
                  <a:pt x="889450" y="50788"/>
                  <a:pt x="893086" y="38410"/>
                  <a:pt x="896608" y="26000"/>
                </a:cubicBezTo>
                <a:cubicBezTo>
                  <a:pt x="901948" y="29541"/>
                  <a:pt x="907402" y="33082"/>
                  <a:pt x="912743" y="36624"/>
                </a:cubicBezTo>
                <a:lnTo>
                  <a:pt x="934218" y="63198"/>
                </a:lnTo>
                <a:lnTo>
                  <a:pt x="966373" y="79148"/>
                </a:lnTo>
                <a:lnTo>
                  <a:pt x="1036025" y="79148"/>
                </a:lnTo>
                <a:cubicBezTo>
                  <a:pt x="1050342" y="64984"/>
                  <a:pt x="1064545" y="50788"/>
                  <a:pt x="1078861" y="36624"/>
                </a:cubicBezTo>
                <a:cubicBezTo>
                  <a:pt x="1087838" y="27755"/>
                  <a:pt x="1096700" y="18918"/>
                  <a:pt x="1105677" y="10050"/>
                </a:cubicBezTo>
                <a:lnTo>
                  <a:pt x="1129754" y="6060"/>
                </a:lnTo>
                <a:cubicBezTo>
                  <a:pt x="1129936" y="4040"/>
                  <a:pt x="1130117" y="2020"/>
                  <a:pt x="1130298" y="0"/>
                </a:cubicBezTo>
                <a:close/>
              </a:path>
            </a:pathLst>
          </a:custGeom>
          <a:solidFill>
            <a:srgbClr val="70B0DF"/>
          </a:solidFill>
          <a:ln w="3175">
            <a:noFill/>
            <a:round/>
            <a:headEnd/>
            <a:tailEnd/>
          </a:ln>
        </p:spPr>
        <p:txBody>
          <a:bodyPr wrap="none" lIns="32632" tIns="32632" rIns="32632" bIns="32632" anchor="ctr"/>
          <a:lstStyle/>
          <a:p>
            <a:pPr defTabSz="891045"/>
            <a:endParaRPr lang="en-US" sz="1700" dirty="0">
              <a:solidFill>
                <a:srgbClr val="003149"/>
              </a:solidFill>
              <a:cs typeface="Arial" panose="020B0604020202020204" pitchFamily="34" charset="0"/>
            </a:endParaRPr>
          </a:p>
        </p:txBody>
      </p:sp>
      <p:sp>
        <p:nvSpPr>
          <p:cNvPr id="66" name="Freeform 667"/>
          <p:cNvSpPr>
            <a:spLocks noChangeAspect="1"/>
          </p:cNvSpPr>
          <p:nvPr>
            <p:custDataLst>
              <p:tags r:id="rId43"/>
            </p:custDataLst>
          </p:nvPr>
        </p:nvSpPr>
        <p:spPr bwMode="gray">
          <a:xfrm>
            <a:off x="2944523" y="2877999"/>
            <a:ext cx="271539" cy="176485"/>
          </a:xfrm>
          <a:custGeom>
            <a:avLst/>
            <a:gdLst>
              <a:gd name="T0" fmla="*/ 0 w 1568456"/>
              <a:gd name="T1" fmla="*/ 0 h 898317"/>
              <a:gd name="T2" fmla="*/ 0 w 1568456"/>
              <a:gd name="T3" fmla="*/ 0 h 898317"/>
              <a:gd name="T4" fmla="*/ 0 w 1568456"/>
              <a:gd name="T5" fmla="*/ 0 h 898317"/>
              <a:gd name="T6" fmla="*/ 0 w 1568456"/>
              <a:gd name="T7" fmla="*/ 0 h 898317"/>
              <a:gd name="T8" fmla="*/ 0 w 1568456"/>
              <a:gd name="T9" fmla="*/ 0 h 898317"/>
              <a:gd name="T10" fmla="*/ 0 w 1568456"/>
              <a:gd name="T11" fmla="*/ 0 h 898317"/>
              <a:gd name="T12" fmla="*/ 0 w 1568456"/>
              <a:gd name="T13" fmla="*/ 0 h 898317"/>
              <a:gd name="T14" fmla="*/ 0 w 1568456"/>
              <a:gd name="T15" fmla="*/ 0 h 898317"/>
              <a:gd name="T16" fmla="*/ 0 w 1568456"/>
              <a:gd name="T17" fmla="*/ 0 h 898317"/>
              <a:gd name="T18" fmla="*/ 0 w 1568456"/>
              <a:gd name="T19" fmla="*/ 0 h 898317"/>
              <a:gd name="T20" fmla="*/ 0 w 1568456"/>
              <a:gd name="T21" fmla="*/ 0 h 898317"/>
              <a:gd name="T22" fmla="*/ 0 w 1568456"/>
              <a:gd name="T23" fmla="*/ 0 h 898317"/>
              <a:gd name="T24" fmla="*/ 0 w 1568456"/>
              <a:gd name="T25" fmla="*/ 0 h 898317"/>
              <a:gd name="T26" fmla="*/ 0 w 1568456"/>
              <a:gd name="T27" fmla="*/ 0 h 898317"/>
              <a:gd name="T28" fmla="*/ 0 w 1568456"/>
              <a:gd name="T29" fmla="*/ 0 h 898317"/>
              <a:gd name="T30" fmla="*/ 0 w 1568456"/>
              <a:gd name="T31" fmla="*/ 0 h 898317"/>
              <a:gd name="T32" fmla="*/ 0 w 1568456"/>
              <a:gd name="T33" fmla="*/ 0 h 898317"/>
              <a:gd name="T34" fmla="*/ 0 w 1568456"/>
              <a:gd name="T35" fmla="*/ 0 h 898317"/>
              <a:gd name="T36" fmla="*/ 0 w 1568456"/>
              <a:gd name="T37" fmla="*/ 0 h 898317"/>
              <a:gd name="T38" fmla="*/ 0 w 1568456"/>
              <a:gd name="T39" fmla="*/ 0 h 898317"/>
              <a:gd name="T40" fmla="*/ 0 w 1568456"/>
              <a:gd name="T41" fmla="*/ 0 h 898317"/>
              <a:gd name="T42" fmla="*/ 0 w 1568456"/>
              <a:gd name="T43" fmla="*/ 0 h 898317"/>
              <a:gd name="T44" fmla="*/ 0 w 1568456"/>
              <a:gd name="T45" fmla="*/ 0 h 898317"/>
              <a:gd name="T46" fmla="*/ 0 w 1568456"/>
              <a:gd name="T47" fmla="*/ 0 h 898317"/>
              <a:gd name="T48" fmla="*/ 0 w 1568456"/>
              <a:gd name="T49" fmla="*/ 0 h 898317"/>
              <a:gd name="T50" fmla="*/ 0 w 1568456"/>
              <a:gd name="T51" fmla="*/ 0 h 898317"/>
              <a:gd name="T52" fmla="*/ 0 w 1568456"/>
              <a:gd name="T53" fmla="*/ 0 h 898317"/>
              <a:gd name="T54" fmla="*/ 0 w 1568456"/>
              <a:gd name="T55" fmla="*/ 0 h 898317"/>
              <a:gd name="T56" fmla="*/ 0 w 1568456"/>
              <a:gd name="T57" fmla="*/ 0 h 898317"/>
              <a:gd name="T58" fmla="*/ 0 w 1568456"/>
              <a:gd name="T59" fmla="*/ 0 h 898317"/>
              <a:gd name="T60" fmla="*/ 0 w 1568456"/>
              <a:gd name="T61" fmla="*/ 0 h 898317"/>
              <a:gd name="T62" fmla="*/ 0 w 1568456"/>
              <a:gd name="T63" fmla="*/ 0 h 898317"/>
              <a:gd name="T64" fmla="*/ 0 w 1568456"/>
              <a:gd name="T65" fmla="*/ 0 h 898317"/>
              <a:gd name="T66" fmla="*/ 0 w 1568456"/>
              <a:gd name="T67" fmla="*/ 0 h 898317"/>
              <a:gd name="T68" fmla="*/ 0 w 1568456"/>
              <a:gd name="T69" fmla="*/ 0 h 898317"/>
              <a:gd name="T70" fmla="*/ 0 w 1568456"/>
              <a:gd name="T71" fmla="*/ 0 h 898317"/>
              <a:gd name="T72" fmla="*/ 0 w 1568456"/>
              <a:gd name="T73" fmla="*/ 0 h 898317"/>
              <a:gd name="T74" fmla="*/ 0 w 1568456"/>
              <a:gd name="T75" fmla="*/ 0 h 898317"/>
              <a:gd name="T76" fmla="*/ 0 w 1568456"/>
              <a:gd name="T77" fmla="*/ 0 h 898317"/>
              <a:gd name="T78" fmla="*/ 0 w 1568456"/>
              <a:gd name="T79" fmla="*/ 0 h 898317"/>
              <a:gd name="T80" fmla="*/ 0 w 1568456"/>
              <a:gd name="T81" fmla="*/ 0 h 898317"/>
              <a:gd name="T82" fmla="*/ 0 w 1568456"/>
              <a:gd name="T83" fmla="*/ 0 h 898317"/>
              <a:gd name="T84" fmla="*/ 0 w 1568456"/>
              <a:gd name="T85" fmla="*/ 0 h 898317"/>
              <a:gd name="T86" fmla="*/ 0 w 1568456"/>
              <a:gd name="T87" fmla="*/ 0 h 898317"/>
              <a:gd name="T88" fmla="*/ 0 w 1568456"/>
              <a:gd name="T89" fmla="*/ 0 h 898317"/>
              <a:gd name="T90" fmla="*/ 0 w 1568456"/>
              <a:gd name="T91" fmla="*/ 0 h 898317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w 1568456"/>
              <a:gd name="T139" fmla="*/ 0 h 898317"/>
              <a:gd name="T140" fmla="*/ 1568456 w 1568456"/>
              <a:gd name="T141" fmla="*/ 898317 h 898317"/>
            </a:gdLst>
            <a:ahLst/>
            <a:cxnLst>
              <a:cxn ang="T92">
                <a:pos x="T0" y="T1"/>
              </a:cxn>
              <a:cxn ang="T93">
                <a:pos x="T2" y="T3"/>
              </a:cxn>
              <a:cxn ang="T94">
                <a:pos x="T4" y="T5"/>
              </a:cxn>
              <a:cxn ang="T95">
                <a:pos x="T6" y="T7"/>
              </a:cxn>
              <a:cxn ang="T96">
                <a:pos x="T8" y="T9"/>
              </a:cxn>
              <a:cxn ang="T97">
                <a:pos x="T10" y="T11"/>
              </a:cxn>
              <a:cxn ang="T98">
                <a:pos x="T12" y="T13"/>
              </a:cxn>
              <a:cxn ang="T99">
                <a:pos x="T14" y="T15"/>
              </a:cxn>
              <a:cxn ang="T100">
                <a:pos x="T16" y="T17"/>
              </a:cxn>
              <a:cxn ang="T101">
                <a:pos x="T18" y="T19"/>
              </a:cxn>
              <a:cxn ang="T102">
                <a:pos x="T20" y="T21"/>
              </a:cxn>
              <a:cxn ang="T103">
                <a:pos x="T22" y="T23"/>
              </a:cxn>
              <a:cxn ang="T104">
                <a:pos x="T24" y="T25"/>
              </a:cxn>
              <a:cxn ang="T105">
                <a:pos x="T26" y="T27"/>
              </a:cxn>
              <a:cxn ang="T106">
                <a:pos x="T28" y="T29"/>
              </a:cxn>
              <a:cxn ang="T107">
                <a:pos x="T30" y="T31"/>
              </a:cxn>
              <a:cxn ang="T108">
                <a:pos x="T32" y="T33"/>
              </a:cxn>
              <a:cxn ang="T109">
                <a:pos x="T34" y="T35"/>
              </a:cxn>
              <a:cxn ang="T110">
                <a:pos x="T36" y="T37"/>
              </a:cxn>
              <a:cxn ang="T111">
                <a:pos x="T38" y="T39"/>
              </a:cxn>
              <a:cxn ang="T112">
                <a:pos x="T40" y="T41"/>
              </a:cxn>
              <a:cxn ang="T113">
                <a:pos x="T42" y="T43"/>
              </a:cxn>
              <a:cxn ang="T114">
                <a:pos x="T44" y="T45"/>
              </a:cxn>
              <a:cxn ang="T115">
                <a:pos x="T46" y="T47"/>
              </a:cxn>
              <a:cxn ang="T116">
                <a:pos x="T48" y="T49"/>
              </a:cxn>
              <a:cxn ang="T117">
                <a:pos x="T50" y="T51"/>
              </a:cxn>
              <a:cxn ang="T118">
                <a:pos x="T52" y="T53"/>
              </a:cxn>
              <a:cxn ang="T119">
                <a:pos x="T54" y="T55"/>
              </a:cxn>
              <a:cxn ang="T120">
                <a:pos x="T56" y="T57"/>
              </a:cxn>
              <a:cxn ang="T121">
                <a:pos x="T58" y="T59"/>
              </a:cxn>
              <a:cxn ang="T122">
                <a:pos x="T60" y="T61"/>
              </a:cxn>
              <a:cxn ang="T123">
                <a:pos x="T62" y="T63"/>
              </a:cxn>
              <a:cxn ang="T124">
                <a:pos x="T64" y="T65"/>
              </a:cxn>
              <a:cxn ang="T125">
                <a:pos x="T66" y="T67"/>
              </a:cxn>
              <a:cxn ang="T126">
                <a:pos x="T68" y="T69"/>
              </a:cxn>
              <a:cxn ang="T127">
                <a:pos x="T70" y="T71"/>
              </a:cxn>
              <a:cxn ang="T128">
                <a:pos x="T72" y="T73"/>
              </a:cxn>
              <a:cxn ang="T129">
                <a:pos x="T74" y="T75"/>
              </a:cxn>
              <a:cxn ang="T130">
                <a:pos x="T76" y="T77"/>
              </a:cxn>
              <a:cxn ang="T131">
                <a:pos x="T78" y="T79"/>
              </a:cxn>
              <a:cxn ang="T132">
                <a:pos x="T80" y="T81"/>
              </a:cxn>
              <a:cxn ang="T133">
                <a:pos x="T82" y="T83"/>
              </a:cxn>
              <a:cxn ang="T134">
                <a:pos x="T84" y="T85"/>
              </a:cxn>
              <a:cxn ang="T135">
                <a:pos x="T86" y="T87"/>
              </a:cxn>
              <a:cxn ang="T136">
                <a:pos x="T88" y="T89"/>
              </a:cxn>
              <a:cxn ang="T137">
                <a:pos x="T90" y="T91"/>
              </a:cxn>
            </a:cxnLst>
            <a:rect l="T138" t="T139" r="T140" b="T141"/>
            <a:pathLst>
              <a:path w="1568456" h="898317">
                <a:moveTo>
                  <a:pt x="605364" y="0"/>
                </a:moveTo>
                <a:lnTo>
                  <a:pt x="640877" y="14375"/>
                </a:lnTo>
                <a:lnTo>
                  <a:pt x="684207" y="32505"/>
                </a:lnTo>
                <a:lnTo>
                  <a:pt x="727091" y="57628"/>
                </a:lnTo>
                <a:lnTo>
                  <a:pt x="778015" y="46750"/>
                </a:lnTo>
                <a:cubicBezTo>
                  <a:pt x="781142" y="35677"/>
                  <a:pt x="784715" y="24799"/>
                  <a:pt x="788847" y="14375"/>
                </a:cubicBezTo>
                <a:lnTo>
                  <a:pt x="842675" y="14375"/>
                </a:lnTo>
                <a:cubicBezTo>
                  <a:pt x="852837" y="34771"/>
                  <a:pt x="863782" y="55038"/>
                  <a:pt x="874726" y="75369"/>
                </a:cubicBezTo>
                <a:cubicBezTo>
                  <a:pt x="881315" y="91233"/>
                  <a:pt x="889020" y="106902"/>
                  <a:pt x="896056" y="122572"/>
                </a:cubicBezTo>
                <a:cubicBezTo>
                  <a:pt x="893934" y="133385"/>
                  <a:pt x="891589" y="144134"/>
                  <a:pt x="889020" y="154947"/>
                </a:cubicBezTo>
                <a:cubicBezTo>
                  <a:pt x="899964" y="173012"/>
                  <a:pt x="911132" y="191012"/>
                  <a:pt x="921406" y="209078"/>
                </a:cubicBezTo>
                <a:lnTo>
                  <a:pt x="982270" y="228891"/>
                </a:lnTo>
                <a:lnTo>
                  <a:pt x="1036544" y="311900"/>
                </a:lnTo>
                <a:lnTo>
                  <a:pt x="1079316" y="344534"/>
                </a:lnTo>
                <a:lnTo>
                  <a:pt x="1079316" y="402097"/>
                </a:lnTo>
                <a:lnTo>
                  <a:pt x="1144311" y="456292"/>
                </a:lnTo>
                <a:cubicBezTo>
                  <a:pt x="1149002" y="466911"/>
                  <a:pt x="1153915" y="477984"/>
                  <a:pt x="1158494" y="488797"/>
                </a:cubicBezTo>
                <a:lnTo>
                  <a:pt x="1245043" y="521107"/>
                </a:lnTo>
                <a:cubicBezTo>
                  <a:pt x="1255652" y="542669"/>
                  <a:pt x="1266261" y="564684"/>
                  <a:pt x="1277429" y="586310"/>
                </a:cubicBezTo>
                <a:lnTo>
                  <a:pt x="1309703" y="575238"/>
                </a:lnTo>
                <a:lnTo>
                  <a:pt x="1384749" y="586310"/>
                </a:lnTo>
                <a:lnTo>
                  <a:pt x="1428191" y="607807"/>
                </a:lnTo>
                <a:lnTo>
                  <a:pt x="1471298" y="575238"/>
                </a:lnTo>
                <a:lnTo>
                  <a:pt x="1514628" y="575238"/>
                </a:lnTo>
                <a:lnTo>
                  <a:pt x="1568456" y="647499"/>
                </a:lnTo>
                <a:lnTo>
                  <a:pt x="1565162" y="649927"/>
                </a:lnTo>
                <a:lnTo>
                  <a:pt x="1567644" y="652272"/>
                </a:lnTo>
                <a:lnTo>
                  <a:pt x="1551389" y="677812"/>
                </a:lnTo>
                <a:lnTo>
                  <a:pt x="1508205" y="711692"/>
                </a:lnTo>
                <a:cubicBezTo>
                  <a:pt x="1511217" y="722395"/>
                  <a:pt x="1514185" y="733098"/>
                  <a:pt x="1517196" y="743826"/>
                </a:cubicBezTo>
                <a:lnTo>
                  <a:pt x="1495627" y="779453"/>
                </a:lnTo>
                <a:lnTo>
                  <a:pt x="1483004" y="806222"/>
                </a:lnTo>
                <a:cubicBezTo>
                  <a:pt x="1484820" y="818697"/>
                  <a:pt x="1486591" y="831171"/>
                  <a:pt x="1488407" y="843646"/>
                </a:cubicBezTo>
                <a:lnTo>
                  <a:pt x="1468565" y="870391"/>
                </a:lnTo>
                <a:lnTo>
                  <a:pt x="1443363" y="886458"/>
                </a:lnTo>
                <a:lnTo>
                  <a:pt x="1418206" y="870391"/>
                </a:lnTo>
                <a:lnTo>
                  <a:pt x="1382153" y="891821"/>
                </a:lnTo>
                <a:lnTo>
                  <a:pt x="1317399" y="873959"/>
                </a:lnTo>
                <a:lnTo>
                  <a:pt x="1283206" y="891821"/>
                </a:lnTo>
                <a:lnTo>
                  <a:pt x="1270583" y="870391"/>
                </a:lnTo>
                <a:lnTo>
                  <a:pt x="1236391" y="852577"/>
                </a:lnTo>
                <a:lnTo>
                  <a:pt x="1196794" y="865052"/>
                </a:lnTo>
                <a:lnTo>
                  <a:pt x="1171593" y="893593"/>
                </a:lnTo>
                <a:cubicBezTo>
                  <a:pt x="1153566" y="898342"/>
                  <a:pt x="1142715" y="893544"/>
                  <a:pt x="1124733" y="898317"/>
                </a:cubicBezTo>
                <a:cubicBezTo>
                  <a:pt x="1125980" y="896542"/>
                  <a:pt x="1125753" y="894245"/>
                  <a:pt x="1124483" y="891517"/>
                </a:cubicBezTo>
                <a:lnTo>
                  <a:pt x="1123952" y="895146"/>
                </a:lnTo>
                <a:lnTo>
                  <a:pt x="1079480" y="876096"/>
                </a:lnTo>
                <a:lnTo>
                  <a:pt x="1047787" y="857046"/>
                </a:lnTo>
                <a:lnTo>
                  <a:pt x="1009668" y="844351"/>
                </a:lnTo>
                <a:lnTo>
                  <a:pt x="958842" y="825301"/>
                </a:lnTo>
                <a:lnTo>
                  <a:pt x="920723" y="793541"/>
                </a:lnTo>
                <a:cubicBezTo>
                  <a:pt x="910135" y="785083"/>
                  <a:pt x="899619" y="776609"/>
                  <a:pt x="889030" y="768151"/>
                </a:cubicBezTo>
                <a:lnTo>
                  <a:pt x="844558" y="755441"/>
                </a:lnTo>
                <a:lnTo>
                  <a:pt x="819146" y="742746"/>
                </a:lnTo>
                <a:lnTo>
                  <a:pt x="768320" y="755441"/>
                </a:lnTo>
                <a:lnTo>
                  <a:pt x="717568" y="787201"/>
                </a:lnTo>
                <a:lnTo>
                  <a:pt x="666742" y="793541"/>
                </a:lnTo>
                <a:lnTo>
                  <a:pt x="615917" y="793541"/>
                </a:lnTo>
                <a:lnTo>
                  <a:pt x="546105" y="799896"/>
                </a:lnTo>
                <a:lnTo>
                  <a:pt x="488926" y="799896"/>
                </a:lnTo>
                <a:lnTo>
                  <a:pt x="438174" y="787201"/>
                </a:lnTo>
                <a:lnTo>
                  <a:pt x="393701" y="793541"/>
                </a:lnTo>
                <a:lnTo>
                  <a:pt x="393961" y="793165"/>
                </a:lnTo>
                <a:lnTo>
                  <a:pt x="393406" y="793547"/>
                </a:lnTo>
                <a:cubicBezTo>
                  <a:pt x="395653" y="779614"/>
                  <a:pt x="397808" y="765627"/>
                  <a:pt x="400055" y="751749"/>
                </a:cubicBezTo>
                <a:lnTo>
                  <a:pt x="382861" y="708635"/>
                </a:lnTo>
                <a:lnTo>
                  <a:pt x="357826" y="670786"/>
                </a:lnTo>
                <a:lnTo>
                  <a:pt x="315552" y="615933"/>
                </a:lnTo>
                <a:lnTo>
                  <a:pt x="282539" y="591140"/>
                </a:lnTo>
                <a:lnTo>
                  <a:pt x="271948" y="541443"/>
                </a:lnTo>
                <a:lnTo>
                  <a:pt x="240219" y="506227"/>
                </a:lnTo>
                <a:lnTo>
                  <a:pt x="208582" y="456585"/>
                </a:lnTo>
                <a:lnTo>
                  <a:pt x="176853" y="414787"/>
                </a:lnTo>
                <a:lnTo>
                  <a:pt x="122703" y="340352"/>
                </a:lnTo>
                <a:lnTo>
                  <a:pt x="80475" y="294605"/>
                </a:lnTo>
                <a:lnTo>
                  <a:pt x="38200" y="265917"/>
                </a:lnTo>
                <a:lnTo>
                  <a:pt x="21906" y="255184"/>
                </a:lnTo>
                <a:lnTo>
                  <a:pt x="0" y="246653"/>
                </a:lnTo>
                <a:lnTo>
                  <a:pt x="0" y="210935"/>
                </a:lnTo>
                <a:cubicBezTo>
                  <a:pt x="2423" y="205353"/>
                  <a:pt x="4800" y="199752"/>
                  <a:pt x="7224" y="194171"/>
                </a:cubicBezTo>
                <a:lnTo>
                  <a:pt x="101407" y="134201"/>
                </a:lnTo>
                <a:lnTo>
                  <a:pt x="181051" y="144793"/>
                </a:lnTo>
                <a:lnTo>
                  <a:pt x="271622" y="130677"/>
                </a:lnTo>
                <a:lnTo>
                  <a:pt x="340431" y="91872"/>
                </a:lnTo>
                <a:lnTo>
                  <a:pt x="387477" y="95396"/>
                </a:lnTo>
                <a:lnTo>
                  <a:pt x="451693" y="48287"/>
                </a:lnTo>
                <a:cubicBezTo>
                  <a:pt x="451695" y="48271"/>
                  <a:pt x="451696" y="48255"/>
                  <a:pt x="451698" y="48239"/>
                </a:cubicBezTo>
                <a:lnTo>
                  <a:pt x="451740" y="48253"/>
                </a:lnTo>
                <a:lnTo>
                  <a:pt x="457200" y="44247"/>
                </a:lnTo>
                <a:lnTo>
                  <a:pt x="458777" y="50678"/>
                </a:lnTo>
                <a:lnTo>
                  <a:pt x="478947" y="57628"/>
                </a:lnTo>
                <a:lnTo>
                  <a:pt x="529871" y="46750"/>
                </a:lnTo>
                <a:cubicBezTo>
                  <a:pt x="536907" y="34577"/>
                  <a:pt x="543495" y="22598"/>
                  <a:pt x="551201" y="10619"/>
                </a:cubicBezTo>
                <a:close/>
              </a:path>
            </a:pathLst>
          </a:custGeom>
          <a:solidFill>
            <a:srgbClr val="70B0DF"/>
          </a:solidFill>
          <a:ln w="3175" cap="flat" cmpd="sng">
            <a:noFill/>
            <a:prstDash val="solid"/>
            <a:round/>
            <a:headEnd type="none" w="med" len="med"/>
            <a:tailEnd type="none" w="sm" len="sm"/>
          </a:ln>
        </p:spPr>
        <p:txBody>
          <a:bodyPr wrap="none" lIns="32632" tIns="32632" rIns="32632" bIns="32632" anchor="ctr"/>
          <a:lstStyle/>
          <a:p>
            <a:pPr defTabSz="891045"/>
            <a:endParaRPr lang="en-US" sz="1700" dirty="0">
              <a:solidFill>
                <a:srgbClr val="003149"/>
              </a:solidFill>
              <a:cs typeface="Arial" panose="020B0604020202020204" pitchFamily="34" charset="0"/>
            </a:endParaRPr>
          </a:p>
        </p:txBody>
      </p:sp>
      <p:sp>
        <p:nvSpPr>
          <p:cNvPr id="67" name="Freeform 642"/>
          <p:cNvSpPr>
            <a:spLocks noChangeAspect="1"/>
          </p:cNvSpPr>
          <p:nvPr>
            <p:custDataLst>
              <p:tags r:id="rId44"/>
            </p:custDataLst>
          </p:nvPr>
        </p:nvSpPr>
        <p:spPr bwMode="gray">
          <a:xfrm>
            <a:off x="2446938" y="3030081"/>
            <a:ext cx="130794" cy="189398"/>
          </a:xfrm>
          <a:custGeom>
            <a:avLst/>
            <a:gdLst>
              <a:gd name="T0" fmla="*/ 0 w 756867"/>
              <a:gd name="T1" fmla="*/ 0 h 969173"/>
              <a:gd name="T2" fmla="*/ 0 w 756867"/>
              <a:gd name="T3" fmla="*/ 0 h 969173"/>
              <a:gd name="T4" fmla="*/ 0 w 756867"/>
              <a:gd name="T5" fmla="*/ 0 h 969173"/>
              <a:gd name="T6" fmla="*/ 0 w 756867"/>
              <a:gd name="T7" fmla="*/ 0 h 969173"/>
              <a:gd name="T8" fmla="*/ 0 w 756867"/>
              <a:gd name="T9" fmla="*/ 0 h 969173"/>
              <a:gd name="T10" fmla="*/ 0 w 756867"/>
              <a:gd name="T11" fmla="*/ 0 h 969173"/>
              <a:gd name="T12" fmla="*/ 0 w 756867"/>
              <a:gd name="T13" fmla="*/ 0 h 969173"/>
              <a:gd name="T14" fmla="*/ 0 w 756867"/>
              <a:gd name="T15" fmla="*/ 0 h 969173"/>
              <a:gd name="T16" fmla="*/ 0 w 756867"/>
              <a:gd name="T17" fmla="*/ 0 h 969173"/>
              <a:gd name="T18" fmla="*/ 0 w 756867"/>
              <a:gd name="T19" fmla="*/ 0 h 969173"/>
              <a:gd name="T20" fmla="*/ 0 w 756867"/>
              <a:gd name="T21" fmla="*/ 0 h 969173"/>
              <a:gd name="T22" fmla="*/ 0 w 756867"/>
              <a:gd name="T23" fmla="*/ 0 h 969173"/>
              <a:gd name="T24" fmla="*/ 0 w 756867"/>
              <a:gd name="T25" fmla="*/ 0 h 969173"/>
              <a:gd name="T26" fmla="*/ 0 w 756867"/>
              <a:gd name="T27" fmla="*/ 0 h 969173"/>
              <a:gd name="T28" fmla="*/ 0 w 756867"/>
              <a:gd name="T29" fmla="*/ 0 h 969173"/>
              <a:gd name="T30" fmla="*/ 0 w 756867"/>
              <a:gd name="T31" fmla="*/ 0 h 969173"/>
              <a:gd name="T32" fmla="*/ 0 w 756867"/>
              <a:gd name="T33" fmla="*/ 0 h 969173"/>
              <a:gd name="T34" fmla="*/ 0 w 756867"/>
              <a:gd name="T35" fmla="*/ 0 h 969173"/>
              <a:gd name="T36" fmla="*/ 0 w 756867"/>
              <a:gd name="T37" fmla="*/ 0 h 969173"/>
              <a:gd name="T38" fmla="*/ 0 w 756867"/>
              <a:gd name="T39" fmla="*/ 0 h 969173"/>
              <a:gd name="T40" fmla="*/ 0 w 756867"/>
              <a:gd name="T41" fmla="*/ 0 h 969173"/>
              <a:gd name="T42" fmla="*/ 0 w 756867"/>
              <a:gd name="T43" fmla="*/ 0 h 969173"/>
              <a:gd name="T44" fmla="*/ 0 w 756867"/>
              <a:gd name="T45" fmla="*/ 0 h 969173"/>
              <a:gd name="T46" fmla="*/ 0 w 756867"/>
              <a:gd name="T47" fmla="*/ 0 h 969173"/>
              <a:gd name="T48" fmla="*/ 0 w 756867"/>
              <a:gd name="T49" fmla="*/ 0 h 969173"/>
              <a:gd name="T50" fmla="*/ 0 w 756867"/>
              <a:gd name="T51" fmla="*/ 0 h 969173"/>
              <a:gd name="T52" fmla="*/ 0 w 756867"/>
              <a:gd name="T53" fmla="*/ 0 h 969173"/>
              <a:gd name="T54" fmla="*/ 0 w 756867"/>
              <a:gd name="T55" fmla="*/ 0 h 969173"/>
              <a:gd name="T56" fmla="*/ 0 w 756867"/>
              <a:gd name="T57" fmla="*/ 0 h 969173"/>
              <a:gd name="T58" fmla="*/ 0 w 756867"/>
              <a:gd name="T59" fmla="*/ 0 h 969173"/>
              <a:gd name="T60" fmla="*/ 0 w 756867"/>
              <a:gd name="T61" fmla="*/ 0 h 969173"/>
              <a:gd name="T62" fmla="*/ 0 w 756867"/>
              <a:gd name="T63" fmla="*/ 0 h 969173"/>
              <a:gd name="T64" fmla="*/ 0 w 756867"/>
              <a:gd name="T65" fmla="*/ 0 h 969173"/>
              <a:gd name="T66" fmla="*/ 0 w 756867"/>
              <a:gd name="T67" fmla="*/ 0 h 969173"/>
              <a:gd name="T68" fmla="*/ 0 w 756867"/>
              <a:gd name="T69" fmla="*/ 0 h 969173"/>
              <a:gd name="T70" fmla="*/ 0 w 756867"/>
              <a:gd name="T71" fmla="*/ 0 h 969173"/>
              <a:gd name="T72" fmla="*/ 0 w 756867"/>
              <a:gd name="T73" fmla="*/ 0 h 969173"/>
              <a:gd name="T74" fmla="*/ 0 w 756867"/>
              <a:gd name="T75" fmla="*/ 0 h 969173"/>
              <a:gd name="T76" fmla="*/ 0 w 756867"/>
              <a:gd name="T77" fmla="*/ 0 h 969173"/>
              <a:gd name="T78" fmla="*/ 0 w 756867"/>
              <a:gd name="T79" fmla="*/ 0 h 969173"/>
              <a:gd name="T80" fmla="*/ 0 w 756867"/>
              <a:gd name="T81" fmla="*/ 0 h 969173"/>
              <a:gd name="T82" fmla="*/ 0 w 756867"/>
              <a:gd name="T83" fmla="*/ 0 h 969173"/>
              <a:gd name="T84" fmla="*/ 0 w 756867"/>
              <a:gd name="T85" fmla="*/ 0 h 969173"/>
              <a:gd name="T86" fmla="*/ 0 w 756867"/>
              <a:gd name="T87" fmla="*/ 0 h 969173"/>
              <a:gd name="T88" fmla="*/ 0 w 756867"/>
              <a:gd name="T89" fmla="*/ 0 h 969173"/>
              <a:gd name="T90" fmla="*/ 0 w 756867"/>
              <a:gd name="T91" fmla="*/ 0 h 969173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w 756867"/>
              <a:gd name="T139" fmla="*/ 0 h 969173"/>
              <a:gd name="T140" fmla="*/ 756867 w 756867"/>
              <a:gd name="T141" fmla="*/ 969173 h 969173"/>
            </a:gdLst>
            <a:ahLst/>
            <a:cxnLst>
              <a:cxn ang="T92">
                <a:pos x="T0" y="T1"/>
              </a:cxn>
              <a:cxn ang="T93">
                <a:pos x="T2" y="T3"/>
              </a:cxn>
              <a:cxn ang="T94">
                <a:pos x="T4" y="T5"/>
              </a:cxn>
              <a:cxn ang="T95">
                <a:pos x="T6" y="T7"/>
              </a:cxn>
              <a:cxn ang="T96">
                <a:pos x="T8" y="T9"/>
              </a:cxn>
              <a:cxn ang="T97">
                <a:pos x="T10" y="T11"/>
              </a:cxn>
              <a:cxn ang="T98">
                <a:pos x="T12" y="T13"/>
              </a:cxn>
              <a:cxn ang="T99">
                <a:pos x="T14" y="T15"/>
              </a:cxn>
              <a:cxn ang="T100">
                <a:pos x="T16" y="T17"/>
              </a:cxn>
              <a:cxn ang="T101">
                <a:pos x="T18" y="T19"/>
              </a:cxn>
              <a:cxn ang="T102">
                <a:pos x="T20" y="T21"/>
              </a:cxn>
              <a:cxn ang="T103">
                <a:pos x="T22" y="T23"/>
              </a:cxn>
              <a:cxn ang="T104">
                <a:pos x="T24" y="T25"/>
              </a:cxn>
              <a:cxn ang="T105">
                <a:pos x="T26" y="T27"/>
              </a:cxn>
              <a:cxn ang="T106">
                <a:pos x="T28" y="T29"/>
              </a:cxn>
              <a:cxn ang="T107">
                <a:pos x="T30" y="T31"/>
              </a:cxn>
              <a:cxn ang="T108">
                <a:pos x="T32" y="T33"/>
              </a:cxn>
              <a:cxn ang="T109">
                <a:pos x="T34" y="T35"/>
              </a:cxn>
              <a:cxn ang="T110">
                <a:pos x="T36" y="T37"/>
              </a:cxn>
              <a:cxn ang="T111">
                <a:pos x="T38" y="T39"/>
              </a:cxn>
              <a:cxn ang="T112">
                <a:pos x="T40" y="T41"/>
              </a:cxn>
              <a:cxn ang="T113">
                <a:pos x="T42" y="T43"/>
              </a:cxn>
              <a:cxn ang="T114">
                <a:pos x="T44" y="T45"/>
              </a:cxn>
              <a:cxn ang="T115">
                <a:pos x="T46" y="T47"/>
              </a:cxn>
              <a:cxn ang="T116">
                <a:pos x="T48" y="T49"/>
              </a:cxn>
              <a:cxn ang="T117">
                <a:pos x="T50" y="T51"/>
              </a:cxn>
              <a:cxn ang="T118">
                <a:pos x="T52" y="T53"/>
              </a:cxn>
              <a:cxn ang="T119">
                <a:pos x="T54" y="T55"/>
              </a:cxn>
              <a:cxn ang="T120">
                <a:pos x="T56" y="T57"/>
              </a:cxn>
              <a:cxn ang="T121">
                <a:pos x="T58" y="T59"/>
              </a:cxn>
              <a:cxn ang="T122">
                <a:pos x="T60" y="T61"/>
              </a:cxn>
              <a:cxn ang="T123">
                <a:pos x="T62" y="T63"/>
              </a:cxn>
              <a:cxn ang="T124">
                <a:pos x="T64" y="T65"/>
              </a:cxn>
              <a:cxn ang="T125">
                <a:pos x="T66" y="T67"/>
              </a:cxn>
              <a:cxn ang="T126">
                <a:pos x="T68" y="T69"/>
              </a:cxn>
              <a:cxn ang="T127">
                <a:pos x="T70" y="T71"/>
              </a:cxn>
              <a:cxn ang="T128">
                <a:pos x="T72" y="T73"/>
              </a:cxn>
              <a:cxn ang="T129">
                <a:pos x="T74" y="T75"/>
              </a:cxn>
              <a:cxn ang="T130">
                <a:pos x="T76" y="T77"/>
              </a:cxn>
              <a:cxn ang="T131">
                <a:pos x="T78" y="T79"/>
              </a:cxn>
              <a:cxn ang="T132">
                <a:pos x="T80" y="T81"/>
              </a:cxn>
              <a:cxn ang="T133">
                <a:pos x="T82" y="T83"/>
              </a:cxn>
              <a:cxn ang="T134">
                <a:pos x="T84" y="T85"/>
              </a:cxn>
              <a:cxn ang="T135">
                <a:pos x="T86" y="T87"/>
              </a:cxn>
              <a:cxn ang="T136">
                <a:pos x="T88" y="T89"/>
              </a:cxn>
              <a:cxn ang="T137">
                <a:pos x="T90" y="T91"/>
              </a:cxn>
            </a:cxnLst>
            <a:rect l="T138" t="T139" r="T140" b="T141"/>
            <a:pathLst>
              <a:path w="756867" h="969173">
                <a:moveTo>
                  <a:pt x="264702" y="0"/>
                </a:moveTo>
                <a:lnTo>
                  <a:pt x="278969" y="18207"/>
                </a:lnTo>
                <a:lnTo>
                  <a:pt x="300370" y="18207"/>
                </a:lnTo>
                <a:lnTo>
                  <a:pt x="321771" y="54661"/>
                </a:lnTo>
                <a:lnTo>
                  <a:pt x="353846" y="78354"/>
                </a:lnTo>
                <a:lnTo>
                  <a:pt x="377017" y="94773"/>
                </a:lnTo>
                <a:cubicBezTo>
                  <a:pt x="380610" y="103876"/>
                  <a:pt x="384150" y="112979"/>
                  <a:pt x="387743" y="122083"/>
                </a:cubicBezTo>
                <a:lnTo>
                  <a:pt x="402010" y="136672"/>
                </a:lnTo>
                <a:cubicBezTo>
                  <a:pt x="404406" y="145776"/>
                  <a:pt x="406749" y="154920"/>
                  <a:pt x="409144" y="164023"/>
                </a:cubicBezTo>
                <a:lnTo>
                  <a:pt x="435908" y="180401"/>
                </a:lnTo>
                <a:cubicBezTo>
                  <a:pt x="437106" y="191333"/>
                  <a:pt x="438251" y="202306"/>
                  <a:pt x="439449" y="213238"/>
                </a:cubicBezTo>
                <a:lnTo>
                  <a:pt x="457309" y="215026"/>
                </a:lnTo>
                <a:cubicBezTo>
                  <a:pt x="460849" y="222342"/>
                  <a:pt x="464442" y="229616"/>
                  <a:pt x="467983" y="236931"/>
                </a:cubicBezTo>
                <a:lnTo>
                  <a:pt x="494747" y="246035"/>
                </a:lnTo>
                <a:lnTo>
                  <a:pt x="521459" y="246035"/>
                </a:lnTo>
                <a:lnTo>
                  <a:pt x="537549" y="264242"/>
                </a:lnTo>
                <a:lnTo>
                  <a:pt x="557127" y="264242"/>
                </a:lnTo>
                <a:lnTo>
                  <a:pt x="594617" y="280660"/>
                </a:lnTo>
                <a:lnTo>
                  <a:pt x="617788" y="302524"/>
                </a:lnTo>
                <a:lnTo>
                  <a:pt x="639189" y="302524"/>
                </a:lnTo>
                <a:lnTo>
                  <a:pt x="671264" y="311628"/>
                </a:lnTo>
                <a:lnTo>
                  <a:pt x="701569" y="324389"/>
                </a:lnTo>
                <a:lnTo>
                  <a:pt x="714066" y="340807"/>
                </a:lnTo>
                <a:lnTo>
                  <a:pt x="728333" y="355357"/>
                </a:lnTo>
                <a:lnTo>
                  <a:pt x="739059" y="373604"/>
                </a:lnTo>
                <a:lnTo>
                  <a:pt x="756867" y="384536"/>
                </a:lnTo>
                <a:lnTo>
                  <a:pt x="756867" y="406400"/>
                </a:lnTo>
                <a:lnTo>
                  <a:pt x="752766" y="406221"/>
                </a:lnTo>
                <a:lnTo>
                  <a:pt x="753303" y="406399"/>
                </a:lnTo>
                <a:cubicBezTo>
                  <a:pt x="754479" y="417373"/>
                  <a:pt x="755691" y="428403"/>
                  <a:pt x="756867" y="439321"/>
                </a:cubicBezTo>
                <a:lnTo>
                  <a:pt x="742644" y="470443"/>
                </a:lnTo>
                <a:lnTo>
                  <a:pt x="726655" y="503309"/>
                </a:lnTo>
                <a:lnTo>
                  <a:pt x="726655" y="532573"/>
                </a:lnTo>
                <a:cubicBezTo>
                  <a:pt x="724267" y="542928"/>
                  <a:pt x="721914" y="553339"/>
                  <a:pt x="719526" y="563694"/>
                </a:cubicBezTo>
                <a:cubicBezTo>
                  <a:pt x="717761" y="575287"/>
                  <a:pt x="715962" y="586824"/>
                  <a:pt x="714197" y="598417"/>
                </a:cubicBezTo>
                <a:lnTo>
                  <a:pt x="692844" y="640457"/>
                </a:lnTo>
                <a:lnTo>
                  <a:pt x="667962" y="658803"/>
                </a:lnTo>
                <a:lnTo>
                  <a:pt x="655538" y="689868"/>
                </a:lnTo>
                <a:lnTo>
                  <a:pt x="644844" y="713673"/>
                </a:lnTo>
                <a:cubicBezTo>
                  <a:pt x="645467" y="722847"/>
                  <a:pt x="646021" y="731907"/>
                  <a:pt x="646644" y="741081"/>
                </a:cubicBezTo>
                <a:lnTo>
                  <a:pt x="639515" y="768544"/>
                </a:lnTo>
                <a:cubicBezTo>
                  <a:pt x="637750" y="779518"/>
                  <a:pt x="635950" y="790436"/>
                  <a:pt x="634185" y="801410"/>
                </a:cubicBezTo>
                <a:lnTo>
                  <a:pt x="593280" y="812384"/>
                </a:lnTo>
                <a:cubicBezTo>
                  <a:pt x="592692" y="819137"/>
                  <a:pt x="592103" y="825778"/>
                  <a:pt x="591515" y="832531"/>
                </a:cubicBezTo>
                <a:lnTo>
                  <a:pt x="559504" y="832531"/>
                </a:lnTo>
                <a:lnTo>
                  <a:pt x="543515" y="859995"/>
                </a:lnTo>
                <a:lnTo>
                  <a:pt x="527492" y="900233"/>
                </a:lnTo>
                <a:lnTo>
                  <a:pt x="481292" y="920324"/>
                </a:lnTo>
                <a:lnTo>
                  <a:pt x="447481" y="925839"/>
                </a:lnTo>
                <a:cubicBezTo>
                  <a:pt x="445716" y="933155"/>
                  <a:pt x="443916" y="940415"/>
                  <a:pt x="442151" y="947731"/>
                </a:cubicBezTo>
                <a:lnTo>
                  <a:pt x="422598" y="953247"/>
                </a:lnTo>
                <a:lnTo>
                  <a:pt x="410797" y="969173"/>
                </a:lnTo>
                <a:lnTo>
                  <a:pt x="406424" y="958189"/>
                </a:lnTo>
                <a:lnTo>
                  <a:pt x="375181" y="947764"/>
                </a:lnTo>
                <a:cubicBezTo>
                  <a:pt x="373473" y="937125"/>
                  <a:pt x="371618" y="926487"/>
                  <a:pt x="369861" y="915848"/>
                </a:cubicBezTo>
                <a:lnTo>
                  <a:pt x="348435" y="852128"/>
                </a:lnTo>
                <a:lnTo>
                  <a:pt x="332377" y="804144"/>
                </a:lnTo>
                <a:lnTo>
                  <a:pt x="332377" y="766799"/>
                </a:lnTo>
                <a:lnTo>
                  <a:pt x="278836" y="766799"/>
                </a:lnTo>
                <a:lnTo>
                  <a:pt x="251943" y="740424"/>
                </a:lnTo>
                <a:lnTo>
                  <a:pt x="268098" y="703079"/>
                </a:lnTo>
                <a:lnTo>
                  <a:pt x="284107" y="676372"/>
                </a:lnTo>
                <a:lnTo>
                  <a:pt x="289378" y="665844"/>
                </a:lnTo>
                <a:lnTo>
                  <a:pt x="273418" y="644899"/>
                </a:lnTo>
                <a:cubicBezTo>
                  <a:pt x="271564" y="637696"/>
                  <a:pt x="269758" y="630493"/>
                  <a:pt x="268098" y="623512"/>
                </a:cubicBezTo>
                <a:lnTo>
                  <a:pt x="289378" y="602013"/>
                </a:lnTo>
                <a:lnTo>
                  <a:pt x="305582" y="570208"/>
                </a:lnTo>
                <a:lnTo>
                  <a:pt x="316271" y="543723"/>
                </a:lnTo>
                <a:lnTo>
                  <a:pt x="332377" y="527765"/>
                </a:lnTo>
                <a:lnTo>
                  <a:pt x="310902" y="506156"/>
                </a:lnTo>
                <a:lnTo>
                  <a:pt x="257409" y="495739"/>
                </a:lnTo>
                <a:lnTo>
                  <a:pt x="209090" y="431908"/>
                </a:lnTo>
                <a:lnTo>
                  <a:pt x="128607" y="431908"/>
                </a:lnTo>
                <a:cubicBezTo>
                  <a:pt x="132267" y="417834"/>
                  <a:pt x="135928" y="403650"/>
                  <a:pt x="139442" y="389465"/>
                </a:cubicBezTo>
                <a:cubicBezTo>
                  <a:pt x="135928" y="376832"/>
                  <a:pt x="132267" y="364642"/>
                  <a:pt x="128607" y="352120"/>
                </a:cubicBezTo>
                <a:lnTo>
                  <a:pt x="107278" y="336162"/>
                </a:lnTo>
                <a:cubicBezTo>
                  <a:pt x="110792" y="325634"/>
                  <a:pt x="114453" y="314996"/>
                  <a:pt x="117967" y="304246"/>
                </a:cubicBezTo>
                <a:lnTo>
                  <a:pt x="117967" y="272553"/>
                </a:lnTo>
                <a:cubicBezTo>
                  <a:pt x="114453" y="265349"/>
                  <a:pt x="110792" y="258368"/>
                  <a:pt x="107278" y="251165"/>
                </a:cubicBezTo>
                <a:lnTo>
                  <a:pt x="64328" y="251165"/>
                </a:lnTo>
                <a:lnTo>
                  <a:pt x="21475" y="245956"/>
                </a:lnTo>
                <a:lnTo>
                  <a:pt x="0" y="219360"/>
                </a:lnTo>
                <a:lnTo>
                  <a:pt x="0" y="160849"/>
                </a:lnTo>
                <a:lnTo>
                  <a:pt x="42999" y="150099"/>
                </a:lnTo>
                <a:lnTo>
                  <a:pt x="85852" y="123503"/>
                </a:lnTo>
                <a:lnTo>
                  <a:pt x="128607" y="113086"/>
                </a:lnTo>
                <a:lnTo>
                  <a:pt x="150082" y="64991"/>
                </a:lnTo>
                <a:lnTo>
                  <a:pt x="182246" y="27868"/>
                </a:lnTo>
                <a:lnTo>
                  <a:pt x="219681" y="33298"/>
                </a:lnTo>
                <a:lnTo>
                  <a:pt x="230517" y="11799"/>
                </a:lnTo>
                <a:lnTo>
                  <a:pt x="231569" y="14245"/>
                </a:lnTo>
                <a:cubicBezTo>
                  <a:pt x="241098" y="14165"/>
                  <a:pt x="255220" y="0"/>
                  <a:pt x="264702" y="0"/>
                </a:cubicBezTo>
                <a:close/>
              </a:path>
            </a:pathLst>
          </a:custGeom>
          <a:solidFill>
            <a:srgbClr val="70B0DF"/>
          </a:solidFill>
          <a:ln w="3175" cap="flat" cmpd="sng">
            <a:noFill/>
            <a:prstDash val="solid"/>
            <a:round/>
            <a:headEnd/>
            <a:tailEnd/>
          </a:ln>
        </p:spPr>
        <p:txBody>
          <a:bodyPr wrap="none" lIns="32632" tIns="32632" rIns="32632" bIns="32632" anchor="ctr"/>
          <a:lstStyle/>
          <a:p>
            <a:pPr defTabSz="891045"/>
            <a:endParaRPr lang="en-US" sz="1700" dirty="0">
              <a:solidFill>
                <a:srgbClr val="003149"/>
              </a:solidFill>
              <a:cs typeface="Arial" panose="020B0604020202020204" pitchFamily="34" charset="0"/>
            </a:endParaRPr>
          </a:p>
        </p:txBody>
      </p:sp>
      <p:sp>
        <p:nvSpPr>
          <p:cNvPr id="68" name="Freeform 639"/>
          <p:cNvSpPr>
            <a:spLocks noChangeAspect="1"/>
          </p:cNvSpPr>
          <p:nvPr>
            <p:custDataLst>
              <p:tags r:id="rId45"/>
            </p:custDataLst>
          </p:nvPr>
        </p:nvSpPr>
        <p:spPr bwMode="gray">
          <a:xfrm>
            <a:off x="2515164" y="3093221"/>
            <a:ext cx="183395" cy="187963"/>
          </a:xfrm>
          <a:custGeom>
            <a:avLst/>
            <a:gdLst>
              <a:gd name="T0" fmla="*/ 0 w 1065158"/>
              <a:gd name="T1" fmla="*/ 0 h 958851"/>
              <a:gd name="T2" fmla="*/ 0 w 1065158"/>
              <a:gd name="T3" fmla="*/ 0 h 958851"/>
              <a:gd name="T4" fmla="*/ 0 w 1065158"/>
              <a:gd name="T5" fmla="*/ 0 h 958851"/>
              <a:gd name="T6" fmla="*/ 0 w 1065158"/>
              <a:gd name="T7" fmla="*/ 0 h 958851"/>
              <a:gd name="T8" fmla="*/ 0 w 1065158"/>
              <a:gd name="T9" fmla="*/ 0 h 958851"/>
              <a:gd name="T10" fmla="*/ 0 w 1065158"/>
              <a:gd name="T11" fmla="*/ 0 h 958851"/>
              <a:gd name="T12" fmla="*/ 0 w 1065158"/>
              <a:gd name="T13" fmla="*/ 0 h 958851"/>
              <a:gd name="T14" fmla="*/ 0 w 1065158"/>
              <a:gd name="T15" fmla="*/ 0 h 958851"/>
              <a:gd name="T16" fmla="*/ 0 w 1065158"/>
              <a:gd name="T17" fmla="*/ 0 h 958851"/>
              <a:gd name="T18" fmla="*/ 0 w 1065158"/>
              <a:gd name="T19" fmla="*/ 0 h 958851"/>
              <a:gd name="T20" fmla="*/ 0 w 1065158"/>
              <a:gd name="T21" fmla="*/ 0 h 958851"/>
              <a:gd name="T22" fmla="*/ 0 w 1065158"/>
              <a:gd name="T23" fmla="*/ 0 h 958851"/>
              <a:gd name="T24" fmla="*/ 0 w 1065158"/>
              <a:gd name="T25" fmla="*/ 0 h 958851"/>
              <a:gd name="T26" fmla="*/ 0 w 1065158"/>
              <a:gd name="T27" fmla="*/ 0 h 958851"/>
              <a:gd name="T28" fmla="*/ 0 w 1065158"/>
              <a:gd name="T29" fmla="*/ 0 h 958851"/>
              <a:gd name="T30" fmla="*/ 0 w 1065158"/>
              <a:gd name="T31" fmla="*/ 0 h 958851"/>
              <a:gd name="T32" fmla="*/ 0 w 1065158"/>
              <a:gd name="T33" fmla="*/ 0 h 958851"/>
              <a:gd name="T34" fmla="*/ 0 w 1065158"/>
              <a:gd name="T35" fmla="*/ 0 h 958851"/>
              <a:gd name="T36" fmla="*/ 0 w 1065158"/>
              <a:gd name="T37" fmla="*/ 0 h 958851"/>
              <a:gd name="T38" fmla="*/ 0 w 1065158"/>
              <a:gd name="T39" fmla="*/ 0 h 958851"/>
              <a:gd name="T40" fmla="*/ 0 w 1065158"/>
              <a:gd name="T41" fmla="*/ 0 h 958851"/>
              <a:gd name="T42" fmla="*/ 0 w 1065158"/>
              <a:gd name="T43" fmla="*/ 0 h 958851"/>
              <a:gd name="T44" fmla="*/ 0 w 1065158"/>
              <a:gd name="T45" fmla="*/ 0 h 958851"/>
              <a:gd name="T46" fmla="*/ 0 w 1065158"/>
              <a:gd name="T47" fmla="*/ 0 h 958851"/>
              <a:gd name="T48" fmla="*/ 0 w 1065158"/>
              <a:gd name="T49" fmla="*/ 0 h 958851"/>
              <a:gd name="T50" fmla="*/ 0 w 1065158"/>
              <a:gd name="T51" fmla="*/ 0 h 958851"/>
              <a:gd name="T52" fmla="*/ 0 w 1065158"/>
              <a:gd name="T53" fmla="*/ 0 h 958851"/>
              <a:gd name="T54" fmla="*/ 0 w 1065158"/>
              <a:gd name="T55" fmla="*/ 0 h 958851"/>
              <a:gd name="T56" fmla="*/ 0 w 1065158"/>
              <a:gd name="T57" fmla="*/ 0 h 958851"/>
              <a:gd name="T58" fmla="*/ 0 w 1065158"/>
              <a:gd name="T59" fmla="*/ 0 h 958851"/>
              <a:gd name="T60" fmla="*/ 0 w 1065158"/>
              <a:gd name="T61" fmla="*/ 0 h 958851"/>
              <a:gd name="T62" fmla="*/ 0 w 1065158"/>
              <a:gd name="T63" fmla="*/ 0 h 958851"/>
              <a:gd name="T64" fmla="*/ 0 w 1065158"/>
              <a:gd name="T65" fmla="*/ 0 h 958851"/>
              <a:gd name="T66" fmla="*/ 0 w 1065158"/>
              <a:gd name="T67" fmla="*/ 0 h 958851"/>
              <a:gd name="T68" fmla="*/ 0 w 1065158"/>
              <a:gd name="T69" fmla="*/ 0 h 958851"/>
              <a:gd name="T70" fmla="*/ 0 w 1065158"/>
              <a:gd name="T71" fmla="*/ 0 h 958851"/>
              <a:gd name="T72" fmla="*/ 0 w 1065158"/>
              <a:gd name="T73" fmla="*/ 0 h 958851"/>
              <a:gd name="T74" fmla="*/ 0 w 1065158"/>
              <a:gd name="T75" fmla="*/ 0 h 958851"/>
              <a:gd name="T76" fmla="*/ 0 w 1065158"/>
              <a:gd name="T77" fmla="*/ 0 h 958851"/>
              <a:gd name="T78" fmla="*/ 0 w 1065158"/>
              <a:gd name="T79" fmla="*/ 0 h 958851"/>
              <a:gd name="T80" fmla="*/ 0 w 1065158"/>
              <a:gd name="T81" fmla="*/ 0 h 958851"/>
              <a:gd name="T82" fmla="*/ 0 w 1065158"/>
              <a:gd name="T83" fmla="*/ 0 h 958851"/>
              <a:gd name="T84" fmla="*/ 0 w 1065158"/>
              <a:gd name="T85" fmla="*/ 0 h 958851"/>
              <a:gd name="T86" fmla="*/ 0 w 1065158"/>
              <a:gd name="T87" fmla="*/ 0 h 958851"/>
              <a:gd name="T88" fmla="*/ 0 w 1065158"/>
              <a:gd name="T89" fmla="*/ 0 h 958851"/>
              <a:gd name="T90" fmla="*/ 0 w 1065158"/>
              <a:gd name="T91" fmla="*/ 0 h 958851"/>
              <a:gd name="T92" fmla="*/ 0 w 1065158"/>
              <a:gd name="T93" fmla="*/ 0 h 958851"/>
              <a:gd name="T94" fmla="*/ 0 w 1065158"/>
              <a:gd name="T95" fmla="*/ 0 h 958851"/>
              <a:gd name="T96" fmla="*/ 0 w 1065158"/>
              <a:gd name="T97" fmla="*/ 0 h 958851"/>
              <a:gd name="T98" fmla="*/ 0 w 1065158"/>
              <a:gd name="T99" fmla="*/ 0 h 958851"/>
              <a:gd name="T100" fmla="*/ 0 w 1065158"/>
              <a:gd name="T101" fmla="*/ 0 h 958851"/>
              <a:gd name="T102" fmla="*/ 0 w 1065158"/>
              <a:gd name="T103" fmla="*/ 0 h 958851"/>
              <a:gd name="T104" fmla="*/ 0 w 1065158"/>
              <a:gd name="T105" fmla="*/ 0 h 958851"/>
              <a:gd name="T106" fmla="*/ 0 w 1065158"/>
              <a:gd name="T107" fmla="*/ 0 h 958851"/>
              <a:gd name="T108" fmla="*/ 0 w 1065158"/>
              <a:gd name="T109" fmla="*/ 0 h 958851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w 1065158"/>
              <a:gd name="T166" fmla="*/ 0 h 958851"/>
              <a:gd name="T167" fmla="*/ 1065158 w 1065158"/>
              <a:gd name="T168" fmla="*/ 958851 h 958851"/>
            </a:gdLst>
            <a:ahLst/>
            <a:cxnLst>
              <a:cxn ang="T110">
                <a:pos x="T0" y="T1"/>
              </a:cxn>
              <a:cxn ang="T111">
                <a:pos x="T2" y="T3"/>
              </a:cxn>
              <a:cxn ang="T112">
                <a:pos x="T4" y="T5"/>
              </a:cxn>
              <a:cxn ang="T113">
                <a:pos x="T6" y="T7"/>
              </a:cxn>
              <a:cxn ang="T114">
                <a:pos x="T8" y="T9"/>
              </a:cxn>
              <a:cxn ang="T115">
                <a:pos x="T10" y="T11"/>
              </a:cxn>
              <a:cxn ang="T116">
                <a:pos x="T12" y="T13"/>
              </a:cxn>
              <a:cxn ang="T117">
                <a:pos x="T14" y="T15"/>
              </a:cxn>
              <a:cxn ang="T118">
                <a:pos x="T16" y="T17"/>
              </a:cxn>
              <a:cxn ang="T119">
                <a:pos x="T18" y="T19"/>
              </a:cxn>
              <a:cxn ang="T120">
                <a:pos x="T20" y="T21"/>
              </a:cxn>
              <a:cxn ang="T121">
                <a:pos x="T22" y="T23"/>
              </a:cxn>
              <a:cxn ang="T122">
                <a:pos x="T24" y="T25"/>
              </a:cxn>
              <a:cxn ang="T123">
                <a:pos x="T26" y="T27"/>
              </a:cxn>
              <a:cxn ang="T124">
                <a:pos x="T28" y="T29"/>
              </a:cxn>
              <a:cxn ang="T125">
                <a:pos x="T30" y="T31"/>
              </a:cxn>
              <a:cxn ang="T126">
                <a:pos x="T32" y="T33"/>
              </a:cxn>
              <a:cxn ang="T127">
                <a:pos x="T34" y="T35"/>
              </a:cxn>
              <a:cxn ang="T128">
                <a:pos x="T36" y="T37"/>
              </a:cxn>
              <a:cxn ang="T129">
                <a:pos x="T38" y="T39"/>
              </a:cxn>
              <a:cxn ang="T130">
                <a:pos x="T40" y="T41"/>
              </a:cxn>
              <a:cxn ang="T131">
                <a:pos x="T42" y="T43"/>
              </a:cxn>
              <a:cxn ang="T132">
                <a:pos x="T44" y="T45"/>
              </a:cxn>
              <a:cxn ang="T133">
                <a:pos x="T46" y="T47"/>
              </a:cxn>
              <a:cxn ang="T134">
                <a:pos x="T48" y="T49"/>
              </a:cxn>
              <a:cxn ang="T135">
                <a:pos x="T50" y="T51"/>
              </a:cxn>
              <a:cxn ang="T136">
                <a:pos x="T52" y="T53"/>
              </a:cxn>
              <a:cxn ang="T137">
                <a:pos x="T54" y="T55"/>
              </a:cxn>
              <a:cxn ang="T138">
                <a:pos x="T56" y="T57"/>
              </a:cxn>
              <a:cxn ang="T139">
                <a:pos x="T58" y="T59"/>
              </a:cxn>
              <a:cxn ang="T140">
                <a:pos x="T60" y="T61"/>
              </a:cxn>
              <a:cxn ang="T141">
                <a:pos x="T62" y="T63"/>
              </a:cxn>
              <a:cxn ang="T142">
                <a:pos x="T64" y="T65"/>
              </a:cxn>
              <a:cxn ang="T143">
                <a:pos x="T66" y="T67"/>
              </a:cxn>
              <a:cxn ang="T144">
                <a:pos x="T68" y="T69"/>
              </a:cxn>
              <a:cxn ang="T145">
                <a:pos x="T70" y="T71"/>
              </a:cxn>
              <a:cxn ang="T146">
                <a:pos x="T72" y="T73"/>
              </a:cxn>
              <a:cxn ang="T147">
                <a:pos x="T74" y="T75"/>
              </a:cxn>
              <a:cxn ang="T148">
                <a:pos x="T76" y="T77"/>
              </a:cxn>
              <a:cxn ang="T149">
                <a:pos x="T78" y="T79"/>
              </a:cxn>
              <a:cxn ang="T150">
                <a:pos x="T80" y="T81"/>
              </a:cxn>
              <a:cxn ang="T151">
                <a:pos x="T82" y="T83"/>
              </a:cxn>
              <a:cxn ang="T152">
                <a:pos x="T84" y="T85"/>
              </a:cxn>
              <a:cxn ang="T153">
                <a:pos x="T86" y="T87"/>
              </a:cxn>
              <a:cxn ang="T154">
                <a:pos x="T88" y="T89"/>
              </a:cxn>
              <a:cxn ang="T155">
                <a:pos x="T90" y="T91"/>
              </a:cxn>
              <a:cxn ang="T156">
                <a:pos x="T92" y="T93"/>
              </a:cxn>
              <a:cxn ang="T157">
                <a:pos x="T94" y="T95"/>
              </a:cxn>
              <a:cxn ang="T158">
                <a:pos x="T96" y="T97"/>
              </a:cxn>
              <a:cxn ang="T159">
                <a:pos x="T98" y="T99"/>
              </a:cxn>
              <a:cxn ang="T160">
                <a:pos x="T100" y="T101"/>
              </a:cxn>
              <a:cxn ang="T161">
                <a:pos x="T102" y="T103"/>
              </a:cxn>
              <a:cxn ang="T162">
                <a:pos x="T104" y="T105"/>
              </a:cxn>
              <a:cxn ang="T163">
                <a:pos x="T106" y="T107"/>
              </a:cxn>
              <a:cxn ang="T164">
                <a:pos x="T108" y="T109"/>
              </a:cxn>
            </a:cxnLst>
            <a:rect l="T165" t="T166" r="T167" b="T168"/>
            <a:pathLst>
              <a:path w="1065158" h="958851">
                <a:moveTo>
                  <a:pt x="506251" y="0"/>
                </a:moveTo>
                <a:lnTo>
                  <a:pt x="529721" y="0"/>
                </a:lnTo>
                <a:lnTo>
                  <a:pt x="564049" y="0"/>
                </a:lnTo>
                <a:lnTo>
                  <a:pt x="589309" y="0"/>
                </a:lnTo>
                <a:lnTo>
                  <a:pt x="621808" y="7102"/>
                </a:lnTo>
                <a:lnTo>
                  <a:pt x="643487" y="28438"/>
                </a:lnTo>
                <a:lnTo>
                  <a:pt x="670577" y="53310"/>
                </a:lnTo>
                <a:lnTo>
                  <a:pt x="692255" y="87081"/>
                </a:lnTo>
                <a:lnTo>
                  <a:pt x="709400" y="106649"/>
                </a:lnTo>
                <a:lnTo>
                  <a:pt x="745519" y="127955"/>
                </a:lnTo>
                <a:lnTo>
                  <a:pt x="778019" y="140391"/>
                </a:lnTo>
                <a:lnTo>
                  <a:pt x="790630" y="156393"/>
                </a:lnTo>
                <a:lnTo>
                  <a:pt x="805108" y="170627"/>
                </a:lnTo>
                <a:lnTo>
                  <a:pt x="823167" y="193731"/>
                </a:lnTo>
                <a:cubicBezTo>
                  <a:pt x="826787" y="203789"/>
                  <a:pt x="830368" y="213878"/>
                  <a:pt x="833987" y="223936"/>
                </a:cubicBezTo>
                <a:cubicBezTo>
                  <a:pt x="838788" y="236982"/>
                  <a:pt x="843627" y="249997"/>
                  <a:pt x="848427" y="263042"/>
                </a:cubicBezTo>
                <a:lnTo>
                  <a:pt x="887251" y="304800"/>
                </a:lnTo>
                <a:lnTo>
                  <a:pt x="871955" y="309695"/>
                </a:lnTo>
                <a:lnTo>
                  <a:pt x="887097" y="311394"/>
                </a:lnTo>
                <a:cubicBezTo>
                  <a:pt x="885293" y="324301"/>
                  <a:pt x="883489" y="336942"/>
                  <a:pt x="881684" y="349689"/>
                </a:cubicBezTo>
                <a:lnTo>
                  <a:pt x="881684" y="397158"/>
                </a:lnTo>
                <a:cubicBezTo>
                  <a:pt x="879325" y="403185"/>
                  <a:pt x="876965" y="409318"/>
                  <a:pt x="874513" y="415345"/>
                </a:cubicBezTo>
                <a:lnTo>
                  <a:pt x="896165" y="435346"/>
                </a:lnTo>
                <a:cubicBezTo>
                  <a:pt x="893158" y="459080"/>
                  <a:pt x="890105" y="482815"/>
                  <a:pt x="887097" y="506549"/>
                </a:cubicBezTo>
                <a:lnTo>
                  <a:pt x="908657" y="563031"/>
                </a:lnTo>
                <a:lnTo>
                  <a:pt x="933778" y="599620"/>
                </a:lnTo>
                <a:lnTo>
                  <a:pt x="957188" y="617647"/>
                </a:lnTo>
                <a:cubicBezTo>
                  <a:pt x="958992" y="633488"/>
                  <a:pt x="960704" y="649382"/>
                  <a:pt x="962601" y="665062"/>
                </a:cubicBezTo>
                <a:lnTo>
                  <a:pt x="978655" y="698024"/>
                </a:lnTo>
                <a:lnTo>
                  <a:pt x="993043" y="725438"/>
                </a:lnTo>
                <a:cubicBezTo>
                  <a:pt x="995449" y="738719"/>
                  <a:pt x="997808" y="752106"/>
                  <a:pt x="1000260" y="765387"/>
                </a:cubicBezTo>
                <a:lnTo>
                  <a:pt x="1021820" y="770827"/>
                </a:lnTo>
                <a:lnTo>
                  <a:pt x="1054158" y="787414"/>
                </a:lnTo>
                <a:lnTo>
                  <a:pt x="1061363" y="804604"/>
                </a:lnTo>
                <a:lnTo>
                  <a:pt x="1065158" y="806708"/>
                </a:lnTo>
                <a:lnTo>
                  <a:pt x="1064409" y="811872"/>
                </a:lnTo>
                <a:cubicBezTo>
                  <a:pt x="1064542" y="812181"/>
                  <a:pt x="1064670" y="812491"/>
                  <a:pt x="1064799" y="812802"/>
                </a:cubicBezTo>
                <a:lnTo>
                  <a:pt x="1064306" y="812585"/>
                </a:lnTo>
                <a:cubicBezTo>
                  <a:pt x="1062239" y="825140"/>
                  <a:pt x="1060374" y="837928"/>
                  <a:pt x="1058727" y="851053"/>
                </a:cubicBezTo>
                <a:cubicBezTo>
                  <a:pt x="1056757" y="869698"/>
                  <a:pt x="1054327" y="889033"/>
                  <a:pt x="1052423" y="908008"/>
                </a:cubicBezTo>
                <a:cubicBezTo>
                  <a:pt x="1050023" y="916499"/>
                  <a:pt x="1048089" y="924946"/>
                  <a:pt x="1045786" y="933542"/>
                </a:cubicBezTo>
                <a:lnTo>
                  <a:pt x="1004714" y="956471"/>
                </a:lnTo>
                <a:lnTo>
                  <a:pt x="995464" y="945010"/>
                </a:lnTo>
                <a:lnTo>
                  <a:pt x="1001551" y="958851"/>
                </a:lnTo>
                <a:lnTo>
                  <a:pt x="965613" y="944487"/>
                </a:lnTo>
                <a:lnTo>
                  <a:pt x="911660" y="915777"/>
                </a:lnTo>
                <a:cubicBezTo>
                  <a:pt x="900832" y="905012"/>
                  <a:pt x="890097" y="894247"/>
                  <a:pt x="879269" y="883483"/>
                </a:cubicBezTo>
                <a:cubicBezTo>
                  <a:pt x="873295" y="872719"/>
                  <a:pt x="867227" y="861937"/>
                  <a:pt x="861253" y="851173"/>
                </a:cubicBezTo>
                <a:cubicBezTo>
                  <a:pt x="856493" y="839203"/>
                  <a:pt x="851639" y="827250"/>
                  <a:pt x="846878" y="815280"/>
                </a:cubicBezTo>
                <a:lnTo>
                  <a:pt x="774909" y="815280"/>
                </a:lnTo>
                <a:lnTo>
                  <a:pt x="717408" y="808115"/>
                </a:lnTo>
                <a:lnTo>
                  <a:pt x="656267" y="793751"/>
                </a:lnTo>
                <a:lnTo>
                  <a:pt x="625650" y="799134"/>
                </a:lnTo>
                <a:cubicBezTo>
                  <a:pt x="620236" y="808115"/>
                  <a:pt x="614915" y="817080"/>
                  <a:pt x="609501" y="826061"/>
                </a:cubicBezTo>
                <a:cubicBezTo>
                  <a:pt x="607728" y="844602"/>
                  <a:pt x="605861" y="863143"/>
                  <a:pt x="604087" y="881683"/>
                </a:cubicBezTo>
                <a:lnTo>
                  <a:pt x="548360" y="905012"/>
                </a:lnTo>
                <a:cubicBezTo>
                  <a:pt x="542386" y="914588"/>
                  <a:pt x="536319" y="924147"/>
                  <a:pt x="530345" y="933723"/>
                </a:cubicBezTo>
                <a:cubicBezTo>
                  <a:pt x="506355" y="937305"/>
                  <a:pt x="489553" y="940905"/>
                  <a:pt x="465563" y="944487"/>
                </a:cubicBezTo>
                <a:lnTo>
                  <a:pt x="413383" y="944487"/>
                </a:lnTo>
                <a:lnTo>
                  <a:pt x="366617" y="933723"/>
                </a:lnTo>
                <a:lnTo>
                  <a:pt x="327132" y="922958"/>
                </a:lnTo>
                <a:lnTo>
                  <a:pt x="291100" y="944487"/>
                </a:lnTo>
                <a:lnTo>
                  <a:pt x="244334" y="955268"/>
                </a:lnTo>
                <a:lnTo>
                  <a:pt x="222772" y="926541"/>
                </a:lnTo>
                <a:lnTo>
                  <a:pt x="179646" y="924758"/>
                </a:lnTo>
                <a:lnTo>
                  <a:pt x="136427" y="908611"/>
                </a:lnTo>
                <a:lnTo>
                  <a:pt x="93302" y="872719"/>
                </a:lnTo>
                <a:lnTo>
                  <a:pt x="68099" y="863737"/>
                </a:lnTo>
                <a:lnTo>
                  <a:pt x="72132" y="861597"/>
                </a:lnTo>
                <a:lnTo>
                  <a:pt x="32177" y="841390"/>
                </a:lnTo>
                <a:lnTo>
                  <a:pt x="16050" y="810355"/>
                </a:lnTo>
                <a:cubicBezTo>
                  <a:pt x="14278" y="794170"/>
                  <a:pt x="12521" y="778051"/>
                  <a:pt x="10710" y="762000"/>
                </a:cubicBezTo>
                <a:lnTo>
                  <a:pt x="32177" y="730164"/>
                </a:lnTo>
                <a:lnTo>
                  <a:pt x="32177" y="697882"/>
                </a:lnTo>
                <a:lnTo>
                  <a:pt x="5386" y="709058"/>
                </a:lnTo>
                <a:cubicBezTo>
                  <a:pt x="3560" y="700153"/>
                  <a:pt x="1780" y="691470"/>
                  <a:pt x="0" y="682432"/>
                </a:cubicBezTo>
                <a:lnTo>
                  <a:pt x="10710" y="656117"/>
                </a:lnTo>
                <a:lnTo>
                  <a:pt x="10710" y="641623"/>
                </a:lnTo>
                <a:lnTo>
                  <a:pt x="17107" y="641308"/>
                </a:lnTo>
                <a:lnTo>
                  <a:pt x="25932" y="629399"/>
                </a:lnTo>
                <a:lnTo>
                  <a:pt x="45485" y="623883"/>
                </a:lnTo>
                <a:cubicBezTo>
                  <a:pt x="47250" y="616567"/>
                  <a:pt x="49049" y="609307"/>
                  <a:pt x="50814" y="601991"/>
                </a:cubicBezTo>
                <a:lnTo>
                  <a:pt x="84625" y="596476"/>
                </a:lnTo>
                <a:lnTo>
                  <a:pt x="130825" y="576385"/>
                </a:lnTo>
                <a:lnTo>
                  <a:pt x="146849" y="536147"/>
                </a:lnTo>
                <a:lnTo>
                  <a:pt x="162837" y="508683"/>
                </a:lnTo>
                <a:lnTo>
                  <a:pt x="194848" y="508683"/>
                </a:lnTo>
                <a:cubicBezTo>
                  <a:pt x="195437" y="501930"/>
                  <a:pt x="196025" y="495289"/>
                  <a:pt x="196613" y="488536"/>
                </a:cubicBezTo>
                <a:lnTo>
                  <a:pt x="237519" y="477562"/>
                </a:lnTo>
                <a:cubicBezTo>
                  <a:pt x="239284" y="466588"/>
                  <a:pt x="241083" y="455670"/>
                  <a:pt x="242848" y="444696"/>
                </a:cubicBezTo>
                <a:lnTo>
                  <a:pt x="249977" y="417233"/>
                </a:lnTo>
                <a:cubicBezTo>
                  <a:pt x="249354" y="408059"/>
                  <a:pt x="248801" y="398999"/>
                  <a:pt x="248178" y="389826"/>
                </a:cubicBezTo>
                <a:lnTo>
                  <a:pt x="258871" y="366020"/>
                </a:lnTo>
                <a:lnTo>
                  <a:pt x="271295" y="334955"/>
                </a:lnTo>
                <a:lnTo>
                  <a:pt x="296178" y="316609"/>
                </a:lnTo>
                <a:lnTo>
                  <a:pt x="317530" y="274569"/>
                </a:lnTo>
                <a:cubicBezTo>
                  <a:pt x="319295" y="262976"/>
                  <a:pt x="321095" y="251439"/>
                  <a:pt x="322860" y="239846"/>
                </a:cubicBezTo>
                <a:cubicBezTo>
                  <a:pt x="325248" y="229491"/>
                  <a:pt x="327601" y="219080"/>
                  <a:pt x="329989" y="208725"/>
                </a:cubicBezTo>
                <a:lnTo>
                  <a:pt x="329989" y="179461"/>
                </a:lnTo>
                <a:lnTo>
                  <a:pt x="345977" y="146595"/>
                </a:lnTo>
                <a:lnTo>
                  <a:pt x="360201" y="115473"/>
                </a:lnTo>
                <a:cubicBezTo>
                  <a:pt x="359024" y="104555"/>
                  <a:pt x="357813" y="93525"/>
                  <a:pt x="356636" y="82551"/>
                </a:cubicBezTo>
                <a:lnTo>
                  <a:pt x="373571" y="90015"/>
                </a:lnTo>
                <a:cubicBezTo>
                  <a:pt x="368754" y="83180"/>
                  <a:pt x="364055" y="80338"/>
                  <a:pt x="360199" y="82552"/>
                </a:cubicBezTo>
                <a:lnTo>
                  <a:pt x="378879" y="61914"/>
                </a:lnTo>
                <a:lnTo>
                  <a:pt x="400962" y="58472"/>
                </a:lnTo>
                <a:lnTo>
                  <a:pt x="409447" y="41276"/>
                </a:lnTo>
                <a:lnTo>
                  <a:pt x="424739" y="27515"/>
                </a:lnTo>
                <a:lnTo>
                  <a:pt x="445114" y="17196"/>
                </a:lnTo>
                <a:lnTo>
                  <a:pt x="472280" y="15478"/>
                </a:lnTo>
                <a:lnTo>
                  <a:pt x="497766" y="15478"/>
                </a:lnTo>
                <a:close/>
              </a:path>
            </a:pathLst>
          </a:custGeom>
          <a:solidFill>
            <a:srgbClr val="70B0DF"/>
          </a:solidFill>
          <a:ln w="3175" cap="flat" cmpd="sng">
            <a:noFill/>
            <a:prstDash val="solid"/>
            <a:round/>
            <a:headEnd/>
            <a:tailEnd/>
          </a:ln>
        </p:spPr>
        <p:txBody>
          <a:bodyPr wrap="none" lIns="32632" tIns="32632" rIns="32632" bIns="32632" anchor="ctr"/>
          <a:lstStyle/>
          <a:p>
            <a:pPr defTabSz="891045"/>
            <a:endParaRPr lang="en-US" sz="1700" dirty="0">
              <a:solidFill>
                <a:srgbClr val="003149"/>
              </a:solidFill>
              <a:cs typeface="Arial" panose="020B0604020202020204" pitchFamily="34" charset="0"/>
            </a:endParaRPr>
          </a:p>
        </p:txBody>
      </p:sp>
      <p:sp>
        <p:nvSpPr>
          <p:cNvPr id="69" name="Freeform 1047"/>
          <p:cNvSpPr>
            <a:spLocks noChangeAspect="1"/>
          </p:cNvSpPr>
          <p:nvPr>
            <p:custDataLst>
              <p:tags r:id="rId46"/>
            </p:custDataLst>
          </p:nvPr>
        </p:nvSpPr>
        <p:spPr bwMode="gray">
          <a:xfrm>
            <a:off x="2665901" y="3070282"/>
            <a:ext cx="133637" cy="182223"/>
          </a:xfrm>
          <a:custGeom>
            <a:avLst/>
            <a:gdLst>
              <a:gd name="T0" fmla="*/ 0 w 777482"/>
              <a:gd name="T1" fmla="*/ 0 h 933448"/>
              <a:gd name="T2" fmla="*/ 0 w 777482"/>
              <a:gd name="T3" fmla="*/ 0 h 933448"/>
              <a:gd name="T4" fmla="*/ 0 w 777482"/>
              <a:gd name="T5" fmla="*/ 0 h 933448"/>
              <a:gd name="T6" fmla="*/ 0 w 777482"/>
              <a:gd name="T7" fmla="*/ 0 h 933448"/>
              <a:gd name="T8" fmla="*/ 0 w 777482"/>
              <a:gd name="T9" fmla="*/ 0 h 933448"/>
              <a:gd name="T10" fmla="*/ 0 w 777482"/>
              <a:gd name="T11" fmla="*/ 0 h 933448"/>
              <a:gd name="T12" fmla="*/ 0 w 777482"/>
              <a:gd name="T13" fmla="*/ 0 h 933448"/>
              <a:gd name="T14" fmla="*/ 0 w 777482"/>
              <a:gd name="T15" fmla="*/ 0 h 933448"/>
              <a:gd name="T16" fmla="*/ 0 w 777482"/>
              <a:gd name="T17" fmla="*/ 0 h 933448"/>
              <a:gd name="T18" fmla="*/ 0 w 777482"/>
              <a:gd name="T19" fmla="*/ 0 h 933448"/>
              <a:gd name="T20" fmla="*/ 0 w 777482"/>
              <a:gd name="T21" fmla="*/ 0 h 933448"/>
              <a:gd name="T22" fmla="*/ 0 w 777482"/>
              <a:gd name="T23" fmla="*/ 0 h 933448"/>
              <a:gd name="T24" fmla="*/ 0 w 777482"/>
              <a:gd name="T25" fmla="*/ 0 h 933448"/>
              <a:gd name="T26" fmla="*/ 0 w 777482"/>
              <a:gd name="T27" fmla="*/ 0 h 933448"/>
              <a:gd name="T28" fmla="*/ 0 w 777482"/>
              <a:gd name="T29" fmla="*/ 0 h 933448"/>
              <a:gd name="T30" fmla="*/ 0 w 777482"/>
              <a:gd name="T31" fmla="*/ 0 h 933448"/>
              <a:gd name="T32" fmla="*/ 0 w 777482"/>
              <a:gd name="T33" fmla="*/ 0 h 933448"/>
              <a:gd name="T34" fmla="*/ 0 w 777482"/>
              <a:gd name="T35" fmla="*/ 0 h 933448"/>
              <a:gd name="T36" fmla="*/ 0 w 777482"/>
              <a:gd name="T37" fmla="*/ 0 h 933448"/>
              <a:gd name="T38" fmla="*/ 0 w 777482"/>
              <a:gd name="T39" fmla="*/ 0 h 933448"/>
              <a:gd name="T40" fmla="*/ 0 w 777482"/>
              <a:gd name="T41" fmla="*/ 0 h 933448"/>
              <a:gd name="T42" fmla="*/ 0 w 777482"/>
              <a:gd name="T43" fmla="*/ 0 h 933448"/>
              <a:gd name="T44" fmla="*/ 0 w 777482"/>
              <a:gd name="T45" fmla="*/ 0 h 933448"/>
              <a:gd name="T46" fmla="*/ 0 w 777482"/>
              <a:gd name="T47" fmla="*/ 0 h 933448"/>
              <a:gd name="T48" fmla="*/ 0 w 777482"/>
              <a:gd name="T49" fmla="*/ 0 h 933448"/>
              <a:gd name="T50" fmla="*/ 0 w 777482"/>
              <a:gd name="T51" fmla="*/ 0 h 933448"/>
              <a:gd name="T52" fmla="*/ 0 w 777482"/>
              <a:gd name="T53" fmla="*/ 0 h 933448"/>
              <a:gd name="T54" fmla="*/ 0 w 777482"/>
              <a:gd name="T55" fmla="*/ 0 h 933448"/>
              <a:gd name="T56" fmla="*/ 0 w 777482"/>
              <a:gd name="T57" fmla="*/ 0 h 933448"/>
              <a:gd name="T58" fmla="*/ 0 w 777482"/>
              <a:gd name="T59" fmla="*/ 0 h 933448"/>
              <a:gd name="T60" fmla="*/ 0 w 777482"/>
              <a:gd name="T61" fmla="*/ 0 h 933448"/>
              <a:gd name="T62" fmla="*/ 0 w 777482"/>
              <a:gd name="T63" fmla="*/ 0 h 933448"/>
              <a:gd name="T64" fmla="*/ 0 w 777482"/>
              <a:gd name="T65" fmla="*/ 0 h 933448"/>
              <a:gd name="T66" fmla="*/ 0 w 777482"/>
              <a:gd name="T67" fmla="*/ 0 h 933448"/>
              <a:gd name="T68" fmla="*/ 0 w 777482"/>
              <a:gd name="T69" fmla="*/ 0 h 933448"/>
              <a:gd name="T70" fmla="*/ 0 w 777482"/>
              <a:gd name="T71" fmla="*/ 0 h 933448"/>
              <a:gd name="T72" fmla="*/ 0 w 777482"/>
              <a:gd name="T73" fmla="*/ 0 h 933448"/>
              <a:gd name="T74" fmla="*/ 0 w 777482"/>
              <a:gd name="T75" fmla="*/ 0 h 933448"/>
              <a:gd name="T76" fmla="*/ 0 w 777482"/>
              <a:gd name="T77" fmla="*/ 0 h 933448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w 777482"/>
              <a:gd name="T118" fmla="*/ 0 h 933448"/>
              <a:gd name="T119" fmla="*/ 777482 w 777482"/>
              <a:gd name="T120" fmla="*/ 933448 h 933448"/>
            </a:gdLst>
            <a:ahLst/>
            <a:cxnLst>
              <a:cxn ang="T78">
                <a:pos x="T0" y="T1"/>
              </a:cxn>
              <a:cxn ang="T79">
                <a:pos x="T2" y="T3"/>
              </a:cxn>
              <a:cxn ang="T80">
                <a:pos x="T4" y="T5"/>
              </a:cxn>
              <a:cxn ang="T81">
                <a:pos x="T6" y="T7"/>
              </a:cxn>
              <a:cxn ang="T82">
                <a:pos x="T8" y="T9"/>
              </a:cxn>
              <a:cxn ang="T83">
                <a:pos x="T10" y="T11"/>
              </a:cxn>
              <a:cxn ang="T84">
                <a:pos x="T12" y="T13"/>
              </a:cxn>
              <a:cxn ang="T85">
                <a:pos x="T14" y="T15"/>
              </a:cxn>
              <a:cxn ang="T86">
                <a:pos x="T16" y="T17"/>
              </a:cxn>
              <a:cxn ang="T87">
                <a:pos x="T18" y="T19"/>
              </a:cxn>
              <a:cxn ang="T88">
                <a:pos x="T20" y="T21"/>
              </a:cxn>
              <a:cxn ang="T89">
                <a:pos x="T22" y="T23"/>
              </a:cxn>
              <a:cxn ang="T90">
                <a:pos x="T24" y="T25"/>
              </a:cxn>
              <a:cxn ang="T91">
                <a:pos x="T26" y="T27"/>
              </a:cxn>
              <a:cxn ang="T92">
                <a:pos x="T28" y="T29"/>
              </a:cxn>
              <a:cxn ang="T93">
                <a:pos x="T30" y="T31"/>
              </a:cxn>
              <a:cxn ang="T94">
                <a:pos x="T32" y="T33"/>
              </a:cxn>
              <a:cxn ang="T95">
                <a:pos x="T34" y="T35"/>
              </a:cxn>
              <a:cxn ang="T96">
                <a:pos x="T36" y="T37"/>
              </a:cxn>
              <a:cxn ang="T97">
                <a:pos x="T38" y="T39"/>
              </a:cxn>
              <a:cxn ang="T98">
                <a:pos x="T40" y="T41"/>
              </a:cxn>
              <a:cxn ang="T99">
                <a:pos x="T42" y="T43"/>
              </a:cxn>
              <a:cxn ang="T100">
                <a:pos x="T44" y="T45"/>
              </a:cxn>
              <a:cxn ang="T101">
                <a:pos x="T46" y="T47"/>
              </a:cxn>
              <a:cxn ang="T102">
                <a:pos x="T48" y="T49"/>
              </a:cxn>
              <a:cxn ang="T103">
                <a:pos x="T50" y="T51"/>
              </a:cxn>
              <a:cxn ang="T104">
                <a:pos x="T52" y="T53"/>
              </a:cxn>
              <a:cxn ang="T105">
                <a:pos x="T54" y="T55"/>
              </a:cxn>
              <a:cxn ang="T106">
                <a:pos x="T56" y="T57"/>
              </a:cxn>
              <a:cxn ang="T107">
                <a:pos x="T58" y="T59"/>
              </a:cxn>
              <a:cxn ang="T108">
                <a:pos x="T60" y="T61"/>
              </a:cxn>
              <a:cxn ang="T109">
                <a:pos x="T62" y="T63"/>
              </a:cxn>
              <a:cxn ang="T110">
                <a:pos x="T64" y="T65"/>
              </a:cxn>
              <a:cxn ang="T111">
                <a:pos x="T66" y="T67"/>
              </a:cxn>
              <a:cxn ang="T112">
                <a:pos x="T68" y="T69"/>
              </a:cxn>
              <a:cxn ang="T113">
                <a:pos x="T70" y="T71"/>
              </a:cxn>
              <a:cxn ang="T114">
                <a:pos x="T72" y="T73"/>
              </a:cxn>
              <a:cxn ang="T115">
                <a:pos x="T74" y="T75"/>
              </a:cxn>
              <a:cxn ang="T116">
                <a:pos x="T76" y="T77"/>
              </a:cxn>
            </a:cxnLst>
            <a:rect l="T117" t="T118" r="T119" b="T120"/>
            <a:pathLst>
              <a:path w="777482" h="933448">
                <a:moveTo>
                  <a:pt x="260348" y="0"/>
                </a:moveTo>
                <a:lnTo>
                  <a:pt x="261171" y="1806"/>
                </a:lnTo>
                <a:lnTo>
                  <a:pt x="285448" y="1806"/>
                </a:lnTo>
                <a:lnTo>
                  <a:pt x="333849" y="1"/>
                </a:lnTo>
                <a:lnTo>
                  <a:pt x="366098" y="1"/>
                </a:lnTo>
                <a:cubicBezTo>
                  <a:pt x="368464" y="7183"/>
                  <a:pt x="370882" y="14365"/>
                  <a:pt x="373248" y="21547"/>
                </a:cubicBezTo>
                <a:lnTo>
                  <a:pt x="373248" y="61102"/>
                </a:lnTo>
                <a:lnTo>
                  <a:pt x="378649" y="97011"/>
                </a:lnTo>
                <a:lnTo>
                  <a:pt x="378649" y="129348"/>
                </a:lnTo>
                <a:lnTo>
                  <a:pt x="419848" y="168866"/>
                </a:lnTo>
                <a:lnTo>
                  <a:pt x="468249" y="179658"/>
                </a:lnTo>
                <a:lnTo>
                  <a:pt x="495098" y="183267"/>
                </a:lnTo>
                <a:lnTo>
                  <a:pt x="516649" y="204813"/>
                </a:lnTo>
                <a:cubicBezTo>
                  <a:pt x="518449" y="213799"/>
                  <a:pt x="520198" y="222786"/>
                  <a:pt x="521998" y="231772"/>
                </a:cubicBezTo>
                <a:cubicBezTo>
                  <a:pt x="524364" y="246725"/>
                  <a:pt x="526782" y="261715"/>
                  <a:pt x="529148" y="276668"/>
                </a:cubicBezTo>
                <a:lnTo>
                  <a:pt x="548899" y="296445"/>
                </a:lnTo>
                <a:lnTo>
                  <a:pt x="575748" y="291031"/>
                </a:lnTo>
                <a:lnTo>
                  <a:pt x="599048" y="280277"/>
                </a:lnTo>
                <a:lnTo>
                  <a:pt x="618799" y="260499"/>
                </a:lnTo>
                <a:lnTo>
                  <a:pt x="642099" y="247940"/>
                </a:lnTo>
                <a:lnTo>
                  <a:pt x="679698" y="258695"/>
                </a:lnTo>
                <a:cubicBezTo>
                  <a:pt x="682682" y="265877"/>
                  <a:pt x="685716" y="273095"/>
                  <a:pt x="688700" y="280277"/>
                </a:cubicBezTo>
                <a:lnTo>
                  <a:pt x="717349" y="301823"/>
                </a:lnTo>
                <a:lnTo>
                  <a:pt x="758549" y="325173"/>
                </a:lnTo>
                <a:lnTo>
                  <a:pt x="777065" y="377840"/>
                </a:lnTo>
                <a:lnTo>
                  <a:pt x="746398" y="371613"/>
                </a:lnTo>
                <a:cubicBezTo>
                  <a:pt x="760958" y="376302"/>
                  <a:pt x="771844" y="379017"/>
                  <a:pt x="777482" y="379161"/>
                </a:cubicBezTo>
                <a:lnTo>
                  <a:pt x="743090" y="381189"/>
                </a:lnTo>
                <a:lnTo>
                  <a:pt x="685867" y="419394"/>
                </a:lnTo>
                <a:cubicBezTo>
                  <a:pt x="687921" y="425423"/>
                  <a:pt x="689917" y="431891"/>
                  <a:pt x="692029" y="438305"/>
                </a:cubicBezTo>
                <a:cubicBezTo>
                  <a:pt x="687921" y="448719"/>
                  <a:pt x="683578" y="459353"/>
                  <a:pt x="679528" y="469767"/>
                </a:cubicBezTo>
                <a:lnTo>
                  <a:pt x="679528" y="514440"/>
                </a:lnTo>
                <a:cubicBezTo>
                  <a:pt x="681524" y="527047"/>
                  <a:pt x="683637" y="539709"/>
                  <a:pt x="685867" y="552535"/>
                </a:cubicBezTo>
                <a:lnTo>
                  <a:pt x="666558" y="578023"/>
                </a:lnTo>
                <a:lnTo>
                  <a:pt x="641380" y="590521"/>
                </a:lnTo>
                <a:cubicBezTo>
                  <a:pt x="649714" y="603128"/>
                  <a:pt x="658517" y="615735"/>
                  <a:pt x="666558" y="628671"/>
                </a:cubicBezTo>
                <a:cubicBezTo>
                  <a:pt x="662391" y="649938"/>
                  <a:pt x="658517" y="671206"/>
                  <a:pt x="654292" y="692309"/>
                </a:cubicBezTo>
                <a:cubicBezTo>
                  <a:pt x="651885" y="713357"/>
                  <a:pt x="649714" y="734570"/>
                  <a:pt x="647777" y="755783"/>
                </a:cubicBezTo>
                <a:cubicBezTo>
                  <a:pt x="639150" y="776666"/>
                  <a:pt x="630757" y="797934"/>
                  <a:pt x="622130" y="819256"/>
                </a:cubicBezTo>
                <a:lnTo>
                  <a:pt x="577995" y="819256"/>
                </a:lnTo>
                <a:lnTo>
                  <a:pt x="527228" y="825286"/>
                </a:lnTo>
                <a:lnTo>
                  <a:pt x="491309" y="840030"/>
                </a:lnTo>
                <a:lnTo>
                  <a:pt x="469946" y="850719"/>
                </a:lnTo>
                <a:lnTo>
                  <a:pt x="412606" y="844525"/>
                </a:lnTo>
                <a:lnTo>
                  <a:pt x="374516" y="882620"/>
                </a:lnTo>
                <a:lnTo>
                  <a:pt x="323808" y="901531"/>
                </a:lnTo>
                <a:lnTo>
                  <a:pt x="266703" y="901531"/>
                </a:lnTo>
                <a:lnTo>
                  <a:pt x="234951" y="901531"/>
                </a:lnTo>
                <a:lnTo>
                  <a:pt x="195074" y="924685"/>
                </a:lnTo>
                <a:lnTo>
                  <a:pt x="190315" y="933448"/>
                </a:lnTo>
                <a:lnTo>
                  <a:pt x="179562" y="907965"/>
                </a:lnTo>
                <a:lnTo>
                  <a:pt x="147227" y="891536"/>
                </a:lnTo>
                <a:lnTo>
                  <a:pt x="125696" y="886029"/>
                </a:lnTo>
                <a:lnTo>
                  <a:pt x="118510" y="845984"/>
                </a:lnTo>
                <a:lnTo>
                  <a:pt x="104139" y="818634"/>
                </a:lnTo>
                <a:lnTo>
                  <a:pt x="87971" y="785777"/>
                </a:lnTo>
                <a:lnTo>
                  <a:pt x="82582" y="738357"/>
                </a:lnTo>
                <a:lnTo>
                  <a:pt x="59255" y="720155"/>
                </a:lnTo>
                <a:lnTo>
                  <a:pt x="34105" y="683657"/>
                </a:lnTo>
                <a:lnTo>
                  <a:pt x="12575" y="627184"/>
                </a:lnTo>
                <a:lnTo>
                  <a:pt x="21557" y="556055"/>
                </a:lnTo>
                <a:lnTo>
                  <a:pt x="0" y="535986"/>
                </a:lnTo>
                <a:lnTo>
                  <a:pt x="7185" y="517784"/>
                </a:lnTo>
                <a:lnTo>
                  <a:pt x="7185" y="470364"/>
                </a:lnTo>
                <a:lnTo>
                  <a:pt x="12575" y="432093"/>
                </a:lnTo>
                <a:lnTo>
                  <a:pt x="37698" y="410250"/>
                </a:lnTo>
                <a:lnTo>
                  <a:pt x="82582" y="377393"/>
                </a:lnTo>
                <a:lnTo>
                  <a:pt x="93360" y="353683"/>
                </a:lnTo>
                <a:lnTo>
                  <a:pt x="104139" y="326333"/>
                </a:lnTo>
                <a:cubicBezTo>
                  <a:pt x="103540" y="313545"/>
                  <a:pt x="102941" y="300850"/>
                  <a:pt x="102342" y="288062"/>
                </a:cubicBezTo>
                <a:lnTo>
                  <a:pt x="109528" y="233362"/>
                </a:lnTo>
                <a:cubicBezTo>
                  <a:pt x="108929" y="224214"/>
                  <a:pt x="108330" y="215160"/>
                  <a:pt x="107732" y="206012"/>
                </a:cubicBezTo>
                <a:lnTo>
                  <a:pt x="107732" y="169514"/>
                </a:lnTo>
                <a:lnTo>
                  <a:pt x="114917" y="147671"/>
                </a:lnTo>
                <a:lnTo>
                  <a:pt x="156209" y="140391"/>
                </a:lnTo>
                <a:lnTo>
                  <a:pt x="168784" y="123962"/>
                </a:lnTo>
                <a:lnTo>
                  <a:pt x="179562" y="96612"/>
                </a:lnTo>
                <a:lnTo>
                  <a:pt x="206482" y="71129"/>
                </a:lnTo>
                <a:lnTo>
                  <a:pt x="236995" y="52833"/>
                </a:lnTo>
                <a:close/>
              </a:path>
            </a:pathLst>
          </a:custGeom>
          <a:solidFill>
            <a:srgbClr val="70B0DF"/>
          </a:solidFill>
          <a:ln w="3175" cap="flat" cmpd="sng">
            <a:noFill/>
            <a:prstDash val="solid"/>
            <a:round/>
            <a:headEnd/>
            <a:tailEnd/>
          </a:ln>
        </p:spPr>
        <p:txBody>
          <a:bodyPr wrap="none" lIns="32632" tIns="32632" rIns="32632" bIns="32632" anchor="ctr"/>
          <a:lstStyle/>
          <a:p>
            <a:pPr defTabSz="891045"/>
            <a:endParaRPr lang="en-US" sz="1700" dirty="0">
              <a:solidFill>
                <a:srgbClr val="003149"/>
              </a:solidFill>
              <a:cs typeface="Arial" panose="020B0604020202020204" pitchFamily="34" charset="0"/>
            </a:endParaRPr>
          </a:p>
        </p:txBody>
      </p:sp>
      <p:sp>
        <p:nvSpPr>
          <p:cNvPr id="70" name="Freeform 638"/>
          <p:cNvSpPr>
            <a:spLocks noChangeAspect="1"/>
          </p:cNvSpPr>
          <p:nvPr>
            <p:custDataLst>
              <p:tags r:id="rId47"/>
            </p:custDataLst>
          </p:nvPr>
        </p:nvSpPr>
        <p:spPr bwMode="gray">
          <a:xfrm>
            <a:off x="2593371" y="3032947"/>
            <a:ext cx="119420" cy="121961"/>
          </a:xfrm>
          <a:custGeom>
            <a:avLst/>
            <a:gdLst>
              <a:gd name="T0" fmla="*/ 0 w 704383"/>
              <a:gd name="T1" fmla="*/ 0 h 622547"/>
              <a:gd name="T2" fmla="*/ 0 w 704383"/>
              <a:gd name="T3" fmla="*/ 0 h 622547"/>
              <a:gd name="T4" fmla="*/ 0 w 704383"/>
              <a:gd name="T5" fmla="*/ 0 h 622547"/>
              <a:gd name="T6" fmla="*/ 0 w 704383"/>
              <a:gd name="T7" fmla="*/ 0 h 622547"/>
              <a:gd name="T8" fmla="*/ 0 w 704383"/>
              <a:gd name="T9" fmla="*/ 0 h 622547"/>
              <a:gd name="T10" fmla="*/ 0 w 704383"/>
              <a:gd name="T11" fmla="*/ 0 h 622547"/>
              <a:gd name="T12" fmla="*/ 0 w 704383"/>
              <a:gd name="T13" fmla="*/ 0 h 622547"/>
              <a:gd name="T14" fmla="*/ 0 w 704383"/>
              <a:gd name="T15" fmla="*/ 0 h 622547"/>
              <a:gd name="T16" fmla="*/ 0 w 704383"/>
              <a:gd name="T17" fmla="*/ 0 h 622547"/>
              <a:gd name="T18" fmla="*/ 0 w 704383"/>
              <a:gd name="T19" fmla="*/ 0 h 622547"/>
              <a:gd name="T20" fmla="*/ 0 w 704383"/>
              <a:gd name="T21" fmla="*/ 0 h 622547"/>
              <a:gd name="T22" fmla="*/ 0 w 704383"/>
              <a:gd name="T23" fmla="*/ 0 h 622547"/>
              <a:gd name="T24" fmla="*/ 0 w 704383"/>
              <a:gd name="T25" fmla="*/ 0 h 622547"/>
              <a:gd name="T26" fmla="*/ 0 w 704383"/>
              <a:gd name="T27" fmla="*/ 0 h 622547"/>
              <a:gd name="T28" fmla="*/ 0 w 704383"/>
              <a:gd name="T29" fmla="*/ 0 h 622547"/>
              <a:gd name="T30" fmla="*/ 0 w 704383"/>
              <a:gd name="T31" fmla="*/ 0 h 622547"/>
              <a:gd name="T32" fmla="*/ 0 w 704383"/>
              <a:gd name="T33" fmla="*/ 0 h 622547"/>
              <a:gd name="T34" fmla="*/ 0 w 704383"/>
              <a:gd name="T35" fmla="*/ 0 h 622547"/>
              <a:gd name="T36" fmla="*/ 0 w 704383"/>
              <a:gd name="T37" fmla="*/ 0 h 622547"/>
              <a:gd name="T38" fmla="*/ 0 w 704383"/>
              <a:gd name="T39" fmla="*/ 0 h 622547"/>
              <a:gd name="T40" fmla="*/ 0 w 704383"/>
              <a:gd name="T41" fmla="*/ 0 h 622547"/>
              <a:gd name="T42" fmla="*/ 0 w 704383"/>
              <a:gd name="T43" fmla="*/ 0 h 622547"/>
              <a:gd name="T44" fmla="*/ 0 w 704383"/>
              <a:gd name="T45" fmla="*/ 0 h 622547"/>
              <a:gd name="T46" fmla="*/ 0 w 704383"/>
              <a:gd name="T47" fmla="*/ 0 h 622547"/>
              <a:gd name="T48" fmla="*/ 0 w 704383"/>
              <a:gd name="T49" fmla="*/ 0 h 622547"/>
              <a:gd name="T50" fmla="*/ 0 w 704383"/>
              <a:gd name="T51" fmla="*/ 0 h 622547"/>
              <a:gd name="T52" fmla="*/ 0 w 704383"/>
              <a:gd name="T53" fmla="*/ 0 h 622547"/>
              <a:gd name="T54" fmla="*/ 0 w 704383"/>
              <a:gd name="T55" fmla="*/ 0 h 622547"/>
              <a:gd name="T56" fmla="*/ 0 w 704383"/>
              <a:gd name="T57" fmla="*/ 0 h 622547"/>
              <a:gd name="T58" fmla="*/ 0 w 704383"/>
              <a:gd name="T59" fmla="*/ 0 h 622547"/>
              <a:gd name="T60" fmla="*/ 0 w 704383"/>
              <a:gd name="T61" fmla="*/ 0 h 622547"/>
              <a:gd name="T62" fmla="*/ 0 w 704383"/>
              <a:gd name="T63" fmla="*/ 0 h 622547"/>
              <a:gd name="T64" fmla="*/ 0 w 704383"/>
              <a:gd name="T65" fmla="*/ 0 h 622547"/>
              <a:gd name="T66" fmla="*/ 0 w 704383"/>
              <a:gd name="T67" fmla="*/ 0 h 622547"/>
              <a:gd name="T68" fmla="*/ 0 w 704383"/>
              <a:gd name="T69" fmla="*/ 0 h 622547"/>
              <a:gd name="T70" fmla="*/ 0 w 704383"/>
              <a:gd name="T71" fmla="*/ 0 h 622547"/>
              <a:gd name="T72" fmla="*/ 0 w 704383"/>
              <a:gd name="T73" fmla="*/ 0 h 622547"/>
              <a:gd name="T74" fmla="*/ 0 w 704383"/>
              <a:gd name="T75" fmla="*/ 0 h 622547"/>
              <a:gd name="T76" fmla="*/ 0 w 704383"/>
              <a:gd name="T77" fmla="*/ 0 h 622547"/>
              <a:gd name="T78" fmla="*/ 0 w 704383"/>
              <a:gd name="T79" fmla="*/ 0 h 622547"/>
              <a:gd name="T80" fmla="*/ 0 w 704383"/>
              <a:gd name="T81" fmla="*/ 0 h 622547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w 704383"/>
              <a:gd name="T124" fmla="*/ 0 h 622547"/>
              <a:gd name="T125" fmla="*/ 704383 w 704383"/>
              <a:gd name="T126" fmla="*/ 622547 h 622547"/>
            </a:gdLst>
            <a:ahLst/>
            <a:cxnLst>
              <a:cxn ang="T82">
                <a:pos x="T0" y="T1"/>
              </a:cxn>
              <a:cxn ang="T83">
                <a:pos x="T2" y="T3"/>
              </a:cxn>
              <a:cxn ang="T84">
                <a:pos x="T4" y="T5"/>
              </a:cxn>
              <a:cxn ang="T85">
                <a:pos x="T6" y="T7"/>
              </a:cxn>
              <a:cxn ang="T86">
                <a:pos x="T8" y="T9"/>
              </a:cxn>
              <a:cxn ang="T87">
                <a:pos x="T10" y="T11"/>
              </a:cxn>
              <a:cxn ang="T88">
                <a:pos x="T12" y="T13"/>
              </a:cxn>
              <a:cxn ang="T89">
                <a:pos x="T14" y="T15"/>
              </a:cxn>
              <a:cxn ang="T90">
                <a:pos x="T16" y="T17"/>
              </a:cxn>
              <a:cxn ang="T91">
                <a:pos x="T18" y="T19"/>
              </a:cxn>
              <a:cxn ang="T92">
                <a:pos x="T20" y="T21"/>
              </a:cxn>
              <a:cxn ang="T93">
                <a:pos x="T22" y="T23"/>
              </a:cxn>
              <a:cxn ang="T94">
                <a:pos x="T24" y="T25"/>
              </a:cxn>
              <a:cxn ang="T95">
                <a:pos x="T26" y="T27"/>
              </a:cxn>
              <a:cxn ang="T96">
                <a:pos x="T28" y="T29"/>
              </a:cxn>
              <a:cxn ang="T97">
                <a:pos x="T30" y="T31"/>
              </a:cxn>
              <a:cxn ang="T98">
                <a:pos x="T32" y="T33"/>
              </a:cxn>
              <a:cxn ang="T99">
                <a:pos x="T34" y="T35"/>
              </a:cxn>
              <a:cxn ang="T100">
                <a:pos x="T36" y="T37"/>
              </a:cxn>
              <a:cxn ang="T101">
                <a:pos x="T38" y="T39"/>
              </a:cxn>
              <a:cxn ang="T102">
                <a:pos x="T40" y="T41"/>
              </a:cxn>
              <a:cxn ang="T103">
                <a:pos x="T42" y="T43"/>
              </a:cxn>
              <a:cxn ang="T104">
                <a:pos x="T44" y="T45"/>
              </a:cxn>
              <a:cxn ang="T105">
                <a:pos x="T46" y="T47"/>
              </a:cxn>
              <a:cxn ang="T106">
                <a:pos x="T48" y="T49"/>
              </a:cxn>
              <a:cxn ang="T107">
                <a:pos x="T50" y="T51"/>
              </a:cxn>
              <a:cxn ang="T108">
                <a:pos x="T52" y="T53"/>
              </a:cxn>
              <a:cxn ang="T109">
                <a:pos x="T54" y="T55"/>
              </a:cxn>
              <a:cxn ang="T110">
                <a:pos x="T56" y="T57"/>
              </a:cxn>
              <a:cxn ang="T111">
                <a:pos x="T58" y="T59"/>
              </a:cxn>
              <a:cxn ang="T112">
                <a:pos x="T60" y="T61"/>
              </a:cxn>
              <a:cxn ang="T113">
                <a:pos x="T62" y="T63"/>
              </a:cxn>
              <a:cxn ang="T114">
                <a:pos x="T64" y="T65"/>
              </a:cxn>
              <a:cxn ang="T115">
                <a:pos x="T66" y="T67"/>
              </a:cxn>
              <a:cxn ang="T116">
                <a:pos x="T68" y="T69"/>
              </a:cxn>
              <a:cxn ang="T117">
                <a:pos x="T70" y="T71"/>
              </a:cxn>
              <a:cxn ang="T118">
                <a:pos x="T72" y="T73"/>
              </a:cxn>
              <a:cxn ang="T119">
                <a:pos x="T74" y="T75"/>
              </a:cxn>
              <a:cxn ang="T120">
                <a:pos x="T76" y="T77"/>
              </a:cxn>
              <a:cxn ang="T121">
                <a:pos x="T78" y="T79"/>
              </a:cxn>
              <a:cxn ang="T122">
                <a:pos x="T80" y="T81"/>
              </a:cxn>
            </a:cxnLst>
            <a:rect l="T123" t="T124" r="T125" b="T126"/>
            <a:pathLst>
              <a:path w="704383" h="622547">
                <a:moveTo>
                  <a:pt x="412504" y="298138"/>
                </a:moveTo>
                <a:lnTo>
                  <a:pt x="409468" y="299082"/>
                </a:lnTo>
                <a:lnTo>
                  <a:pt x="409994" y="305606"/>
                </a:lnTo>
                <a:close/>
                <a:moveTo>
                  <a:pt x="346132" y="0"/>
                </a:moveTo>
                <a:cubicBezTo>
                  <a:pt x="346132" y="1"/>
                  <a:pt x="346132" y="2"/>
                  <a:pt x="346133" y="3"/>
                </a:cubicBezTo>
                <a:lnTo>
                  <a:pt x="364047" y="16669"/>
                </a:lnTo>
                <a:lnTo>
                  <a:pt x="399846" y="33338"/>
                </a:lnTo>
                <a:lnTo>
                  <a:pt x="399846" y="64821"/>
                </a:lnTo>
                <a:lnTo>
                  <a:pt x="399846" y="98158"/>
                </a:lnTo>
                <a:cubicBezTo>
                  <a:pt x="401627" y="104332"/>
                  <a:pt x="403443" y="110506"/>
                  <a:pt x="405224" y="116680"/>
                </a:cubicBezTo>
                <a:lnTo>
                  <a:pt x="432116" y="116680"/>
                </a:lnTo>
                <a:lnTo>
                  <a:pt x="466133" y="133349"/>
                </a:lnTo>
                <a:lnTo>
                  <a:pt x="487612" y="122241"/>
                </a:lnTo>
                <a:lnTo>
                  <a:pt x="507309" y="98158"/>
                </a:lnTo>
                <a:lnTo>
                  <a:pt x="534202" y="81490"/>
                </a:lnTo>
                <a:lnTo>
                  <a:pt x="562840" y="81490"/>
                </a:lnTo>
                <a:lnTo>
                  <a:pt x="582538" y="70382"/>
                </a:lnTo>
                <a:lnTo>
                  <a:pt x="609395" y="59261"/>
                </a:lnTo>
                <a:lnTo>
                  <a:pt x="632690" y="59261"/>
                </a:lnTo>
                <a:lnTo>
                  <a:pt x="652387" y="70382"/>
                </a:lnTo>
                <a:lnTo>
                  <a:pt x="668522" y="83343"/>
                </a:lnTo>
                <a:lnTo>
                  <a:pt x="702539" y="87050"/>
                </a:lnTo>
                <a:lnTo>
                  <a:pt x="701784" y="88130"/>
                </a:lnTo>
                <a:lnTo>
                  <a:pt x="704383" y="87758"/>
                </a:lnTo>
                <a:cubicBezTo>
                  <a:pt x="703788" y="98339"/>
                  <a:pt x="703193" y="94768"/>
                  <a:pt x="702597" y="105425"/>
                </a:cubicBezTo>
                <a:lnTo>
                  <a:pt x="683336" y="130158"/>
                </a:lnTo>
                <a:cubicBezTo>
                  <a:pt x="681025" y="142617"/>
                  <a:pt x="678626" y="155033"/>
                  <a:pt x="676332" y="167459"/>
                </a:cubicBezTo>
                <a:cubicBezTo>
                  <a:pt x="679186" y="177523"/>
                  <a:pt x="682093" y="187599"/>
                  <a:pt x="684964" y="197630"/>
                </a:cubicBezTo>
                <a:lnTo>
                  <a:pt x="679933" y="196711"/>
                </a:lnTo>
                <a:lnTo>
                  <a:pt x="659339" y="243335"/>
                </a:lnTo>
                <a:lnTo>
                  <a:pt x="628814" y="261611"/>
                </a:lnTo>
                <a:lnTo>
                  <a:pt x="601906" y="287145"/>
                </a:lnTo>
                <a:lnTo>
                  <a:pt x="591103" y="314364"/>
                </a:lnTo>
                <a:lnTo>
                  <a:pt x="578517" y="330869"/>
                </a:lnTo>
                <a:lnTo>
                  <a:pt x="537238" y="338170"/>
                </a:lnTo>
                <a:lnTo>
                  <a:pt x="530078" y="359989"/>
                </a:lnTo>
                <a:lnTo>
                  <a:pt x="530078" y="396541"/>
                </a:lnTo>
                <a:cubicBezTo>
                  <a:pt x="530648" y="405787"/>
                  <a:pt x="531267" y="414730"/>
                  <a:pt x="531862" y="423890"/>
                </a:cubicBezTo>
                <a:cubicBezTo>
                  <a:pt x="529458" y="442122"/>
                  <a:pt x="527080" y="460398"/>
                  <a:pt x="524676" y="478674"/>
                </a:cubicBezTo>
                <a:cubicBezTo>
                  <a:pt x="525271" y="491203"/>
                  <a:pt x="525866" y="504122"/>
                  <a:pt x="526485" y="516694"/>
                </a:cubicBezTo>
                <a:lnTo>
                  <a:pt x="515682" y="544130"/>
                </a:lnTo>
                <a:lnTo>
                  <a:pt x="504904" y="567849"/>
                </a:lnTo>
                <a:lnTo>
                  <a:pt x="460033" y="600772"/>
                </a:lnTo>
                <a:lnTo>
                  <a:pt x="434909" y="622547"/>
                </a:lnTo>
                <a:lnTo>
                  <a:pt x="433421" y="614215"/>
                </a:lnTo>
                <a:lnTo>
                  <a:pt x="396208" y="574190"/>
                </a:lnTo>
                <a:cubicBezTo>
                  <a:pt x="391407" y="561145"/>
                  <a:pt x="386569" y="548130"/>
                  <a:pt x="381768" y="535085"/>
                </a:cubicBezTo>
                <a:cubicBezTo>
                  <a:pt x="378148" y="525026"/>
                  <a:pt x="374567" y="514937"/>
                  <a:pt x="370948" y="504879"/>
                </a:cubicBezTo>
                <a:lnTo>
                  <a:pt x="352888" y="481775"/>
                </a:lnTo>
                <a:lnTo>
                  <a:pt x="338410" y="467541"/>
                </a:lnTo>
                <a:lnTo>
                  <a:pt x="325799" y="451539"/>
                </a:lnTo>
                <a:lnTo>
                  <a:pt x="293300" y="439103"/>
                </a:lnTo>
                <a:lnTo>
                  <a:pt x="257181" y="417798"/>
                </a:lnTo>
                <a:lnTo>
                  <a:pt x="240036" y="398229"/>
                </a:lnTo>
                <a:lnTo>
                  <a:pt x="218357" y="364458"/>
                </a:lnTo>
                <a:lnTo>
                  <a:pt x="191268" y="339586"/>
                </a:lnTo>
                <a:lnTo>
                  <a:pt x="169589" y="318250"/>
                </a:lnTo>
                <a:lnTo>
                  <a:pt x="137090" y="311148"/>
                </a:lnTo>
                <a:lnTo>
                  <a:pt x="111829" y="311148"/>
                </a:lnTo>
                <a:lnTo>
                  <a:pt x="77501" y="311148"/>
                </a:lnTo>
                <a:lnTo>
                  <a:pt x="54038" y="311148"/>
                </a:lnTo>
                <a:lnTo>
                  <a:pt x="54031" y="311149"/>
                </a:lnTo>
                <a:lnTo>
                  <a:pt x="35534" y="264657"/>
                </a:lnTo>
                <a:lnTo>
                  <a:pt x="24797" y="246726"/>
                </a:lnTo>
                <a:lnTo>
                  <a:pt x="0" y="225275"/>
                </a:lnTo>
                <a:lnTo>
                  <a:pt x="12279" y="227156"/>
                </a:lnTo>
                <a:cubicBezTo>
                  <a:pt x="19200" y="218665"/>
                  <a:pt x="30119" y="209127"/>
                  <a:pt x="35777" y="201351"/>
                </a:cubicBezTo>
                <a:cubicBezTo>
                  <a:pt x="37593" y="194310"/>
                  <a:pt x="39376" y="187292"/>
                  <a:pt x="41192" y="180251"/>
                </a:cubicBezTo>
                <a:lnTo>
                  <a:pt x="59221" y="189029"/>
                </a:lnTo>
                <a:lnTo>
                  <a:pt x="86298" y="196070"/>
                </a:lnTo>
                <a:lnTo>
                  <a:pt x="128695" y="196070"/>
                </a:lnTo>
                <a:lnTo>
                  <a:pt x="157588" y="196070"/>
                </a:lnTo>
                <a:lnTo>
                  <a:pt x="179216" y="180251"/>
                </a:lnTo>
                <a:cubicBezTo>
                  <a:pt x="180438" y="170879"/>
                  <a:pt x="181626" y="161483"/>
                  <a:pt x="182848" y="152110"/>
                </a:cubicBezTo>
                <a:cubicBezTo>
                  <a:pt x="186447" y="141549"/>
                  <a:pt x="190080" y="131011"/>
                  <a:pt x="193679" y="120449"/>
                </a:cubicBezTo>
                <a:cubicBezTo>
                  <a:pt x="196089" y="108425"/>
                  <a:pt x="198467" y="96423"/>
                  <a:pt x="200877" y="84399"/>
                </a:cubicBezTo>
                <a:lnTo>
                  <a:pt x="215307" y="66820"/>
                </a:lnTo>
                <a:lnTo>
                  <a:pt x="247798" y="73861"/>
                </a:lnTo>
                <a:lnTo>
                  <a:pt x="275766" y="77381"/>
                </a:lnTo>
                <a:cubicBezTo>
                  <a:pt x="278177" y="72100"/>
                  <a:pt x="280554" y="66820"/>
                  <a:pt x="282965" y="61539"/>
                </a:cubicBezTo>
                <a:cubicBezTo>
                  <a:pt x="284187" y="51572"/>
                  <a:pt x="285375" y="41628"/>
                  <a:pt x="286597" y="31661"/>
                </a:cubicBezTo>
                <a:lnTo>
                  <a:pt x="308225" y="26380"/>
                </a:lnTo>
                <a:lnTo>
                  <a:pt x="324471" y="10561"/>
                </a:lnTo>
                <a:close/>
              </a:path>
            </a:pathLst>
          </a:custGeom>
          <a:solidFill>
            <a:srgbClr val="70B0DF"/>
          </a:solidFill>
          <a:ln w="3175" cap="flat" cmpd="sng">
            <a:noFill/>
            <a:prstDash val="solid"/>
            <a:round/>
            <a:headEnd/>
            <a:tailEnd/>
          </a:ln>
        </p:spPr>
        <p:txBody>
          <a:bodyPr wrap="none" lIns="32632" tIns="32632" rIns="32632" bIns="32632" anchor="ctr"/>
          <a:lstStyle/>
          <a:p>
            <a:pPr defTabSz="891045"/>
            <a:endParaRPr lang="en-US" sz="1700" dirty="0">
              <a:solidFill>
                <a:srgbClr val="003149"/>
              </a:solidFill>
              <a:cs typeface="Arial" panose="020B0604020202020204" pitchFamily="34" charset="0"/>
            </a:endParaRPr>
          </a:p>
        </p:txBody>
      </p:sp>
      <p:sp>
        <p:nvSpPr>
          <p:cNvPr id="71" name="Freeform 680"/>
          <p:cNvSpPr>
            <a:spLocks noChangeAspect="1"/>
          </p:cNvSpPr>
          <p:nvPr>
            <p:custDataLst>
              <p:tags r:id="rId48"/>
            </p:custDataLst>
          </p:nvPr>
        </p:nvSpPr>
        <p:spPr bwMode="gray">
          <a:xfrm>
            <a:off x="2547863" y="2941114"/>
            <a:ext cx="112312" cy="137744"/>
          </a:xfrm>
          <a:custGeom>
            <a:avLst/>
            <a:gdLst>
              <a:gd name="T0" fmla="*/ 0 w 647700"/>
              <a:gd name="T1" fmla="*/ 0 h 696248"/>
              <a:gd name="T2" fmla="*/ 0 w 647700"/>
              <a:gd name="T3" fmla="*/ 0 h 696248"/>
              <a:gd name="T4" fmla="*/ 0 w 647700"/>
              <a:gd name="T5" fmla="*/ 0 h 696248"/>
              <a:gd name="T6" fmla="*/ 0 w 647700"/>
              <a:gd name="T7" fmla="*/ 0 h 696248"/>
              <a:gd name="T8" fmla="*/ 0 w 647700"/>
              <a:gd name="T9" fmla="*/ 0 h 696248"/>
              <a:gd name="T10" fmla="*/ 0 w 647700"/>
              <a:gd name="T11" fmla="*/ 0 h 696248"/>
              <a:gd name="T12" fmla="*/ 0 w 647700"/>
              <a:gd name="T13" fmla="*/ 0 h 696248"/>
              <a:gd name="T14" fmla="*/ 0 w 647700"/>
              <a:gd name="T15" fmla="*/ 0 h 696248"/>
              <a:gd name="T16" fmla="*/ 0 w 647700"/>
              <a:gd name="T17" fmla="*/ 0 h 696248"/>
              <a:gd name="T18" fmla="*/ 0 w 647700"/>
              <a:gd name="T19" fmla="*/ 0 h 696248"/>
              <a:gd name="T20" fmla="*/ 0 w 647700"/>
              <a:gd name="T21" fmla="*/ 0 h 696248"/>
              <a:gd name="T22" fmla="*/ 0 w 647700"/>
              <a:gd name="T23" fmla="*/ 0 h 696248"/>
              <a:gd name="T24" fmla="*/ 0 w 647700"/>
              <a:gd name="T25" fmla="*/ 0 h 696248"/>
              <a:gd name="T26" fmla="*/ 0 w 647700"/>
              <a:gd name="T27" fmla="*/ 0 h 696248"/>
              <a:gd name="T28" fmla="*/ 0 w 647700"/>
              <a:gd name="T29" fmla="*/ 0 h 696248"/>
              <a:gd name="T30" fmla="*/ 0 w 647700"/>
              <a:gd name="T31" fmla="*/ 0 h 696248"/>
              <a:gd name="T32" fmla="*/ 0 w 647700"/>
              <a:gd name="T33" fmla="*/ 0 h 696248"/>
              <a:gd name="T34" fmla="*/ 0 w 647700"/>
              <a:gd name="T35" fmla="*/ 0 h 696248"/>
              <a:gd name="T36" fmla="*/ 0 w 647700"/>
              <a:gd name="T37" fmla="*/ 0 h 696248"/>
              <a:gd name="T38" fmla="*/ 0 w 647700"/>
              <a:gd name="T39" fmla="*/ 0 h 696248"/>
              <a:gd name="T40" fmla="*/ 0 w 647700"/>
              <a:gd name="T41" fmla="*/ 0 h 696248"/>
              <a:gd name="T42" fmla="*/ 0 w 647700"/>
              <a:gd name="T43" fmla="*/ 0 h 696248"/>
              <a:gd name="T44" fmla="*/ 0 w 647700"/>
              <a:gd name="T45" fmla="*/ 0 h 696248"/>
              <a:gd name="T46" fmla="*/ 0 w 647700"/>
              <a:gd name="T47" fmla="*/ 0 h 696248"/>
              <a:gd name="T48" fmla="*/ 0 w 647700"/>
              <a:gd name="T49" fmla="*/ 0 h 696248"/>
              <a:gd name="T50" fmla="*/ 0 w 647700"/>
              <a:gd name="T51" fmla="*/ 0 h 696248"/>
              <a:gd name="T52" fmla="*/ 0 w 647700"/>
              <a:gd name="T53" fmla="*/ 0 h 696248"/>
              <a:gd name="T54" fmla="*/ 0 w 647700"/>
              <a:gd name="T55" fmla="*/ 0 h 696248"/>
              <a:gd name="T56" fmla="*/ 0 w 647700"/>
              <a:gd name="T57" fmla="*/ 0 h 696248"/>
              <a:gd name="T58" fmla="*/ 0 w 647700"/>
              <a:gd name="T59" fmla="*/ 0 h 696248"/>
              <a:gd name="T60" fmla="*/ 0 w 647700"/>
              <a:gd name="T61" fmla="*/ 0 h 696248"/>
              <a:gd name="T62" fmla="*/ 0 w 647700"/>
              <a:gd name="T63" fmla="*/ 0 h 696248"/>
              <a:gd name="T64" fmla="*/ 0 w 647700"/>
              <a:gd name="T65" fmla="*/ 0 h 696248"/>
              <a:gd name="T66" fmla="*/ 0 w 647700"/>
              <a:gd name="T67" fmla="*/ 0 h 696248"/>
              <a:gd name="T68" fmla="*/ 0 w 647700"/>
              <a:gd name="T69" fmla="*/ 0 h 696248"/>
              <a:gd name="T70" fmla="*/ 0 w 647700"/>
              <a:gd name="T71" fmla="*/ 0 h 696248"/>
              <a:gd name="T72" fmla="*/ 0 w 647700"/>
              <a:gd name="T73" fmla="*/ 0 h 696248"/>
              <a:gd name="T74" fmla="*/ 0 w 647700"/>
              <a:gd name="T75" fmla="*/ 0 h 696248"/>
              <a:gd name="T76" fmla="*/ 0 w 647700"/>
              <a:gd name="T77" fmla="*/ 0 h 696248"/>
              <a:gd name="T78" fmla="*/ 0 w 647700"/>
              <a:gd name="T79" fmla="*/ 0 h 696248"/>
              <a:gd name="T80" fmla="*/ 0 w 647700"/>
              <a:gd name="T81" fmla="*/ 0 h 696248"/>
              <a:gd name="T82" fmla="*/ 0 w 647700"/>
              <a:gd name="T83" fmla="*/ 0 h 696248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w 647700"/>
              <a:gd name="T127" fmla="*/ 0 h 696248"/>
              <a:gd name="T128" fmla="*/ 647700 w 647700"/>
              <a:gd name="T129" fmla="*/ 696248 h 696248"/>
            </a:gdLst>
            <a:ahLst/>
            <a:cxnLst>
              <a:cxn ang="T84">
                <a:pos x="T0" y="T1"/>
              </a:cxn>
              <a:cxn ang="T85">
                <a:pos x="T2" y="T3"/>
              </a:cxn>
              <a:cxn ang="T86">
                <a:pos x="T4" y="T5"/>
              </a:cxn>
              <a:cxn ang="T87">
                <a:pos x="T6" y="T7"/>
              </a:cxn>
              <a:cxn ang="T88">
                <a:pos x="T8" y="T9"/>
              </a:cxn>
              <a:cxn ang="T89">
                <a:pos x="T10" y="T11"/>
              </a:cxn>
              <a:cxn ang="T90">
                <a:pos x="T12" y="T13"/>
              </a:cxn>
              <a:cxn ang="T91">
                <a:pos x="T14" y="T15"/>
              </a:cxn>
              <a:cxn ang="T92">
                <a:pos x="T16" y="T17"/>
              </a:cxn>
              <a:cxn ang="T93">
                <a:pos x="T18" y="T19"/>
              </a:cxn>
              <a:cxn ang="T94">
                <a:pos x="T20" y="T21"/>
              </a:cxn>
              <a:cxn ang="T95">
                <a:pos x="T22" y="T23"/>
              </a:cxn>
              <a:cxn ang="T96">
                <a:pos x="T24" y="T25"/>
              </a:cxn>
              <a:cxn ang="T97">
                <a:pos x="T26" y="T27"/>
              </a:cxn>
              <a:cxn ang="T98">
                <a:pos x="T28" y="T29"/>
              </a:cxn>
              <a:cxn ang="T99">
                <a:pos x="T30" y="T31"/>
              </a:cxn>
              <a:cxn ang="T100">
                <a:pos x="T32" y="T33"/>
              </a:cxn>
              <a:cxn ang="T101">
                <a:pos x="T34" y="T35"/>
              </a:cxn>
              <a:cxn ang="T102">
                <a:pos x="T36" y="T37"/>
              </a:cxn>
              <a:cxn ang="T103">
                <a:pos x="T38" y="T39"/>
              </a:cxn>
              <a:cxn ang="T104">
                <a:pos x="T40" y="T41"/>
              </a:cxn>
              <a:cxn ang="T105">
                <a:pos x="T42" y="T43"/>
              </a:cxn>
              <a:cxn ang="T106">
                <a:pos x="T44" y="T45"/>
              </a:cxn>
              <a:cxn ang="T107">
                <a:pos x="T46" y="T47"/>
              </a:cxn>
              <a:cxn ang="T108">
                <a:pos x="T48" y="T49"/>
              </a:cxn>
              <a:cxn ang="T109">
                <a:pos x="T50" y="T51"/>
              </a:cxn>
              <a:cxn ang="T110">
                <a:pos x="T52" y="T53"/>
              </a:cxn>
              <a:cxn ang="T111">
                <a:pos x="T54" y="T55"/>
              </a:cxn>
              <a:cxn ang="T112">
                <a:pos x="T56" y="T57"/>
              </a:cxn>
              <a:cxn ang="T113">
                <a:pos x="T58" y="T59"/>
              </a:cxn>
              <a:cxn ang="T114">
                <a:pos x="T60" y="T61"/>
              </a:cxn>
              <a:cxn ang="T115">
                <a:pos x="T62" y="T63"/>
              </a:cxn>
              <a:cxn ang="T116">
                <a:pos x="T64" y="T65"/>
              </a:cxn>
              <a:cxn ang="T117">
                <a:pos x="T66" y="T67"/>
              </a:cxn>
              <a:cxn ang="T118">
                <a:pos x="T68" y="T69"/>
              </a:cxn>
              <a:cxn ang="T119">
                <a:pos x="T70" y="T71"/>
              </a:cxn>
              <a:cxn ang="T120">
                <a:pos x="T72" y="T73"/>
              </a:cxn>
              <a:cxn ang="T121">
                <a:pos x="T74" y="T75"/>
              </a:cxn>
              <a:cxn ang="T122">
                <a:pos x="T76" y="T77"/>
              </a:cxn>
              <a:cxn ang="T123">
                <a:pos x="T78" y="T79"/>
              </a:cxn>
              <a:cxn ang="T124">
                <a:pos x="T80" y="T81"/>
              </a:cxn>
              <a:cxn ang="T125">
                <a:pos x="T82" y="T83"/>
              </a:cxn>
            </a:cxnLst>
            <a:rect l="T126" t="T127" r="T128" b="T129"/>
            <a:pathLst>
              <a:path w="647700" h="696248">
                <a:moveTo>
                  <a:pt x="311153" y="0"/>
                </a:moveTo>
                <a:lnTo>
                  <a:pt x="338912" y="13349"/>
                </a:lnTo>
                <a:lnTo>
                  <a:pt x="373003" y="17128"/>
                </a:lnTo>
                <a:lnTo>
                  <a:pt x="419726" y="24762"/>
                </a:lnTo>
                <a:lnTo>
                  <a:pt x="459213" y="24762"/>
                </a:lnTo>
                <a:lnTo>
                  <a:pt x="489686" y="24762"/>
                </a:lnTo>
                <a:lnTo>
                  <a:pt x="529204" y="22881"/>
                </a:lnTo>
                <a:lnTo>
                  <a:pt x="539777" y="22383"/>
                </a:lnTo>
                <a:lnTo>
                  <a:pt x="534450" y="30614"/>
                </a:lnTo>
                <a:lnTo>
                  <a:pt x="539749" y="24763"/>
                </a:lnTo>
                <a:lnTo>
                  <a:pt x="539749" y="68235"/>
                </a:lnTo>
                <a:lnTo>
                  <a:pt x="552444" y="105484"/>
                </a:lnTo>
                <a:lnTo>
                  <a:pt x="582389" y="168514"/>
                </a:lnTo>
                <a:lnTo>
                  <a:pt x="582389" y="218165"/>
                </a:lnTo>
                <a:lnTo>
                  <a:pt x="587830" y="276750"/>
                </a:lnTo>
                <a:lnTo>
                  <a:pt x="605059" y="301598"/>
                </a:lnTo>
                <a:lnTo>
                  <a:pt x="625020" y="329957"/>
                </a:lnTo>
                <a:lnTo>
                  <a:pt x="647700" y="364583"/>
                </a:lnTo>
                <a:lnTo>
                  <a:pt x="640446" y="380541"/>
                </a:lnTo>
                <a:lnTo>
                  <a:pt x="631367" y="396498"/>
                </a:lnTo>
                <a:lnTo>
                  <a:pt x="621392" y="419568"/>
                </a:lnTo>
                <a:lnTo>
                  <a:pt x="607230" y="462657"/>
                </a:lnTo>
                <a:lnTo>
                  <a:pt x="609600" y="462915"/>
                </a:lnTo>
                <a:lnTo>
                  <a:pt x="606677" y="464340"/>
                </a:lnTo>
                <a:lnTo>
                  <a:pt x="605059" y="469263"/>
                </a:lnTo>
                <a:lnTo>
                  <a:pt x="597007" y="469055"/>
                </a:lnTo>
                <a:lnTo>
                  <a:pt x="587939" y="473476"/>
                </a:lnTo>
                <a:lnTo>
                  <a:pt x="571693" y="489295"/>
                </a:lnTo>
                <a:lnTo>
                  <a:pt x="550065" y="494576"/>
                </a:lnTo>
                <a:cubicBezTo>
                  <a:pt x="548843" y="504543"/>
                  <a:pt x="547655" y="514487"/>
                  <a:pt x="546433" y="524454"/>
                </a:cubicBezTo>
                <a:cubicBezTo>
                  <a:pt x="544023" y="529734"/>
                  <a:pt x="541645" y="535015"/>
                  <a:pt x="539235" y="540296"/>
                </a:cubicBezTo>
                <a:lnTo>
                  <a:pt x="511267" y="536775"/>
                </a:lnTo>
                <a:lnTo>
                  <a:pt x="478775" y="529734"/>
                </a:lnTo>
                <a:lnTo>
                  <a:pt x="464345" y="547314"/>
                </a:lnTo>
                <a:cubicBezTo>
                  <a:pt x="461935" y="559338"/>
                  <a:pt x="459557" y="571340"/>
                  <a:pt x="457147" y="583364"/>
                </a:cubicBezTo>
                <a:cubicBezTo>
                  <a:pt x="453548" y="593925"/>
                  <a:pt x="449916" y="604464"/>
                  <a:pt x="446316" y="615025"/>
                </a:cubicBezTo>
                <a:cubicBezTo>
                  <a:pt x="445095" y="624398"/>
                  <a:pt x="443906" y="633793"/>
                  <a:pt x="442684" y="643166"/>
                </a:cubicBezTo>
                <a:lnTo>
                  <a:pt x="421056" y="658985"/>
                </a:lnTo>
                <a:lnTo>
                  <a:pt x="392164" y="658985"/>
                </a:lnTo>
                <a:lnTo>
                  <a:pt x="349766" y="658985"/>
                </a:lnTo>
                <a:lnTo>
                  <a:pt x="322689" y="651944"/>
                </a:lnTo>
                <a:lnTo>
                  <a:pt x="304661" y="643166"/>
                </a:lnTo>
                <a:cubicBezTo>
                  <a:pt x="302844" y="650207"/>
                  <a:pt x="301061" y="657225"/>
                  <a:pt x="299245" y="664265"/>
                </a:cubicBezTo>
                <a:cubicBezTo>
                  <a:pt x="292641" y="673341"/>
                  <a:pt x="278872" y="684817"/>
                  <a:pt x="272268" y="693892"/>
                </a:cubicBezTo>
                <a:lnTo>
                  <a:pt x="271911" y="686632"/>
                </a:lnTo>
                <a:lnTo>
                  <a:pt x="268294" y="696248"/>
                </a:lnTo>
                <a:lnTo>
                  <a:pt x="263441" y="688212"/>
                </a:lnTo>
                <a:lnTo>
                  <a:pt x="247442" y="666906"/>
                </a:lnTo>
                <a:cubicBezTo>
                  <a:pt x="246802" y="659742"/>
                  <a:pt x="246322" y="652577"/>
                  <a:pt x="245656" y="645476"/>
                </a:cubicBezTo>
                <a:lnTo>
                  <a:pt x="223524" y="645476"/>
                </a:lnTo>
                <a:lnTo>
                  <a:pt x="198726" y="641862"/>
                </a:lnTo>
                <a:cubicBezTo>
                  <a:pt x="196406" y="622363"/>
                  <a:pt x="194032" y="602615"/>
                  <a:pt x="191606" y="583053"/>
                </a:cubicBezTo>
                <a:lnTo>
                  <a:pt x="202219" y="561499"/>
                </a:lnTo>
                <a:lnTo>
                  <a:pt x="186193" y="538199"/>
                </a:lnTo>
                <a:lnTo>
                  <a:pt x="186193" y="511411"/>
                </a:lnTo>
                <a:lnTo>
                  <a:pt x="166834" y="484623"/>
                </a:lnTo>
                <a:cubicBezTo>
                  <a:pt x="165101" y="472600"/>
                  <a:pt x="163235" y="460764"/>
                  <a:pt x="161421" y="448865"/>
                </a:cubicBezTo>
                <a:cubicBezTo>
                  <a:pt x="159181" y="441202"/>
                  <a:pt x="156808" y="433415"/>
                  <a:pt x="154355" y="425815"/>
                </a:cubicBezTo>
                <a:lnTo>
                  <a:pt x="170407" y="404260"/>
                </a:lnTo>
                <a:lnTo>
                  <a:pt x="170407" y="372114"/>
                </a:lnTo>
                <a:lnTo>
                  <a:pt x="170407" y="339969"/>
                </a:lnTo>
                <a:cubicBezTo>
                  <a:pt x="169181" y="329814"/>
                  <a:pt x="168008" y="319660"/>
                  <a:pt x="166834" y="309568"/>
                </a:cubicBezTo>
                <a:lnTo>
                  <a:pt x="138383" y="302403"/>
                </a:lnTo>
                <a:lnTo>
                  <a:pt x="124197" y="291688"/>
                </a:lnTo>
                <a:lnTo>
                  <a:pt x="106518" y="277297"/>
                </a:lnTo>
                <a:lnTo>
                  <a:pt x="90546" y="264838"/>
                </a:lnTo>
                <a:lnTo>
                  <a:pt x="73774" y="254185"/>
                </a:lnTo>
                <a:cubicBezTo>
                  <a:pt x="72494" y="242411"/>
                  <a:pt x="71267" y="230325"/>
                  <a:pt x="70201" y="218426"/>
                </a:cubicBezTo>
                <a:lnTo>
                  <a:pt x="79000" y="196934"/>
                </a:lnTo>
                <a:lnTo>
                  <a:pt x="57775" y="175566"/>
                </a:lnTo>
                <a:lnTo>
                  <a:pt x="36523" y="154011"/>
                </a:lnTo>
                <a:lnTo>
                  <a:pt x="20577" y="146909"/>
                </a:lnTo>
                <a:lnTo>
                  <a:pt x="6505" y="134638"/>
                </a:lnTo>
                <a:lnTo>
                  <a:pt x="0" y="132711"/>
                </a:lnTo>
                <a:lnTo>
                  <a:pt x="2081" y="130780"/>
                </a:lnTo>
                <a:cubicBezTo>
                  <a:pt x="1914" y="130670"/>
                  <a:pt x="1778" y="130534"/>
                  <a:pt x="1645" y="130400"/>
                </a:cubicBezTo>
                <a:lnTo>
                  <a:pt x="2392" y="130492"/>
                </a:lnTo>
                <a:lnTo>
                  <a:pt x="23456" y="110944"/>
                </a:lnTo>
                <a:lnTo>
                  <a:pt x="54189" y="91065"/>
                </a:lnTo>
                <a:lnTo>
                  <a:pt x="97484" y="87316"/>
                </a:lnTo>
                <a:lnTo>
                  <a:pt x="137210" y="32884"/>
                </a:lnTo>
                <a:lnTo>
                  <a:pt x="184121" y="25682"/>
                </a:lnTo>
                <a:lnTo>
                  <a:pt x="227463" y="300"/>
                </a:lnTo>
                <a:lnTo>
                  <a:pt x="310484" y="300"/>
                </a:lnTo>
                <a:lnTo>
                  <a:pt x="310894" y="591"/>
                </a:lnTo>
                <a:close/>
              </a:path>
            </a:pathLst>
          </a:custGeom>
          <a:solidFill>
            <a:srgbClr val="70B0DF"/>
          </a:solidFill>
          <a:ln w="3175" cap="flat" cmpd="sng">
            <a:noFill/>
            <a:prstDash val="solid"/>
            <a:round/>
            <a:headEnd type="none" w="med" len="med"/>
            <a:tailEnd type="none" w="sm" len="sm"/>
          </a:ln>
        </p:spPr>
        <p:txBody>
          <a:bodyPr wrap="none" lIns="32632" tIns="32632" rIns="32632" bIns="32632"/>
          <a:lstStyle/>
          <a:p>
            <a:pPr defTabSz="891045"/>
            <a:endParaRPr lang="en-US" sz="1700" dirty="0">
              <a:solidFill>
                <a:srgbClr val="003149"/>
              </a:solidFill>
              <a:cs typeface="Arial" panose="020B0604020202020204" pitchFamily="34" charset="0"/>
            </a:endParaRPr>
          </a:p>
        </p:txBody>
      </p:sp>
      <p:sp>
        <p:nvSpPr>
          <p:cNvPr id="72" name="Freeform 645"/>
          <p:cNvSpPr>
            <a:spLocks noChangeAspect="1"/>
          </p:cNvSpPr>
          <p:nvPr>
            <p:custDataLst>
              <p:tags r:id="rId49"/>
            </p:custDataLst>
          </p:nvPr>
        </p:nvSpPr>
        <p:spPr bwMode="gray">
          <a:xfrm>
            <a:off x="2640272" y="2936802"/>
            <a:ext cx="126528" cy="121961"/>
          </a:xfrm>
          <a:custGeom>
            <a:avLst/>
            <a:gdLst>
              <a:gd name="T0" fmla="*/ 0 w 736598"/>
              <a:gd name="T1" fmla="*/ 0 h 628647"/>
              <a:gd name="T2" fmla="*/ 0 w 736598"/>
              <a:gd name="T3" fmla="*/ 0 h 628647"/>
              <a:gd name="T4" fmla="*/ 0 w 736598"/>
              <a:gd name="T5" fmla="*/ 0 h 628647"/>
              <a:gd name="T6" fmla="*/ 0 w 736598"/>
              <a:gd name="T7" fmla="*/ 0 h 628647"/>
              <a:gd name="T8" fmla="*/ 0 w 736598"/>
              <a:gd name="T9" fmla="*/ 0 h 628647"/>
              <a:gd name="T10" fmla="*/ 0 w 736598"/>
              <a:gd name="T11" fmla="*/ 0 h 628647"/>
              <a:gd name="T12" fmla="*/ 0 w 736598"/>
              <a:gd name="T13" fmla="*/ 0 h 628647"/>
              <a:gd name="T14" fmla="*/ 0 w 736598"/>
              <a:gd name="T15" fmla="*/ 0 h 628647"/>
              <a:gd name="T16" fmla="*/ 0 w 736598"/>
              <a:gd name="T17" fmla="*/ 0 h 628647"/>
              <a:gd name="T18" fmla="*/ 0 w 736598"/>
              <a:gd name="T19" fmla="*/ 0 h 628647"/>
              <a:gd name="T20" fmla="*/ 0 w 736598"/>
              <a:gd name="T21" fmla="*/ 0 h 628647"/>
              <a:gd name="T22" fmla="*/ 0 w 736598"/>
              <a:gd name="T23" fmla="*/ 0 h 628647"/>
              <a:gd name="T24" fmla="*/ 0 w 736598"/>
              <a:gd name="T25" fmla="*/ 0 h 628647"/>
              <a:gd name="T26" fmla="*/ 0 w 736598"/>
              <a:gd name="T27" fmla="*/ 0 h 628647"/>
              <a:gd name="T28" fmla="*/ 0 w 736598"/>
              <a:gd name="T29" fmla="*/ 0 h 628647"/>
              <a:gd name="T30" fmla="*/ 0 w 736598"/>
              <a:gd name="T31" fmla="*/ 0 h 628647"/>
              <a:gd name="T32" fmla="*/ 0 w 736598"/>
              <a:gd name="T33" fmla="*/ 0 h 628647"/>
              <a:gd name="T34" fmla="*/ 0 w 736598"/>
              <a:gd name="T35" fmla="*/ 0 h 628647"/>
              <a:gd name="T36" fmla="*/ 0 w 736598"/>
              <a:gd name="T37" fmla="*/ 0 h 628647"/>
              <a:gd name="T38" fmla="*/ 0 w 736598"/>
              <a:gd name="T39" fmla="*/ 0 h 628647"/>
              <a:gd name="T40" fmla="*/ 0 w 736598"/>
              <a:gd name="T41" fmla="*/ 0 h 628647"/>
              <a:gd name="T42" fmla="*/ 0 w 736598"/>
              <a:gd name="T43" fmla="*/ 0 h 628647"/>
              <a:gd name="T44" fmla="*/ 0 w 736598"/>
              <a:gd name="T45" fmla="*/ 0 h 628647"/>
              <a:gd name="T46" fmla="*/ 0 w 736598"/>
              <a:gd name="T47" fmla="*/ 0 h 628647"/>
              <a:gd name="T48" fmla="*/ 0 w 736598"/>
              <a:gd name="T49" fmla="*/ 0 h 628647"/>
              <a:gd name="T50" fmla="*/ 0 w 736598"/>
              <a:gd name="T51" fmla="*/ 0 h 628647"/>
              <a:gd name="T52" fmla="*/ 0 w 736598"/>
              <a:gd name="T53" fmla="*/ 0 h 628647"/>
              <a:gd name="T54" fmla="*/ 0 w 736598"/>
              <a:gd name="T55" fmla="*/ 0 h 628647"/>
              <a:gd name="T56" fmla="*/ 0 w 736598"/>
              <a:gd name="T57" fmla="*/ 0 h 628647"/>
              <a:gd name="T58" fmla="*/ 0 w 736598"/>
              <a:gd name="T59" fmla="*/ 0 h 628647"/>
              <a:gd name="T60" fmla="*/ 0 w 736598"/>
              <a:gd name="T61" fmla="*/ 0 h 628647"/>
              <a:gd name="T62" fmla="*/ 0 w 736598"/>
              <a:gd name="T63" fmla="*/ 0 h 628647"/>
              <a:gd name="T64" fmla="*/ 0 w 736598"/>
              <a:gd name="T65" fmla="*/ 0 h 628647"/>
              <a:gd name="T66" fmla="*/ 0 w 736598"/>
              <a:gd name="T67" fmla="*/ 0 h 628647"/>
              <a:gd name="T68" fmla="*/ 0 w 736598"/>
              <a:gd name="T69" fmla="*/ 0 h 628647"/>
              <a:gd name="T70" fmla="*/ 0 w 736598"/>
              <a:gd name="T71" fmla="*/ 0 h 628647"/>
              <a:gd name="T72" fmla="*/ 0 w 736598"/>
              <a:gd name="T73" fmla="*/ 0 h 628647"/>
              <a:gd name="T74" fmla="*/ 0 w 736598"/>
              <a:gd name="T75" fmla="*/ 0 h 628647"/>
              <a:gd name="T76" fmla="*/ 0 w 736598"/>
              <a:gd name="T77" fmla="*/ 0 h 628647"/>
              <a:gd name="T78" fmla="*/ 0 w 736598"/>
              <a:gd name="T79" fmla="*/ 0 h 628647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w 736598"/>
              <a:gd name="T121" fmla="*/ 0 h 628647"/>
              <a:gd name="T122" fmla="*/ 736598 w 736598"/>
              <a:gd name="T123" fmla="*/ 628647 h 628647"/>
            </a:gdLst>
            <a:ahLst/>
            <a:cxnLst>
              <a:cxn ang="T80">
                <a:pos x="T0" y="T1"/>
              </a:cxn>
              <a:cxn ang="T81">
                <a:pos x="T2" y="T3"/>
              </a:cxn>
              <a:cxn ang="T82">
                <a:pos x="T4" y="T5"/>
              </a:cxn>
              <a:cxn ang="T83">
                <a:pos x="T6" y="T7"/>
              </a:cxn>
              <a:cxn ang="T84">
                <a:pos x="T8" y="T9"/>
              </a:cxn>
              <a:cxn ang="T85">
                <a:pos x="T10" y="T11"/>
              </a:cxn>
              <a:cxn ang="T86">
                <a:pos x="T12" y="T13"/>
              </a:cxn>
              <a:cxn ang="T87">
                <a:pos x="T14" y="T15"/>
              </a:cxn>
              <a:cxn ang="T88">
                <a:pos x="T16" y="T17"/>
              </a:cxn>
              <a:cxn ang="T89">
                <a:pos x="T18" y="T19"/>
              </a:cxn>
              <a:cxn ang="T90">
                <a:pos x="T20" y="T21"/>
              </a:cxn>
              <a:cxn ang="T91">
                <a:pos x="T22" y="T23"/>
              </a:cxn>
              <a:cxn ang="T92">
                <a:pos x="T24" y="T25"/>
              </a:cxn>
              <a:cxn ang="T93">
                <a:pos x="T26" y="T27"/>
              </a:cxn>
              <a:cxn ang="T94">
                <a:pos x="T28" y="T29"/>
              </a:cxn>
              <a:cxn ang="T95">
                <a:pos x="T30" y="T31"/>
              </a:cxn>
              <a:cxn ang="T96">
                <a:pos x="T32" y="T33"/>
              </a:cxn>
              <a:cxn ang="T97">
                <a:pos x="T34" y="T35"/>
              </a:cxn>
              <a:cxn ang="T98">
                <a:pos x="T36" y="T37"/>
              </a:cxn>
              <a:cxn ang="T99">
                <a:pos x="T38" y="T39"/>
              </a:cxn>
              <a:cxn ang="T100">
                <a:pos x="T40" y="T41"/>
              </a:cxn>
              <a:cxn ang="T101">
                <a:pos x="T42" y="T43"/>
              </a:cxn>
              <a:cxn ang="T102">
                <a:pos x="T44" y="T45"/>
              </a:cxn>
              <a:cxn ang="T103">
                <a:pos x="T46" y="T47"/>
              </a:cxn>
              <a:cxn ang="T104">
                <a:pos x="T48" y="T49"/>
              </a:cxn>
              <a:cxn ang="T105">
                <a:pos x="T50" y="T51"/>
              </a:cxn>
              <a:cxn ang="T106">
                <a:pos x="T52" y="T53"/>
              </a:cxn>
              <a:cxn ang="T107">
                <a:pos x="T54" y="T55"/>
              </a:cxn>
              <a:cxn ang="T108">
                <a:pos x="T56" y="T57"/>
              </a:cxn>
              <a:cxn ang="T109">
                <a:pos x="T58" y="T59"/>
              </a:cxn>
              <a:cxn ang="T110">
                <a:pos x="T60" y="T61"/>
              </a:cxn>
              <a:cxn ang="T111">
                <a:pos x="T62" y="T63"/>
              </a:cxn>
              <a:cxn ang="T112">
                <a:pos x="T64" y="T65"/>
              </a:cxn>
              <a:cxn ang="T113">
                <a:pos x="T66" y="T67"/>
              </a:cxn>
              <a:cxn ang="T114">
                <a:pos x="T68" y="T69"/>
              </a:cxn>
              <a:cxn ang="T115">
                <a:pos x="T70" y="T71"/>
              </a:cxn>
              <a:cxn ang="T116">
                <a:pos x="T72" y="T73"/>
              </a:cxn>
              <a:cxn ang="T117">
                <a:pos x="T74" y="T75"/>
              </a:cxn>
              <a:cxn ang="T118">
                <a:pos x="T76" y="T77"/>
              </a:cxn>
              <a:cxn ang="T119">
                <a:pos x="T78" y="T79"/>
              </a:cxn>
            </a:cxnLst>
            <a:rect l="T120" t="T121" r="T122" b="T123"/>
            <a:pathLst>
              <a:path w="736598" h="628647">
                <a:moveTo>
                  <a:pt x="447866" y="0"/>
                </a:moveTo>
                <a:lnTo>
                  <a:pt x="516033" y="0"/>
                </a:lnTo>
                <a:lnTo>
                  <a:pt x="584199" y="15242"/>
                </a:lnTo>
                <a:lnTo>
                  <a:pt x="582388" y="17323"/>
                </a:lnTo>
                <a:lnTo>
                  <a:pt x="586470" y="14295"/>
                </a:lnTo>
                <a:lnTo>
                  <a:pt x="614989" y="35874"/>
                </a:lnTo>
                <a:cubicBezTo>
                  <a:pt x="618510" y="43010"/>
                  <a:pt x="622204" y="50400"/>
                  <a:pt x="625726" y="57593"/>
                </a:cubicBezTo>
                <a:lnTo>
                  <a:pt x="661322" y="99092"/>
                </a:lnTo>
                <a:lnTo>
                  <a:pt x="693430" y="124351"/>
                </a:lnTo>
                <a:lnTo>
                  <a:pt x="693430" y="167648"/>
                </a:lnTo>
                <a:cubicBezTo>
                  <a:pt x="692291" y="182090"/>
                  <a:pt x="690945" y="196532"/>
                  <a:pt x="689909" y="211086"/>
                </a:cubicBezTo>
                <a:cubicBezTo>
                  <a:pt x="693430" y="231597"/>
                  <a:pt x="697021" y="251995"/>
                  <a:pt x="700681" y="272422"/>
                </a:cubicBezTo>
                <a:lnTo>
                  <a:pt x="732242" y="292955"/>
                </a:lnTo>
                <a:lnTo>
                  <a:pt x="736598" y="292102"/>
                </a:lnTo>
                <a:lnTo>
                  <a:pt x="735129" y="294833"/>
                </a:lnTo>
                <a:lnTo>
                  <a:pt x="735793" y="295265"/>
                </a:lnTo>
                <a:lnTo>
                  <a:pt x="734780" y="295482"/>
                </a:lnTo>
                <a:lnTo>
                  <a:pt x="726114" y="311598"/>
                </a:lnTo>
                <a:lnTo>
                  <a:pt x="705050" y="334651"/>
                </a:lnTo>
                <a:cubicBezTo>
                  <a:pt x="701555" y="341764"/>
                  <a:pt x="698013" y="348845"/>
                  <a:pt x="694518" y="355957"/>
                </a:cubicBezTo>
                <a:lnTo>
                  <a:pt x="668260" y="350592"/>
                </a:lnTo>
                <a:lnTo>
                  <a:pt x="652438" y="343510"/>
                </a:lnTo>
                <a:lnTo>
                  <a:pt x="620937" y="343510"/>
                </a:lnTo>
                <a:lnTo>
                  <a:pt x="584100" y="343510"/>
                </a:lnTo>
                <a:lnTo>
                  <a:pt x="559588" y="354210"/>
                </a:lnTo>
                <a:lnTo>
                  <a:pt x="522751" y="387838"/>
                </a:lnTo>
                <a:lnTo>
                  <a:pt x="505229" y="412700"/>
                </a:lnTo>
                <a:lnTo>
                  <a:pt x="475429" y="414447"/>
                </a:lnTo>
                <a:lnTo>
                  <a:pt x="454412" y="425115"/>
                </a:lnTo>
                <a:lnTo>
                  <a:pt x="436891" y="439309"/>
                </a:lnTo>
                <a:cubicBezTo>
                  <a:pt x="437457" y="450539"/>
                  <a:pt x="438024" y="461769"/>
                  <a:pt x="438638" y="472999"/>
                </a:cubicBezTo>
                <a:lnTo>
                  <a:pt x="438638" y="510245"/>
                </a:lnTo>
                <a:lnTo>
                  <a:pt x="438638" y="547461"/>
                </a:lnTo>
                <a:lnTo>
                  <a:pt x="428106" y="568735"/>
                </a:lnTo>
                <a:lnTo>
                  <a:pt x="424371" y="579535"/>
                </a:lnTo>
                <a:lnTo>
                  <a:pt x="426258" y="582349"/>
                </a:lnTo>
                <a:lnTo>
                  <a:pt x="392241" y="578642"/>
                </a:lnTo>
                <a:lnTo>
                  <a:pt x="376106" y="565680"/>
                </a:lnTo>
                <a:lnTo>
                  <a:pt x="356409" y="554559"/>
                </a:lnTo>
                <a:lnTo>
                  <a:pt x="333114" y="554559"/>
                </a:lnTo>
                <a:lnTo>
                  <a:pt x="306256" y="565680"/>
                </a:lnTo>
                <a:lnTo>
                  <a:pt x="286559" y="576788"/>
                </a:lnTo>
                <a:lnTo>
                  <a:pt x="257921" y="576788"/>
                </a:lnTo>
                <a:lnTo>
                  <a:pt x="231028" y="593457"/>
                </a:lnTo>
                <a:lnTo>
                  <a:pt x="211331" y="617539"/>
                </a:lnTo>
                <a:lnTo>
                  <a:pt x="189852" y="628647"/>
                </a:lnTo>
                <a:lnTo>
                  <a:pt x="155835" y="611979"/>
                </a:lnTo>
                <a:lnTo>
                  <a:pt x="128943" y="611979"/>
                </a:lnTo>
                <a:cubicBezTo>
                  <a:pt x="127162" y="605805"/>
                  <a:pt x="125346" y="599631"/>
                  <a:pt x="123565" y="593457"/>
                </a:cubicBezTo>
                <a:lnTo>
                  <a:pt x="123565" y="560120"/>
                </a:lnTo>
                <a:lnTo>
                  <a:pt x="123565" y="528636"/>
                </a:lnTo>
                <a:lnTo>
                  <a:pt x="87767" y="511968"/>
                </a:lnTo>
                <a:lnTo>
                  <a:pt x="75890" y="500918"/>
                </a:lnTo>
                <a:lnTo>
                  <a:pt x="65311" y="501648"/>
                </a:lnTo>
                <a:lnTo>
                  <a:pt x="81644" y="451953"/>
                </a:lnTo>
                <a:lnTo>
                  <a:pt x="91619" y="428883"/>
                </a:lnTo>
                <a:lnTo>
                  <a:pt x="100698" y="412926"/>
                </a:lnTo>
                <a:lnTo>
                  <a:pt x="107952" y="396968"/>
                </a:lnTo>
                <a:lnTo>
                  <a:pt x="85271" y="362342"/>
                </a:lnTo>
                <a:lnTo>
                  <a:pt x="65311" y="333983"/>
                </a:lnTo>
                <a:lnTo>
                  <a:pt x="48082" y="309135"/>
                </a:lnTo>
                <a:lnTo>
                  <a:pt x="42641" y="250550"/>
                </a:lnTo>
                <a:lnTo>
                  <a:pt x="42641" y="200899"/>
                </a:lnTo>
                <a:lnTo>
                  <a:pt x="12695" y="137869"/>
                </a:lnTo>
                <a:lnTo>
                  <a:pt x="0" y="100620"/>
                </a:lnTo>
                <a:lnTo>
                  <a:pt x="0" y="57148"/>
                </a:lnTo>
                <a:lnTo>
                  <a:pt x="3940" y="58890"/>
                </a:lnTo>
                <a:lnTo>
                  <a:pt x="81" y="54770"/>
                </a:lnTo>
                <a:lnTo>
                  <a:pt x="21694" y="51434"/>
                </a:lnTo>
                <a:lnTo>
                  <a:pt x="53937" y="40003"/>
                </a:lnTo>
                <a:cubicBezTo>
                  <a:pt x="62932" y="34291"/>
                  <a:pt x="71869" y="28573"/>
                  <a:pt x="80923" y="22861"/>
                </a:cubicBezTo>
                <a:lnTo>
                  <a:pt x="122279" y="11430"/>
                </a:lnTo>
                <a:lnTo>
                  <a:pt x="170644" y="5713"/>
                </a:lnTo>
                <a:lnTo>
                  <a:pt x="221754" y="9525"/>
                </a:lnTo>
                <a:cubicBezTo>
                  <a:pt x="237292" y="15878"/>
                  <a:pt x="252946" y="22225"/>
                  <a:pt x="268425" y="28573"/>
                </a:cubicBezTo>
                <a:lnTo>
                  <a:pt x="286299" y="28573"/>
                </a:lnTo>
                <a:cubicBezTo>
                  <a:pt x="300668" y="37468"/>
                  <a:pt x="315096" y="46351"/>
                  <a:pt x="329290" y="55245"/>
                </a:cubicBezTo>
                <a:lnTo>
                  <a:pt x="354407" y="55245"/>
                </a:lnTo>
                <a:cubicBezTo>
                  <a:pt x="362234" y="50163"/>
                  <a:pt x="370062" y="45086"/>
                  <a:pt x="377714" y="40003"/>
                </a:cubicBezTo>
                <a:cubicBezTo>
                  <a:pt x="386125" y="32385"/>
                  <a:pt x="394595" y="24761"/>
                  <a:pt x="402947" y="17143"/>
                </a:cubicBezTo>
                <a:close/>
              </a:path>
            </a:pathLst>
          </a:custGeom>
          <a:solidFill>
            <a:srgbClr val="70B0DF"/>
          </a:solidFill>
          <a:ln w="3175" cap="flat" cmpd="sng">
            <a:noFill/>
            <a:prstDash val="solid"/>
            <a:round/>
            <a:headEnd type="none" w="med" len="med"/>
            <a:tailEnd type="none" w="sm" len="sm"/>
          </a:ln>
        </p:spPr>
        <p:txBody>
          <a:bodyPr wrap="none" lIns="32632" tIns="32632" rIns="32632" bIns="32632"/>
          <a:lstStyle/>
          <a:p>
            <a:pPr defTabSz="891045"/>
            <a:endParaRPr lang="en-US" sz="1700" dirty="0">
              <a:solidFill>
                <a:srgbClr val="003149"/>
              </a:solidFill>
              <a:cs typeface="Arial" panose="020B0604020202020204" pitchFamily="34" charset="0"/>
            </a:endParaRPr>
          </a:p>
        </p:txBody>
      </p:sp>
      <p:sp>
        <p:nvSpPr>
          <p:cNvPr id="73" name="Freeform 673"/>
          <p:cNvSpPr>
            <a:spLocks noChangeAspect="1"/>
          </p:cNvSpPr>
          <p:nvPr>
            <p:custDataLst>
              <p:tags r:id="rId50"/>
            </p:custDataLst>
          </p:nvPr>
        </p:nvSpPr>
        <p:spPr bwMode="gray">
          <a:xfrm>
            <a:off x="2708515" y="2994196"/>
            <a:ext cx="164914" cy="149222"/>
          </a:xfrm>
          <a:custGeom>
            <a:avLst/>
            <a:gdLst>
              <a:gd name="T0" fmla="*/ 0 w 939807"/>
              <a:gd name="T1" fmla="*/ 0 h 771539"/>
              <a:gd name="T2" fmla="*/ 0 w 939807"/>
              <a:gd name="T3" fmla="*/ 0 h 771539"/>
              <a:gd name="T4" fmla="*/ 0 w 939807"/>
              <a:gd name="T5" fmla="*/ 0 h 771539"/>
              <a:gd name="T6" fmla="*/ 0 w 939807"/>
              <a:gd name="T7" fmla="*/ 0 h 771539"/>
              <a:gd name="T8" fmla="*/ 0 w 939807"/>
              <a:gd name="T9" fmla="*/ 0 h 771539"/>
              <a:gd name="T10" fmla="*/ 0 w 939807"/>
              <a:gd name="T11" fmla="*/ 0 h 771539"/>
              <a:gd name="T12" fmla="*/ 0 w 939807"/>
              <a:gd name="T13" fmla="*/ 0 h 771539"/>
              <a:gd name="T14" fmla="*/ 0 w 939807"/>
              <a:gd name="T15" fmla="*/ 0 h 771539"/>
              <a:gd name="T16" fmla="*/ 0 w 939807"/>
              <a:gd name="T17" fmla="*/ 0 h 771539"/>
              <a:gd name="T18" fmla="*/ 0 w 939807"/>
              <a:gd name="T19" fmla="*/ 0 h 771539"/>
              <a:gd name="T20" fmla="*/ 0 w 939807"/>
              <a:gd name="T21" fmla="*/ 0 h 771539"/>
              <a:gd name="T22" fmla="*/ 0 w 939807"/>
              <a:gd name="T23" fmla="*/ 0 h 771539"/>
              <a:gd name="T24" fmla="*/ 0 w 939807"/>
              <a:gd name="T25" fmla="*/ 0 h 771539"/>
              <a:gd name="T26" fmla="*/ 0 w 939807"/>
              <a:gd name="T27" fmla="*/ 0 h 771539"/>
              <a:gd name="T28" fmla="*/ 0 w 939807"/>
              <a:gd name="T29" fmla="*/ 0 h 771539"/>
              <a:gd name="T30" fmla="*/ 0 w 939807"/>
              <a:gd name="T31" fmla="*/ 0 h 771539"/>
              <a:gd name="T32" fmla="*/ 0 w 939807"/>
              <a:gd name="T33" fmla="*/ 0 h 771539"/>
              <a:gd name="T34" fmla="*/ 0 w 939807"/>
              <a:gd name="T35" fmla="*/ 0 h 771539"/>
              <a:gd name="T36" fmla="*/ 0 w 939807"/>
              <a:gd name="T37" fmla="*/ 0 h 771539"/>
              <a:gd name="T38" fmla="*/ 0 w 939807"/>
              <a:gd name="T39" fmla="*/ 0 h 771539"/>
              <a:gd name="T40" fmla="*/ 0 w 939807"/>
              <a:gd name="T41" fmla="*/ 0 h 771539"/>
              <a:gd name="T42" fmla="*/ 0 w 939807"/>
              <a:gd name="T43" fmla="*/ 0 h 771539"/>
              <a:gd name="T44" fmla="*/ 0 w 939807"/>
              <a:gd name="T45" fmla="*/ 0 h 771539"/>
              <a:gd name="T46" fmla="*/ 0 w 939807"/>
              <a:gd name="T47" fmla="*/ 0 h 771539"/>
              <a:gd name="T48" fmla="*/ 0 w 939807"/>
              <a:gd name="T49" fmla="*/ 0 h 771539"/>
              <a:gd name="T50" fmla="*/ 0 w 939807"/>
              <a:gd name="T51" fmla="*/ 0 h 771539"/>
              <a:gd name="T52" fmla="*/ 0 w 939807"/>
              <a:gd name="T53" fmla="*/ 0 h 771539"/>
              <a:gd name="T54" fmla="*/ 0 w 939807"/>
              <a:gd name="T55" fmla="*/ 0 h 771539"/>
              <a:gd name="T56" fmla="*/ 0 w 939807"/>
              <a:gd name="T57" fmla="*/ 0 h 771539"/>
              <a:gd name="T58" fmla="*/ 0 w 939807"/>
              <a:gd name="T59" fmla="*/ 0 h 771539"/>
              <a:gd name="T60" fmla="*/ 0 w 939807"/>
              <a:gd name="T61" fmla="*/ 0 h 771539"/>
              <a:gd name="T62" fmla="*/ 0 w 939807"/>
              <a:gd name="T63" fmla="*/ 0 h 771539"/>
              <a:gd name="T64" fmla="*/ 0 w 939807"/>
              <a:gd name="T65" fmla="*/ 0 h 771539"/>
              <a:gd name="T66" fmla="*/ 0 w 939807"/>
              <a:gd name="T67" fmla="*/ 0 h 771539"/>
              <a:gd name="T68" fmla="*/ 0 w 939807"/>
              <a:gd name="T69" fmla="*/ 0 h 771539"/>
              <a:gd name="T70" fmla="*/ 0 w 939807"/>
              <a:gd name="T71" fmla="*/ 0 h 771539"/>
              <a:gd name="T72" fmla="*/ 0 w 939807"/>
              <a:gd name="T73" fmla="*/ 0 h 771539"/>
              <a:gd name="T74" fmla="*/ 0 w 939807"/>
              <a:gd name="T75" fmla="*/ 0 h 771539"/>
              <a:gd name="T76" fmla="*/ 0 w 939807"/>
              <a:gd name="T77" fmla="*/ 0 h 771539"/>
              <a:gd name="T78" fmla="*/ 0 w 939807"/>
              <a:gd name="T79" fmla="*/ 0 h 771539"/>
              <a:gd name="T80" fmla="*/ 0 w 939807"/>
              <a:gd name="T81" fmla="*/ 0 h 771539"/>
              <a:gd name="T82" fmla="*/ 0 w 939807"/>
              <a:gd name="T83" fmla="*/ 0 h 771539"/>
              <a:gd name="T84" fmla="*/ 0 w 939807"/>
              <a:gd name="T85" fmla="*/ 0 h 771539"/>
              <a:gd name="T86" fmla="*/ 0 w 939807"/>
              <a:gd name="T87" fmla="*/ 0 h 771539"/>
              <a:gd name="T88" fmla="*/ 0 w 939807"/>
              <a:gd name="T89" fmla="*/ 0 h 771539"/>
              <a:gd name="T90" fmla="*/ 0 w 939807"/>
              <a:gd name="T91" fmla="*/ 0 h 771539"/>
              <a:gd name="T92" fmla="*/ 0 w 939807"/>
              <a:gd name="T93" fmla="*/ 0 h 771539"/>
              <a:gd name="T94" fmla="*/ 0 w 939807"/>
              <a:gd name="T95" fmla="*/ 0 h 771539"/>
              <a:gd name="T96" fmla="*/ 0 w 939807"/>
              <a:gd name="T97" fmla="*/ 0 h 771539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w 939807"/>
              <a:gd name="T148" fmla="*/ 0 h 771539"/>
              <a:gd name="T149" fmla="*/ 939807 w 939807"/>
              <a:gd name="T150" fmla="*/ 771539 h 771539"/>
            </a:gdLst>
            <a:ahLst/>
            <a:cxnLst>
              <a:cxn ang="T98">
                <a:pos x="T0" y="T1"/>
              </a:cxn>
              <a:cxn ang="T99">
                <a:pos x="T2" y="T3"/>
              </a:cxn>
              <a:cxn ang="T100">
                <a:pos x="T4" y="T5"/>
              </a:cxn>
              <a:cxn ang="T101">
                <a:pos x="T6" y="T7"/>
              </a:cxn>
              <a:cxn ang="T102">
                <a:pos x="T8" y="T9"/>
              </a:cxn>
              <a:cxn ang="T103">
                <a:pos x="T10" y="T11"/>
              </a:cxn>
              <a:cxn ang="T104">
                <a:pos x="T12" y="T13"/>
              </a:cxn>
              <a:cxn ang="T105">
                <a:pos x="T14" y="T15"/>
              </a:cxn>
              <a:cxn ang="T106">
                <a:pos x="T16" y="T17"/>
              </a:cxn>
              <a:cxn ang="T107">
                <a:pos x="T18" y="T19"/>
              </a:cxn>
              <a:cxn ang="T108">
                <a:pos x="T20" y="T21"/>
              </a:cxn>
              <a:cxn ang="T109">
                <a:pos x="T22" y="T23"/>
              </a:cxn>
              <a:cxn ang="T110">
                <a:pos x="T24" y="T25"/>
              </a:cxn>
              <a:cxn ang="T111">
                <a:pos x="T26" y="T27"/>
              </a:cxn>
              <a:cxn ang="T112">
                <a:pos x="T28" y="T29"/>
              </a:cxn>
              <a:cxn ang="T113">
                <a:pos x="T30" y="T31"/>
              </a:cxn>
              <a:cxn ang="T114">
                <a:pos x="T32" y="T33"/>
              </a:cxn>
              <a:cxn ang="T115">
                <a:pos x="T34" y="T35"/>
              </a:cxn>
              <a:cxn ang="T116">
                <a:pos x="T36" y="T37"/>
              </a:cxn>
              <a:cxn ang="T117">
                <a:pos x="T38" y="T39"/>
              </a:cxn>
              <a:cxn ang="T118">
                <a:pos x="T40" y="T41"/>
              </a:cxn>
              <a:cxn ang="T119">
                <a:pos x="T42" y="T43"/>
              </a:cxn>
              <a:cxn ang="T120">
                <a:pos x="T44" y="T45"/>
              </a:cxn>
              <a:cxn ang="T121">
                <a:pos x="T46" y="T47"/>
              </a:cxn>
              <a:cxn ang="T122">
                <a:pos x="T48" y="T49"/>
              </a:cxn>
              <a:cxn ang="T123">
                <a:pos x="T50" y="T51"/>
              </a:cxn>
              <a:cxn ang="T124">
                <a:pos x="T52" y="T53"/>
              </a:cxn>
              <a:cxn ang="T125">
                <a:pos x="T54" y="T55"/>
              </a:cxn>
              <a:cxn ang="T126">
                <a:pos x="T56" y="T57"/>
              </a:cxn>
              <a:cxn ang="T127">
                <a:pos x="T58" y="T59"/>
              </a:cxn>
              <a:cxn ang="T128">
                <a:pos x="T60" y="T61"/>
              </a:cxn>
              <a:cxn ang="T129">
                <a:pos x="T62" y="T63"/>
              </a:cxn>
              <a:cxn ang="T130">
                <a:pos x="T64" y="T65"/>
              </a:cxn>
              <a:cxn ang="T131">
                <a:pos x="T66" y="T67"/>
              </a:cxn>
              <a:cxn ang="T132">
                <a:pos x="T68" y="T69"/>
              </a:cxn>
              <a:cxn ang="T133">
                <a:pos x="T70" y="T71"/>
              </a:cxn>
              <a:cxn ang="T134">
                <a:pos x="T72" y="T73"/>
              </a:cxn>
              <a:cxn ang="T135">
                <a:pos x="T74" y="T75"/>
              </a:cxn>
              <a:cxn ang="T136">
                <a:pos x="T76" y="T77"/>
              </a:cxn>
              <a:cxn ang="T137">
                <a:pos x="T78" y="T79"/>
              </a:cxn>
              <a:cxn ang="T138">
                <a:pos x="T80" y="T81"/>
              </a:cxn>
              <a:cxn ang="T139">
                <a:pos x="T82" y="T83"/>
              </a:cxn>
              <a:cxn ang="T140">
                <a:pos x="T84" y="T85"/>
              </a:cxn>
              <a:cxn ang="T141">
                <a:pos x="T86" y="T87"/>
              </a:cxn>
              <a:cxn ang="T142">
                <a:pos x="T88" y="T89"/>
              </a:cxn>
              <a:cxn ang="T143">
                <a:pos x="T90" y="T91"/>
              </a:cxn>
              <a:cxn ang="T144">
                <a:pos x="T92" y="T93"/>
              </a:cxn>
              <a:cxn ang="T145">
                <a:pos x="T94" y="T95"/>
              </a:cxn>
              <a:cxn ang="T146">
                <a:pos x="T96" y="T97"/>
              </a:cxn>
            </a:cxnLst>
            <a:rect l="T147" t="T148" r="T149" b="T150"/>
            <a:pathLst>
              <a:path w="939807" h="771539">
                <a:moveTo>
                  <a:pt x="336548" y="0"/>
                </a:moveTo>
                <a:lnTo>
                  <a:pt x="338210" y="7382"/>
                </a:lnTo>
                <a:lnTo>
                  <a:pt x="357744" y="16475"/>
                </a:lnTo>
                <a:lnTo>
                  <a:pt x="464523" y="27274"/>
                </a:lnTo>
                <a:lnTo>
                  <a:pt x="535941" y="5575"/>
                </a:lnTo>
                <a:lnTo>
                  <a:pt x="610879" y="5575"/>
                </a:lnTo>
                <a:lnTo>
                  <a:pt x="675176" y="16475"/>
                </a:lnTo>
                <a:lnTo>
                  <a:pt x="721710" y="16475"/>
                </a:lnTo>
                <a:lnTo>
                  <a:pt x="741715" y="36864"/>
                </a:lnTo>
                <a:cubicBezTo>
                  <a:pt x="757328" y="30112"/>
                  <a:pt x="764606" y="27522"/>
                  <a:pt x="757872" y="31869"/>
                </a:cubicBezTo>
                <a:lnTo>
                  <a:pt x="745238" y="39197"/>
                </a:lnTo>
                <a:lnTo>
                  <a:pt x="726622" y="68566"/>
                </a:lnTo>
                <a:lnTo>
                  <a:pt x="705363" y="81891"/>
                </a:lnTo>
                <a:cubicBezTo>
                  <a:pt x="708888" y="96548"/>
                  <a:pt x="712486" y="111206"/>
                  <a:pt x="716048" y="125917"/>
                </a:cubicBezTo>
                <a:lnTo>
                  <a:pt x="745238" y="136577"/>
                </a:lnTo>
                <a:cubicBezTo>
                  <a:pt x="743953" y="142386"/>
                  <a:pt x="742631" y="148143"/>
                  <a:pt x="741272" y="153953"/>
                </a:cubicBezTo>
                <a:cubicBezTo>
                  <a:pt x="743512" y="167278"/>
                  <a:pt x="745715" y="180603"/>
                  <a:pt x="747955" y="193928"/>
                </a:cubicBezTo>
                <a:lnTo>
                  <a:pt x="766570" y="215301"/>
                </a:lnTo>
                <a:lnTo>
                  <a:pt x="791869" y="225961"/>
                </a:lnTo>
                <a:cubicBezTo>
                  <a:pt x="790510" y="239286"/>
                  <a:pt x="789188" y="252611"/>
                  <a:pt x="787830" y="265989"/>
                </a:cubicBezTo>
                <a:lnTo>
                  <a:pt x="827741" y="294025"/>
                </a:lnTo>
                <a:lnTo>
                  <a:pt x="849000" y="340663"/>
                </a:lnTo>
                <a:lnTo>
                  <a:pt x="870296" y="408727"/>
                </a:lnTo>
                <a:lnTo>
                  <a:pt x="879622" y="410059"/>
                </a:lnTo>
                <a:lnTo>
                  <a:pt x="872366" y="416482"/>
                </a:lnTo>
                <a:lnTo>
                  <a:pt x="895112" y="438022"/>
                </a:lnTo>
                <a:cubicBezTo>
                  <a:pt x="891284" y="446771"/>
                  <a:pt x="886956" y="455060"/>
                  <a:pt x="882628" y="463738"/>
                </a:cubicBezTo>
                <a:cubicBezTo>
                  <a:pt x="884958" y="469902"/>
                  <a:pt x="886956" y="476242"/>
                  <a:pt x="889036" y="482618"/>
                </a:cubicBezTo>
                <a:lnTo>
                  <a:pt x="908096" y="489030"/>
                </a:lnTo>
                <a:lnTo>
                  <a:pt x="933690" y="507910"/>
                </a:lnTo>
                <a:cubicBezTo>
                  <a:pt x="935687" y="514463"/>
                  <a:pt x="937518" y="520520"/>
                  <a:pt x="939807" y="527002"/>
                </a:cubicBezTo>
                <a:lnTo>
                  <a:pt x="914380" y="559024"/>
                </a:lnTo>
                <a:lnTo>
                  <a:pt x="857367" y="564904"/>
                </a:lnTo>
                <a:cubicBezTo>
                  <a:pt x="859365" y="573618"/>
                  <a:pt x="861487" y="582155"/>
                  <a:pt x="863526" y="590514"/>
                </a:cubicBezTo>
                <a:cubicBezTo>
                  <a:pt x="857367" y="596890"/>
                  <a:pt x="850750" y="603266"/>
                  <a:pt x="844550" y="609571"/>
                </a:cubicBezTo>
                <a:lnTo>
                  <a:pt x="818998" y="628664"/>
                </a:lnTo>
                <a:cubicBezTo>
                  <a:pt x="816959" y="639326"/>
                  <a:pt x="814586" y="650059"/>
                  <a:pt x="812755" y="660402"/>
                </a:cubicBezTo>
                <a:lnTo>
                  <a:pt x="768352" y="685941"/>
                </a:lnTo>
                <a:lnTo>
                  <a:pt x="723907" y="660402"/>
                </a:lnTo>
                <a:lnTo>
                  <a:pt x="692279" y="685941"/>
                </a:lnTo>
                <a:cubicBezTo>
                  <a:pt x="694318" y="692176"/>
                  <a:pt x="696482" y="698481"/>
                  <a:pt x="698563" y="704892"/>
                </a:cubicBezTo>
                <a:lnTo>
                  <a:pt x="698563" y="755652"/>
                </a:lnTo>
                <a:lnTo>
                  <a:pt x="673011" y="730431"/>
                </a:lnTo>
                <a:lnTo>
                  <a:pt x="628607" y="717502"/>
                </a:lnTo>
                <a:lnTo>
                  <a:pt x="628607" y="749205"/>
                </a:lnTo>
                <a:lnTo>
                  <a:pt x="571636" y="768121"/>
                </a:lnTo>
                <a:lnTo>
                  <a:pt x="524029" y="770159"/>
                </a:lnTo>
                <a:lnTo>
                  <a:pt x="523066" y="771539"/>
                </a:lnTo>
                <a:lnTo>
                  <a:pt x="504550" y="718872"/>
                </a:lnTo>
                <a:lnTo>
                  <a:pt x="463350" y="695522"/>
                </a:lnTo>
                <a:lnTo>
                  <a:pt x="434701" y="673976"/>
                </a:lnTo>
                <a:cubicBezTo>
                  <a:pt x="431717" y="666795"/>
                  <a:pt x="428683" y="659576"/>
                  <a:pt x="425699" y="652394"/>
                </a:cubicBezTo>
                <a:lnTo>
                  <a:pt x="388100" y="641640"/>
                </a:lnTo>
                <a:lnTo>
                  <a:pt x="364800" y="654199"/>
                </a:lnTo>
                <a:lnTo>
                  <a:pt x="345049" y="673976"/>
                </a:lnTo>
                <a:lnTo>
                  <a:pt x="321749" y="684731"/>
                </a:lnTo>
                <a:lnTo>
                  <a:pt x="294900" y="690145"/>
                </a:lnTo>
                <a:lnTo>
                  <a:pt x="275148" y="670367"/>
                </a:lnTo>
                <a:cubicBezTo>
                  <a:pt x="272782" y="655414"/>
                  <a:pt x="270365" y="640424"/>
                  <a:pt x="267999" y="625471"/>
                </a:cubicBezTo>
                <a:cubicBezTo>
                  <a:pt x="266198" y="616485"/>
                  <a:pt x="264450" y="607498"/>
                  <a:pt x="262649" y="598512"/>
                </a:cubicBezTo>
                <a:lnTo>
                  <a:pt x="241098" y="576966"/>
                </a:lnTo>
                <a:lnTo>
                  <a:pt x="214249" y="573357"/>
                </a:lnTo>
                <a:lnTo>
                  <a:pt x="165848" y="562566"/>
                </a:lnTo>
                <a:lnTo>
                  <a:pt x="124649" y="523047"/>
                </a:lnTo>
                <a:lnTo>
                  <a:pt x="124649" y="490710"/>
                </a:lnTo>
                <a:lnTo>
                  <a:pt x="119248" y="454801"/>
                </a:lnTo>
                <a:lnTo>
                  <a:pt x="119248" y="415246"/>
                </a:lnTo>
                <a:cubicBezTo>
                  <a:pt x="116882" y="408064"/>
                  <a:pt x="114465" y="400882"/>
                  <a:pt x="112099" y="393700"/>
                </a:cubicBezTo>
                <a:lnTo>
                  <a:pt x="79849" y="393700"/>
                </a:lnTo>
                <a:lnTo>
                  <a:pt x="31448" y="395505"/>
                </a:lnTo>
                <a:lnTo>
                  <a:pt x="15510" y="395505"/>
                </a:lnTo>
                <a:lnTo>
                  <a:pt x="8649" y="400826"/>
                </a:lnTo>
                <a:lnTo>
                  <a:pt x="7125" y="395505"/>
                </a:lnTo>
                <a:lnTo>
                  <a:pt x="6348" y="395505"/>
                </a:lnTo>
                <a:lnTo>
                  <a:pt x="6962" y="394935"/>
                </a:lnTo>
                <a:lnTo>
                  <a:pt x="0" y="370629"/>
                </a:lnTo>
                <a:cubicBezTo>
                  <a:pt x="2322" y="358228"/>
                  <a:pt x="4678" y="345787"/>
                  <a:pt x="7000" y="333385"/>
                </a:cubicBezTo>
                <a:lnTo>
                  <a:pt x="26284" y="308582"/>
                </a:lnTo>
                <a:cubicBezTo>
                  <a:pt x="26856" y="297952"/>
                  <a:pt x="27462" y="287283"/>
                  <a:pt x="28034" y="276653"/>
                </a:cubicBezTo>
                <a:lnTo>
                  <a:pt x="38568" y="255354"/>
                </a:lnTo>
                <a:lnTo>
                  <a:pt x="38568" y="218149"/>
                </a:lnTo>
                <a:lnTo>
                  <a:pt x="38568" y="180905"/>
                </a:lnTo>
                <a:cubicBezTo>
                  <a:pt x="37996" y="169685"/>
                  <a:pt x="37390" y="158425"/>
                  <a:pt x="36818" y="147204"/>
                </a:cubicBezTo>
                <a:lnTo>
                  <a:pt x="54352" y="132992"/>
                </a:lnTo>
                <a:lnTo>
                  <a:pt x="75386" y="122362"/>
                </a:lnTo>
                <a:lnTo>
                  <a:pt x="105171" y="120590"/>
                </a:lnTo>
                <a:lnTo>
                  <a:pt x="122705" y="95748"/>
                </a:lnTo>
                <a:lnTo>
                  <a:pt x="159523" y="62086"/>
                </a:lnTo>
                <a:lnTo>
                  <a:pt x="184058" y="51417"/>
                </a:lnTo>
                <a:lnTo>
                  <a:pt x="220876" y="51417"/>
                </a:lnTo>
                <a:lnTo>
                  <a:pt x="252411" y="51417"/>
                </a:lnTo>
                <a:lnTo>
                  <a:pt x="268195" y="58504"/>
                </a:lnTo>
                <a:lnTo>
                  <a:pt x="294480" y="63858"/>
                </a:lnTo>
                <a:lnTo>
                  <a:pt x="305014" y="42559"/>
                </a:lnTo>
                <a:lnTo>
                  <a:pt x="326048" y="19488"/>
                </a:lnTo>
                <a:lnTo>
                  <a:pt x="333683" y="5317"/>
                </a:lnTo>
                <a:lnTo>
                  <a:pt x="333678" y="5272"/>
                </a:lnTo>
                <a:lnTo>
                  <a:pt x="333702" y="5283"/>
                </a:lnTo>
                <a:close/>
              </a:path>
            </a:pathLst>
          </a:custGeom>
          <a:solidFill>
            <a:srgbClr val="70B0DF"/>
          </a:solidFill>
          <a:ln w="3175" cap="flat" cmpd="sng">
            <a:noFill/>
            <a:prstDash val="solid"/>
            <a:round/>
            <a:headEnd/>
            <a:tailEnd/>
          </a:ln>
        </p:spPr>
        <p:txBody>
          <a:bodyPr wrap="none" lIns="32632" tIns="32632" rIns="32632" bIns="32632" anchor="ctr"/>
          <a:lstStyle/>
          <a:p>
            <a:pPr defTabSz="891045"/>
            <a:endParaRPr lang="en-US" sz="1700" dirty="0">
              <a:solidFill>
                <a:srgbClr val="003149"/>
              </a:solidFill>
              <a:cs typeface="Arial" panose="020B0604020202020204" pitchFamily="34" charset="0"/>
            </a:endParaRPr>
          </a:p>
        </p:txBody>
      </p:sp>
      <p:sp>
        <p:nvSpPr>
          <p:cNvPr id="74" name="Freeform 470"/>
          <p:cNvSpPr>
            <a:spLocks noChangeAspect="1"/>
          </p:cNvSpPr>
          <p:nvPr/>
        </p:nvSpPr>
        <p:spPr bwMode="gray">
          <a:xfrm>
            <a:off x="2827932" y="2893757"/>
            <a:ext cx="108047" cy="180789"/>
          </a:xfrm>
          <a:custGeom>
            <a:avLst/>
            <a:gdLst>
              <a:gd name="T0" fmla="*/ 0 w 618703"/>
              <a:gd name="T1" fmla="*/ 0 h 921791"/>
              <a:gd name="T2" fmla="*/ 0 w 618703"/>
              <a:gd name="T3" fmla="*/ 0 h 921791"/>
              <a:gd name="T4" fmla="*/ 0 w 618703"/>
              <a:gd name="T5" fmla="*/ 0 h 921791"/>
              <a:gd name="T6" fmla="*/ 0 w 618703"/>
              <a:gd name="T7" fmla="*/ 0 h 921791"/>
              <a:gd name="T8" fmla="*/ 0 w 618703"/>
              <a:gd name="T9" fmla="*/ 0 h 921791"/>
              <a:gd name="T10" fmla="*/ 0 w 618703"/>
              <a:gd name="T11" fmla="*/ 0 h 921791"/>
              <a:gd name="T12" fmla="*/ 0 w 618703"/>
              <a:gd name="T13" fmla="*/ 0 h 921791"/>
              <a:gd name="T14" fmla="*/ 0 w 618703"/>
              <a:gd name="T15" fmla="*/ 0 h 921791"/>
              <a:gd name="T16" fmla="*/ 0 w 618703"/>
              <a:gd name="T17" fmla="*/ 0 h 921791"/>
              <a:gd name="T18" fmla="*/ 0 w 618703"/>
              <a:gd name="T19" fmla="*/ 0 h 921791"/>
              <a:gd name="T20" fmla="*/ 0 w 618703"/>
              <a:gd name="T21" fmla="*/ 0 h 921791"/>
              <a:gd name="T22" fmla="*/ 0 w 618703"/>
              <a:gd name="T23" fmla="*/ 0 h 921791"/>
              <a:gd name="T24" fmla="*/ 0 w 618703"/>
              <a:gd name="T25" fmla="*/ 0 h 921791"/>
              <a:gd name="T26" fmla="*/ 0 w 618703"/>
              <a:gd name="T27" fmla="*/ 0 h 921791"/>
              <a:gd name="T28" fmla="*/ 0 w 618703"/>
              <a:gd name="T29" fmla="*/ 0 h 921791"/>
              <a:gd name="T30" fmla="*/ 0 w 618703"/>
              <a:gd name="T31" fmla="*/ 0 h 921791"/>
              <a:gd name="T32" fmla="*/ 0 w 618703"/>
              <a:gd name="T33" fmla="*/ 0 h 921791"/>
              <a:gd name="T34" fmla="*/ 0 w 618703"/>
              <a:gd name="T35" fmla="*/ 0 h 921791"/>
              <a:gd name="T36" fmla="*/ 0 w 618703"/>
              <a:gd name="T37" fmla="*/ 0 h 921791"/>
              <a:gd name="T38" fmla="*/ 0 w 618703"/>
              <a:gd name="T39" fmla="*/ 0 h 921791"/>
              <a:gd name="T40" fmla="*/ 0 w 618703"/>
              <a:gd name="T41" fmla="*/ 0 h 921791"/>
              <a:gd name="T42" fmla="*/ 0 w 618703"/>
              <a:gd name="T43" fmla="*/ 0 h 921791"/>
              <a:gd name="T44" fmla="*/ 0 w 618703"/>
              <a:gd name="T45" fmla="*/ 0 h 921791"/>
              <a:gd name="T46" fmla="*/ 0 w 618703"/>
              <a:gd name="T47" fmla="*/ 0 h 921791"/>
              <a:gd name="T48" fmla="*/ 0 w 618703"/>
              <a:gd name="T49" fmla="*/ 0 h 921791"/>
              <a:gd name="T50" fmla="*/ 0 w 618703"/>
              <a:gd name="T51" fmla="*/ 0 h 921791"/>
              <a:gd name="T52" fmla="*/ 0 w 618703"/>
              <a:gd name="T53" fmla="*/ 0 h 921791"/>
              <a:gd name="T54" fmla="*/ 0 w 618703"/>
              <a:gd name="T55" fmla="*/ 0 h 921791"/>
              <a:gd name="T56" fmla="*/ 0 w 618703"/>
              <a:gd name="T57" fmla="*/ 0 h 921791"/>
              <a:gd name="T58" fmla="*/ 0 w 618703"/>
              <a:gd name="T59" fmla="*/ 0 h 921791"/>
              <a:gd name="T60" fmla="*/ 0 w 618703"/>
              <a:gd name="T61" fmla="*/ 0 h 921791"/>
              <a:gd name="T62" fmla="*/ 0 w 618703"/>
              <a:gd name="T63" fmla="*/ 0 h 921791"/>
              <a:gd name="T64" fmla="*/ 0 w 618703"/>
              <a:gd name="T65" fmla="*/ 0 h 921791"/>
              <a:gd name="T66" fmla="*/ 0 w 618703"/>
              <a:gd name="T67" fmla="*/ 0 h 921791"/>
              <a:gd name="T68" fmla="*/ 0 w 618703"/>
              <a:gd name="T69" fmla="*/ 0 h 921791"/>
              <a:gd name="T70" fmla="*/ 0 w 618703"/>
              <a:gd name="T71" fmla="*/ 0 h 921791"/>
              <a:gd name="T72" fmla="*/ 0 w 618703"/>
              <a:gd name="T73" fmla="*/ 0 h 921791"/>
              <a:gd name="T74" fmla="*/ 0 w 618703"/>
              <a:gd name="T75" fmla="*/ 0 h 921791"/>
              <a:gd name="T76" fmla="*/ 0 w 618703"/>
              <a:gd name="T77" fmla="*/ 0 h 921791"/>
              <a:gd name="T78" fmla="*/ 0 w 618703"/>
              <a:gd name="T79" fmla="*/ 0 h 921791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w 618703"/>
              <a:gd name="T121" fmla="*/ 0 h 921791"/>
              <a:gd name="T122" fmla="*/ 618703 w 618703"/>
              <a:gd name="T123" fmla="*/ 921791 h 921791"/>
            </a:gdLst>
            <a:ahLst/>
            <a:cxnLst>
              <a:cxn ang="T80">
                <a:pos x="T0" y="T1"/>
              </a:cxn>
              <a:cxn ang="T81">
                <a:pos x="T2" y="T3"/>
              </a:cxn>
              <a:cxn ang="T82">
                <a:pos x="T4" y="T5"/>
              </a:cxn>
              <a:cxn ang="T83">
                <a:pos x="T6" y="T7"/>
              </a:cxn>
              <a:cxn ang="T84">
                <a:pos x="T8" y="T9"/>
              </a:cxn>
              <a:cxn ang="T85">
                <a:pos x="T10" y="T11"/>
              </a:cxn>
              <a:cxn ang="T86">
                <a:pos x="T12" y="T13"/>
              </a:cxn>
              <a:cxn ang="T87">
                <a:pos x="T14" y="T15"/>
              </a:cxn>
              <a:cxn ang="T88">
                <a:pos x="T16" y="T17"/>
              </a:cxn>
              <a:cxn ang="T89">
                <a:pos x="T18" y="T19"/>
              </a:cxn>
              <a:cxn ang="T90">
                <a:pos x="T20" y="T21"/>
              </a:cxn>
              <a:cxn ang="T91">
                <a:pos x="T22" y="T23"/>
              </a:cxn>
              <a:cxn ang="T92">
                <a:pos x="T24" y="T25"/>
              </a:cxn>
              <a:cxn ang="T93">
                <a:pos x="T26" y="T27"/>
              </a:cxn>
              <a:cxn ang="T94">
                <a:pos x="T28" y="T29"/>
              </a:cxn>
              <a:cxn ang="T95">
                <a:pos x="T30" y="T31"/>
              </a:cxn>
              <a:cxn ang="T96">
                <a:pos x="T32" y="T33"/>
              </a:cxn>
              <a:cxn ang="T97">
                <a:pos x="T34" y="T35"/>
              </a:cxn>
              <a:cxn ang="T98">
                <a:pos x="T36" y="T37"/>
              </a:cxn>
              <a:cxn ang="T99">
                <a:pos x="T38" y="T39"/>
              </a:cxn>
              <a:cxn ang="T100">
                <a:pos x="T40" y="T41"/>
              </a:cxn>
              <a:cxn ang="T101">
                <a:pos x="T42" y="T43"/>
              </a:cxn>
              <a:cxn ang="T102">
                <a:pos x="T44" y="T45"/>
              </a:cxn>
              <a:cxn ang="T103">
                <a:pos x="T46" y="T47"/>
              </a:cxn>
              <a:cxn ang="T104">
                <a:pos x="T48" y="T49"/>
              </a:cxn>
              <a:cxn ang="T105">
                <a:pos x="T50" y="T51"/>
              </a:cxn>
              <a:cxn ang="T106">
                <a:pos x="T52" y="T53"/>
              </a:cxn>
              <a:cxn ang="T107">
                <a:pos x="T54" y="T55"/>
              </a:cxn>
              <a:cxn ang="T108">
                <a:pos x="T56" y="T57"/>
              </a:cxn>
              <a:cxn ang="T109">
                <a:pos x="T58" y="T59"/>
              </a:cxn>
              <a:cxn ang="T110">
                <a:pos x="T60" y="T61"/>
              </a:cxn>
              <a:cxn ang="T111">
                <a:pos x="T62" y="T63"/>
              </a:cxn>
              <a:cxn ang="T112">
                <a:pos x="T64" y="T65"/>
              </a:cxn>
              <a:cxn ang="T113">
                <a:pos x="T66" y="T67"/>
              </a:cxn>
              <a:cxn ang="T114">
                <a:pos x="T68" y="T69"/>
              </a:cxn>
              <a:cxn ang="T115">
                <a:pos x="T70" y="T71"/>
              </a:cxn>
              <a:cxn ang="T116">
                <a:pos x="T72" y="T73"/>
              </a:cxn>
              <a:cxn ang="T117">
                <a:pos x="T74" y="T75"/>
              </a:cxn>
              <a:cxn ang="T118">
                <a:pos x="T76" y="T77"/>
              </a:cxn>
              <a:cxn ang="T119">
                <a:pos x="T78" y="T79"/>
              </a:cxn>
            </a:cxnLst>
            <a:rect l="T120" t="T121" r="T122" b="T123"/>
            <a:pathLst>
              <a:path w="618703" h="921791">
                <a:moveTo>
                  <a:pt x="207502" y="0"/>
                </a:moveTo>
                <a:lnTo>
                  <a:pt x="232776" y="53385"/>
                </a:lnTo>
                <a:lnTo>
                  <a:pt x="283323" y="101366"/>
                </a:lnTo>
                <a:lnTo>
                  <a:pt x="319247" y="150739"/>
                </a:lnTo>
                <a:lnTo>
                  <a:pt x="357810" y="194762"/>
                </a:lnTo>
                <a:lnTo>
                  <a:pt x="361815" y="216105"/>
                </a:lnTo>
                <a:lnTo>
                  <a:pt x="412363" y="205407"/>
                </a:lnTo>
                <a:lnTo>
                  <a:pt x="448255" y="205407"/>
                </a:lnTo>
                <a:lnTo>
                  <a:pt x="476199" y="205407"/>
                </a:lnTo>
                <a:lnTo>
                  <a:pt x="467411" y="214651"/>
                </a:lnTo>
                <a:lnTo>
                  <a:pt x="472742" y="211413"/>
                </a:lnTo>
                <a:cubicBezTo>
                  <a:pt x="487056" y="201355"/>
                  <a:pt x="477508" y="218422"/>
                  <a:pt x="477508" y="225584"/>
                </a:cubicBezTo>
                <a:lnTo>
                  <a:pt x="477508" y="246816"/>
                </a:lnTo>
                <a:lnTo>
                  <a:pt x="461807" y="278766"/>
                </a:lnTo>
                <a:lnTo>
                  <a:pt x="440897" y="321382"/>
                </a:lnTo>
                <a:lnTo>
                  <a:pt x="440897" y="353281"/>
                </a:lnTo>
                <a:lnTo>
                  <a:pt x="456562" y="374614"/>
                </a:lnTo>
                <a:lnTo>
                  <a:pt x="467053" y="411847"/>
                </a:lnTo>
                <a:lnTo>
                  <a:pt x="482735" y="427847"/>
                </a:lnTo>
                <a:lnTo>
                  <a:pt x="493208" y="459745"/>
                </a:lnTo>
                <a:lnTo>
                  <a:pt x="508890" y="475746"/>
                </a:lnTo>
                <a:lnTo>
                  <a:pt x="508890" y="491746"/>
                </a:lnTo>
                <a:lnTo>
                  <a:pt x="529818" y="534311"/>
                </a:lnTo>
                <a:lnTo>
                  <a:pt x="540255" y="576928"/>
                </a:lnTo>
                <a:lnTo>
                  <a:pt x="566411" y="624827"/>
                </a:lnTo>
                <a:lnTo>
                  <a:pt x="603003" y="667392"/>
                </a:lnTo>
                <a:lnTo>
                  <a:pt x="618703" y="719355"/>
                </a:lnTo>
                <a:lnTo>
                  <a:pt x="607063" y="718473"/>
                </a:lnTo>
                <a:lnTo>
                  <a:pt x="618698" y="724943"/>
                </a:lnTo>
                <a:lnTo>
                  <a:pt x="602662" y="743565"/>
                </a:lnTo>
                <a:lnTo>
                  <a:pt x="602662" y="771497"/>
                </a:lnTo>
                <a:lnTo>
                  <a:pt x="594644" y="808741"/>
                </a:lnTo>
                <a:lnTo>
                  <a:pt x="537202" y="820709"/>
                </a:lnTo>
                <a:lnTo>
                  <a:pt x="482433" y="843327"/>
                </a:lnTo>
                <a:lnTo>
                  <a:pt x="447731" y="853957"/>
                </a:lnTo>
                <a:lnTo>
                  <a:pt x="414300" y="861929"/>
                </a:lnTo>
                <a:lnTo>
                  <a:pt x="392962" y="900512"/>
                </a:lnTo>
                <a:lnTo>
                  <a:pt x="364877" y="900512"/>
                </a:lnTo>
                <a:lnTo>
                  <a:pt x="339508" y="900512"/>
                </a:lnTo>
                <a:lnTo>
                  <a:pt x="311466" y="900512"/>
                </a:lnTo>
                <a:lnTo>
                  <a:pt x="284739" y="900512"/>
                </a:lnTo>
                <a:lnTo>
                  <a:pt x="260684" y="917795"/>
                </a:lnTo>
                <a:lnTo>
                  <a:pt x="244648" y="904508"/>
                </a:lnTo>
                <a:lnTo>
                  <a:pt x="219279" y="900512"/>
                </a:lnTo>
                <a:lnTo>
                  <a:pt x="195461" y="913597"/>
                </a:lnTo>
                <a:lnTo>
                  <a:pt x="190210" y="919089"/>
                </a:lnTo>
                <a:lnTo>
                  <a:pt x="186446" y="918550"/>
                </a:lnTo>
                <a:lnTo>
                  <a:pt x="180546" y="921791"/>
                </a:lnTo>
                <a:lnTo>
                  <a:pt x="182628" y="918003"/>
                </a:lnTo>
                <a:lnTo>
                  <a:pt x="180895" y="917755"/>
                </a:lnTo>
                <a:lnTo>
                  <a:pt x="159627" y="849724"/>
                </a:lnTo>
                <a:lnTo>
                  <a:pt x="138326" y="803036"/>
                </a:lnTo>
                <a:lnTo>
                  <a:pt x="98428" y="775023"/>
                </a:lnTo>
                <a:lnTo>
                  <a:pt x="102435" y="735004"/>
                </a:lnTo>
                <a:lnTo>
                  <a:pt x="77160" y="724333"/>
                </a:lnTo>
                <a:lnTo>
                  <a:pt x="58530" y="702989"/>
                </a:lnTo>
                <a:cubicBezTo>
                  <a:pt x="56327" y="689650"/>
                  <a:pt x="54090" y="676311"/>
                  <a:pt x="51886" y="662971"/>
                </a:cubicBezTo>
                <a:cubicBezTo>
                  <a:pt x="53222" y="657208"/>
                  <a:pt x="54524" y="651392"/>
                  <a:pt x="55859" y="645630"/>
                </a:cubicBezTo>
                <a:lnTo>
                  <a:pt x="26612" y="634958"/>
                </a:lnTo>
                <a:lnTo>
                  <a:pt x="15962" y="590938"/>
                </a:lnTo>
                <a:lnTo>
                  <a:pt x="37229" y="577598"/>
                </a:lnTo>
                <a:lnTo>
                  <a:pt x="55859" y="548252"/>
                </a:lnTo>
                <a:lnTo>
                  <a:pt x="62999" y="544299"/>
                </a:lnTo>
                <a:lnTo>
                  <a:pt x="57399" y="540948"/>
                </a:lnTo>
                <a:lnTo>
                  <a:pt x="107616" y="486914"/>
                </a:lnTo>
                <a:lnTo>
                  <a:pt x="132709" y="454466"/>
                </a:lnTo>
                <a:lnTo>
                  <a:pt x="100433" y="418420"/>
                </a:lnTo>
                <a:lnTo>
                  <a:pt x="84279" y="414822"/>
                </a:lnTo>
                <a:lnTo>
                  <a:pt x="66370" y="409426"/>
                </a:lnTo>
                <a:lnTo>
                  <a:pt x="57399" y="393167"/>
                </a:lnTo>
                <a:lnTo>
                  <a:pt x="57399" y="353524"/>
                </a:lnTo>
                <a:lnTo>
                  <a:pt x="21517" y="303157"/>
                </a:lnTo>
                <a:lnTo>
                  <a:pt x="0" y="249054"/>
                </a:lnTo>
                <a:cubicBezTo>
                  <a:pt x="1181" y="234040"/>
                  <a:pt x="2394" y="219027"/>
                  <a:pt x="3575" y="204014"/>
                </a:cubicBezTo>
                <a:lnTo>
                  <a:pt x="53792" y="153577"/>
                </a:lnTo>
                <a:lnTo>
                  <a:pt x="86099" y="110336"/>
                </a:lnTo>
                <a:lnTo>
                  <a:pt x="121950" y="74290"/>
                </a:lnTo>
                <a:lnTo>
                  <a:pt x="154226" y="34647"/>
                </a:lnTo>
                <a:lnTo>
                  <a:pt x="199685" y="5796"/>
                </a:lnTo>
                <a:lnTo>
                  <a:pt x="201673" y="9966"/>
                </a:lnTo>
                <a:close/>
              </a:path>
            </a:pathLst>
          </a:custGeom>
          <a:solidFill>
            <a:srgbClr val="70B0DF"/>
          </a:solidFill>
          <a:ln w="9525">
            <a:noFill/>
            <a:round/>
            <a:headEnd/>
            <a:tailEnd/>
          </a:ln>
        </p:spPr>
        <p:txBody>
          <a:bodyPr wrap="none" lIns="32632" tIns="32632" rIns="32632" bIns="32632" anchor="ctr"/>
          <a:lstStyle/>
          <a:p>
            <a:pPr defTabSz="891045"/>
            <a:endParaRPr lang="en-US" sz="1700" dirty="0">
              <a:solidFill>
                <a:srgbClr val="003149"/>
              </a:solidFill>
              <a:cs typeface="Arial" panose="020B0604020202020204" pitchFamily="34" charset="0"/>
            </a:endParaRPr>
          </a:p>
        </p:txBody>
      </p:sp>
      <p:sp>
        <p:nvSpPr>
          <p:cNvPr id="75" name="Freeform 796"/>
          <p:cNvSpPr>
            <a:spLocks noChangeAspect="1"/>
          </p:cNvSpPr>
          <p:nvPr>
            <p:custDataLst>
              <p:tags r:id="rId51"/>
            </p:custDataLst>
          </p:nvPr>
        </p:nvSpPr>
        <p:spPr bwMode="gray">
          <a:xfrm>
            <a:off x="2904702" y="2926782"/>
            <a:ext cx="108047" cy="119091"/>
          </a:xfrm>
          <a:custGeom>
            <a:avLst/>
            <a:gdLst>
              <a:gd name="T0" fmla="*/ 0 w 634999"/>
              <a:gd name="T1" fmla="*/ 0 h 615952"/>
              <a:gd name="T2" fmla="*/ 0 w 634999"/>
              <a:gd name="T3" fmla="*/ 0 h 615952"/>
              <a:gd name="T4" fmla="*/ 0 w 634999"/>
              <a:gd name="T5" fmla="*/ 0 h 615952"/>
              <a:gd name="T6" fmla="*/ 0 w 634999"/>
              <a:gd name="T7" fmla="*/ 0 h 615952"/>
              <a:gd name="T8" fmla="*/ 0 w 634999"/>
              <a:gd name="T9" fmla="*/ 0 h 615952"/>
              <a:gd name="T10" fmla="*/ 0 w 634999"/>
              <a:gd name="T11" fmla="*/ 0 h 615952"/>
              <a:gd name="T12" fmla="*/ 0 w 634999"/>
              <a:gd name="T13" fmla="*/ 0 h 615952"/>
              <a:gd name="T14" fmla="*/ 0 w 634999"/>
              <a:gd name="T15" fmla="*/ 0 h 615952"/>
              <a:gd name="T16" fmla="*/ 0 w 634999"/>
              <a:gd name="T17" fmla="*/ 0 h 615952"/>
              <a:gd name="T18" fmla="*/ 0 w 634999"/>
              <a:gd name="T19" fmla="*/ 0 h 615952"/>
              <a:gd name="T20" fmla="*/ 0 w 634999"/>
              <a:gd name="T21" fmla="*/ 0 h 615952"/>
              <a:gd name="T22" fmla="*/ 0 w 634999"/>
              <a:gd name="T23" fmla="*/ 0 h 615952"/>
              <a:gd name="T24" fmla="*/ 0 w 634999"/>
              <a:gd name="T25" fmla="*/ 0 h 615952"/>
              <a:gd name="T26" fmla="*/ 0 w 634999"/>
              <a:gd name="T27" fmla="*/ 0 h 615952"/>
              <a:gd name="T28" fmla="*/ 0 w 634999"/>
              <a:gd name="T29" fmla="*/ 0 h 615952"/>
              <a:gd name="T30" fmla="*/ 0 w 634999"/>
              <a:gd name="T31" fmla="*/ 0 h 615952"/>
              <a:gd name="T32" fmla="*/ 0 w 634999"/>
              <a:gd name="T33" fmla="*/ 0 h 615952"/>
              <a:gd name="T34" fmla="*/ 0 w 634999"/>
              <a:gd name="T35" fmla="*/ 0 h 615952"/>
              <a:gd name="T36" fmla="*/ 0 w 634999"/>
              <a:gd name="T37" fmla="*/ 0 h 615952"/>
              <a:gd name="T38" fmla="*/ 0 w 634999"/>
              <a:gd name="T39" fmla="*/ 0 h 615952"/>
              <a:gd name="T40" fmla="*/ 0 w 634999"/>
              <a:gd name="T41" fmla="*/ 0 h 615952"/>
              <a:gd name="T42" fmla="*/ 0 w 634999"/>
              <a:gd name="T43" fmla="*/ 0 h 615952"/>
              <a:gd name="T44" fmla="*/ 0 w 634999"/>
              <a:gd name="T45" fmla="*/ 0 h 615952"/>
              <a:gd name="T46" fmla="*/ 0 w 634999"/>
              <a:gd name="T47" fmla="*/ 0 h 615952"/>
              <a:gd name="T48" fmla="*/ 0 w 634999"/>
              <a:gd name="T49" fmla="*/ 0 h 615952"/>
              <a:gd name="T50" fmla="*/ 0 w 634999"/>
              <a:gd name="T51" fmla="*/ 0 h 615952"/>
              <a:gd name="T52" fmla="*/ 0 w 634999"/>
              <a:gd name="T53" fmla="*/ 0 h 615952"/>
              <a:gd name="T54" fmla="*/ 0 w 634999"/>
              <a:gd name="T55" fmla="*/ 0 h 615952"/>
              <a:gd name="T56" fmla="*/ 0 w 634999"/>
              <a:gd name="T57" fmla="*/ 0 h 615952"/>
              <a:gd name="T58" fmla="*/ 0 w 634999"/>
              <a:gd name="T59" fmla="*/ 0 h 615952"/>
              <a:gd name="T60" fmla="*/ 0 w 634999"/>
              <a:gd name="T61" fmla="*/ 0 h 615952"/>
              <a:gd name="T62" fmla="*/ 0 w 634999"/>
              <a:gd name="T63" fmla="*/ 0 h 615952"/>
              <a:gd name="T64" fmla="*/ 0 w 634999"/>
              <a:gd name="T65" fmla="*/ 0 h 615952"/>
              <a:gd name="T66" fmla="*/ 0 w 634999"/>
              <a:gd name="T67" fmla="*/ 0 h 615952"/>
              <a:gd name="T68" fmla="*/ 0 w 634999"/>
              <a:gd name="T69" fmla="*/ 0 h 615952"/>
              <a:gd name="T70" fmla="*/ 0 w 634999"/>
              <a:gd name="T71" fmla="*/ 0 h 615952"/>
              <a:gd name="T72" fmla="*/ 0 w 634999"/>
              <a:gd name="T73" fmla="*/ 0 h 615952"/>
              <a:gd name="T74" fmla="*/ 0 w 634999"/>
              <a:gd name="T75" fmla="*/ 0 h 615952"/>
              <a:gd name="T76" fmla="*/ 0 w 634999"/>
              <a:gd name="T77" fmla="*/ 0 h 615952"/>
              <a:gd name="T78" fmla="*/ 0 w 634999"/>
              <a:gd name="T79" fmla="*/ 0 h 615952"/>
              <a:gd name="T80" fmla="*/ 0 w 634999"/>
              <a:gd name="T81" fmla="*/ 0 h 615952"/>
              <a:gd name="T82" fmla="*/ 0 w 634999"/>
              <a:gd name="T83" fmla="*/ 0 h 615952"/>
              <a:gd name="T84" fmla="*/ 0 w 634999"/>
              <a:gd name="T85" fmla="*/ 0 h 615952"/>
              <a:gd name="T86" fmla="*/ 0 w 634999"/>
              <a:gd name="T87" fmla="*/ 0 h 615952"/>
              <a:gd name="T88" fmla="*/ 0 w 634999"/>
              <a:gd name="T89" fmla="*/ 0 h 615952"/>
              <a:gd name="T90" fmla="*/ 0 w 634999"/>
              <a:gd name="T91" fmla="*/ 0 h 615952"/>
              <a:gd name="T92" fmla="*/ 0 w 634999"/>
              <a:gd name="T93" fmla="*/ 0 h 615952"/>
              <a:gd name="T94" fmla="*/ 0 w 634999"/>
              <a:gd name="T95" fmla="*/ 0 h 615952"/>
              <a:gd name="T96" fmla="*/ 0 w 634999"/>
              <a:gd name="T97" fmla="*/ 0 h 615952"/>
              <a:gd name="T98" fmla="*/ 0 w 634999"/>
              <a:gd name="T99" fmla="*/ 0 h 615952"/>
              <a:gd name="T100" fmla="*/ 0 w 634999"/>
              <a:gd name="T101" fmla="*/ 0 h 615952"/>
              <a:gd name="T102" fmla="*/ 0 w 634999"/>
              <a:gd name="T103" fmla="*/ 0 h 615952"/>
              <a:gd name="T104" fmla="*/ 0 w 634999"/>
              <a:gd name="T105" fmla="*/ 0 h 615952"/>
              <a:gd name="T106" fmla="*/ 0 w 634999"/>
              <a:gd name="T107" fmla="*/ 0 h 615952"/>
              <a:gd name="T108" fmla="*/ 0 w 634999"/>
              <a:gd name="T109" fmla="*/ 0 h 615952"/>
              <a:gd name="T110" fmla="*/ 0 w 634999"/>
              <a:gd name="T111" fmla="*/ 0 h 615952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w 634999"/>
              <a:gd name="T169" fmla="*/ 0 h 615952"/>
              <a:gd name="T170" fmla="*/ 634999 w 634999"/>
              <a:gd name="T171" fmla="*/ 615952 h 615952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T168" t="T169" r="T170" b="T171"/>
            <a:pathLst>
              <a:path w="634999" h="615952">
                <a:moveTo>
                  <a:pt x="149003" y="0"/>
                </a:moveTo>
                <a:lnTo>
                  <a:pt x="187324" y="0"/>
                </a:lnTo>
                <a:lnTo>
                  <a:pt x="241463" y="3923"/>
                </a:lnTo>
                <a:lnTo>
                  <a:pt x="273159" y="24805"/>
                </a:lnTo>
                <a:lnTo>
                  <a:pt x="315419" y="53533"/>
                </a:lnTo>
                <a:lnTo>
                  <a:pt x="357680" y="99276"/>
                </a:lnTo>
                <a:lnTo>
                  <a:pt x="411818" y="173691"/>
                </a:lnTo>
                <a:lnTo>
                  <a:pt x="443514" y="215512"/>
                </a:lnTo>
                <a:lnTo>
                  <a:pt x="475209" y="265122"/>
                </a:lnTo>
                <a:lnTo>
                  <a:pt x="506905" y="300368"/>
                </a:lnTo>
                <a:lnTo>
                  <a:pt x="517470" y="350034"/>
                </a:lnTo>
                <a:lnTo>
                  <a:pt x="550478" y="374839"/>
                </a:lnTo>
                <a:lnTo>
                  <a:pt x="592739" y="429697"/>
                </a:lnTo>
                <a:lnTo>
                  <a:pt x="617808" y="467540"/>
                </a:lnTo>
                <a:lnTo>
                  <a:pt x="634999" y="510631"/>
                </a:lnTo>
                <a:lnTo>
                  <a:pt x="628374" y="552452"/>
                </a:lnTo>
                <a:lnTo>
                  <a:pt x="625242" y="550282"/>
                </a:lnTo>
                <a:lnTo>
                  <a:pt x="628648" y="554504"/>
                </a:lnTo>
                <a:lnTo>
                  <a:pt x="588465" y="542743"/>
                </a:lnTo>
                <a:lnTo>
                  <a:pt x="556328" y="576729"/>
                </a:lnTo>
                <a:lnTo>
                  <a:pt x="524235" y="572809"/>
                </a:lnTo>
                <a:lnTo>
                  <a:pt x="488053" y="542743"/>
                </a:lnTo>
                <a:lnTo>
                  <a:pt x="453249" y="542743"/>
                </a:lnTo>
                <a:lnTo>
                  <a:pt x="417111" y="527052"/>
                </a:lnTo>
                <a:lnTo>
                  <a:pt x="384974" y="527052"/>
                </a:lnTo>
                <a:cubicBezTo>
                  <a:pt x="379640" y="535764"/>
                  <a:pt x="374261" y="544485"/>
                  <a:pt x="368927" y="553197"/>
                </a:cubicBezTo>
                <a:lnTo>
                  <a:pt x="330078" y="572809"/>
                </a:lnTo>
                <a:cubicBezTo>
                  <a:pt x="326077" y="580214"/>
                  <a:pt x="322032" y="587628"/>
                  <a:pt x="318032" y="595034"/>
                </a:cubicBezTo>
                <a:cubicBezTo>
                  <a:pt x="312698" y="602004"/>
                  <a:pt x="307319" y="608982"/>
                  <a:pt x="301985" y="615952"/>
                </a:cubicBezTo>
                <a:lnTo>
                  <a:pt x="260469" y="604182"/>
                </a:lnTo>
                <a:lnTo>
                  <a:pt x="237711" y="587193"/>
                </a:lnTo>
                <a:cubicBezTo>
                  <a:pt x="232332" y="583708"/>
                  <a:pt x="226998" y="580214"/>
                  <a:pt x="221620" y="576729"/>
                </a:cubicBezTo>
                <a:cubicBezTo>
                  <a:pt x="209129" y="571502"/>
                  <a:pt x="187127" y="566275"/>
                  <a:pt x="174636" y="561047"/>
                </a:cubicBezTo>
                <a:lnTo>
                  <a:pt x="177356" y="558073"/>
                </a:lnTo>
                <a:lnTo>
                  <a:pt x="162106" y="507599"/>
                </a:lnTo>
                <a:lnTo>
                  <a:pt x="125513" y="465034"/>
                </a:lnTo>
                <a:lnTo>
                  <a:pt x="99358" y="417135"/>
                </a:lnTo>
                <a:lnTo>
                  <a:pt x="88921" y="374519"/>
                </a:lnTo>
                <a:lnTo>
                  <a:pt x="67993" y="331953"/>
                </a:lnTo>
                <a:lnTo>
                  <a:pt x="67993" y="315953"/>
                </a:lnTo>
                <a:lnTo>
                  <a:pt x="52311" y="299953"/>
                </a:lnTo>
                <a:lnTo>
                  <a:pt x="41838" y="268054"/>
                </a:lnTo>
                <a:lnTo>
                  <a:pt x="26155" y="252054"/>
                </a:lnTo>
                <a:lnTo>
                  <a:pt x="15664" y="214821"/>
                </a:lnTo>
                <a:lnTo>
                  <a:pt x="0" y="193488"/>
                </a:lnTo>
                <a:lnTo>
                  <a:pt x="0" y="161589"/>
                </a:lnTo>
                <a:lnTo>
                  <a:pt x="20910" y="118973"/>
                </a:lnTo>
                <a:lnTo>
                  <a:pt x="36610" y="87023"/>
                </a:lnTo>
                <a:lnTo>
                  <a:pt x="36610" y="65791"/>
                </a:lnTo>
                <a:lnTo>
                  <a:pt x="39025" y="54837"/>
                </a:lnTo>
                <a:lnTo>
                  <a:pt x="37147" y="52059"/>
                </a:lnTo>
                <a:lnTo>
                  <a:pt x="31845" y="51620"/>
                </a:lnTo>
                <a:cubicBezTo>
                  <a:pt x="33263" y="50624"/>
                  <a:pt x="34447" y="49893"/>
                  <a:pt x="35687" y="49900"/>
                </a:cubicBezTo>
                <a:lnTo>
                  <a:pt x="33324" y="46406"/>
                </a:lnTo>
                <a:lnTo>
                  <a:pt x="71108" y="31324"/>
                </a:lnTo>
                <a:lnTo>
                  <a:pt x="105430" y="3923"/>
                </a:lnTo>
                <a:close/>
              </a:path>
            </a:pathLst>
          </a:custGeom>
          <a:solidFill>
            <a:srgbClr val="70B0DF"/>
          </a:solidFill>
          <a:ln w="3175" cap="flat" cmpd="sng">
            <a:noFill/>
            <a:prstDash val="solid"/>
            <a:round/>
            <a:headEnd type="none" w="med" len="med"/>
            <a:tailEnd type="none" w="med" len="med"/>
          </a:ln>
        </p:spPr>
        <p:txBody>
          <a:bodyPr wrap="none" lIns="32632" tIns="32632" rIns="32632" bIns="32632" anchor="ctr"/>
          <a:lstStyle/>
          <a:p>
            <a:pPr defTabSz="891045"/>
            <a:endParaRPr lang="en-US" sz="1700" dirty="0">
              <a:solidFill>
                <a:srgbClr val="003149"/>
              </a:solidFill>
              <a:cs typeface="Arial" panose="020B0604020202020204" pitchFamily="34" charset="0"/>
            </a:endParaRPr>
          </a:p>
        </p:txBody>
      </p:sp>
      <p:sp>
        <p:nvSpPr>
          <p:cNvPr id="76" name="Freeform 667"/>
          <p:cNvSpPr>
            <a:spLocks noChangeAspect="1"/>
          </p:cNvSpPr>
          <p:nvPr>
            <p:custDataLst>
              <p:tags r:id="rId52"/>
            </p:custDataLst>
          </p:nvPr>
        </p:nvSpPr>
        <p:spPr bwMode="gray">
          <a:xfrm>
            <a:off x="2862058" y="2813431"/>
            <a:ext cx="162070" cy="123395"/>
          </a:xfrm>
          <a:custGeom>
            <a:avLst/>
            <a:gdLst>
              <a:gd name="T0" fmla="*/ 0 w 933448"/>
              <a:gd name="T1" fmla="*/ 0 h 623224"/>
              <a:gd name="T2" fmla="*/ 0 w 933448"/>
              <a:gd name="T3" fmla="*/ 0 h 623224"/>
              <a:gd name="T4" fmla="*/ 0 w 933448"/>
              <a:gd name="T5" fmla="*/ 0 h 623224"/>
              <a:gd name="T6" fmla="*/ 0 w 933448"/>
              <a:gd name="T7" fmla="*/ 0 h 623224"/>
              <a:gd name="T8" fmla="*/ 0 w 933448"/>
              <a:gd name="T9" fmla="*/ 0 h 623224"/>
              <a:gd name="T10" fmla="*/ 0 w 933448"/>
              <a:gd name="T11" fmla="*/ 0 h 623224"/>
              <a:gd name="T12" fmla="*/ 0 w 933448"/>
              <a:gd name="T13" fmla="*/ 0 h 623224"/>
              <a:gd name="T14" fmla="*/ 0 w 933448"/>
              <a:gd name="T15" fmla="*/ 0 h 623224"/>
              <a:gd name="T16" fmla="*/ 0 w 933448"/>
              <a:gd name="T17" fmla="*/ 0 h 623224"/>
              <a:gd name="T18" fmla="*/ 0 w 933448"/>
              <a:gd name="T19" fmla="*/ 0 h 623224"/>
              <a:gd name="T20" fmla="*/ 0 w 933448"/>
              <a:gd name="T21" fmla="*/ 0 h 623224"/>
              <a:gd name="T22" fmla="*/ 0 w 933448"/>
              <a:gd name="T23" fmla="*/ 0 h 623224"/>
              <a:gd name="T24" fmla="*/ 0 w 933448"/>
              <a:gd name="T25" fmla="*/ 0 h 623224"/>
              <a:gd name="T26" fmla="*/ 0 w 933448"/>
              <a:gd name="T27" fmla="*/ 0 h 623224"/>
              <a:gd name="T28" fmla="*/ 0 w 933448"/>
              <a:gd name="T29" fmla="*/ 0 h 623224"/>
              <a:gd name="T30" fmla="*/ 0 w 933448"/>
              <a:gd name="T31" fmla="*/ 0 h 623224"/>
              <a:gd name="T32" fmla="*/ 0 w 933448"/>
              <a:gd name="T33" fmla="*/ 0 h 623224"/>
              <a:gd name="T34" fmla="*/ 0 w 933448"/>
              <a:gd name="T35" fmla="*/ 0 h 623224"/>
              <a:gd name="T36" fmla="*/ 0 w 933448"/>
              <a:gd name="T37" fmla="*/ 0 h 623224"/>
              <a:gd name="T38" fmla="*/ 0 w 933448"/>
              <a:gd name="T39" fmla="*/ 0 h 623224"/>
              <a:gd name="T40" fmla="*/ 0 w 933448"/>
              <a:gd name="T41" fmla="*/ 0 h 623224"/>
              <a:gd name="T42" fmla="*/ 0 w 933448"/>
              <a:gd name="T43" fmla="*/ 0 h 623224"/>
              <a:gd name="T44" fmla="*/ 0 w 933448"/>
              <a:gd name="T45" fmla="*/ 0 h 623224"/>
              <a:gd name="T46" fmla="*/ 0 w 933448"/>
              <a:gd name="T47" fmla="*/ 0 h 623224"/>
              <a:gd name="T48" fmla="*/ 0 w 933448"/>
              <a:gd name="T49" fmla="*/ 0 h 623224"/>
              <a:gd name="T50" fmla="*/ 0 w 933448"/>
              <a:gd name="T51" fmla="*/ 0 h 623224"/>
              <a:gd name="T52" fmla="*/ 0 w 933448"/>
              <a:gd name="T53" fmla="*/ 0 h 623224"/>
              <a:gd name="T54" fmla="*/ 0 w 933448"/>
              <a:gd name="T55" fmla="*/ 0 h 623224"/>
              <a:gd name="T56" fmla="*/ 0 w 933448"/>
              <a:gd name="T57" fmla="*/ 0 h 623224"/>
              <a:gd name="T58" fmla="*/ 0 w 933448"/>
              <a:gd name="T59" fmla="*/ 0 h 623224"/>
              <a:gd name="T60" fmla="*/ 0 w 933448"/>
              <a:gd name="T61" fmla="*/ 0 h 623224"/>
              <a:gd name="T62" fmla="*/ 0 w 933448"/>
              <a:gd name="T63" fmla="*/ 0 h 623224"/>
              <a:gd name="T64" fmla="*/ 0 w 933448"/>
              <a:gd name="T65" fmla="*/ 0 h 623224"/>
              <a:gd name="T66" fmla="*/ 0 w 933448"/>
              <a:gd name="T67" fmla="*/ 0 h 623224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w 933448"/>
              <a:gd name="T103" fmla="*/ 0 h 623224"/>
              <a:gd name="T104" fmla="*/ 933448 w 933448"/>
              <a:gd name="T105" fmla="*/ 623224 h 623224"/>
            </a:gdLst>
            <a:ahLst/>
            <a:cxnLst>
              <a:cxn ang="T68">
                <a:pos x="T0" y="T1"/>
              </a:cxn>
              <a:cxn ang="T69">
                <a:pos x="T2" y="T3"/>
              </a:cxn>
              <a:cxn ang="T70">
                <a:pos x="T4" y="T5"/>
              </a:cxn>
              <a:cxn ang="T71">
                <a:pos x="T6" y="T7"/>
              </a:cxn>
              <a:cxn ang="T72">
                <a:pos x="T8" y="T9"/>
              </a:cxn>
              <a:cxn ang="T73">
                <a:pos x="T10" y="T11"/>
              </a:cxn>
              <a:cxn ang="T74">
                <a:pos x="T12" y="T13"/>
              </a:cxn>
              <a:cxn ang="T75">
                <a:pos x="T14" y="T15"/>
              </a:cxn>
              <a:cxn ang="T76">
                <a:pos x="T16" y="T17"/>
              </a:cxn>
              <a:cxn ang="T77">
                <a:pos x="T18" y="T19"/>
              </a:cxn>
              <a:cxn ang="T78">
                <a:pos x="T20" y="T21"/>
              </a:cxn>
              <a:cxn ang="T79">
                <a:pos x="T22" y="T23"/>
              </a:cxn>
              <a:cxn ang="T80">
                <a:pos x="T24" y="T25"/>
              </a:cxn>
              <a:cxn ang="T81">
                <a:pos x="T26" y="T27"/>
              </a:cxn>
              <a:cxn ang="T82">
                <a:pos x="T28" y="T29"/>
              </a:cxn>
              <a:cxn ang="T83">
                <a:pos x="T30" y="T31"/>
              </a:cxn>
              <a:cxn ang="T84">
                <a:pos x="T32" y="T33"/>
              </a:cxn>
              <a:cxn ang="T85">
                <a:pos x="T34" y="T35"/>
              </a:cxn>
              <a:cxn ang="T86">
                <a:pos x="T36" y="T37"/>
              </a:cxn>
              <a:cxn ang="T87">
                <a:pos x="T38" y="T39"/>
              </a:cxn>
              <a:cxn ang="T88">
                <a:pos x="T40" y="T41"/>
              </a:cxn>
              <a:cxn ang="T89">
                <a:pos x="T42" y="T43"/>
              </a:cxn>
              <a:cxn ang="T90">
                <a:pos x="T44" y="T45"/>
              </a:cxn>
              <a:cxn ang="T91">
                <a:pos x="T46" y="T47"/>
              </a:cxn>
              <a:cxn ang="T92">
                <a:pos x="T48" y="T49"/>
              </a:cxn>
              <a:cxn ang="T93">
                <a:pos x="T50" y="T51"/>
              </a:cxn>
              <a:cxn ang="T94">
                <a:pos x="T52" y="T53"/>
              </a:cxn>
              <a:cxn ang="T95">
                <a:pos x="T54" y="T55"/>
              </a:cxn>
              <a:cxn ang="T96">
                <a:pos x="T56" y="T57"/>
              </a:cxn>
              <a:cxn ang="T97">
                <a:pos x="T58" y="T59"/>
              </a:cxn>
              <a:cxn ang="T98">
                <a:pos x="T60" y="T61"/>
              </a:cxn>
              <a:cxn ang="T99">
                <a:pos x="T62" y="T63"/>
              </a:cxn>
              <a:cxn ang="T100">
                <a:pos x="T64" y="T65"/>
              </a:cxn>
              <a:cxn ang="T101">
                <a:pos x="T66" y="T67"/>
              </a:cxn>
            </a:cxnLst>
            <a:rect l="T102" t="T103" r="T104" b="T105"/>
            <a:pathLst>
              <a:path w="933448" h="623224">
                <a:moveTo>
                  <a:pt x="305991" y="389992"/>
                </a:moveTo>
                <a:lnTo>
                  <a:pt x="303783" y="390387"/>
                </a:lnTo>
                <a:lnTo>
                  <a:pt x="305537" y="391523"/>
                </a:lnTo>
                <a:close/>
                <a:moveTo>
                  <a:pt x="456676" y="0"/>
                </a:moveTo>
                <a:lnTo>
                  <a:pt x="498838" y="43282"/>
                </a:lnTo>
                <a:lnTo>
                  <a:pt x="542090" y="47125"/>
                </a:lnTo>
                <a:lnTo>
                  <a:pt x="596095" y="57722"/>
                </a:lnTo>
                <a:lnTo>
                  <a:pt x="632004" y="36267"/>
                </a:lnTo>
                <a:cubicBezTo>
                  <a:pt x="637831" y="24029"/>
                  <a:pt x="644037" y="12164"/>
                  <a:pt x="649627" y="38"/>
                </a:cubicBezTo>
                <a:lnTo>
                  <a:pt x="685962" y="25186"/>
                </a:lnTo>
                <a:cubicBezTo>
                  <a:pt x="689468" y="31603"/>
                  <a:pt x="692974" y="37275"/>
                  <a:pt x="696716" y="43282"/>
                </a:cubicBezTo>
                <a:lnTo>
                  <a:pt x="739873" y="47125"/>
                </a:lnTo>
                <a:lnTo>
                  <a:pt x="782935" y="14515"/>
                </a:lnTo>
                <a:cubicBezTo>
                  <a:pt x="797147" y="31342"/>
                  <a:pt x="811975" y="48132"/>
                  <a:pt x="825903" y="64811"/>
                </a:cubicBezTo>
                <a:cubicBezTo>
                  <a:pt x="836846" y="82907"/>
                  <a:pt x="847789" y="101078"/>
                  <a:pt x="858543" y="119137"/>
                </a:cubicBezTo>
                <a:lnTo>
                  <a:pt x="858543" y="187902"/>
                </a:lnTo>
                <a:cubicBezTo>
                  <a:pt x="851248" y="202006"/>
                  <a:pt x="843763" y="216483"/>
                  <a:pt x="836846" y="230848"/>
                </a:cubicBezTo>
                <a:lnTo>
                  <a:pt x="836846" y="292263"/>
                </a:lnTo>
                <a:cubicBezTo>
                  <a:pt x="846558" y="307971"/>
                  <a:pt x="856127" y="323493"/>
                  <a:pt x="865696" y="339350"/>
                </a:cubicBezTo>
                <a:lnTo>
                  <a:pt x="912359" y="360767"/>
                </a:lnTo>
                <a:cubicBezTo>
                  <a:pt x="918927" y="364216"/>
                  <a:pt x="921393" y="366806"/>
                  <a:pt x="924308" y="368936"/>
                </a:cubicBezTo>
                <a:lnTo>
                  <a:pt x="933448" y="369224"/>
                </a:lnTo>
                <a:lnTo>
                  <a:pt x="929236" y="372314"/>
                </a:lnTo>
                <a:cubicBezTo>
                  <a:pt x="929540" y="372702"/>
                  <a:pt x="929961" y="372909"/>
                  <a:pt x="930408" y="373118"/>
                </a:cubicBezTo>
                <a:lnTo>
                  <a:pt x="928089" y="373156"/>
                </a:lnTo>
                <a:lnTo>
                  <a:pt x="863725" y="420373"/>
                </a:lnTo>
                <a:lnTo>
                  <a:pt x="816679" y="416849"/>
                </a:lnTo>
                <a:lnTo>
                  <a:pt x="747871" y="455654"/>
                </a:lnTo>
                <a:lnTo>
                  <a:pt x="657299" y="469770"/>
                </a:lnTo>
                <a:lnTo>
                  <a:pt x="577655" y="459178"/>
                </a:lnTo>
                <a:lnTo>
                  <a:pt x="483472" y="519148"/>
                </a:lnTo>
                <a:cubicBezTo>
                  <a:pt x="481049" y="524729"/>
                  <a:pt x="478671" y="530330"/>
                  <a:pt x="476248" y="535912"/>
                </a:cubicBezTo>
                <a:lnTo>
                  <a:pt x="476248" y="564742"/>
                </a:lnTo>
                <a:lnTo>
                  <a:pt x="482728" y="569940"/>
                </a:lnTo>
                <a:lnTo>
                  <a:pt x="476248" y="569476"/>
                </a:lnTo>
                <a:lnTo>
                  <a:pt x="476248" y="571630"/>
                </a:lnTo>
                <a:lnTo>
                  <a:pt x="473023" y="569246"/>
                </a:lnTo>
                <a:lnTo>
                  <a:pt x="428599" y="566069"/>
                </a:lnTo>
                <a:lnTo>
                  <a:pt x="390412" y="566069"/>
                </a:lnTo>
                <a:lnTo>
                  <a:pt x="346667" y="569940"/>
                </a:lnTo>
                <a:lnTo>
                  <a:pt x="312371" y="597385"/>
                </a:lnTo>
                <a:lnTo>
                  <a:pt x="274620" y="612476"/>
                </a:lnTo>
                <a:lnTo>
                  <a:pt x="274735" y="607878"/>
                </a:lnTo>
                <a:cubicBezTo>
                  <a:pt x="273170" y="609555"/>
                  <a:pt x="272942" y="611219"/>
                  <a:pt x="273047" y="612559"/>
                </a:cubicBezTo>
                <a:lnTo>
                  <a:pt x="245311" y="612559"/>
                </a:lnTo>
                <a:lnTo>
                  <a:pt x="209680" y="612559"/>
                </a:lnTo>
                <a:lnTo>
                  <a:pt x="159513" y="623224"/>
                </a:lnTo>
                <a:cubicBezTo>
                  <a:pt x="158180" y="616121"/>
                  <a:pt x="156873" y="608996"/>
                  <a:pt x="155540" y="601893"/>
                </a:cubicBezTo>
                <a:lnTo>
                  <a:pt x="117241" y="557914"/>
                </a:lnTo>
                <a:lnTo>
                  <a:pt x="81610" y="508603"/>
                </a:lnTo>
                <a:lnTo>
                  <a:pt x="31444" y="460630"/>
                </a:lnTo>
                <a:lnTo>
                  <a:pt x="6348" y="407324"/>
                </a:lnTo>
                <a:lnTo>
                  <a:pt x="7265" y="406995"/>
                </a:lnTo>
                <a:lnTo>
                  <a:pt x="0" y="407325"/>
                </a:lnTo>
                <a:lnTo>
                  <a:pt x="19747" y="371359"/>
                </a:lnTo>
                <a:lnTo>
                  <a:pt x="55679" y="335392"/>
                </a:lnTo>
                <a:cubicBezTo>
                  <a:pt x="59286" y="322225"/>
                  <a:pt x="62848" y="309017"/>
                  <a:pt x="66455" y="295850"/>
                </a:cubicBezTo>
                <a:lnTo>
                  <a:pt x="120331" y="252690"/>
                </a:lnTo>
                <a:lnTo>
                  <a:pt x="159870" y="173564"/>
                </a:lnTo>
                <a:lnTo>
                  <a:pt x="213747" y="144791"/>
                </a:lnTo>
                <a:lnTo>
                  <a:pt x="213747" y="98014"/>
                </a:lnTo>
                <a:cubicBezTo>
                  <a:pt x="217354" y="83628"/>
                  <a:pt x="220915" y="69241"/>
                  <a:pt x="224522" y="54855"/>
                </a:cubicBezTo>
                <a:cubicBezTo>
                  <a:pt x="229301" y="40468"/>
                  <a:pt x="234125" y="26081"/>
                  <a:pt x="238904" y="11695"/>
                </a:cubicBezTo>
                <a:lnTo>
                  <a:pt x="271230" y="925"/>
                </a:lnTo>
                <a:lnTo>
                  <a:pt x="303556" y="15312"/>
                </a:lnTo>
                <a:lnTo>
                  <a:pt x="343096" y="15312"/>
                </a:lnTo>
                <a:lnTo>
                  <a:pt x="396972" y="4502"/>
                </a:lnTo>
                <a:lnTo>
                  <a:pt x="450848" y="925"/>
                </a:lnTo>
                <a:lnTo>
                  <a:pt x="453220" y="10220"/>
                </a:lnTo>
                <a:close/>
              </a:path>
            </a:pathLst>
          </a:custGeom>
          <a:solidFill>
            <a:srgbClr val="70B0DF"/>
          </a:solidFill>
          <a:ln w="3175" cap="flat" cmpd="sng">
            <a:noFill/>
            <a:prstDash val="solid"/>
            <a:round/>
            <a:headEnd type="none" w="med" len="med"/>
            <a:tailEnd type="none" w="sm" len="sm"/>
          </a:ln>
        </p:spPr>
        <p:txBody>
          <a:bodyPr wrap="none" lIns="32632" tIns="32632" rIns="32632" bIns="32632" anchor="ctr"/>
          <a:lstStyle/>
          <a:p>
            <a:pPr defTabSz="891045"/>
            <a:endParaRPr lang="en-US" sz="1700" dirty="0">
              <a:solidFill>
                <a:srgbClr val="003149"/>
              </a:solidFill>
              <a:cs typeface="Arial" panose="020B0604020202020204" pitchFamily="34" charset="0"/>
            </a:endParaRPr>
          </a:p>
        </p:txBody>
      </p:sp>
      <p:sp>
        <p:nvSpPr>
          <p:cNvPr id="77" name="Freeform 680"/>
          <p:cNvSpPr>
            <a:spLocks noChangeAspect="1"/>
          </p:cNvSpPr>
          <p:nvPr>
            <p:custDataLst>
              <p:tags r:id="rId53"/>
            </p:custDataLst>
          </p:nvPr>
        </p:nvSpPr>
        <p:spPr bwMode="gray">
          <a:xfrm>
            <a:off x="2593371" y="2833494"/>
            <a:ext cx="159228" cy="114787"/>
          </a:xfrm>
          <a:custGeom>
            <a:avLst/>
            <a:gdLst>
              <a:gd name="T0" fmla="*/ 0 w 919607"/>
              <a:gd name="T1" fmla="*/ 0 h 588215"/>
              <a:gd name="T2" fmla="*/ 0 w 919607"/>
              <a:gd name="T3" fmla="*/ 0 h 588215"/>
              <a:gd name="T4" fmla="*/ 0 w 919607"/>
              <a:gd name="T5" fmla="*/ 0 h 588215"/>
              <a:gd name="T6" fmla="*/ 0 w 919607"/>
              <a:gd name="T7" fmla="*/ 0 h 588215"/>
              <a:gd name="T8" fmla="*/ 0 w 919607"/>
              <a:gd name="T9" fmla="*/ 0 h 588215"/>
              <a:gd name="T10" fmla="*/ 0 w 919607"/>
              <a:gd name="T11" fmla="*/ 0 h 588215"/>
              <a:gd name="T12" fmla="*/ 0 w 919607"/>
              <a:gd name="T13" fmla="*/ 0 h 588215"/>
              <a:gd name="T14" fmla="*/ 0 w 919607"/>
              <a:gd name="T15" fmla="*/ 0 h 588215"/>
              <a:gd name="T16" fmla="*/ 0 w 919607"/>
              <a:gd name="T17" fmla="*/ 0 h 588215"/>
              <a:gd name="T18" fmla="*/ 0 w 919607"/>
              <a:gd name="T19" fmla="*/ 0 h 588215"/>
              <a:gd name="T20" fmla="*/ 0 w 919607"/>
              <a:gd name="T21" fmla="*/ 0 h 588215"/>
              <a:gd name="T22" fmla="*/ 0 w 919607"/>
              <a:gd name="T23" fmla="*/ 0 h 588215"/>
              <a:gd name="T24" fmla="*/ 0 w 919607"/>
              <a:gd name="T25" fmla="*/ 0 h 588215"/>
              <a:gd name="T26" fmla="*/ 0 w 919607"/>
              <a:gd name="T27" fmla="*/ 0 h 588215"/>
              <a:gd name="T28" fmla="*/ 0 w 919607"/>
              <a:gd name="T29" fmla="*/ 0 h 588215"/>
              <a:gd name="T30" fmla="*/ 0 w 919607"/>
              <a:gd name="T31" fmla="*/ 0 h 588215"/>
              <a:gd name="T32" fmla="*/ 0 w 919607"/>
              <a:gd name="T33" fmla="*/ 0 h 588215"/>
              <a:gd name="T34" fmla="*/ 0 w 919607"/>
              <a:gd name="T35" fmla="*/ 0 h 588215"/>
              <a:gd name="T36" fmla="*/ 0 w 919607"/>
              <a:gd name="T37" fmla="*/ 0 h 588215"/>
              <a:gd name="T38" fmla="*/ 0 w 919607"/>
              <a:gd name="T39" fmla="*/ 0 h 588215"/>
              <a:gd name="T40" fmla="*/ 0 w 919607"/>
              <a:gd name="T41" fmla="*/ 0 h 588215"/>
              <a:gd name="T42" fmla="*/ 0 w 919607"/>
              <a:gd name="T43" fmla="*/ 0 h 588215"/>
              <a:gd name="T44" fmla="*/ 0 w 919607"/>
              <a:gd name="T45" fmla="*/ 0 h 588215"/>
              <a:gd name="T46" fmla="*/ 0 w 919607"/>
              <a:gd name="T47" fmla="*/ 0 h 588215"/>
              <a:gd name="T48" fmla="*/ 0 w 919607"/>
              <a:gd name="T49" fmla="*/ 0 h 588215"/>
              <a:gd name="T50" fmla="*/ 0 w 919607"/>
              <a:gd name="T51" fmla="*/ 0 h 588215"/>
              <a:gd name="T52" fmla="*/ 0 w 919607"/>
              <a:gd name="T53" fmla="*/ 0 h 588215"/>
              <a:gd name="T54" fmla="*/ 0 w 919607"/>
              <a:gd name="T55" fmla="*/ 0 h 588215"/>
              <a:gd name="T56" fmla="*/ 0 w 919607"/>
              <a:gd name="T57" fmla="*/ 0 h 588215"/>
              <a:gd name="T58" fmla="*/ 0 w 919607"/>
              <a:gd name="T59" fmla="*/ 0 h 588215"/>
              <a:gd name="T60" fmla="*/ 0 w 919607"/>
              <a:gd name="T61" fmla="*/ 0 h 588215"/>
              <a:gd name="T62" fmla="*/ 0 w 919607"/>
              <a:gd name="T63" fmla="*/ 0 h 588215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w 919607"/>
              <a:gd name="T97" fmla="*/ 0 h 588215"/>
              <a:gd name="T98" fmla="*/ 919607 w 919607"/>
              <a:gd name="T99" fmla="*/ 588215 h 588215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T96" t="T97" r="T98" b="T99"/>
            <a:pathLst>
              <a:path w="919607" h="588215">
                <a:moveTo>
                  <a:pt x="62386" y="554473"/>
                </a:moveTo>
                <a:lnTo>
                  <a:pt x="41856" y="562880"/>
                </a:lnTo>
                <a:cubicBezTo>
                  <a:pt x="49308" y="562751"/>
                  <a:pt x="56144" y="559648"/>
                  <a:pt x="62386" y="554473"/>
                </a:cubicBezTo>
                <a:close/>
                <a:moveTo>
                  <a:pt x="40898" y="0"/>
                </a:moveTo>
                <a:lnTo>
                  <a:pt x="56691" y="8465"/>
                </a:lnTo>
                <a:lnTo>
                  <a:pt x="47675" y="881"/>
                </a:lnTo>
                <a:lnTo>
                  <a:pt x="142461" y="36514"/>
                </a:lnTo>
                <a:lnTo>
                  <a:pt x="206838" y="79409"/>
                </a:lnTo>
                <a:lnTo>
                  <a:pt x="289607" y="118692"/>
                </a:lnTo>
                <a:lnTo>
                  <a:pt x="357542" y="118692"/>
                </a:lnTo>
                <a:lnTo>
                  <a:pt x="411178" y="133017"/>
                </a:lnTo>
                <a:lnTo>
                  <a:pt x="475621" y="133017"/>
                </a:lnTo>
                <a:lnTo>
                  <a:pt x="540065" y="133017"/>
                </a:lnTo>
                <a:lnTo>
                  <a:pt x="634918" y="143730"/>
                </a:lnTo>
                <a:lnTo>
                  <a:pt x="699496" y="118692"/>
                </a:lnTo>
                <a:lnTo>
                  <a:pt x="718963" y="109566"/>
                </a:lnTo>
                <a:lnTo>
                  <a:pt x="718225" y="115157"/>
                </a:lnTo>
                <a:lnTo>
                  <a:pt x="719771" y="111965"/>
                </a:lnTo>
                <a:cubicBezTo>
                  <a:pt x="724467" y="119072"/>
                  <a:pt x="729192" y="126438"/>
                  <a:pt x="734002" y="133588"/>
                </a:cubicBezTo>
                <a:lnTo>
                  <a:pt x="758971" y="184242"/>
                </a:lnTo>
                <a:cubicBezTo>
                  <a:pt x="762636" y="198671"/>
                  <a:pt x="766216" y="212927"/>
                  <a:pt x="769795" y="227487"/>
                </a:cubicBezTo>
                <a:lnTo>
                  <a:pt x="823197" y="263668"/>
                </a:lnTo>
                <a:lnTo>
                  <a:pt x="876685" y="314236"/>
                </a:lnTo>
                <a:lnTo>
                  <a:pt x="905176" y="346691"/>
                </a:lnTo>
                <a:lnTo>
                  <a:pt x="919607" y="400856"/>
                </a:lnTo>
                <a:cubicBezTo>
                  <a:pt x="915913" y="418925"/>
                  <a:pt x="912392" y="436907"/>
                  <a:pt x="908726" y="454933"/>
                </a:cubicBezTo>
                <a:lnTo>
                  <a:pt x="883958" y="509228"/>
                </a:lnTo>
                <a:lnTo>
                  <a:pt x="855324" y="545279"/>
                </a:lnTo>
                <a:lnTo>
                  <a:pt x="852012" y="543645"/>
                </a:lnTo>
                <a:cubicBezTo>
                  <a:pt x="852382" y="544532"/>
                  <a:pt x="852752" y="545421"/>
                  <a:pt x="853121" y="546309"/>
                </a:cubicBezTo>
                <a:lnTo>
                  <a:pt x="784927" y="531067"/>
                </a:lnTo>
                <a:lnTo>
                  <a:pt x="716733" y="531067"/>
                </a:lnTo>
                <a:lnTo>
                  <a:pt x="671867" y="548212"/>
                </a:lnTo>
                <a:lnTo>
                  <a:pt x="646751" y="571071"/>
                </a:lnTo>
                <a:cubicBezTo>
                  <a:pt x="638948" y="576151"/>
                  <a:pt x="631227" y="581232"/>
                  <a:pt x="623424" y="586312"/>
                </a:cubicBezTo>
                <a:lnTo>
                  <a:pt x="598308" y="586312"/>
                </a:lnTo>
                <a:cubicBezTo>
                  <a:pt x="584003" y="577420"/>
                  <a:pt x="569617" y="568534"/>
                  <a:pt x="555311" y="559641"/>
                </a:cubicBezTo>
                <a:lnTo>
                  <a:pt x="537348" y="559641"/>
                </a:lnTo>
                <a:cubicBezTo>
                  <a:pt x="521824" y="553292"/>
                  <a:pt x="506218" y="546943"/>
                  <a:pt x="490694" y="540594"/>
                </a:cubicBezTo>
                <a:lnTo>
                  <a:pt x="439569" y="536782"/>
                </a:lnTo>
                <a:lnTo>
                  <a:pt x="391126" y="542497"/>
                </a:lnTo>
                <a:lnTo>
                  <a:pt x="349835" y="553927"/>
                </a:lnTo>
                <a:cubicBezTo>
                  <a:pt x="340895" y="559641"/>
                  <a:pt x="331873" y="565356"/>
                  <a:pt x="322932" y="571071"/>
                </a:cubicBezTo>
                <a:cubicBezTo>
                  <a:pt x="312122" y="574883"/>
                  <a:pt x="301393" y="578689"/>
                  <a:pt x="290582" y="582500"/>
                </a:cubicBezTo>
                <a:lnTo>
                  <a:pt x="258314" y="586312"/>
                </a:lnTo>
                <a:lnTo>
                  <a:pt x="218812" y="588215"/>
                </a:lnTo>
                <a:lnTo>
                  <a:pt x="188332" y="588215"/>
                </a:lnTo>
                <a:lnTo>
                  <a:pt x="148911" y="588215"/>
                </a:lnTo>
                <a:lnTo>
                  <a:pt x="102257" y="580597"/>
                </a:lnTo>
                <a:lnTo>
                  <a:pt x="68119" y="576786"/>
                </a:lnTo>
                <a:lnTo>
                  <a:pt x="40384" y="563483"/>
                </a:lnTo>
                <a:lnTo>
                  <a:pt x="39744" y="563745"/>
                </a:lnTo>
                <a:cubicBezTo>
                  <a:pt x="40898" y="549257"/>
                  <a:pt x="42100" y="534712"/>
                  <a:pt x="43325" y="520224"/>
                </a:cubicBezTo>
                <a:lnTo>
                  <a:pt x="32464" y="480198"/>
                </a:lnTo>
                <a:lnTo>
                  <a:pt x="32464" y="433069"/>
                </a:lnTo>
                <a:lnTo>
                  <a:pt x="0" y="393156"/>
                </a:lnTo>
                <a:cubicBezTo>
                  <a:pt x="2427" y="381148"/>
                  <a:pt x="4759" y="369028"/>
                  <a:pt x="7186" y="356964"/>
                </a:cubicBezTo>
                <a:lnTo>
                  <a:pt x="32464" y="324210"/>
                </a:lnTo>
                <a:lnTo>
                  <a:pt x="72184" y="302449"/>
                </a:lnTo>
                <a:lnTo>
                  <a:pt x="86673" y="248048"/>
                </a:lnTo>
                <a:lnTo>
                  <a:pt x="97463" y="204471"/>
                </a:lnTo>
                <a:cubicBezTo>
                  <a:pt x="93859" y="180230"/>
                  <a:pt x="90301" y="156101"/>
                  <a:pt x="86673" y="131860"/>
                </a:cubicBezTo>
                <a:lnTo>
                  <a:pt x="72184" y="73851"/>
                </a:lnTo>
                <a:lnTo>
                  <a:pt x="72184" y="33938"/>
                </a:lnTo>
                <a:close/>
              </a:path>
            </a:pathLst>
          </a:custGeom>
          <a:solidFill>
            <a:srgbClr val="70B0DF"/>
          </a:solidFill>
          <a:ln w="317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 wrap="none" lIns="32632" tIns="32632" rIns="32632" bIns="32632" anchor="ctr"/>
          <a:lstStyle/>
          <a:p>
            <a:pPr defTabSz="891045"/>
            <a:endParaRPr lang="en-US" sz="1700" dirty="0">
              <a:solidFill>
                <a:srgbClr val="003149"/>
              </a:solidFill>
              <a:cs typeface="Arial" panose="020B0604020202020204" pitchFamily="34" charset="0"/>
            </a:endParaRPr>
          </a:p>
        </p:txBody>
      </p:sp>
      <p:sp>
        <p:nvSpPr>
          <p:cNvPr id="78" name="Freeform 680"/>
          <p:cNvSpPr>
            <a:spLocks noChangeAspect="1"/>
          </p:cNvSpPr>
          <p:nvPr>
            <p:custDataLst>
              <p:tags r:id="rId54"/>
            </p:custDataLst>
          </p:nvPr>
        </p:nvSpPr>
        <p:spPr bwMode="gray">
          <a:xfrm>
            <a:off x="2456890" y="2806248"/>
            <a:ext cx="153540" cy="162136"/>
          </a:xfrm>
          <a:custGeom>
            <a:avLst/>
            <a:gdLst>
              <a:gd name="T0" fmla="*/ 0 w 889350"/>
              <a:gd name="T1" fmla="*/ 0 h 819174"/>
              <a:gd name="T2" fmla="*/ 0 w 889350"/>
              <a:gd name="T3" fmla="*/ 0 h 819174"/>
              <a:gd name="T4" fmla="*/ 0 w 889350"/>
              <a:gd name="T5" fmla="*/ 0 h 819174"/>
              <a:gd name="T6" fmla="*/ 0 w 889350"/>
              <a:gd name="T7" fmla="*/ 0 h 819174"/>
              <a:gd name="T8" fmla="*/ 0 w 889350"/>
              <a:gd name="T9" fmla="*/ 0 h 819174"/>
              <a:gd name="T10" fmla="*/ 0 w 889350"/>
              <a:gd name="T11" fmla="*/ 0 h 819174"/>
              <a:gd name="T12" fmla="*/ 0 w 889350"/>
              <a:gd name="T13" fmla="*/ 0 h 819174"/>
              <a:gd name="T14" fmla="*/ 0 w 889350"/>
              <a:gd name="T15" fmla="*/ 0 h 819174"/>
              <a:gd name="T16" fmla="*/ 0 w 889350"/>
              <a:gd name="T17" fmla="*/ 0 h 819174"/>
              <a:gd name="T18" fmla="*/ 0 w 889350"/>
              <a:gd name="T19" fmla="*/ 0 h 819174"/>
              <a:gd name="T20" fmla="*/ 0 w 889350"/>
              <a:gd name="T21" fmla="*/ 0 h 819174"/>
              <a:gd name="T22" fmla="*/ 0 w 889350"/>
              <a:gd name="T23" fmla="*/ 0 h 819174"/>
              <a:gd name="T24" fmla="*/ 0 w 889350"/>
              <a:gd name="T25" fmla="*/ 0 h 819174"/>
              <a:gd name="T26" fmla="*/ 0 w 889350"/>
              <a:gd name="T27" fmla="*/ 0 h 819174"/>
              <a:gd name="T28" fmla="*/ 0 w 889350"/>
              <a:gd name="T29" fmla="*/ 0 h 819174"/>
              <a:gd name="T30" fmla="*/ 0 w 889350"/>
              <a:gd name="T31" fmla="*/ 0 h 819174"/>
              <a:gd name="T32" fmla="*/ 0 w 889350"/>
              <a:gd name="T33" fmla="*/ 0 h 819174"/>
              <a:gd name="T34" fmla="*/ 0 w 889350"/>
              <a:gd name="T35" fmla="*/ 0 h 819174"/>
              <a:gd name="T36" fmla="*/ 0 w 889350"/>
              <a:gd name="T37" fmla="*/ 0 h 819174"/>
              <a:gd name="T38" fmla="*/ 0 w 889350"/>
              <a:gd name="T39" fmla="*/ 0 h 819174"/>
              <a:gd name="T40" fmla="*/ 0 w 889350"/>
              <a:gd name="T41" fmla="*/ 0 h 819174"/>
              <a:gd name="T42" fmla="*/ 0 w 889350"/>
              <a:gd name="T43" fmla="*/ 0 h 819174"/>
              <a:gd name="T44" fmla="*/ 0 w 889350"/>
              <a:gd name="T45" fmla="*/ 0 h 819174"/>
              <a:gd name="T46" fmla="*/ 0 w 889350"/>
              <a:gd name="T47" fmla="*/ 0 h 819174"/>
              <a:gd name="T48" fmla="*/ 0 w 889350"/>
              <a:gd name="T49" fmla="*/ 0 h 819174"/>
              <a:gd name="T50" fmla="*/ 0 w 889350"/>
              <a:gd name="T51" fmla="*/ 0 h 819174"/>
              <a:gd name="T52" fmla="*/ 0 w 889350"/>
              <a:gd name="T53" fmla="*/ 0 h 819174"/>
              <a:gd name="T54" fmla="*/ 0 w 889350"/>
              <a:gd name="T55" fmla="*/ 0 h 819174"/>
              <a:gd name="T56" fmla="*/ 0 w 889350"/>
              <a:gd name="T57" fmla="*/ 0 h 819174"/>
              <a:gd name="T58" fmla="*/ 0 w 889350"/>
              <a:gd name="T59" fmla="*/ 0 h 819174"/>
              <a:gd name="T60" fmla="*/ 0 w 889350"/>
              <a:gd name="T61" fmla="*/ 0 h 819174"/>
              <a:gd name="T62" fmla="*/ 0 w 889350"/>
              <a:gd name="T63" fmla="*/ 0 h 819174"/>
              <a:gd name="T64" fmla="*/ 0 w 889350"/>
              <a:gd name="T65" fmla="*/ 0 h 819174"/>
              <a:gd name="T66" fmla="*/ 0 w 889350"/>
              <a:gd name="T67" fmla="*/ 0 h 819174"/>
              <a:gd name="T68" fmla="*/ 0 w 889350"/>
              <a:gd name="T69" fmla="*/ 0 h 819174"/>
              <a:gd name="T70" fmla="*/ 0 w 889350"/>
              <a:gd name="T71" fmla="*/ 0 h 819174"/>
              <a:gd name="T72" fmla="*/ 0 w 889350"/>
              <a:gd name="T73" fmla="*/ 0 h 819174"/>
              <a:gd name="T74" fmla="*/ 0 w 889350"/>
              <a:gd name="T75" fmla="*/ 0 h 819174"/>
              <a:gd name="T76" fmla="*/ 0 w 889350"/>
              <a:gd name="T77" fmla="*/ 0 h 819174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w 889350"/>
              <a:gd name="T118" fmla="*/ 0 h 819174"/>
              <a:gd name="T119" fmla="*/ 889350 w 889350"/>
              <a:gd name="T120" fmla="*/ 819174 h 819174"/>
            </a:gdLst>
            <a:ahLst/>
            <a:cxnLst>
              <a:cxn ang="T78">
                <a:pos x="T0" y="T1"/>
              </a:cxn>
              <a:cxn ang="T79">
                <a:pos x="T2" y="T3"/>
              </a:cxn>
              <a:cxn ang="T80">
                <a:pos x="T4" y="T5"/>
              </a:cxn>
              <a:cxn ang="T81">
                <a:pos x="T6" y="T7"/>
              </a:cxn>
              <a:cxn ang="T82">
                <a:pos x="T8" y="T9"/>
              </a:cxn>
              <a:cxn ang="T83">
                <a:pos x="T10" y="T11"/>
              </a:cxn>
              <a:cxn ang="T84">
                <a:pos x="T12" y="T13"/>
              </a:cxn>
              <a:cxn ang="T85">
                <a:pos x="T14" y="T15"/>
              </a:cxn>
              <a:cxn ang="T86">
                <a:pos x="T16" y="T17"/>
              </a:cxn>
              <a:cxn ang="T87">
                <a:pos x="T18" y="T19"/>
              </a:cxn>
              <a:cxn ang="T88">
                <a:pos x="T20" y="T21"/>
              </a:cxn>
              <a:cxn ang="T89">
                <a:pos x="T22" y="T23"/>
              </a:cxn>
              <a:cxn ang="T90">
                <a:pos x="T24" y="T25"/>
              </a:cxn>
              <a:cxn ang="T91">
                <a:pos x="T26" y="T27"/>
              </a:cxn>
              <a:cxn ang="T92">
                <a:pos x="T28" y="T29"/>
              </a:cxn>
              <a:cxn ang="T93">
                <a:pos x="T30" y="T31"/>
              </a:cxn>
              <a:cxn ang="T94">
                <a:pos x="T32" y="T33"/>
              </a:cxn>
              <a:cxn ang="T95">
                <a:pos x="T34" y="T35"/>
              </a:cxn>
              <a:cxn ang="T96">
                <a:pos x="T36" y="T37"/>
              </a:cxn>
              <a:cxn ang="T97">
                <a:pos x="T38" y="T39"/>
              </a:cxn>
              <a:cxn ang="T98">
                <a:pos x="T40" y="T41"/>
              </a:cxn>
              <a:cxn ang="T99">
                <a:pos x="T42" y="T43"/>
              </a:cxn>
              <a:cxn ang="T100">
                <a:pos x="T44" y="T45"/>
              </a:cxn>
              <a:cxn ang="T101">
                <a:pos x="T46" y="T47"/>
              </a:cxn>
              <a:cxn ang="T102">
                <a:pos x="T48" y="T49"/>
              </a:cxn>
              <a:cxn ang="T103">
                <a:pos x="T50" y="T51"/>
              </a:cxn>
              <a:cxn ang="T104">
                <a:pos x="T52" y="T53"/>
              </a:cxn>
              <a:cxn ang="T105">
                <a:pos x="T54" y="T55"/>
              </a:cxn>
              <a:cxn ang="T106">
                <a:pos x="T56" y="T57"/>
              </a:cxn>
              <a:cxn ang="T107">
                <a:pos x="T58" y="T59"/>
              </a:cxn>
              <a:cxn ang="T108">
                <a:pos x="T60" y="T61"/>
              </a:cxn>
              <a:cxn ang="T109">
                <a:pos x="T62" y="T63"/>
              </a:cxn>
              <a:cxn ang="T110">
                <a:pos x="T64" y="T65"/>
              </a:cxn>
              <a:cxn ang="T111">
                <a:pos x="T66" y="T67"/>
              </a:cxn>
              <a:cxn ang="T112">
                <a:pos x="T68" y="T69"/>
              </a:cxn>
              <a:cxn ang="T113">
                <a:pos x="T70" y="T71"/>
              </a:cxn>
              <a:cxn ang="T114">
                <a:pos x="T72" y="T73"/>
              </a:cxn>
              <a:cxn ang="T115">
                <a:pos x="T74" y="T75"/>
              </a:cxn>
              <a:cxn ang="T116">
                <a:pos x="T76" y="T77"/>
              </a:cxn>
            </a:cxnLst>
            <a:rect l="T117" t="T118" r="T119" b="T120"/>
            <a:pathLst>
              <a:path w="889350" h="819174">
                <a:moveTo>
                  <a:pt x="268395" y="0"/>
                </a:moveTo>
                <a:lnTo>
                  <a:pt x="337603" y="0"/>
                </a:lnTo>
                <a:cubicBezTo>
                  <a:pt x="344684" y="19510"/>
                  <a:pt x="351818" y="39020"/>
                  <a:pt x="358898" y="58531"/>
                </a:cubicBezTo>
                <a:lnTo>
                  <a:pt x="332280" y="90464"/>
                </a:lnTo>
                <a:lnTo>
                  <a:pt x="364222" y="133029"/>
                </a:lnTo>
                <a:lnTo>
                  <a:pt x="396165" y="148996"/>
                </a:lnTo>
                <a:lnTo>
                  <a:pt x="449402" y="170278"/>
                </a:lnTo>
                <a:lnTo>
                  <a:pt x="491992" y="164942"/>
                </a:lnTo>
                <a:cubicBezTo>
                  <a:pt x="499072" y="175593"/>
                  <a:pt x="506206" y="186225"/>
                  <a:pt x="513287" y="196876"/>
                </a:cubicBezTo>
                <a:lnTo>
                  <a:pt x="566525" y="196876"/>
                </a:lnTo>
                <a:cubicBezTo>
                  <a:pt x="570092" y="188016"/>
                  <a:pt x="573605" y="179137"/>
                  <a:pt x="577172" y="170278"/>
                </a:cubicBezTo>
                <a:lnTo>
                  <a:pt x="577172" y="127694"/>
                </a:lnTo>
                <a:lnTo>
                  <a:pt x="583013" y="134131"/>
                </a:lnTo>
                <a:lnTo>
                  <a:pt x="578195" y="123847"/>
                </a:lnTo>
                <a:lnTo>
                  <a:pt x="624728" y="113119"/>
                </a:lnTo>
                <a:cubicBezTo>
                  <a:pt x="637825" y="120280"/>
                  <a:pt x="651158" y="127421"/>
                  <a:pt x="664124" y="134582"/>
                </a:cubicBezTo>
                <a:lnTo>
                  <a:pt x="728512" y="148855"/>
                </a:lnTo>
                <a:lnTo>
                  <a:pt x="785973" y="123847"/>
                </a:lnTo>
                <a:lnTo>
                  <a:pt x="831455" y="123847"/>
                </a:lnTo>
                <a:lnTo>
                  <a:pt x="832779" y="123008"/>
                </a:lnTo>
                <a:lnTo>
                  <a:pt x="833554" y="123847"/>
                </a:lnTo>
                <a:lnTo>
                  <a:pt x="839616" y="123847"/>
                </a:lnTo>
                <a:lnTo>
                  <a:pt x="838471" y="129172"/>
                </a:lnTo>
                <a:lnTo>
                  <a:pt x="864085" y="156907"/>
                </a:lnTo>
                <a:lnTo>
                  <a:pt x="864085" y="196869"/>
                </a:lnTo>
                <a:lnTo>
                  <a:pt x="878522" y="254952"/>
                </a:lnTo>
                <a:lnTo>
                  <a:pt x="889350" y="327504"/>
                </a:lnTo>
                <a:lnTo>
                  <a:pt x="878522" y="371048"/>
                </a:lnTo>
                <a:lnTo>
                  <a:pt x="864085" y="425479"/>
                </a:lnTo>
                <a:lnTo>
                  <a:pt x="824345" y="447252"/>
                </a:lnTo>
                <a:lnTo>
                  <a:pt x="799080" y="479910"/>
                </a:lnTo>
                <a:lnTo>
                  <a:pt x="791861" y="516152"/>
                </a:lnTo>
                <a:lnTo>
                  <a:pt x="824345" y="556114"/>
                </a:lnTo>
                <a:lnTo>
                  <a:pt x="824345" y="603242"/>
                </a:lnTo>
                <a:lnTo>
                  <a:pt x="835173" y="643204"/>
                </a:lnTo>
                <a:cubicBezTo>
                  <a:pt x="833958" y="657741"/>
                  <a:pt x="832779" y="672210"/>
                  <a:pt x="831564" y="686748"/>
                </a:cubicBezTo>
                <a:lnTo>
                  <a:pt x="748512" y="686748"/>
                </a:lnTo>
                <a:lnTo>
                  <a:pt x="705200" y="712172"/>
                </a:lnTo>
                <a:lnTo>
                  <a:pt x="658242" y="719338"/>
                </a:lnTo>
                <a:lnTo>
                  <a:pt x="618539" y="773838"/>
                </a:lnTo>
                <a:lnTo>
                  <a:pt x="575227" y="777489"/>
                </a:lnTo>
                <a:lnTo>
                  <a:pt x="544511" y="797402"/>
                </a:lnTo>
                <a:lnTo>
                  <a:pt x="526470" y="814144"/>
                </a:lnTo>
                <a:lnTo>
                  <a:pt x="524823" y="817015"/>
                </a:lnTo>
                <a:lnTo>
                  <a:pt x="524074" y="816368"/>
                </a:lnTo>
                <a:lnTo>
                  <a:pt x="521050" y="819174"/>
                </a:lnTo>
                <a:lnTo>
                  <a:pt x="522316" y="814850"/>
                </a:lnTo>
                <a:lnTo>
                  <a:pt x="506480" y="801178"/>
                </a:lnTo>
                <a:lnTo>
                  <a:pt x="452562" y="804759"/>
                </a:lnTo>
                <a:lnTo>
                  <a:pt x="406760" y="783199"/>
                </a:lnTo>
                <a:lnTo>
                  <a:pt x="374401" y="801178"/>
                </a:lnTo>
                <a:lnTo>
                  <a:pt x="342079" y="758059"/>
                </a:lnTo>
                <a:lnTo>
                  <a:pt x="298958" y="761665"/>
                </a:lnTo>
                <a:lnTo>
                  <a:pt x="259800" y="769153"/>
                </a:lnTo>
                <a:cubicBezTo>
                  <a:pt x="258704" y="769607"/>
                  <a:pt x="257957" y="770358"/>
                  <a:pt x="257275" y="771101"/>
                </a:cubicBezTo>
                <a:lnTo>
                  <a:pt x="257463" y="769600"/>
                </a:lnTo>
                <a:lnTo>
                  <a:pt x="256732" y="769740"/>
                </a:lnTo>
                <a:lnTo>
                  <a:pt x="257560" y="768824"/>
                </a:lnTo>
                <a:lnTo>
                  <a:pt x="262606" y="728551"/>
                </a:lnTo>
                <a:lnTo>
                  <a:pt x="305491" y="680718"/>
                </a:lnTo>
                <a:lnTo>
                  <a:pt x="337646" y="643508"/>
                </a:lnTo>
                <a:lnTo>
                  <a:pt x="348376" y="590335"/>
                </a:lnTo>
                <a:lnTo>
                  <a:pt x="310856" y="547784"/>
                </a:lnTo>
                <a:lnTo>
                  <a:pt x="257275" y="515915"/>
                </a:lnTo>
                <a:lnTo>
                  <a:pt x="278701" y="483988"/>
                </a:lnTo>
                <a:cubicBezTo>
                  <a:pt x="276924" y="473365"/>
                  <a:pt x="275112" y="462684"/>
                  <a:pt x="273336" y="452061"/>
                </a:cubicBezTo>
                <a:lnTo>
                  <a:pt x="230451" y="441438"/>
                </a:lnTo>
                <a:lnTo>
                  <a:pt x="192930" y="441438"/>
                </a:lnTo>
                <a:lnTo>
                  <a:pt x="171505" y="388264"/>
                </a:lnTo>
                <a:lnTo>
                  <a:pt x="182235" y="345771"/>
                </a:lnTo>
                <a:lnTo>
                  <a:pt x="139350" y="351054"/>
                </a:lnTo>
                <a:lnTo>
                  <a:pt x="85770" y="356394"/>
                </a:lnTo>
                <a:lnTo>
                  <a:pt x="16095" y="324467"/>
                </a:lnTo>
                <a:lnTo>
                  <a:pt x="0" y="244707"/>
                </a:lnTo>
                <a:lnTo>
                  <a:pt x="46454" y="198655"/>
                </a:lnTo>
                <a:lnTo>
                  <a:pt x="92711" y="164942"/>
                </a:lnTo>
                <a:lnTo>
                  <a:pt x="167244" y="117062"/>
                </a:lnTo>
                <a:lnTo>
                  <a:pt x="215157" y="69182"/>
                </a:lnTo>
                <a:cubicBezTo>
                  <a:pt x="218724" y="56759"/>
                  <a:pt x="222238" y="44356"/>
                  <a:pt x="225805" y="31933"/>
                </a:cubicBezTo>
                <a:close/>
              </a:path>
            </a:pathLst>
          </a:custGeom>
          <a:solidFill>
            <a:srgbClr val="70B0DF"/>
          </a:solidFill>
          <a:ln w="3175" cap="flat" cmpd="sng">
            <a:noFill/>
            <a:prstDash val="solid"/>
            <a:round/>
            <a:headEnd type="none" w="med" len="med"/>
            <a:tailEnd type="none" w="sm" len="sm"/>
          </a:ln>
        </p:spPr>
        <p:txBody>
          <a:bodyPr wrap="none" lIns="32632" tIns="32632" rIns="32632" bIns="32632"/>
          <a:lstStyle/>
          <a:p>
            <a:pPr defTabSz="891045"/>
            <a:endParaRPr lang="en-US" sz="1700" dirty="0">
              <a:solidFill>
                <a:srgbClr val="003149"/>
              </a:solidFill>
              <a:cs typeface="Arial" panose="020B0604020202020204" pitchFamily="34" charset="0"/>
            </a:endParaRPr>
          </a:p>
        </p:txBody>
      </p:sp>
      <p:sp>
        <p:nvSpPr>
          <p:cNvPr id="79" name="Freeform 679"/>
          <p:cNvSpPr>
            <a:spLocks noChangeAspect="1"/>
          </p:cNvSpPr>
          <p:nvPr>
            <p:custDataLst>
              <p:tags r:id="rId55"/>
            </p:custDataLst>
          </p:nvPr>
        </p:nvSpPr>
        <p:spPr bwMode="gray">
          <a:xfrm>
            <a:off x="2556392" y="2700080"/>
            <a:ext cx="189083" cy="160701"/>
          </a:xfrm>
          <a:custGeom>
            <a:avLst/>
            <a:gdLst>
              <a:gd name="T0" fmla="*/ 0 w 1089317"/>
              <a:gd name="T1" fmla="*/ 0 h 819147"/>
              <a:gd name="T2" fmla="*/ 0 w 1089317"/>
              <a:gd name="T3" fmla="*/ 0 h 819147"/>
              <a:gd name="T4" fmla="*/ 0 w 1089317"/>
              <a:gd name="T5" fmla="*/ 0 h 819147"/>
              <a:gd name="T6" fmla="*/ 0 w 1089317"/>
              <a:gd name="T7" fmla="*/ 0 h 819147"/>
              <a:gd name="T8" fmla="*/ 0 w 1089317"/>
              <a:gd name="T9" fmla="*/ 0 h 819147"/>
              <a:gd name="T10" fmla="*/ 0 w 1089317"/>
              <a:gd name="T11" fmla="*/ 0 h 819147"/>
              <a:gd name="T12" fmla="*/ 0 w 1089317"/>
              <a:gd name="T13" fmla="*/ 0 h 819147"/>
              <a:gd name="T14" fmla="*/ 0 w 1089317"/>
              <a:gd name="T15" fmla="*/ 0 h 819147"/>
              <a:gd name="T16" fmla="*/ 0 w 1089317"/>
              <a:gd name="T17" fmla="*/ 0 h 819147"/>
              <a:gd name="T18" fmla="*/ 0 w 1089317"/>
              <a:gd name="T19" fmla="*/ 0 h 819147"/>
              <a:gd name="T20" fmla="*/ 0 w 1089317"/>
              <a:gd name="T21" fmla="*/ 0 h 819147"/>
              <a:gd name="T22" fmla="*/ 0 w 1089317"/>
              <a:gd name="T23" fmla="*/ 0 h 819147"/>
              <a:gd name="T24" fmla="*/ 0 w 1089317"/>
              <a:gd name="T25" fmla="*/ 0 h 819147"/>
              <a:gd name="T26" fmla="*/ 0 w 1089317"/>
              <a:gd name="T27" fmla="*/ 0 h 819147"/>
              <a:gd name="T28" fmla="*/ 0 w 1089317"/>
              <a:gd name="T29" fmla="*/ 0 h 819147"/>
              <a:gd name="T30" fmla="*/ 0 w 1089317"/>
              <a:gd name="T31" fmla="*/ 0 h 819147"/>
              <a:gd name="T32" fmla="*/ 0 w 1089317"/>
              <a:gd name="T33" fmla="*/ 0 h 819147"/>
              <a:gd name="T34" fmla="*/ 0 w 1089317"/>
              <a:gd name="T35" fmla="*/ 0 h 819147"/>
              <a:gd name="T36" fmla="*/ 0 w 1089317"/>
              <a:gd name="T37" fmla="*/ 0 h 819147"/>
              <a:gd name="T38" fmla="*/ 0 w 1089317"/>
              <a:gd name="T39" fmla="*/ 0 h 819147"/>
              <a:gd name="T40" fmla="*/ 0 w 1089317"/>
              <a:gd name="T41" fmla="*/ 0 h 819147"/>
              <a:gd name="T42" fmla="*/ 0 w 1089317"/>
              <a:gd name="T43" fmla="*/ 0 h 819147"/>
              <a:gd name="T44" fmla="*/ 0 w 1089317"/>
              <a:gd name="T45" fmla="*/ 0 h 819147"/>
              <a:gd name="T46" fmla="*/ 0 w 1089317"/>
              <a:gd name="T47" fmla="*/ 0 h 819147"/>
              <a:gd name="T48" fmla="*/ 0 w 1089317"/>
              <a:gd name="T49" fmla="*/ 0 h 819147"/>
              <a:gd name="T50" fmla="*/ 0 w 1089317"/>
              <a:gd name="T51" fmla="*/ 0 h 819147"/>
              <a:gd name="T52" fmla="*/ 0 w 1089317"/>
              <a:gd name="T53" fmla="*/ 0 h 819147"/>
              <a:gd name="T54" fmla="*/ 0 w 1089317"/>
              <a:gd name="T55" fmla="*/ 0 h 819147"/>
              <a:gd name="T56" fmla="*/ 0 w 1089317"/>
              <a:gd name="T57" fmla="*/ 0 h 819147"/>
              <a:gd name="T58" fmla="*/ 0 w 1089317"/>
              <a:gd name="T59" fmla="*/ 0 h 819147"/>
              <a:gd name="T60" fmla="*/ 0 w 1089317"/>
              <a:gd name="T61" fmla="*/ 0 h 819147"/>
              <a:gd name="T62" fmla="*/ 0 w 1089317"/>
              <a:gd name="T63" fmla="*/ 0 h 819147"/>
              <a:gd name="T64" fmla="*/ 0 w 1089317"/>
              <a:gd name="T65" fmla="*/ 0 h 819147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w 1089317"/>
              <a:gd name="T100" fmla="*/ 0 h 819147"/>
              <a:gd name="T101" fmla="*/ 1089317 w 1089317"/>
              <a:gd name="T102" fmla="*/ 819147 h 819147"/>
            </a:gdLst>
            <a:ahLst/>
            <a:cxnLst>
              <a:cxn ang="T66">
                <a:pos x="T0" y="T1"/>
              </a:cxn>
              <a:cxn ang="T67">
                <a:pos x="T2" y="T3"/>
              </a:cxn>
              <a:cxn ang="T68">
                <a:pos x="T4" y="T5"/>
              </a:cxn>
              <a:cxn ang="T69">
                <a:pos x="T6" y="T7"/>
              </a:cxn>
              <a:cxn ang="T70">
                <a:pos x="T8" y="T9"/>
              </a:cxn>
              <a:cxn ang="T71">
                <a:pos x="T10" y="T11"/>
              </a:cxn>
              <a:cxn ang="T72">
                <a:pos x="T12" y="T13"/>
              </a:cxn>
              <a:cxn ang="T73">
                <a:pos x="T14" y="T15"/>
              </a:cxn>
              <a:cxn ang="T74">
                <a:pos x="T16" y="T17"/>
              </a:cxn>
              <a:cxn ang="T75">
                <a:pos x="T18" y="T19"/>
              </a:cxn>
              <a:cxn ang="T76">
                <a:pos x="T20" y="T21"/>
              </a:cxn>
              <a:cxn ang="T77">
                <a:pos x="T22" y="T23"/>
              </a:cxn>
              <a:cxn ang="T78">
                <a:pos x="T24" y="T25"/>
              </a:cxn>
              <a:cxn ang="T79">
                <a:pos x="T26" y="T27"/>
              </a:cxn>
              <a:cxn ang="T80">
                <a:pos x="T28" y="T29"/>
              </a:cxn>
              <a:cxn ang="T81">
                <a:pos x="T30" y="T31"/>
              </a:cxn>
              <a:cxn ang="T82">
                <a:pos x="T32" y="T33"/>
              </a:cxn>
              <a:cxn ang="T83">
                <a:pos x="T34" y="T35"/>
              </a:cxn>
              <a:cxn ang="T84">
                <a:pos x="T36" y="T37"/>
              </a:cxn>
              <a:cxn ang="T85">
                <a:pos x="T38" y="T39"/>
              </a:cxn>
              <a:cxn ang="T86">
                <a:pos x="T40" y="T41"/>
              </a:cxn>
              <a:cxn ang="T87">
                <a:pos x="T42" y="T43"/>
              </a:cxn>
              <a:cxn ang="T88">
                <a:pos x="T44" y="T45"/>
              </a:cxn>
              <a:cxn ang="T89">
                <a:pos x="T46" y="T47"/>
              </a:cxn>
              <a:cxn ang="T90">
                <a:pos x="T48" y="T49"/>
              </a:cxn>
              <a:cxn ang="T91">
                <a:pos x="T50" y="T51"/>
              </a:cxn>
              <a:cxn ang="T92">
                <a:pos x="T52" y="T53"/>
              </a:cxn>
              <a:cxn ang="T93">
                <a:pos x="T54" y="T55"/>
              </a:cxn>
              <a:cxn ang="T94">
                <a:pos x="T56" y="T57"/>
              </a:cxn>
              <a:cxn ang="T95">
                <a:pos x="T58" y="T59"/>
              </a:cxn>
              <a:cxn ang="T96">
                <a:pos x="T60" y="T61"/>
              </a:cxn>
              <a:cxn ang="T97">
                <a:pos x="T62" y="T63"/>
              </a:cxn>
              <a:cxn ang="T98">
                <a:pos x="T64" y="T65"/>
              </a:cxn>
            </a:cxnLst>
            <a:rect l="T99" t="T100" r="T101" b="T102"/>
            <a:pathLst>
              <a:path w="1089317" h="819147">
                <a:moveTo>
                  <a:pt x="535803" y="0"/>
                </a:moveTo>
                <a:lnTo>
                  <a:pt x="580352" y="26264"/>
                </a:lnTo>
                <a:cubicBezTo>
                  <a:pt x="587771" y="45034"/>
                  <a:pt x="585681" y="56646"/>
                  <a:pt x="593108" y="75408"/>
                </a:cubicBezTo>
                <a:cubicBezTo>
                  <a:pt x="590122" y="74341"/>
                  <a:pt x="589715" y="75117"/>
                  <a:pt x="589481" y="76159"/>
                </a:cubicBezTo>
                <a:lnTo>
                  <a:pt x="589921" y="76199"/>
                </a:lnTo>
                <a:cubicBezTo>
                  <a:pt x="598910" y="104338"/>
                  <a:pt x="607850" y="132632"/>
                  <a:pt x="616939" y="160667"/>
                </a:cubicBezTo>
                <a:lnTo>
                  <a:pt x="649299" y="247163"/>
                </a:lnTo>
                <a:lnTo>
                  <a:pt x="688752" y="312022"/>
                </a:lnTo>
                <a:lnTo>
                  <a:pt x="785834" y="358780"/>
                </a:lnTo>
                <a:lnTo>
                  <a:pt x="864739" y="358780"/>
                </a:lnTo>
                <a:lnTo>
                  <a:pt x="945591" y="333711"/>
                </a:lnTo>
                <a:lnTo>
                  <a:pt x="1010363" y="387647"/>
                </a:lnTo>
                <a:cubicBezTo>
                  <a:pt x="1017404" y="410481"/>
                  <a:pt x="1024645" y="433210"/>
                  <a:pt x="1031687" y="455991"/>
                </a:cubicBezTo>
                <a:lnTo>
                  <a:pt x="1074735" y="542383"/>
                </a:lnTo>
                <a:cubicBezTo>
                  <a:pt x="1078865" y="557331"/>
                  <a:pt x="1082891" y="572387"/>
                  <a:pt x="1086915" y="587434"/>
                </a:cubicBezTo>
                <a:lnTo>
                  <a:pt x="1087486" y="589546"/>
                </a:lnTo>
                <a:lnTo>
                  <a:pt x="1089317" y="596320"/>
                </a:lnTo>
                <a:lnTo>
                  <a:pt x="1084491" y="596776"/>
                </a:lnTo>
                <a:lnTo>
                  <a:pt x="1070185" y="631319"/>
                </a:lnTo>
                <a:lnTo>
                  <a:pt x="1045067" y="663824"/>
                </a:lnTo>
                <a:lnTo>
                  <a:pt x="1023569" y="710736"/>
                </a:lnTo>
                <a:lnTo>
                  <a:pt x="984193" y="761220"/>
                </a:lnTo>
                <a:lnTo>
                  <a:pt x="931987" y="784956"/>
                </a:lnTo>
                <a:lnTo>
                  <a:pt x="932017" y="785016"/>
                </a:lnTo>
                <a:lnTo>
                  <a:pt x="912490" y="794141"/>
                </a:lnTo>
                <a:lnTo>
                  <a:pt x="847985" y="819147"/>
                </a:lnTo>
                <a:lnTo>
                  <a:pt x="753126" y="808426"/>
                </a:lnTo>
                <a:lnTo>
                  <a:pt x="688621" y="808426"/>
                </a:lnTo>
                <a:lnTo>
                  <a:pt x="624209" y="808426"/>
                </a:lnTo>
                <a:lnTo>
                  <a:pt x="570625" y="794141"/>
                </a:lnTo>
                <a:lnTo>
                  <a:pt x="502603" y="794141"/>
                </a:lnTo>
                <a:lnTo>
                  <a:pt x="419960" y="754864"/>
                </a:lnTo>
                <a:lnTo>
                  <a:pt x="355548" y="711993"/>
                </a:lnTo>
                <a:lnTo>
                  <a:pt x="260780" y="676280"/>
                </a:lnTo>
                <a:lnTo>
                  <a:pt x="207104" y="676280"/>
                </a:lnTo>
                <a:lnTo>
                  <a:pt x="149725" y="701272"/>
                </a:lnTo>
                <a:lnTo>
                  <a:pt x="85313" y="687002"/>
                </a:lnTo>
                <a:cubicBezTo>
                  <a:pt x="72171" y="679844"/>
                  <a:pt x="58937" y="672701"/>
                  <a:pt x="45796" y="665543"/>
                </a:cubicBezTo>
                <a:lnTo>
                  <a:pt x="6556" y="681042"/>
                </a:lnTo>
                <a:lnTo>
                  <a:pt x="22858" y="670741"/>
                </a:lnTo>
                <a:lnTo>
                  <a:pt x="0" y="682522"/>
                </a:lnTo>
                <a:cubicBezTo>
                  <a:pt x="12441" y="670084"/>
                  <a:pt x="39134" y="655319"/>
                  <a:pt x="51574" y="642881"/>
                </a:cubicBezTo>
                <a:lnTo>
                  <a:pt x="35608" y="621597"/>
                </a:lnTo>
                <a:cubicBezTo>
                  <a:pt x="39183" y="610955"/>
                  <a:pt x="42709" y="600314"/>
                  <a:pt x="46285" y="589672"/>
                </a:cubicBezTo>
                <a:lnTo>
                  <a:pt x="35608" y="568388"/>
                </a:lnTo>
                <a:lnTo>
                  <a:pt x="14302" y="541783"/>
                </a:lnTo>
                <a:cubicBezTo>
                  <a:pt x="10775" y="531141"/>
                  <a:pt x="7200" y="520499"/>
                  <a:pt x="3673" y="509857"/>
                </a:cubicBezTo>
                <a:lnTo>
                  <a:pt x="24979" y="483253"/>
                </a:lnTo>
                <a:lnTo>
                  <a:pt x="67541" y="483253"/>
                </a:lnTo>
                <a:lnTo>
                  <a:pt x="99524" y="493895"/>
                </a:lnTo>
                <a:cubicBezTo>
                  <a:pt x="95949" y="477932"/>
                  <a:pt x="92422" y="461969"/>
                  <a:pt x="88847" y="446006"/>
                </a:cubicBezTo>
                <a:cubicBezTo>
                  <a:pt x="85321" y="426518"/>
                  <a:pt x="81745" y="406963"/>
                  <a:pt x="78219" y="387475"/>
                </a:cubicBezTo>
                <a:lnTo>
                  <a:pt x="78219" y="344908"/>
                </a:lnTo>
                <a:lnTo>
                  <a:pt x="120781" y="291698"/>
                </a:lnTo>
                <a:lnTo>
                  <a:pt x="163392" y="238489"/>
                </a:lnTo>
                <a:lnTo>
                  <a:pt x="200665" y="217205"/>
                </a:lnTo>
                <a:lnTo>
                  <a:pt x="174020" y="174637"/>
                </a:lnTo>
                <a:lnTo>
                  <a:pt x="216632" y="142712"/>
                </a:lnTo>
                <a:lnTo>
                  <a:pt x="259194" y="132070"/>
                </a:lnTo>
                <a:lnTo>
                  <a:pt x="328400" y="110786"/>
                </a:lnTo>
                <a:lnTo>
                  <a:pt x="360383" y="89502"/>
                </a:lnTo>
                <a:lnTo>
                  <a:pt x="402945" y="46934"/>
                </a:lnTo>
                <a:lnTo>
                  <a:pt x="461523" y="57576"/>
                </a:lnTo>
                <a:lnTo>
                  <a:pt x="493457" y="15009"/>
                </a:lnTo>
                <a:lnTo>
                  <a:pt x="495836" y="16313"/>
                </a:lnTo>
                <a:lnTo>
                  <a:pt x="501024" y="5120"/>
                </a:lnTo>
                <a:close/>
              </a:path>
            </a:pathLst>
          </a:custGeom>
          <a:solidFill>
            <a:srgbClr val="70B0DF"/>
          </a:solidFill>
          <a:ln w="3175" cap="flat" cmpd="sng">
            <a:noFill/>
            <a:prstDash val="solid"/>
            <a:round/>
            <a:headEnd type="none" w="med" len="med"/>
            <a:tailEnd type="none" w="sm" len="sm"/>
          </a:ln>
        </p:spPr>
        <p:txBody>
          <a:bodyPr wrap="none" lIns="32632" tIns="32632" rIns="32632" bIns="32632"/>
          <a:lstStyle/>
          <a:p>
            <a:pPr defTabSz="891045"/>
            <a:endParaRPr lang="en-US" sz="1700" dirty="0">
              <a:solidFill>
                <a:srgbClr val="003149"/>
              </a:solidFill>
              <a:cs typeface="Arial" panose="020B0604020202020204" pitchFamily="34" charset="0"/>
            </a:endParaRPr>
          </a:p>
        </p:txBody>
      </p:sp>
      <p:sp>
        <p:nvSpPr>
          <p:cNvPr id="80" name="Freeform 1044"/>
          <p:cNvSpPr>
            <a:spLocks noChangeAspect="1"/>
          </p:cNvSpPr>
          <p:nvPr>
            <p:custDataLst>
              <p:tags r:id="rId56"/>
            </p:custDataLst>
          </p:nvPr>
        </p:nvSpPr>
        <p:spPr bwMode="gray">
          <a:xfrm>
            <a:off x="2660201" y="2648416"/>
            <a:ext cx="288599" cy="245357"/>
          </a:xfrm>
          <a:custGeom>
            <a:avLst/>
            <a:gdLst>
              <a:gd name="T0" fmla="*/ 0 w 1676399"/>
              <a:gd name="T1" fmla="*/ 0 h 1250952"/>
              <a:gd name="T2" fmla="*/ 0 w 1676399"/>
              <a:gd name="T3" fmla="*/ 0 h 1250952"/>
              <a:gd name="T4" fmla="*/ 0 w 1676399"/>
              <a:gd name="T5" fmla="*/ 0 h 1250952"/>
              <a:gd name="T6" fmla="*/ 0 w 1676399"/>
              <a:gd name="T7" fmla="*/ 0 h 1250952"/>
              <a:gd name="T8" fmla="*/ 0 w 1676399"/>
              <a:gd name="T9" fmla="*/ 0 h 1250952"/>
              <a:gd name="T10" fmla="*/ 0 w 1676399"/>
              <a:gd name="T11" fmla="*/ 0 h 1250952"/>
              <a:gd name="T12" fmla="*/ 0 w 1676399"/>
              <a:gd name="T13" fmla="*/ 0 h 1250952"/>
              <a:gd name="T14" fmla="*/ 0 w 1676399"/>
              <a:gd name="T15" fmla="*/ 0 h 1250952"/>
              <a:gd name="T16" fmla="*/ 0 w 1676399"/>
              <a:gd name="T17" fmla="*/ 0 h 1250952"/>
              <a:gd name="T18" fmla="*/ 0 w 1676399"/>
              <a:gd name="T19" fmla="*/ 0 h 1250952"/>
              <a:gd name="T20" fmla="*/ 0 w 1676399"/>
              <a:gd name="T21" fmla="*/ 0 h 1250952"/>
              <a:gd name="T22" fmla="*/ 0 w 1676399"/>
              <a:gd name="T23" fmla="*/ 0 h 1250952"/>
              <a:gd name="T24" fmla="*/ 0 w 1676399"/>
              <a:gd name="T25" fmla="*/ 0 h 1250952"/>
              <a:gd name="T26" fmla="*/ 0 w 1676399"/>
              <a:gd name="T27" fmla="*/ 0 h 1250952"/>
              <a:gd name="T28" fmla="*/ 0 w 1676399"/>
              <a:gd name="T29" fmla="*/ 0 h 1250952"/>
              <a:gd name="T30" fmla="*/ 0 w 1676399"/>
              <a:gd name="T31" fmla="*/ 0 h 1250952"/>
              <a:gd name="T32" fmla="*/ 0 w 1676399"/>
              <a:gd name="T33" fmla="*/ 0 h 1250952"/>
              <a:gd name="T34" fmla="*/ 0 w 1676399"/>
              <a:gd name="T35" fmla="*/ 0 h 1250952"/>
              <a:gd name="T36" fmla="*/ 0 w 1676399"/>
              <a:gd name="T37" fmla="*/ 0 h 1250952"/>
              <a:gd name="T38" fmla="*/ 0 w 1676399"/>
              <a:gd name="T39" fmla="*/ 0 h 1250952"/>
              <a:gd name="T40" fmla="*/ 0 w 1676399"/>
              <a:gd name="T41" fmla="*/ 0 h 1250952"/>
              <a:gd name="T42" fmla="*/ 0 w 1676399"/>
              <a:gd name="T43" fmla="*/ 0 h 1250952"/>
              <a:gd name="T44" fmla="*/ 0 w 1676399"/>
              <a:gd name="T45" fmla="*/ 0 h 1250952"/>
              <a:gd name="T46" fmla="*/ 0 w 1676399"/>
              <a:gd name="T47" fmla="*/ 0 h 1250952"/>
              <a:gd name="T48" fmla="*/ 0 w 1676399"/>
              <a:gd name="T49" fmla="*/ 0 h 1250952"/>
              <a:gd name="T50" fmla="*/ 0 w 1676399"/>
              <a:gd name="T51" fmla="*/ 0 h 1250952"/>
              <a:gd name="T52" fmla="*/ 0 w 1676399"/>
              <a:gd name="T53" fmla="*/ 0 h 1250952"/>
              <a:gd name="T54" fmla="*/ 0 w 1676399"/>
              <a:gd name="T55" fmla="*/ 0 h 1250952"/>
              <a:gd name="T56" fmla="*/ 0 w 1676399"/>
              <a:gd name="T57" fmla="*/ 0 h 1250952"/>
              <a:gd name="T58" fmla="*/ 0 w 1676399"/>
              <a:gd name="T59" fmla="*/ 0 h 1250952"/>
              <a:gd name="T60" fmla="*/ 0 w 1676399"/>
              <a:gd name="T61" fmla="*/ 0 h 1250952"/>
              <a:gd name="T62" fmla="*/ 0 w 1676399"/>
              <a:gd name="T63" fmla="*/ 0 h 1250952"/>
              <a:gd name="T64" fmla="*/ 0 w 1676399"/>
              <a:gd name="T65" fmla="*/ 0 h 1250952"/>
              <a:gd name="T66" fmla="*/ 0 w 1676399"/>
              <a:gd name="T67" fmla="*/ 0 h 1250952"/>
              <a:gd name="T68" fmla="*/ 0 w 1676399"/>
              <a:gd name="T69" fmla="*/ 0 h 1250952"/>
              <a:gd name="T70" fmla="*/ 0 w 1676399"/>
              <a:gd name="T71" fmla="*/ 0 h 1250952"/>
              <a:gd name="T72" fmla="*/ 0 w 1676399"/>
              <a:gd name="T73" fmla="*/ 0 h 1250952"/>
              <a:gd name="T74" fmla="*/ 0 w 1676399"/>
              <a:gd name="T75" fmla="*/ 0 h 1250952"/>
              <a:gd name="T76" fmla="*/ 0 w 1676399"/>
              <a:gd name="T77" fmla="*/ 0 h 1250952"/>
              <a:gd name="T78" fmla="*/ 0 w 1676399"/>
              <a:gd name="T79" fmla="*/ 0 h 1250952"/>
              <a:gd name="T80" fmla="*/ 0 w 1676399"/>
              <a:gd name="T81" fmla="*/ 0 h 1250952"/>
              <a:gd name="T82" fmla="*/ 0 w 1676399"/>
              <a:gd name="T83" fmla="*/ 0 h 1250952"/>
              <a:gd name="T84" fmla="*/ 0 w 1676399"/>
              <a:gd name="T85" fmla="*/ 0 h 1250952"/>
              <a:gd name="T86" fmla="*/ 0 w 1676399"/>
              <a:gd name="T87" fmla="*/ 0 h 1250952"/>
              <a:gd name="T88" fmla="*/ 0 w 1676399"/>
              <a:gd name="T89" fmla="*/ 0 h 1250952"/>
              <a:gd name="T90" fmla="*/ 0 w 1676399"/>
              <a:gd name="T91" fmla="*/ 0 h 1250952"/>
              <a:gd name="T92" fmla="*/ 0 w 1676399"/>
              <a:gd name="T93" fmla="*/ 0 h 1250952"/>
              <a:gd name="T94" fmla="*/ 0 w 1676399"/>
              <a:gd name="T95" fmla="*/ 0 h 1250952"/>
              <a:gd name="T96" fmla="*/ 0 w 1676399"/>
              <a:gd name="T97" fmla="*/ 0 h 1250952"/>
              <a:gd name="T98" fmla="*/ 0 w 1676399"/>
              <a:gd name="T99" fmla="*/ 0 h 1250952"/>
              <a:gd name="T100" fmla="*/ 0 w 1676399"/>
              <a:gd name="T101" fmla="*/ 0 h 1250952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w 1676399"/>
              <a:gd name="T154" fmla="*/ 0 h 1250952"/>
              <a:gd name="T155" fmla="*/ 1676399 w 1676399"/>
              <a:gd name="T156" fmla="*/ 1250952 h 1250952"/>
            </a:gdLst>
            <a:ahLst/>
            <a:cxnLst>
              <a:cxn ang="T102">
                <a:pos x="T0" y="T1"/>
              </a:cxn>
              <a:cxn ang="T103">
                <a:pos x="T2" y="T3"/>
              </a:cxn>
              <a:cxn ang="T104">
                <a:pos x="T4" y="T5"/>
              </a:cxn>
              <a:cxn ang="T105">
                <a:pos x="T6" y="T7"/>
              </a:cxn>
              <a:cxn ang="T106">
                <a:pos x="T8" y="T9"/>
              </a:cxn>
              <a:cxn ang="T107">
                <a:pos x="T10" y="T11"/>
              </a:cxn>
              <a:cxn ang="T108">
                <a:pos x="T12" y="T13"/>
              </a:cxn>
              <a:cxn ang="T109">
                <a:pos x="T14" y="T15"/>
              </a:cxn>
              <a:cxn ang="T110">
                <a:pos x="T16" y="T17"/>
              </a:cxn>
              <a:cxn ang="T111">
                <a:pos x="T18" y="T19"/>
              </a:cxn>
              <a:cxn ang="T112">
                <a:pos x="T20" y="T21"/>
              </a:cxn>
              <a:cxn ang="T113">
                <a:pos x="T22" y="T23"/>
              </a:cxn>
              <a:cxn ang="T114">
                <a:pos x="T24" y="T25"/>
              </a:cxn>
              <a:cxn ang="T115">
                <a:pos x="T26" y="T27"/>
              </a:cxn>
              <a:cxn ang="T116">
                <a:pos x="T28" y="T29"/>
              </a:cxn>
              <a:cxn ang="T117">
                <a:pos x="T30" y="T31"/>
              </a:cxn>
              <a:cxn ang="T118">
                <a:pos x="T32" y="T33"/>
              </a:cxn>
              <a:cxn ang="T119">
                <a:pos x="T34" y="T35"/>
              </a:cxn>
              <a:cxn ang="T120">
                <a:pos x="T36" y="T37"/>
              </a:cxn>
              <a:cxn ang="T121">
                <a:pos x="T38" y="T39"/>
              </a:cxn>
              <a:cxn ang="T122">
                <a:pos x="T40" y="T41"/>
              </a:cxn>
              <a:cxn ang="T123">
                <a:pos x="T42" y="T43"/>
              </a:cxn>
              <a:cxn ang="T124">
                <a:pos x="T44" y="T45"/>
              </a:cxn>
              <a:cxn ang="T125">
                <a:pos x="T46" y="T47"/>
              </a:cxn>
              <a:cxn ang="T126">
                <a:pos x="T48" y="T49"/>
              </a:cxn>
              <a:cxn ang="T127">
                <a:pos x="T50" y="T51"/>
              </a:cxn>
              <a:cxn ang="T128">
                <a:pos x="T52" y="T53"/>
              </a:cxn>
              <a:cxn ang="T129">
                <a:pos x="T54" y="T55"/>
              </a:cxn>
              <a:cxn ang="T130">
                <a:pos x="T56" y="T57"/>
              </a:cxn>
              <a:cxn ang="T131">
                <a:pos x="T58" y="T59"/>
              </a:cxn>
              <a:cxn ang="T132">
                <a:pos x="T60" y="T61"/>
              </a:cxn>
              <a:cxn ang="T133">
                <a:pos x="T62" y="T63"/>
              </a:cxn>
              <a:cxn ang="T134">
                <a:pos x="T64" y="T65"/>
              </a:cxn>
              <a:cxn ang="T135">
                <a:pos x="T66" y="T67"/>
              </a:cxn>
              <a:cxn ang="T136">
                <a:pos x="T68" y="T69"/>
              </a:cxn>
              <a:cxn ang="T137">
                <a:pos x="T70" y="T71"/>
              </a:cxn>
              <a:cxn ang="T138">
                <a:pos x="T72" y="T73"/>
              </a:cxn>
              <a:cxn ang="T139">
                <a:pos x="T74" y="T75"/>
              </a:cxn>
              <a:cxn ang="T140">
                <a:pos x="T76" y="T77"/>
              </a:cxn>
              <a:cxn ang="T141">
                <a:pos x="T78" y="T79"/>
              </a:cxn>
              <a:cxn ang="T142">
                <a:pos x="T80" y="T81"/>
              </a:cxn>
              <a:cxn ang="T143">
                <a:pos x="T82" y="T83"/>
              </a:cxn>
              <a:cxn ang="T144">
                <a:pos x="T84" y="T85"/>
              </a:cxn>
              <a:cxn ang="T145">
                <a:pos x="T86" y="T87"/>
              </a:cxn>
              <a:cxn ang="T146">
                <a:pos x="T88" y="T89"/>
              </a:cxn>
              <a:cxn ang="T147">
                <a:pos x="T90" y="T91"/>
              </a:cxn>
              <a:cxn ang="T148">
                <a:pos x="T92" y="T93"/>
              </a:cxn>
              <a:cxn ang="T149">
                <a:pos x="T94" y="T95"/>
              </a:cxn>
              <a:cxn ang="T150">
                <a:pos x="T96" y="T97"/>
              </a:cxn>
              <a:cxn ang="T151">
                <a:pos x="T98" y="T99"/>
              </a:cxn>
              <a:cxn ang="T152">
                <a:pos x="T100" y="T101"/>
              </a:cxn>
            </a:cxnLst>
            <a:rect l="T153" t="T154" r="T155" b="T156"/>
            <a:pathLst>
              <a:path w="1676399" h="1250952">
                <a:moveTo>
                  <a:pt x="380999" y="0"/>
                </a:moveTo>
                <a:lnTo>
                  <a:pt x="399002" y="86954"/>
                </a:lnTo>
                <a:lnTo>
                  <a:pt x="420671" y="115939"/>
                </a:lnTo>
                <a:lnTo>
                  <a:pt x="463898" y="130404"/>
                </a:lnTo>
                <a:lnTo>
                  <a:pt x="499903" y="130404"/>
                </a:lnTo>
                <a:lnTo>
                  <a:pt x="532240" y="152156"/>
                </a:lnTo>
                <a:lnTo>
                  <a:pt x="586358" y="184757"/>
                </a:lnTo>
                <a:lnTo>
                  <a:pt x="629585" y="181141"/>
                </a:lnTo>
                <a:lnTo>
                  <a:pt x="658367" y="202839"/>
                </a:lnTo>
                <a:lnTo>
                  <a:pt x="701594" y="206509"/>
                </a:lnTo>
                <a:lnTo>
                  <a:pt x="726820" y="217358"/>
                </a:lnTo>
                <a:cubicBezTo>
                  <a:pt x="734043" y="230636"/>
                  <a:pt x="741155" y="243914"/>
                  <a:pt x="748378" y="257192"/>
                </a:cubicBezTo>
                <a:lnTo>
                  <a:pt x="770047" y="300642"/>
                </a:lnTo>
                <a:lnTo>
                  <a:pt x="802496" y="271711"/>
                </a:lnTo>
                <a:lnTo>
                  <a:pt x="856502" y="268041"/>
                </a:lnTo>
                <a:lnTo>
                  <a:pt x="894285" y="300642"/>
                </a:lnTo>
                <a:lnTo>
                  <a:pt x="937512" y="282560"/>
                </a:lnTo>
                <a:lnTo>
                  <a:pt x="991519" y="235440"/>
                </a:lnTo>
                <a:lnTo>
                  <a:pt x="1045637" y="224591"/>
                </a:lnTo>
                <a:lnTo>
                  <a:pt x="1081641" y="246343"/>
                </a:lnTo>
                <a:lnTo>
                  <a:pt x="1113978" y="271711"/>
                </a:lnTo>
                <a:lnTo>
                  <a:pt x="1113978" y="304312"/>
                </a:lnTo>
                <a:lnTo>
                  <a:pt x="1142871" y="326010"/>
                </a:lnTo>
                <a:cubicBezTo>
                  <a:pt x="1146427" y="353807"/>
                  <a:pt x="1150094" y="381551"/>
                  <a:pt x="1153650" y="409348"/>
                </a:cubicBezTo>
                <a:lnTo>
                  <a:pt x="1186098" y="391212"/>
                </a:lnTo>
                <a:lnTo>
                  <a:pt x="1218436" y="387596"/>
                </a:lnTo>
                <a:cubicBezTo>
                  <a:pt x="1223214" y="399686"/>
                  <a:pt x="1228104" y="411723"/>
                  <a:pt x="1232882" y="423813"/>
                </a:cubicBezTo>
                <a:lnTo>
                  <a:pt x="1286889" y="441949"/>
                </a:lnTo>
                <a:lnTo>
                  <a:pt x="1326560" y="423813"/>
                </a:lnTo>
                <a:lnTo>
                  <a:pt x="1380567" y="445565"/>
                </a:lnTo>
                <a:lnTo>
                  <a:pt x="1402236" y="496302"/>
                </a:lnTo>
                <a:lnTo>
                  <a:pt x="1449020" y="518000"/>
                </a:lnTo>
                <a:lnTo>
                  <a:pt x="1492247" y="539752"/>
                </a:lnTo>
                <a:lnTo>
                  <a:pt x="1491239" y="542974"/>
                </a:lnTo>
                <a:lnTo>
                  <a:pt x="1511751" y="565982"/>
                </a:lnTo>
                <a:lnTo>
                  <a:pt x="1558285" y="565982"/>
                </a:lnTo>
                <a:lnTo>
                  <a:pt x="1611975" y="576805"/>
                </a:lnTo>
                <a:lnTo>
                  <a:pt x="1665684" y="576805"/>
                </a:lnTo>
                <a:lnTo>
                  <a:pt x="1676399" y="616601"/>
                </a:lnTo>
                <a:lnTo>
                  <a:pt x="1640600" y="649192"/>
                </a:lnTo>
                <a:lnTo>
                  <a:pt x="1640600" y="685369"/>
                </a:lnTo>
                <a:lnTo>
                  <a:pt x="1622728" y="725165"/>
                </a:lnTo>
                <a:lnTo>
                  <a:pt x="1640600" y="768579"/>
                </a:lnTo>
                <a:lnTo>
                  <a:pt x="1665684" y="804757"/>
                </a:lnTo>
                <a:lnTo>
                  <a:pt x="1633462" y="844552"/>
                </a:lnTo>
                <a:lnTo>
                  <a:pt x="1630614" y="843549"/>
                </a:lnTo>
                <a:lnTo>
                  <a:pt x="1631947" y="844551"/>
                </a:lnTo>
                <a:lnTo>
                  <a:pt x="1578071" y="848128"/>
                </a:lnTo>
                <a:lnTo>
                  <a:pt x="1524195" y="858938"/>
                </a:lnTo>
                <a:lnTo>
                  <a:pt x="1484655" y="858938"/>
                </a:lnTo>
                <a:lnTo>
                  <a:pt x="1452330" y="844551"/>
                </a:lnTo>
                <a:lnTo>
                  <a:pt x="1420004" y="855321"/>
                </a:lnTo>
                <a:cubicBezTo>
                  <a:pt x="1415225" y="869707"/>
                  <a:pt x="1410401" y="884094"/>
                  <a:pt x="1405622" y="898481"/>
                </a:cubicBezTo>
                <a:cubicBezTo>
                  <a:pt x="1402015" y="912867"/>
                  <a:pt x="1398453" y="927254"/>
                  <a:pt x="1394846" y="941640"/>
                </a:cubicBezTo>
                <a:lnTo>
                  <a:pt x="1394846" y="988417"/>
                </a:lnTo>
                <a:lnTo>
                  <a:pt x="1340970" y="1017190"/>
                </a:lnTo>
                <a:lnTo>
                  <a:pt x="1301431" y="1096316"/>
                </a:lnTo>
                <a:lnTo>
                  <a:pt x="1247555" y="1139476"/>
                </a:lnTo>
                <a:cubicBezTo>
                  <a:pt x="1243948" y="1152643"/>
                  <a:pt x="1240386" y="1165851"/>
                  <a:pt x="1236779" y="1179018"/>
                </a:cubicBezTo>
                <a:lnTo>
                  <a:pt x="1200847" y="1214985"/>
                </a:lnTo>
                <a:lnTo>
                  <a:pt x="1181100" y="1250951"/>
                </a:lnTo>
                <a:lnTo>
                  <a:pt x="1179238" y="1237183"/>
                </a:lnTo>
                <a:lnTo>
                  <a:pt x="1174748" y="1250952"/>
                </a:lnTo>
                <a:lnTo>
                  <a:pt x="1113661" y="1191516"/>
                </a:lnTo>
                <a:lnTo>
                  <a:pt x="1049050" y="1159146"/>
                </a:lnTo>
                <a:lnTo>
                  <a:pt x="980797" y="1123119"/>
                </a:lnTo>
                <a:lnTo>
                  <a:pt x="919710" y="1090749"/>
                </a:lnTo>
                <a:lnTo>
                  <a:pt x="872955" y="1090749"/>
                </a:lnTo>
                <a:lnTo>
                  <a:pt x="829842" y="1025918"/>
                </a:lnTo>
                <a:lnTo>
                  <a:pt x="808344" y="997115"/>
                </a:lnTo>
                <a:lnTo>
                  <a:pt x="747257" y="950389"/>
                </a:lnTo>
                <a:lnTo>
                  <a:pt x="700502" y="950389"/>
                </a:lnTo>
                <a:lnTo>
                  <a:pt x="650223" y="950389"/>
                </a:lnTo>
                <a:lnTo>
                  <a:pt x="625084" y="910795"/>
                </a:lnTo>
                <a:cubicBezTo>
                  <a:pt x="615451" y="898817"/>
                  <a:pt x="605935" y="886747"/>
                  <a:pt x="596302" y="874768"/>
                </a:cubicBezTo>
                <a:lnTo>
                  <a:pt x="560472" y="874768"/>
                </a:lnTo>
                <a:lnTo>
                  <a:pt x="499386" y="856754"/>
                </a:lnTo>
                <a:lnTo>
                  <a:pt x="484936" y="802713"/>
                </a:lnTo>
                <a:lnTo>
                  <a:pt x="441823" y="716394"/>
                </a:lnTo>
                <a:lnTo>
                  <a:pt x="420325" y="647997"/>
                </a:lnTo>
                <a:lnTo>
                  <a:pt x="355714" y="593956"/>
                </a:lnTo>
                <a:lnTo>
                  <a:pt x="274773" y="619193"/>
                </a:lnTo>
                <a:lnTo>
                  <a:pt x="195830" y="619193"/>
                </a:lnTo>
                <a:lnTo>
                  <a:pt x="98796" y="572376"/>
                </a:lnTo>
                <a:lnTo>
                  <a:pt x="59325" y="507545"/>
                </a:lnTo>
                <a:lnTo>
                  <a:pt x="26901" y="421134"/>
                </a:lnTo>
                <a:cubicBezTo>
                  <a:pt x="17973" y="392971"/>
                  <a:pt x="8928" y="364716"/>
                  <a:pt x="0" y="336552"/>
                </a:cubicBezTo>
                <a:lnTo>
                  <a:pt x="21353" y="337857"/>
                </a:lnTo>
                <a:lnTo>
                  <a:pt x="4809" y="331800"/>
                </a:lnTo>
                <a:lnTo>
                  <a:pt x="43293" y="303796"/>
                </a:lnTo>
                <a:lnTo>
                  <a:pt x="57814" y="281931"/>
                </a:lnTo>
                <a:lnTo>
                  <a:pt x="97464" y="285581"/>
                </a:lnTo>
                <a:lnTo>
                  <a:pt x="122782" y="260165"/>
                </a:lnTo>
                <a:lnTo>
                  <a:pt x="155322" y="241949"/>
                </a:lnTo>
                <a:lnTo>
                  <a:pt x="198659" y="231033"/>
                </a:lnTo>
                <a:cubicBezTo>
                  <a:pt x="197380" y="218955"/>
                  <a:pt x="196214" y="206811"/>
                  <a:pt x="195010" y="194668"/>
                </a:cubicBezTo>
                <a:lnTo>
                  <a:pt x="216679" y="154653"/>
                </a:lnTo>
                <a:cubicBezTo>
                  <a:pt x="217883" y="140054"/>
                  <a:pt x="219087" y="125521"/>
                  <a:pt x="220290" y="110955"/>
                </a:cubicBezTo>
                <a:lnTo>
                  <a:pt x="252793" y="89156"/>
                </a:lnTo>
                <a:cubicBezTo>
                  <a:pt x="251589" y="77012"/>
                  <a:pt x="250423" y="64868"/>
                  <a:pt x="249182" y="52757"/>
                </a:cubicBezTo>
                <a:lnTo>
                  <a:pt x="270850" y="12709"/>
                </a:lnTo>
                <a:lnTo>
                  <a:pt x="335856" y="30925"/>
                </a:lnTo>
                <a:lnTo>
                  <a:pt x="380999" y="2"/>
                </a:lnTo>
                <a:close/>
              </a:path>
            </a:pathLst>
          </a:custGeom>
          <a:solidFill>
            <a:srgbClr val="70B0DF"/>
          </a:solidFill>
          <a:ln w="3175" cap="flat" cmpd="sng">
            <a:noFill/>
            <a:prstDash val="solid"/>
            <a:round/>
            <a:headEnd type="none" w="med" len="med"/>
            <a:tailEnd type="none" w="sm" len="sm"/>
          </a:ln>
        </p:spPr>
        <p:txBody>
          <a:bodyPr wrap="none" lIns="32632" tIns="32632" rIns="32632" bIns="32632" anchor="ctr"/>
          <a:lstStyle/>
          <a:p>
            <a:pPr defTabSz="891045"/>
            <a:endParaRPr lang="en-US" sz="1700" dirty="0">
              <a:solidFill>
                <a:srgbClr val="003149"/>
              </a:solidFill>
              <a:cs typeface="Arial" panose="020B0604020202020204" pitchFamily="34" charset="0"/>
            </a:endParaRPr>
          </a:p>
        </p:txBody>
      </p:sp>
      <p:sp>
        <p:nvSpPr>
          <p:cNvPr id="81" name="Freeform 665"/>
          <p:cNvSpPr>
            <a:spLocks noChangeAspect="1"/>
          </p:cNvSpPr>
          <p:nvPr>
            <p:custDataLst>
              <p:tags r:id="rId57"/>
            </p:custDataLst>
          </p:nvPr>
        </p:nvSpPr>
        <p:spPr bwMode="gray">
          <a:xfrm>
            <a:off x="2908992" y="2636921"/>
            <a:ext cx="375321" cy="367318"/>
          </a:xfrm>
          <a:custGeom>
            <a:avLst/>
            <a:gdLst>
              <a:gd name="T0" fmla="*/ 0 w 2176519"/>
              <a:gd name="T1" fmla="*/ 0 h 1891885"/>
              <a:gd name="T2" fmla="*/ 0 w 2176519"/>
              <a:gd name="T3" fmla="*/ 0 h 1891885"/>
              <a:gd name="T4" fmla="*/ 0 w 2176519"/>
              <a:gd name="T5" fmla="*/ 0 h 1891885"/>
              <a:gd name="T6" fmla="*/ 0 w 2176519"/>
              <a:gd name="T7" fmla="*/ 0 h 1891885"/>
              <a:gd name="T8" fmla="*/ 0 w 2176519"/>
              <a:gd name="T9" fmla="*/ 0 h 1891885"/>
              <a:gd name="T10" fmla="*/ 0 w 2176519"/>
              <a:gd name="T11" fmla="*/ 0 h 1891885"/>
              <a:gd name="T12" fmla="*/ 0 w 2176519"/>
              <a:gd name="T13" fmla="*/ 0 h 1891885"/>
              <a:gd name="T14" fmla="*/ 0 w 2176519"/>
              <a:gd name="T15" fmla="*/ 0 h 1891885"/>
              <a:gd name="T16" fmla="*/ 0 w 2176519"/>
              <a:gd name="T17" fmla="*/ 0 h 1891885"/>
              <a:gd name="T18" fmla="*/ 0 w 2176519"/>
              <a:gd name="T19" fmla="*/ 0 h 1891885"/>
              <a:gd name="T20" fmla="*/ 0 w 2176519"/>
              <a:gd name="T21" fmla="*/ 0 h 1891885"/>
              <a:gd name="T22" fmla="*/ 0 w 2176519"/>
              <a:gd name="T23" fmla="*/ 0 h 1891885"/>
              <a:gd name="T24" fmla="*/ 0 w 2176519"/>
              <a:gd name="T25" fmla="*/ 0 h 1891885"/>
              <a:gd name="T26" fmla="*/ 0 w 2176519"/>
              <a:gd name="T27" fmla="*/ 0 h 1891885"/>
              <a:gd name="T28" fmla="*/ 0 w 2176519"/>
              <a:gd name="T29" fmla="*/ 0 h 1891885"/>
              <a:gd name="T30" fmla="*/ 0 w 2176519"/>
              <a:gd name="T31" fmla="*/ 0 h 1891885"/>
              <a:gd name="T32" fmla="*/ 0 w 2176519"/>
              <a:gd name="T33" fmla="*/ 0 h 1891885"/>
              <a:gd name="T34" fmla="*/ 0 w 2176519"/>
              <a:gd name="T35" fmla="*/ 0 h 1891885"/>
              <a:gd name="T36" fmla="*/ 0 w 2176519"/>
              <a:gd name="T37" fmla="*/ 0 h 1891885"/>
              <a:gd name="T38" fmla="*/ 0 w 2176519"/>
              <a:gd name="T39" fmla="*/ 0 h 1891885"/>
              <a:gd name="T40" fmla="*/ 0 w 2176519"/>
              <a:gd name="T41" fmla="*/ 0 h 1891885"/>
              <a:gd name="T42" fmla="*/ 0 w 2176519"/>
              <a:gd name="T43" fmla="*/ 0 h 1891885"/>
              <a:gd name="T44" fmla="*/ 0 w 2176519"/>
              <a:gd name="T45" fmla="*/ 0 h 1891885"/>
              <a:gd name="T46" fmla="*/ 0 w 2176519"/>
              <a:gd name="T47" fmla="*/ 0 h 1891885"/>
              <a:gd name="T48" fmla="*/ 0 w 2176519"/>
              <a:gd name="T49" fmla="*/ 0 h 1891885"/>
              <a:gd name="T50" fmla="*/ 0 w 2176519"/>
              <a:gd name="T51" fmla="*/ 0 h 1891885"/>
              <a:gd name="T52" fmla="*/ 0 w 2176519"/>
              <a:gd name="T53" fmla="*/ 0 h 1891885"/>
              <a:gd name="T54" fmla="*/ 0 w 2176519"/>
              <a:gd name="T55" fmla="*/ 0 h 1891885"/>
              <a:gd name="T56" fmla="*/ 0 w 2176519"/>
              <a:gd name="T57" fmla="*/ 0 h 1891885"/>
              <a:gd name="T58" fmla="*/ 0 w 2176519"/>
              <a:gd name="T59" fmla="*/ 0 h 1891885"/>
              <a:gd name="T60" fmla="*/ 0 w 2176519"/>
              <a:gd name="T61" fmla="*/ 0 h 1891885"/>
              <a:gd name="T62" fmla="*/ 0 w 2176519"/>
              <a:gd name="T63" fmla="*/ 0 h 1891885"/>
              <a:gd name="T64" fmla="*/ 0 w 2176519"/>
              <a:gd name="T65" fmla="*/ 0 h 1891885"/>
              <a:gd name="T66" fmla="*/ 0 w 2176519"/>
              <a:gd name="T67" fmla="*/ 0 h 1891885"/>
              <a:gd name="T68" fmla="*/ 0 w 2176519"/>
              <a:gd name="T69" fmla="*/ 0 h 1891885"/>
              <a:gd name="T70" fmla="*/ 0 w 2176519"/>
              <a:gd name="T71" fmla="*/ 0 h 1891885"/>
              <a:gd name="T72" fmla="*/ 0 w 2176519"/>
              <a:gd name="T73" fmla="*/ 0 h 1891885"/>
              <a:gd name="T74" fmla="*/ 0 w 2176519"/>
              <a:gd name="T75" fmla="*/ 0 h 1891885"/>
              <a:gd name="T76" fmla="*/ 0 w 2176519"/>
              <a:gd name="T77" fmla="*/ 0 h 1891885"/>
              <a:gd name="T78" fmla="*/ 0 w 2176519"/>
              <a:gd name="T79" fmla="*/ 0 h 1891885"/>
              <a:gd name="T80" fmla="*/ 0 w 2176519"/>
              <a:gd name="T81" fmla="*/ 0 h 1891885"/>
              <a:gd name="T82" fmla="*/ 0 w 2176519"/>
              <a:gd name="T83" fmla="*/ 0 h 1891885"/>
              <a:gd name="T84" fmla="*/ 0 w 2176519"/>
              <a:gd name="T85" fmla="*/ 0 h 1891885"/>
              <a:gd name="T86" fmla="*/ 0 w 2176519"/>
              <a:gd name="T87" fmla="*/ 0 h 1891885"/>
              <a:gd name="T88" fmla="*/ 0 w 2176519"/>
              <a:gd name="T89" fmla="*/ 0 h 1891885"/>
              <a:gd name="T90" fmla="*/ 0 w 2176519"/>
              <a:gd name="T91" fmla="*/ 0 h 1891885"/>
              <a:gd name="T92" fmla="*/ 0 w 2176519"/>
              <a:gd name="T93" fmla="*/ 0 h 1891885"/>
              <a:gd name="T94" fmla="*/ 0 w 2176519"/>
              <a:gd name="T95" fmla="*/ 0 h 1891885"/>
              <a:gd name="T96" fmla="*/ 0 w 2176519"/>
              <a:gd name="T97" fmla="*/ 0 h 1891885"/>
              <a:gd name="T98" fmla="*/ 0 w 2176519"/>
              <a:gd name="T99" fmla="*/ 0 h 1891885"/>
              <a:gd name="T100" fmla="*/ 0 w 2176519"/>
              <a:gd name="T101" fmla="*/ 0 h 1891885"/>
              <a:gd name="T102" fmla="*/ 0 w 2176519"/>
              <a:gd name="T103" fmla="*/ 0 h 1891885"/>
              <a:gd name="T104" fmla="*/ 0 w 2176519"/>
              <a:gd name="T105" fmla="*/ 0 h 1891885"/>
              <a:gd name="T106" fmla="*/ 0 w 2176519"/>
              <a:gd name="T107" fmla="*/ 0 h 1891885"/>
              <a:gd name="T108" fmla="*/ 0 w 2176519"/>
              <a:gd name="T109" fmla="*/ 0 h 1891885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w 2176519"/>
              <a:gd name="T166" fmla="*/ 0 h 1891885"/>
              <a:gd name="T167" fmla="*/ 2176519 w 2176519"/>
              <a:gd name="T168" fmla="*/ 1891885 h 1891885"/>
            </a:gdLst>
            <a:ahLst/>
            <a:cxnLst>
              <a:cxn ang="T110">
                <a:pos x="T0" y="T1"/>
              </a:cxn>
              <a:cxn ang="T111">
                <a:pos x="T2" y="T3"/>
              </a:cxn>
              <a:cxn ang="T112">
                <a:pos x="T4" y="T5"/>
              </a:cxn>
              <a:cxn ang="T113">
                <a:pos x="T6" y="T7"/>
              </a:cxn>
              <a:cxn ang="T114">
                <a:pos x="T8" y="T9"/>
              </a:cxn>
              <a:cxn ang="T115">
                <a:pos x="T10" y="T11"/>
              </a:cxn>
              <a:cxn ang="T116">
                <a:pos x="T12" y="T13"/>
              </a:cxn>
              <a:cxn ang="T117">
                <a:pos x="T14" y="T15"/>
              </a:cxn>
              <a:cxn ang="T118">
                <a:pos x="T16" y="T17"/>
              </a:cxn>
              <a:cxn ang="T119">
                <a:pos x="T18" y="T19"/>
              </a:cxn>
              <a:cxn ang="T120">
                <a:pos x="T20" y="T21"/>
              </a:cxn>
              <a:cxn ang="T121">
                <a:pos x="T22" y="T23"/>
              </a:cxn>
              <a:cxn ang="T122">
                <a:pos x="T24" y="T25"/>
              </a:cxn>
              <a:cxn ang="T123">
                <a:pos x="T26" y="T27"/>
              </a:cxn>
              <a:cxn ang="T124">
                <a:pos x="T28" y="T29"/>
              </a:cxn>
              <a:cxn ang="T125">
                <a:pos x="T30" y="T31"/>
              </a:cxn>
              <a:cxn ang="T126">
                <a:pos x="T32" y="T33"/>
              </a:cxn>
              <a:cxn ang="T127">
                <a:pos x="T34" y="T35"/>
              </a:cxn>
              <a:cxn ang="T128">
                <a:pos x="T36" y="T37"/>
              </a:cxn>
              <a:cxn ang="T129">
                <a:pos x="T38" y="T39"/>
              </a:cxn>
              <a:cxn ang="T130">
                <a:pos x="T40" y="T41"/>
              </a:cxn>
              <a:cxn ang="T131">
                <a:pos x="T42" y="T43"/>
              </a:cxn>
              <a:cxn ang="T132">
                <a:pos x="T44" y="T45"/>
              </a:cxn>
              <a:cxn ang="T133">
                <a:pos x="T46" y="T47"/>
              </a:cxn>
              <a:cxn ang="T134">
                <a:pos x="T48" y="T49"/>
              </a:cxn>
              <a:cxn ang="T135">
                <a:pos x="T50" y="T51"/>
              </a:cxn>
              <a:cxn ang="T136">
                <a:pos x="T52" y="T53"/>
              </a:cxn>
              <a:cxn ang="T137">
                <a:pos x="T54" y="T55"/>
              </a:cxn>
              <a:cxn ang="T138">
                <a:pos x="T56" y="T57"/>
              </a:cxn>
              <a:cxn ang="T139">
                <a:pos x="T58" y="T59"/>
              </a:cxn>
              <a:cxn ang="T140">
                <a:pos x="T60" y="T61"/>
              </a:cxn>
              <a:cxn ang="T141">
                <a:pos x="T62" y="T63"/>
              </a:cxn>
              <a:cxn ang="T142">
                <a:pos x="T64" y="T65"/>
              </a:cxn>
              <a:cxn ang="T143">
                <a:pos x="T66" y="T67"/>
              </a:cxn>
              <a:cxn ang="T144">
                <a:pos x="T68" y="T69"/>
              </a:cxn>
              <a:cxn ang="T145">
                <a:pos x="T70" y="T71"/>
              </a:cxn>
              <a:cxn ang="T146">
                <a:pos x="T72" y="T73"/>
              </a:cxn>
              <a:cxn ang="T147">
                <a:pos x="T74" y="T75"/>
              </a:cxn>
              <a:cxn ang="T148">
                <a:pos x="T76" y="T77"/>
              </a:cxn>
              <a:cxn ang="T149">
                <a:pos x="T78" y="T79"/>
              </a:cxn>
              <a:cxn ang="T150">
                <a:pos x="T80" y="T81"/>
              </a:cxn>
              <a:cxn ang="T151">
                <a:pos x="T82" y="T83"/>
              </a:cxn>
              <a:cxn ang="T152">
                <a:pos x="T84" y="T85"/>
              </a:cxn>
              <a:cxn ang="T153">
                <a:pos x="T86" y="T87"/>
              </a:cxn>
              <a:cxn ang="T154">
                <a:pos x="T88" y="T89"/>
              </a:cxn>
              <a:cxn ang="T155">
                <a:pos x="T90" y="T91"/>
              </a:cxn>
              <a:cxn ang="T156">
                <a:pos x="T92" y="T93"/>
              </a:cxn>
              <a:cxn ang="T157">
                <a:pos x="T94" y="T95"/>
              </a:cxn>
              <a:cxn ang="T158">
                <a:pos x="T96" y="T97"/>
              </a:cxn>
              <a:cxn ang="T159">
                <a:pos x="T98" y="T99"/>
              </a:cxn>
              <a:cxn ang="T160">
                <a:pos x="T100" y="T101"/>
              </a:cxn>
              <a:cxn ang="T161">
                <a:pos x="T102" y="T103"/>
              </a:cxn>
              <a:cxn ang="T162">
                <a:pos x="T104" y="T105"/>
              </a:cxn>
              <a:cxn ang="T163">
                <a:pos x="T106" y="T107"/>
              </a:cxn>
              <a:cxn ang="T164">
                <a:pos x="T108" y="T109"/>
              </a:cxn>
            </a:cxnLst>
            <a:rect l="T165" t="T166" r="T167" b="T168"/>
            <a:pathLst>
              <a:path w="2176519" h="1891885">
                <a:moveTo>
                  <a:pt x="678682" y="0"/>
                </a:moveTo>
                <a:lnTo>
                  <a:pt x="732154" y="10748"/>
                </a:lnTo>
                <a:lnTo>
                  <a:pt x="731671" y="20502"/>
                </a:lnTo>
                <a:lnTo>
                  <a:pt x="734217" y="13042"/>
                </a:lnTo>
                <a:cubicBezTo>
                  <a:pt x="735411" y="26117"/>
                  <a:pt x="738996" y="36821"/>
                  <a:pt x="740191" y="49896"/>
                </a:cubicBezTo>
                <a:lnTo>
                  <a:pt x="772592" y="71265"/>
                </a:lnTo>
                <a:lnTo>
                  <a:pt x="823008" y="53451"/>
                </a:lnTo>
                <a:lnTo>
                  <a:pt x="866209" y="74840"/>
                </a:lnTo>
                <a:lnTo>
                  <a:pt x="909455" y="85545"/>
                </a:lnTo>
                <a:lnTo>
                  <a:pt x="945395" y="49896"/>
                </a:lnTo>
                <a:lnTo>
                  <a:pt x="995811" y="49896"/>
                </a:lnTo>
                <a:lnTo>
                  <a:pt x="1031842" y="42766"/>
                </a:lnTo>
                <a:lnTo>
                  <a:pt x="1071412" y="49896"/>
                </a:lnTo>
                <a:lnTo>
                  <a:pt x="1118198" y="74840"/>
                </a:lnTo>
                <a:cubicBezTo>
                  <a:pt x="1124172" y="89100"/>
                  <a:pt x="1130193" y="103359"/>
                  <a:pt x="1136167" y="117619"/>
                </a:cubicBezTo>
                <a:cubicBezTo>
                  <a:pt x="1139844" y="139008"/>
                  <a:pt x="1143383" y="160397"/>
                  <a:pt x="1146968" y="181786"/>
                </a:cubicBezTo>
                <a:lnTo>
                  <a:pt x="1193787" y="213872"/>
                </a:lnTo>
                <a:lnTo>
                  <a:pt x="1193916" y="213879"/>
                </a:lnTo>
                <a:lnTo>
                  <a:pt x="1193916" y="289572"/>
                </a:lnTo>
                <a:lnTo>
                  <a:pt x="1154643" y="321841"/>
                </a:lnTo>
                <a:cubicBezTo>
                  <a:pt x="1149816" y="332731"/>
                  <a:pt x="1144989" y="343487"/>
                  <a:pt x="1140272" y="354376"/>
                </a:cubicBezTo>
                <a:lnTo>
                  <a:pt x="1111749" y="390364"/>
                </a:lnTo>
                <a:cubicBezTo>
                  <a:pt x="1107032" y="403643"/>
                  <a:pt x="1102096" y="416657"/>
                  <a:pt x="1097378" y="430069"/>
                </a:cubicBezTo>
                <a:cubicBezTo>
                  <a:pt x="1093868" y="445474"/>
                  <a:pt x="1090248" y="461276"/>
                  <a:pt x="1086628" y="476680"/>
                </a:cubicBezTo>
                <a:cubicBezTo>
                  <a:pt x="1084324" y="490624"/>
                  <a:pt x="1081801" y="504567"/>
                  <a:pt x="1079497" y="518245"/>
                </a:cubicBezTo>
                <a:cubicBezTo>
                  <a:pt x="1083007" y="531525"/>
                  <a:pt x="1086628" y="544671"/>
                  <a:pt x="1090248" y="557818"/>
                </a:cubicBezTo>
                <a:cubicBezTo>
                  <a:pt x="1096281" y="568574"/>
                  <a:pt x="1102205" y="579464"/>
                  <a:pt x="1108239" y="590220"/>
                </a:cubicBezTo>
                <a:lnTo>
                  <a:pt x="1154643" y="637097"/>
                </a:lnTo>
                <a:lnTo>
                  <a:pt x="1183275" y="658742"/>
                </a:lnTo>
                <a:cubicBezTo>
                  <a:pt x="1186786" y="673084"/>
                  <a:pt x="1190406" y="687426"/>
                  <a:pt x="1193916" y="701768"/>
                </a:cubicBezTo>
                <a:lnTo>
                  <a:pt x="1240430" y="752363"/>
                </a:lnTo>
                <a:lnTo>
                  <a:pt x="1272682" y="773875"/>
                </a:lnTo>
                <a:lnTo>
                  <a:pt x="1315576" y="806410"/>
                </a:lnTo>
                <a:lnTo>
                  <a:pt x="1344208" y="842398"/>
                </a:lnTo>
                <a:lnTo>
                  <a:pt x="1387102" y="882103"/>
                </a:lnTo>
                <a:cubicBezTo>
                  <a:pt x="1390722" y="896445"/>
                  <a:pt x="1394342" y="910920"/>
                  <a:pt x="1397962" y="925129"/>
                </a:cubicBezTo>
                <a:lnTo>
                  <a:pt x="1433616" y="968420"/>
                </a:lnTo>
                <a:lnTo>
                  <a:pt x="1462358" y="1015297"/>
                </a:lnTo>
                <a:lnTo>
                  <a:pt x="1516002" y="1036809"/>
                </a:lnTo>
                <a:lnTo>
                  <a:pt x="1537394" y="1076382"/>
                </a:lnTo>
                <a:lnTo>
                  <a:pt x="1573157" y="1108917"/>
                </a:lnTo>
                <a:lnTo>
                  <a:pt x="1626801" y="1141319"/>
                </a:lnTo>
                <a:lnTo>
                  <a:pt x="1666184" y="1134148"/>
                </a:lnTo>
                <a:lnTo>
                  <a:pt x="1701947" y="1130430"/>
                </a:lnTo>
                <a:lnTo>
                  <a:pt x="1766342" y="1141319"/>
                </a:lnTo>
                <a:lnTo>
                  <a:pt x="1787844" y="1177306"/>
                </a:lnTo>
                <a:lnTo>
                  <a:pt x="1827117" y="1218738"/>
                </a:lnTo>
                <a:lnTo>
                  <a:pt x="1891622" y="1240384"/>
                </a:lnTo>
                <a:lnTo>
                  <a:pt x="1959418" y="1258444"/>
                </a:lnTo>
                <a:lnTo>
                  <a:pt x="2002422" y="1283675"/>
                </a:lnTo>
                <a:cubicBezTo>
                  <a:pt x="2005932" y="1305188"/>
                  <a:pt x="2009552" y="1326833"/>
                  <a:pt x="2013063" y="1348479"/>
                </a:cubicBezTo>
                <a:cubicBezTo>
                  <a:pt x="2022607" y="1372515"/>
                  <a:pt x="2032260" y="1396418"/>
                  <a:pt x="2041805" y="1420454"/>
                </a:cubicBezTo>
                <a:lnTo>
                  <a:pt x="2084698" y="1456441"/>
                </a:lnTo>
                <a:cubicBezTo>
                  <a:pt x="2091938" y="1466003"/>
                  <a:pt x="2098960" y="1475697"/>
                  <a:pt x="2106200" y="1485258"/>
                </a:cubicBezTo>
                <a:lnTo>
                  <a:pt x="2149093" y="1510489"/>
                </a:lnTo>
                <a:cubicBezTo>
                  <a:pt x="2150300" y="1524964"/>
                  <a:pt x="2175312" y="1527354"/>
                  <a:pt x="2176519" y="1541828"/>
                </a:cubicBezTo>
                <a:lnTo>
                  <a:pt x="2172311" y="1541945"/>
                </a:lnTo>
                <a:lnTo>
                  <a:pt x="2132953" y="1557217"/>
                </a:lnTo>
                <a:lnTo>
                  <a:pt x="2089405" y="1605815"/>
                </a:lnTo>
                <a:lnTo>
                  <a:pt x="2033169" y="1622003"/>
                </a:lnTo>
                <a:lnTo>
                  <a:pt x="1996860" y="1643610"/>
                </a:lnTo>
                <a:lnTo>
                  <a:pt x="1937005" y="1665217"/>
                </a:lnTo>
                <a:lnTo>
                  <a:pt x="1904353" y="1632807"/>
                </a:lnTo>
                <a:lnTo>
                  <a:pt x="1869872" y="1618402"/>
                </a:lnTo>
                <a:lnTo>
                  <a:pt x="1848117" y="1661616"/>
                </a:lnTo>
                <a:lnTo>
                  <a:pt x="1880769" y="1715599"/>
                </a:lnTo>
                <a:lnTo>
                  <a:pt x="1944244" y="1730003"/>
                </a:lnTo>
                <a:lnTo>
                  <a:pt x="1904353" y="1758812"/>
                </a:lnTo>
                <a:lnTo>
                  <a:pt x="1848117" y="1780385"/>
                </a:lnTo>
                <a:lnTo>
                  <a:pt x="1815427" y="1816396"/>
                </a:lnTo>
                <a:lnTo>
                  <a:pt x="1858976" y="1845171"/>
                </a:lnTo>
                <a:lnTo>
                  <a:pt x="1833601" y="1866778"/>
                </a:lnTo>
                <a:cubicBezTo>
                  <a:pt x="1820304" y="1870379"/>
                  <a:pt x="1787919" y="1888284"/>
                  <a:pt x="1774622" y="1891885"/>
                </a:cubicBezTo>
                <a:lnTo>
                  <a:pt x="1770240" y="1873509"/>
                </a:lnTo>
                <a:lnTo>
                  <a:pt x="1724176" y="1811670"/>
                </a:lnTo>
                <a:lnTo>
                  <a:pt x="1680846" y="1811670"/>
                </a:lnTo>
                <a:lnTo>
                  <a:pt x="1637739" y="1844239"/>
                </a:lnTo>
                <a:lnTo>
                  <a:pt x="1594297" y="1822742"/>
                </a:lnTo>
                <a:lnTo>
                  <a:pt x="1519251" y="1811670"/>
                </a:lnTo>
                <a:lnTo>
                  <a:pt x="1486976" y="1822742"/>
                </a:lnTo>
                <a:cubicBezTo>
                  <a:pt x="1475809" y="1801116"/>
                  <a:pt x="1465199" y="1779101"/>
                  <a:pt x="1454590" y="1757539"/>
                </a:cubicBezTo>
                <a:lnTo>
                  <a:pt x="1368041" y="1725229"/>
                </a:lnTo>
                <a:cubicBezTo>
                  <a:pt x="1363463" y="1714416"/>
                  <a:pt x="1358549" y="1703343"/>
                  <a:pt x="1353858" y="1692725"/>
                </a:cubicBezTo>
                <a:lnTo>
                  <a:pt x="1288863" y="1638529"/>
                </a:lnTo>
                <a:lnTo>
                  <a:pt x="1288863" y="1580966"/>
                </a:lnTo>
                <a:lnTo>
                  <a:pt x="1246091" y="1548332"/>
                </a:lnTo>
                <a:lnTo>
                  <a:pt x="1191817" y="1465323"/>
                </a:lnTo>
                <a:lnTo>
                  <a:pt x="1130953" y="1445510"/>
                </a:lnTo>
                <a:cubicBezTo>
                  <a:pt x="1120679" y="1427444"/>
                  <a:pt x="1109512" y="1409444"/>
                  <a:pt x="1098567" y="1391379"/>
                </a:cubicBezTo>
                <a:cubicBezTo>
                  <a:pt x="1101136" y="1380565"/>
                  <a:pt x="1103481" y="1369817"/>
                  <a:pt x="1105603" y="1359004"/>
                </a:cubicBezTo>
                <a:cubicBezTo>
                  <a:pt x="1098567" y="1343334"/>
                  <a:pt x="1090862" y="1327665"/>
                  <a:pt x="1084273" y="1311801"/>
                </a:cubicBezTo>
                <a:cubicBezTo>
                  <a:pt x="1073329" y="1291470"/>
                  <a:pt x="1062384" y="1271203"/>
                  <a:pt x="1052222" y="1250807"/>
                </a:cubicBezTo>
                <a:lnTo>
                  <a:pt x="998394" y="1250807"/>
                </a:lnTo>
                <a:cubicBezTo>
                  <a:pt x="994262" y="1261231"/>
                  <a:pt x="990689" y="1272109"/>
                  <a:pt x="987562" y="1283182"/>
                </a:cubicBezTo>
                <a:lnTo>
                  <a:pt x="936638" y="1294060"/>
                </a:lnTo>
                <a:lnTo>
                  <a:pt x="893754" y="1268937"/>
                </a:lnTo>
                <a:lnTo>
                  <a:pt x="850424" y="1250807"/>
                </a:lnTo>
                <a:lnTo>
                  <a:pt x="814911" y="1236432"/>
                </a:lnTo>
                <a:lnTo>
                  <a:pt x="760748" y="1247051"/>
                </a:lnTo>
                <a:cubicBezTo>
                  <a:pt x="753042" y="1259030"/>
                  <a:pt x="746453" y="1271009"/>
                  <a:pt x="739418" y="1283182"/>
                </a:cubicBezTo>
                <a:lnTo>
                  <a:pt x="688494" y="1294060"/>
                </a:lnTo>
                <a:lnTo>
                  <a:pt x="661245" y="1284671"/>
                </a:lnTo>
                <a:lnTo>
                  <a:pt x="659823" y="1297972"/>
                </a:lnTo>
                <a:lnTo>
                  <a:pt x="660724" y="1282527"/>
                </a:lnTo>
                <a:cubicBezTo>
                  <a:pt x="655891" y="1279913"/>
                  <a:pt x="654446" y="1276836"/>
                  <a:pt x="645659" y="1272222"/>
                </a:cubicBezTo>
                <a:lnTo>
                  <a:pt x="598996" y="1250805"/>
                </a:lnTo>
                <a:cubicBezTo>
                  <a:pt x="589427" y="1234948"/>
                  <a:pt x="579857" y="1219426"/>
                  <a:pt x="570146" y="1203718"/>
                </a:cubicBezTo>
                <a:lnTo>
                  <a:pt x="570146" y="1142303"/>
                </a:lnTo>
                <a:cubicBezTo>
                  <a:pt x="577062" y="1127938"/>
                  <a:pt x="584547" y="1113461"/>
                  <a:pt x="591843" y="1099357"/>
                </a:cubicBezTo>
                <a:lnTo>
                  <a:pt x="591843" y="1030591"/>
                </a:lnTo>
                <a:cubicBezTo>
                  <a:pt x="581089" y="1012533"/>
                  <a:pt x="570146" y="994362"/>
                  <a:pt x="559203" y="976266"/>
                </a:cubicBezTo>
                <a:cubicBezTo>
                  <a:pt x="545275" y="959587"/>
                  <a:pt x="530447" y="942797"/>
                  <a:pt x="516235" y="925969"/>
                </a:cubicBezTo>
                <a:lnTo>
                  <a:pt x="473173" y="958580"/>
                </a:lnTo>
                <a:lnTo>
                  <a:pt x="430016" y="954737"/>
                </a:lnTo>
                <a:cubicBezTo>
                  <a:pt x="426273" y="948730"/>
                  <a:pt x="422768" y="943058"/>
                  <a:pt x="419262" y="936641"/>
                </a:cubicBezTo>
                <a:lnTo>
                  <a:pt x="382927" y="911492"/>
                </a:lnTo>
                <a:cubicBezTo>
                  <a:pt x="377337" y="923619"/>
                  <a:pt x="371131" y="935484"/>
                  <a:pt x="365304" y="947722"/>
                </a:cubicBezTo>
                <a:lnTo>
                  <a:pt x="329395" y="969176"/>
                </a:lnTo>
                <a:lnTo>
                  <a:pt x="275390" y="958580"/>
                </a:lnTo>
                <a:lnTo>
                  <a:pt x="232138" y="954737"/>
                </a:lnTo>
                <a:lnTo>
                  <a:pt x="190190" y="911675"/>
                </a:lnTo>
                <a:lnTo>
                  <a:pt x="185662" y="912380"/>
                </a:lnTo>
                <a:lnTo>
                  <a:pt x="217883" y="872585"/>
                </a:lnTo>
                <a:lnTo>
                  <a:pt x="192799" y="836407"/>
                </a:lnTo>
                <a:lnTo>
                  <a:pt x="174928" y="792993"/>
                </a:lnTo>
                <a:lnTo>
                  <a:pt x="192799" y="753197"/>
                </a:lnTo>
                <a:lnTo>
                  <a:pt x="192799" y="717020"/>
                </a:lnTo>
                <a:lnTo>
                  <a:pt x="228599" y="684429"/>
                </a:lnTo>
                <a:lnTo>
                  <a:pt x="217883" y="644633"/>
                </a:lnTo>
                <a:lnTo>
                  <a:pt x="164175" y="644633"/>
                </a:lnTo>
                <a:lnTo>
                  <a:pt x="110485" y="633810"/>
                </a:lnTo>
                <a:lnTo>
                  <a:pt x="63951" y="633810"/>
                </a:lnTo>
                <a:lnTo>
                  <a:pt x="41265" y="608364"/>
                </a:lnTo>
                <a:lnTo>
                  <a:pt x="41777" y="608388"/>
                </a:lnTo>
                <a:lnTo>
                  <a:pt x="38537" y="607581"/>
                </a:lnTo>
                <a:lnTo>
                  <a:pt x="59558" y="593072"/>
                </a:lnTo>
                <a:lnTo>
                  <a:pt x="59558" y="564025"/>
                </a:lnTo>
                <a:lnTo>
                  <a:pt x="101600" y="542262"/>
                </a:lnTo>
                <a:lnTo>
                  <a:pt x="59558" y="498736"/>
                </a:lnTo>
                <a:lnTo>
                  <a:pt x="59558" y="462435"/>
                </a:lnTo>
                <a:lnTo>
                  <a:pt x="38537" y="433418"/>
                </a:lnTo>
                <a:lnTo>
                  <a:pt x="0" y="418909"/>
                </a:lnTo>
                <a:lnTo>
                  <a:pt x="0" y="378980"/>
                </a:lnTo>
                <a:lnTo>
                  <a:pt x="31526" y="342709"/>
                </a:lnTo>
                <a:lnTo>
                  <a:pt x="31526" y="302780"/>
                </a:lnTo>
                <a:lnTo>
                  <a:pt x="35252" y="303435"/>
                </a:lnTo>
                <a:cubicBezTo>
                  <a:pt x="35166" y="303111"/>
                  <a:pt x="35080" y="302788"/>
                  <a:pt x="34994" y="302465"/>
                </a:cubicBezTo>
                <a:lnTo>
                  <a:pt x="86096" y="267484"/>
                </a:lnTo>
                <a:lnTo>
                  <a:pt x="139637" y="289238"/>
                </a:lnTo>
                <a:lnTo>
                  <a:pt x="164596" y="321805"/>
                </a:lnTo>
                <a:lnTo>
                  <a:pt x="218207" y="314597"/>
                </a:lnTo>
                <a:cubicBezTo>
                  <a:pt x="221763" y="303623"/>
                  <a:pt x="225249" y="292746"/>
                  <a:pt x="228874" y="281869"/>
                </a:cubicBezTo>
                <a:lnTo>
                  <a:pt x="257458" y="289238"/>
                </a:lnTo>
                <a:lnTo>
                  <a:pt x="311069" y="278458"/>
                </a:lnTo>
                <a:lnTo>
                  <a:pt x="357361" y="292778"/>
                </a:lnTo>
                <a:cubicBezTo>
                  <a:pt x="356175" y="270027"/>
                  <a:pt x="354990" y="247018"/>
                  <a:pt x="353875" y="224202"/>
                </a:cubicBezTo>
                <a:lnTo>
                  <a:pt x="396680" y="206148"/>
                </a:lnTo>
                <a:lnTo>
                  <a:pt x="418153" y="227742"/>
                </a:lnTo>
                <a:lnTo>
                  <a:pt x="389500" y="140951"/>
                </a:lnTo>
                <a:lnTo>
                  <a:pt x="418153" y="126663"/>
                </a:lnTo>
                <a:lnTo>
                  <a:pt x="443111" y="137282"/>
                </a:lnTo>
                <a:lnTo>
                  <a:pt x="471695" y="104748"/>
                </a:lnTo>
                <a:lnTo>
                  <a:pt x="525237" y="86598"/>
                </a:lnTo>
                <a:lnTo>
                  <a:pt x="578709" y="65134"/>
                </a:lnTo>
                <a:cubicBezTo>
                  <a:pt x="583450" y="56638"/>
                  <a:pt x="588260" y="48303"/>
                  <a:pt x="593001" y="39904"/>
                </a:cubicBezTo>
                <a:lnTo>
                  <a:pt x="621655" y="10748"/>
                </a:lnTo>
                <a:close/>
              </a:path>
            </a:pathLst>
          </a:custGeom>
          <a:solidFill>
            <a:srgbClr val="70B0DF"/>
          </a:solidFill>
          <a:ln w="3175" cap="flat" cmpd="sng">
            <a:noFill/>
            <a:prstDash val="solid"/>
            <a:round/>
            <a:headEnd type="none" w="med" len="med"/>
            <a:tailEnd type="none" w="sm" len="sm"/>
          </a:ln>
        </p:spPr>
        <p:txBody>
          <a:bodyPr wrap="none" lIns="32632" tIns="32632" rIns="32632" bIns="32632" anchor="ctr"/>
          <a:lstStyle/>
          <a:p>
            <a:pPr defTabSz="891045"/>
            <a:endParaRPr lang="en-US" sz="1700" dirty="0">
              <a:solidFill>
                <a:srgbClr val="003149"/>
              </a:solidFill>
              <a:cs typeface="Arial" panose="020B0604020202020204" pitchFamily="34" charset="0"/>
            </a:endParaRPr>
          </a:p>
        </p:txBody>
      </p:sp>
      <p:sp>
        <p:nvSpPr>
          <p:cNvPr id="82" name="Freeform 655"/>
          <p:cNvSpPr>
            <a:spLocks noChangeAspect="1"/>
          </p:cNvSpPr>
          <p:nvPr>
            <p:custDataLst>
              <p:tags r:id="rId58"/>
            </p:custDataLst>
          </p:nvPr>
        </p:nvSpPr>
        <p:spPr bwMode="gray">
          <a:xfrm>
            <a:off x="2620367" y="2480549"/>
            <a:ext cx="166336" cy="235313"/>
          </a:xfrm>
          <a:custGeom>
            <a:avLst/>
            <a:gdLst>
              <a:gd name="T0" fmla="*/ 0 w 966159"/>
              <a:gd name="T1" fmla="*/ 0 h 1192213"/>
              <a:gd name="T2" fmla="*/ 0 w 966159"/>
              <a:gd name="T3" fmla="*/ 0 h 1192213"/>
              <a:gd name="T4" fmla="*/ 0 w 966159"/>
              <a:gd name="T5" fmla="*/ 0 h 1192213"/>
              <a:gd name="T6" fmla="*/ 0 w 966159"/>
              <a:gd name="T7" fmla="*/ 0 h 1192213"/>
              <a:gd name="T8" fmla="*/ 0 w 966159"/>
              <a:gd name="T9" fmla="*/ 0 h 1192213"/>
              <a:gd name="T10" fmla="*/ 0 w 966159"/>
              <a:gd name="T11" fmla="*/ 0 h 1192213"/>
              <a:gd name="T12" fmla="*/ 0 w 966159"/>
              <a:gd name="T13" fmla="*/ 0 h 1192213"/>
              <a:gd name="T14" fmla="*/ 0 w 966159"/>
              <a:gd name="T15" fmla="*/ 0 h 1192213"/>
              <a:gd name="T16" fmla="*/ 0 w 966159"/>
              <a:gd name="T17" fmla="*/ 0 h 1192213"/>
              <a:gd name="T18" fmla="*/ 0 w 966159"/>
              <a:gd name="T19" fmla="*/ 0 h 1192213"/>
              <a:gd name="T20" fmla="*/ 0 w 966159"/>
              <a:gd name="T21" fmla="*/ 0 h 1192213"/>
              <a:gd name="T22" fmla="*/ 0 w 966159"/>
              <a:gd name="T23" fmla="*/ 0 h 1192213"/>
              <a:gd name="T24" fmla="*/ 0 w 966159"/>
              <a:gd name="T25" fmla="*/ 0 h 1192213"/>
              <a:gd name="T26" fmla="*/ 0 w 966159"/>
              <a:gd name="T27" fmla="*/ 0 h 1192213"/>
              <a:gd name="T28" fmla="*/ 0 w 966159"/>
              <a:gd name="T29" fmla="*/ 0 h 1192213"/>
              <a:gd name="T30" fmla="*/ 0 w 966159"/>
              <a:gd name="T31" fmla="*/ 0 h 1192213"/>
              <a:gd name="T32" fmla="*/ 0 w 966159"/>
              <a:gd name="T33" fmla="*/ 0 h 1192213"/>
              <a:gd name="T34" fmla="*/ 0 w 966159"/>
              <a:gd name="T35" fmla="*/ 0 h 1192213"/>
              <a:gd name="T36" fmla="*/ 0 w 966159"/>
              <a:gd name="T37" fmla="*/ 0 h 1192213"/>
              <a:gd name="T38" fmla="*/ 0 w 966159"/>
              <a:gd name="T39" fmla="*/ 0 h 1192213"/>
              <a:gd name="T40" fmla="*/ 0 w 966159"/>
              <a:gd name="T41" fmla="*/ 0 h 1192213"/>
              <a:gd name="T42" fmla="*/ 0 w 966159"/>
              <a:gd name="T43" fmla="*/ 0 h 1192213"/>
              <a:gd name="T44" fmla="*/ 0 w 966159"/>
              <a:gd name="T45" fmla="*/ 0 h 1192213"/>
              <a:gd name="T46" fmla="*/ 0 w 966159"/>
              <a:gd name="T47" fmla="*/ 0 h 1192213"/>
              <a:gd name="T48" fmla="*/ 0 w 966159"/>
              <a:gd name="T49" fmla="*/ 0 h 1192213"/>
              <a:gd name="T50" fmla="*/ 0 w 966159"/>
              <a:gd name="T51" fmla="*/ 0 h 1192213"/>
              <a:gd name="T52" fmla="*/ 0 w 966159"/>
              <a:gd name="T53" fmla="*/ 0 h 1192213"/>
              <a:gd name="T54" fmla="*/ 0 w 966159"/>
              <a:gd name="T55" fmla="*/ 0 h 1192213"/>
              <a:gd name="T56" fmla="*/ 0 w 966159"/>
              <a:gd name="T57" fmla="*/ 0 h 1192213"/>
              <a:gd name="T58" fmla="*/ 0 w 966159"/>
              <a:gd name="T59" fmla="*/ 0 h 1192213"/>
              <a:gd name="T60" fmla="*/ 0 w 966159"/>
              <a:gd name="T61" fmla="*/ 0 h 1192213"/>
              <a:gd name="T62" fmla="*/ 0 w 966159"/>
              <a:gd name="T63" fmla="*/ 0 h 1192213"/>
              <a:gd name="T64" fmla="*/ 0 w 966159"/>
              <a:gd name="T65" fmla="*/ 0 h 1192213"/>
              <a:gd name="T66" fmla="*/ 0 w 966159"/>
              <a:gd name="T67" fmla="*/ 0 h 1192213"/>
              <a:gd name="T68" fmla="*/ 0 w 966159"/>
              <a:gd name="T69" fmla="*/ 0 h 1192213"/>
              <a:gd name="T70" fmla="*/ 0 w 966159"/>
              <a:gd name="T71" fmla="*/ 0 h 1192213"/>
              <a:gd name="T72" fmla="*/ 0 w 966159"/>
              <a:gd name="T73" fmla="*/ 0 h 1192213"/>
              <a:gd name="T74" fmla="*/ 0 w 966159"/>
              <a:gd name="T75" fmla="*/ 0 h 1192213"/>
              <a:gd name="T76" fmla="*/ 0 w 966159"/>
              <a:gd name="T77" fmla="*/ 0 h 1192213"/>
              <a:gd name="T78" fmla="*/ 0 w 966159"/>
              <a:gd name="T79" fmla="*/ 0 h 1192213"/>
              <a:gd name="T80" fmla="*/ 0 w 966159"/>
              <a:gd name="T81" fmla="*/ 0 h 1192213"/>
              <a:gd name="T82" fmla="*/ 0 w 966159"/>
              <a:gd name="T83" fmla="*/ 0 h 1192213"/>
              <a:gd name="T84" fmla="*/ 0 w 966159"/>
              <a:gd name="T85" fmla="*/ 0 h 1192213"/>
              <a:gd name="T86" fmla="*/ 0 w 966159"/>
              <a:gd name="T87" fmla="*/ 0 h 1192213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w 966159"/>
              <a:gd name="T133" fmla="*/ 0 h 1192213"/>
              <a:gd name="T134" fmla="*/ 966159 w 966159"/>
              <a:gd name="T135" fmla="*/ 1192213 h 1192213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T132" t="T133" r="T134" b="T135"/>
            <a:pathLst>
              <a:path w="966159" h="1192213">
                <a:moveTo>
                  <a:pt x="417067" y="156798"/>
                </a:moveTo>
                <a:lnTo>
                  <a:pt x="431679" y="170263"/>
                </a:lnTo>
                <a:cubicBezTo>
                  <a:pt x="427318" y="160422"/>
                  <a:pt x="422308" y="155395"/>
                  <a:pt x="417067" y="156798"/>
                </a:cubicBezTo>
                <a:close/>
                <a:moveTo>
                  <a:pt x="947112" y="0"/>
                </a:moveTo>
                <a:lnTo>
                  <a:pt x="966159" y="35965"/>
                </a:lnTo>
                <a:lnTo>
                  <a:pt x="950290" y="100679"/>
                </a:lnTo>
                <a:lnTo>
                  <a:pt x="966159" y="133017"/>
                </a:lnTo>
                <a:lnTo>
                  <a:pt x="928060" y="201321"/>
                </a:lnTo>
                <a:cubicBezTo>
                  <a:pt x="929122" y="222892"/>
                  <a:pt x="930174" y="244501"/>
                  <a:pt x="931243" y="266035"/>
                </a:cubicBezTo>
                <a:lnTo>
                  <a:pt x="918539" y="305588"/>
                </a:lnTo>
                <a:lnTo>
                  <a:pt x="909013" y="373854"/>
                </a:lnTo>
                <a:lnTo>
                  <a:pt x="905594" y="372993"/>
                </a:lnTo>
                <a:lnTo>
                  <a:pt x="909011" y="377472"/>
                </a:lnTo>
                <a:lnTo>
                  <a:pt x="844895" y="373853"/>
                </a:lnTo>
                <a:lnTo>
                  <a:pt x="809259" y="377472"/>
                </a:lnTo>
                <a:lnTo>
                  <a:pt x="766525" y="395514"/>
                </a:lnTo>
                <a:lnTo>
                  <a:pt x="745143" y="453259"/>
                </a:lnTo>
                <a:lnTo>
                  <a:pt x="759398" y="496531"/>
                </a:lnTo>
                <a:lnTo>
                  <a:pt x="780779" y="536234"/>
                </a:lnTo>
                <a:lnTo>
                  <a:pt x="798597" y="593980"/>
                </a:lnTo>
                <a:lnTo>
                  <a:pt x="755834" y="637252"/>
                </a:lnTo>
                <a:lnTo>
                  <a:pt x="705972" y="678764"/>
                </a:lnTo>
                <a:lnTo>
                  <a:pt x="648983" y="743745"/>
                </a:lnTo>
                <a:cubicBezTo>
                  <a:pt x="650181" y="755774"/>
                  <a:pt x="651349" y="767802"/>
                  <a:pt x="652547" y="779830"/>
                </a:cubicBezTo>
                <a:lnTo>
                  <a:pt x="616911" y="862805"/>
                </a:lnTo>
                <a:lnTo>
                  <a:pt x="606555" y="859198"/>
                </a:lnTo>
                <a:lnTo>
                  <a:pt x="565420" y="887377"/>
                </a:lnTo>
                <a:lnTo>
                  <a:pt x="500414" y="869161"/>
                </a:lnTo>
                <a:lnTo>
                  <a:pt x="478746" y="909209"/>
                </a:lnTo>
                <a:cubicBezTo>
                  <a:pt x="479987" y="921320"/>
                  <a:pt x="481153" y="933464"/>
                  <a:pt x="482357" y="945608"/>
                </a:cubicBezTo>
                <a:lnTo>
                  <a:pt x="449854" y="967407"/>
                </a:lnTo>
                <a:cubicBezTo>
                  <a:pt x="448650" y="981973"/>
                  <a:pt x="447447" y="996506"/>
                  <a:pt x="446243" y="1011105"/>
                </a:cubicBezTo>
                <a:lnTo>
                  <a:pt x="424574" y="1051120"/>
                </a:lnTo>
                <a:cubicBezTo>
                  <a:pt x="425778" y="1063264"/>
                  <a:pt x="426944" y="1075407"/>
                  <a:pt x="428223" y="1087485"/>
                </a:cubicBezTo>
                <a:lnTo>
                  <a:pt x="384886" y="1098401"/>
                </a:lnTo>
                <a:lnTo>
                  <a:pt x="352346" y="1116617"/>
                </a:lnTo>
                <a:lnTo>
                  <a:pt x="327028" y="1142033"/>
                </a:lnTo>
                <a:lnTo>
                  <a:pt x="287378" y="1138383"/>
                </a:lnTo>
                <a:lnTo>
                  <a:pt x="272857" y="1160248"/>
                </a:lnTo>
                <a:lnTo>
                  <a:pt x="234373" y="1188252"/>
                </a:lnTo>
                <a:lnTo>
                  <a:pt x="234576" y="1186255"/>
                </a:lnTo>
                <a:lnTo>
                  <a:pt x="232744" y="1192213"/>
                </a:lnTo>
                <a:cubicBezTo>
                  <a:pt x="225316" y="1173452"/>
                  <a:pt x="227406" y="1161839"/>
                  <a:pt x="219988" y="1143070"/>
                </a:cubicBezTo>
                <a:lnTo>
                  <a:pt x="175439" y="1116805"/>
                </a:lnTo>
                <a:lnTo>
                  <a:pt x="145877" y="1121158"/>
                </a:lnTo>
                <a:lnTo>
                  <a:pt x="133088" y="1131815"/>
                </a:lnTo>
                <a:cubicBezTo>
                  <a:pt x="134861" y="1106972"/>
                  <a:pt x="136649" y="1082189"/>
                  <a:pt x="138422" y="1057346"/>
                </a:cubicBezTo>
                <a:lnTo>
                  <a:pt x="159712" y="993463"/>
                </a:lnTo>
                <a:lnTo>
                  <a:pt x="127769" y="940288"/>
                </a:lnTo>
                <a:lnTo>
                  <a:pt x="74537" y="881728"/>
                </a:lnTo>
                <a:lnTo>
                  <a:pt x="0" y="844463"/>
                </a:lnTo>
                <a:lnTo>
                  <a:pt x="37261" y="801935"/>
                </a:lnTo>
                <a:lnTo>
                  <a:pt x="85174" y="769993"/>
                </a:lnTo>
                <a:lnTo>
                  <a:pt x="63885" y="727405"/>
                </a:lnTo>
                <a:lnTo>
                  <a:pt x="21289" y="668906"/>
                </a:lnTo>
                <a:lnTo>
                  <a:pt x="53232" y="636964"/>
                </a:lnTo>
                <a:lnTo>
                  <a:pt x="37261" y="573142"/>
                </a:lnTo>
                <a:lnTo>
                  <a:pt x="47699" y="520978"/>
                </a:lnTo>
                <a:lnTo>
                  <a:pt x="45408" y="519908"/>
                </a:lnTo>
                <a:lnTo>
                  <a:pt x="47913" y="519908"/>
                </a:lnTo>
                <a:lnTo>
                  <a:pt x="47913" y="519906"/>
                </a:lnTo>
                <a:lnTo>
                  <a:pt x="82549" y="519906"/>
                </a:lnTo>
                <a:lnTo>
                  <a:pt x="135615" y="487875"/>
                </a:lnTo>
                <a:lnTo>
                  <a:pt x="188686" y="434485"/>
                </a:lnTo>
                <a:lnTo>
                  <a:pt x="209852" y="402378"/>
                </a:lnTo>
                <a:lnTo>
                  <a:pt x="231058" y="354328"/>
                </a:lnTo>
                <a:lnTo>
                  <a:pt x="252339" y="327633"/>
                </a:lnTo>
                <a:lnTo>
                  <a:pt x="337274" y="327633"/>
                </a:lnTo>
                <a:lnTo>
                  <a:pt x="390344" y="300865"/>
                </a:lnTo>
                <a:cubicBezTo>
                  <a:pt x="395579" y="288408"/>
                  <a:pt x="401042" y="275914"/>
                  <a:pt x="406315" y="263529"/>
                </a:cubicBezTo>
                <a:cubicBezTo>
                  <a:pt x="408111" y="251108"/>
                  <a:pt x="409754" y="238614"/>
                  <a:pt x="411664" y="226192"/>
                </a:cubicBezTo>
                <a:lnTo>
                  <a:pt x="427482" y="194050"/>
                </a:lnTo>
                <a:cubicBezTo>
                  <a:pt x="424048" y="181646"/>
                  <a:pt x="420424" y="169135"/>
                  <a:pt x="416990" y="156767"/>
                </a:cubicBezTo>
                <a:cubicBezTo>
                  <a:pt x="416931" y="156693"/>
                  <a:pt x="416893" y="156703"/>
                  <a:pt x="416856" y="156713"/>
                </a:cubicBezTo>
                <a:lnTo>
                  <a:pt x="459259" y="151432"/>
                </a:lnTo>
                <a:lnTo>
                  <a:pt x="496618" y="151432"/>
                </a:lnTo>
                <a:lnTo>
                  <a:pt x="554785" y="172727"/>
                </a:lnTo>
                <a:lnTo>
                  <a:pt x="586837" y="162028"/>
                </a:lnTo>
                <a:lnTo>
                  <a:pt x="618626" y="135366"/>
                </a:lnTo>
                <a:cubicBezTo>
                  <a:pt x="629135" y="127248"/>
                  <a:pt x="639802" y="124633"/>
                  <a:pt x="650363" y="114036"/>
                </a:cubicBezTo>
                <a:lnTo>
                  <a:pt x="682415" y="71171"/>
                </a:lnTo>
                <a:lnTo>
                  <a:pt x="711052" y="62916"/>
                </a:lnTo>
                <a:lnTo>
                  <a:pt x="743840" y="45842"/>
                </a:lnTo>
                <a:lnTo>
                  <a:pt x="792654" y="25828"/>
                </a:lnTo>
                <a:cubicBezTo>
                  <a:pt x="806736" y="20684"/>
                  <a:pt x="813356" y="16309"/>
                  <a:pt x="827701" y="14993"/>
                </a:cubicBezTo>
                <a:cubicBezTo>
                  <a:pt x="842151" y="13591"/>
                  <a:pt x="859490" y="20000"/>
                  <a:pt x="878564" y="17847"/>
                </a:cubicBezTo>
                <a:lnTo>
                  <a:pt x="942300" y="1815"/>
                </a:lnTo>
                <a:lnTo>
                  <a:pt x="941196" y="7379"/>
                </a:lnTo>
                <a:close/>
              </a:path>
            </a:pathLst>
          </a:custGeom>
          <a:solidFill>
            <a:srgbClr val="70B0DF"/>
          </a:solidFill>
          <a:ln w="3175" cap="flat" cmpd="sng">
            <a:noFill/>
            <a:prstDash val="solid"/>
            <a:round/>
            <a:headEnd type="none" w="med" len="med"/>
            <a:tailEnd type="none" w="sm" len="sm"/>
          </a:ln>
        </p:spPr>
        <p:txBody>
          <a:bodyPr wrap="none" lIns="32632" tIns="32632" rIns="32632" bIns="32632"/>
          <a:lstStyle/>
          <a:p>
            <a:pPr defTabSz="891045"/>
            <a:endParaRPr lang="en-US" sz="1700" dirty="0">
              <a:solidFill>
                <a:srgbClr val="003149"/>
              </a:solidFill>
              <a:cs typeface="Arial" panose="020B0604020202020204" pitchFamily="34" charset="0"/>
            </a:endParaRPr>
          </a:p>
        </p:txBody>
      </p:sp>
      <p:sp>
        <p:nvSpPr>
          <p:cNvPr id="83" name="Freeform 656"/>
          <p:cNvSpPr>
            <a:spLocks noChangeAspect="1"/>
          </p:cNvSpPr>
          <p:nvPr>
            <p:custDataLst>
              <p:tags r:id="rId59"/>
            </p:custDataLst>
          </p:nvPr>
        </p:nvSpPr>
        <p:spPr bwMode="gray">
          <a:xfrm>
            <a:off x="2724173" y="2555163"/>
            <a:ext cx="203299" cy="199443"/>
          </a:xfrm>
          <a:custGeom>
            <a:avLst/>
            <a:gdLst>
              <a:gd name="T0" fmla="*/ 0 w 1168399"/>
              <a:gd name="T1" fmla="*/ 0 h 1022352"/>
              <a:gd name="T2" fmla="*/ 0 w 1168399"/>
              <a:gd name="T3" fmla="*/ 0 h 1022352"/>
              <a:gd name="T4" fmla="*/ 0 w 1168399"/>
              <a:gd name="T5" fmla="*/ 0 h 1022352"/>
              <a:gd name="T6" fmla="*/ 0 w 1168399"/>
              <a:gd name="T7" fmla="*/ 0 h 1022352"/>
              <a:gd name="T8" fmla="*/ 0 w 1168399"/>
              <a:gd name="T9" fmla="*/ 0 h 1022352"/>
              <a:gd name="T10" fmla="*/ 0 w 1168399"/>
              <a:gd name="T11" fmla="*/ 0 h 1022352"/>
              <a:gd name="T12" fmla="*/ 0 w 1168399"/>
              <a:gd name="T13" fmla="*/ 0 h 1022352"/>
              <a:gd name="T14" fmla="*/ 0 w 1168399"/>
              <a:gd name="T15" fmla="*/ 0 h 1022352"/>
              <a:gd name="T16" fmla="*/ 0 w 1168399"/>
              <a:gd name="T17" fmla="*/ 0 h 1022352"/>
              <a:gd name="T18" fmla="*/ 0 w 1168399"/>
              <a:gd name="T19" fmla="*/ 0 h 1022352"/>
              <a:gd name="T20" fmla="*/ 0 w 1168399"/>
              <a:gd name="T21" fmla="*/ 0 h 1022352"/>
              <a:gd name="T22" fmla="*/ 0 w 1168399"/>
              <a:gd name="T23" fmla="*/ 0 h 1022352"/>
              <a:gd name="T24" fmla="*/ 0 w 1168399"/>
              <a:gd name="T25" fmla="*/ 0 h 1022352"/>
              <a:gd name="T26" fmla="*/ 0 w 1168399"/>
              <a:gd name="T27" fmla="*/ 0 h 1022352"/>
              <a:gd name="T28" fmla="*/ 0 w 1168399"/>
              <a:gd name="T29" fmla="*/ 0 h 1022352"/>
              <a:gd name="T30" fmla="*/ 0 w 1168399"/>
              <a:gd name="T31" fmla="*/ 0 h 1022352"/>
              <a:gd name="T32" fmla="*/ 0 w 1168399"/>
              <a:gd name="T33" fmla="*/ 0 h 1022352"/>
              <a:gd name="T34" fmla="*/ 0 w 1168399"/>
              <a:gd name="T35" fmla="*/ 0 h 1022352"/>
              <a:gd name="T36" fmla="*/ 0 w 1168399"/>
              <a:gd name="T37" fmla="*/ 0 h 1022352"/>
              <a:gd name="T38" fmla="*/ 0 w 1168399"/>
              <a:gd name="T39" fmla="*/ 0 h 1022352"/>
              <a:gd name="T40" fmla="*/ 0 w 1168399"/>
              <a:gd name="T41" fmla="*/ 0 h 1022352"/>
              <a:gd name="T42" fmla="*/ 0 w 1168399"/>
              <a:gd name="T43" fmla="*/ 0 h 1022352"/>
              <a:gd name="T44" fmla="*/ 0 w 1168399"/>
              <a:gd name="T45" fmla="*/ 0 h 1022352"/>
              <a:gd name="T46" fmla="*/ 0 w 1168399"/>
              <a:gd name="T47" fmla="*/ 0 h 1022352"/>
              <a:gd name="T48" fmla="*/ 0 w 1168399"/>
              <a:gd name="T49" fmla="*/ 0 h 1022352"/>
              <a:gd name="T50" fmla="*/ 0 w 1168399"/>
              <a:gd name="T51" fmla="*/ 0 h 1022352"/>
              <a:gd name="T52" fmla="*/ 0 w 1168399"/>
              <a:gd name="T53" fmla="*/ 0 h 1022352"/>
              <a:gd name="T54" fmla="*/ 0 w 1168399"/>
              <a:gd name="T55" fmla="*/ 0 h 1022352"/>
              <a:gd name="T56" fmla="*/ 0 w 1168399"/>
              <a:gd name="T57" fmla="*/ 0 h 1022352"/>
              <a:gd name="T58" fmla="*/ 0 w 1168399"/>
              <a:gd name="T59" fmla="*/ 0 h 1022352"/>
              <a:gd name="T60" fmla="*/ 0 w 1168399"/>
              <a:gd name="T61" fmla="*/ 0 h 1022352"/>
              <a:gd name="T62" fmla="*/ 0 w 1168399"/>
              <a:gd name="T63" fmla="*/ 0 h 1022352"/>
              <a:gd name="T64" fmla="*/ 0 w 1168399"/>
              <a:gd name="T65" fmla="*/ 0 h 1022352"/>
              <a:gd name="T66" fmla="*/ 0 w 1168399"/>
              <a:gd name="T67" fmla="*/ 0 h 1022352"/>
              <a:gd name="T68" fmla="*/ 0 w 1168399"/>
              <a:gd name="T69" fmla="*/ 0 h 1022352"/>
              <a:gd name="T70" fmla="*/ 0 w 1168399"/>
              <a:gd name="T71" fmla="*/ 0 h 1022352"/>
              <a:gd name="T72" fmla="*/ 0 w 1168399"/>
              <a:gd name="T73" fmla="*/ 0 h 1022352"/>
              <a:gd name="T74" fmla="*/ 0 w 1168399"/>
              <a:gd name="T75" fmla="*/ 0 h 1022352"/>
              <a:gd name="T76" fmla="*/ 0 w 1168399"/>
              <a:gd name="T77" fmla="*/ 0 h 1022352"/>
              <a:gd name="T78" fmla="*/ 0 w 1168399"/>
              <a:gd name="T79" fmla="*/ 0 h 1022352"/>
              <a:gd name="T80" fmla="*/ 0 w 1168399"/>
              <a:gd name="T81" fmla="*/ 0 h 1022352"/>
              <a:gd name="T82" fmla="*/ 0 w 1168399"/>
              <a:gd name="T83" fmla="*/ 0 h 1022352"/>
              <a:gd name="T84" fmla="*/ 0 w 1168399"/>
              <a:gd name="T85" fmla="*/ 0 h 1022352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w 1168399"/>
              <a:gd name="T130" fmla="*/ 0 h 1022352"/>
              <a:gd name="T131" fmla="*/ 1168399 w 1168399"/>
              <a:gd name="T132" fmla="*/ 1022352 h 1022352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T129" t="T130" r="T131" b="T132"/>
            <a:pathLst>
              <a:path w="1168399" h="1022352">
                <a:moveTo>
                  <a:pt x="298448" y="0"/>
                </a:moveTo>
                <a:lnTo>
                  <a:pt x="351880" y="43228"/>
                </a:lnTo>
                <a:lnTo>
                  <a:pt x="398163" y="36058"/>
                </a:lnTo>
                <a:lnTo>
                  <a:pt x="447828" y="36058"/>
                </a:lnTo>
                <a:lnTo>
                  <a:pt x="494110" y="64946"/>
                </a:lnTo>
                <a:lnTo>
                  <a:pt x="533396" y="57706"/>
                </a:lnTo>
                <a:lnTo>
                  <a:pt x="579678" y="54156"/>
                </a:lnTo>
                <a:lnTo>
                  <a:pt x="629420" y="68496"/>
                </a:lnTo>
                <a:lnTo>
                  <a:pt x="665169" y="97314"/>
                </a:lnTo>
                <a:lnTo>
                  <a:pt x="714911" y="111793"/>
                </a:lnTo>
                <a:lnTo>
                  <a:pt x="750430" y="129752"/>
                </a:lnTo>
                <a:lnTo>
                  <a:pt x="782566" y="111793"/>
                </a:lnTo>
                <a:lnTo>
                  <a:pt x="832385" y="111793"/>
                </a:lnTo>
                <a:lnTo>
                  <a:pt x="878667" y="140680"/>
                </a:lnTo>
                <a:lnTo>
                  <a:pt x="878667" y="183908"/>
                </a:lnTo>
                <a:cubicBezTo>
                  <a:pt x="873823" y="205487"/>
                  <a:pt x="869134" y="227205"/>
                  <a:pt x="864367" y="248853"/>
                </a:cubicBezTo>
                <a:cubicBezTo>
                  <a:pt x="865597" y="260896"/>
                  <a:pt x="866750" y="272799"/>
                  <a:pt x="867981" y="284841"/>
                </a:cubicBezTo>
                <a:lnTo>
                  <a:pt x="889353" y="313729"/>
                </a:lnTo>
                <a:lnTo>
                  <a:pt x="939172" y="360506"/>
                </a:lnTo>
                <a:lnTo>
                  <a:pt x="981841" y="393014"/>
                </a:lnTo>
                <a:lnTo>
                  <a:pt x="1013900" y="436241"/>
                </a:lnTo>
                <a:lnTo>
                  <a:pt x="1049496" y="497637"/>
                </a:lnTo>
                <a:lnTo>
                  <a:pt x="1049496" y="533625"/>
                </a:lnTo>
                <a:lnTo>
                  <a:pt x="1049496" y="584161"/>
                </a:lnTo>
                <a:lnTo>
                  <a:pt x="1067255" y="631008"/>
                </a:lnTo>
                <a:cubicBezTo>
                  <a:pt x="1066915" y="650174"/>
                  <a:pt x="1090800" y="691875"/>
                  <a:pt x="1095127" y="716386"/>
                </a:cubicBezTo>
                <a:lnTo>
                  <a:pt x="1098326" y="717552"/>
                </a:lnTo>
                <a:lnTo>
                  <a:pt x="1098326" y="757481"/>
                </a:lnTo>
                <a:lnTo>
                  <a:pt x="1066799" y="793752"/>
                </a:lnTo>
                <a:lnTo>
                  <a:pt x="1066799" y="833681"/>
                </a:lnTo>
                <a:lnTo>
                  <a:pt x="1105336" y="848190"/>
                </a:lnTo>
                <a:lnTo>
                  <a:pt x="1126357" y="877206"/>
                </a:lnTo>
                <a:lnTo>
                  <a:pt x="1126357" y="913508"/>
                </a:lnTo>
                <a:lnTo>
                  <a:pt x="1168399" y="957034"/>
                </a:lnTo>
                <a:lnTo>
                  <a:pt x="1126357" y="978796"/>
                </a:lnTo>
                <a:lnTo>
                  <a:pt x="1126357" y="1007844"/>
                </a:lnTo>
                <a:lnTo>
                  <a:pt x="1110002" y="1019132"/>
                </a:lnTo>
                <a:lnTo>
                  <a:pt x="1111248" y="1022352"/>
                </a:lnTo>
                <a:lnTo>
                  <a:pt x="1107829" y="1020632"/>
                </a:lnTo>
                <a:lnTo>
                  <a:pt x="1105336" y="1022352"/>
                </a:lnTo>
                <a:lnTo>
                  <a:pt x="1101781" y="1017588"/>
                </a:lnTo>
                <a:lnTo>
                  <a:pt x="1068021" y="1000600"/>
                </a:lnTo>
                <a:lnTo>
                  <a:pt x="1021237" y="978902"/>
                </a:lnTo>
                <a:lnTo>
                  <a:pt x="999568" y="928165"/>
                </a:lnTo>
                <a:lnTo>
                  <a:pt x="945561" y="906413"/>
                </a:lnTo>
                <a:lnTo>
                  <a:pt x="905890" y="924549"/>
                </a:lnTo>
                <a:lnTo>
                  <a:pt x="851883" y="906413"/>
                </a:lnTo>
                <a:cubicBezTo>
                  <a:pt x="847105" y="894323"/>
                  <a:pt x="842215" y="882287"/>
                  <a:pt x="837437" y="870196"/>
                </a:cubicBezTo>
                <a:lnTo>
                  <a:pt x="805099" y="873812"/>
                </a:lnTo>
                <a:lnTo>
                  <a:pt x="772651" y="891948"/>
                </a:lnTo>
                <a:cubicBezTo>
                  <a:pt x="769095" y="864151"/>
                  <a:pt x="765428" y="836408"/>
                  <a:pt x="761872" y="808610"/>
                </a:cubicBezTo>
                <a:lnTo>
                  <a:pt x="732979" y="786912"/>
                </a:lnTo>
                <a:lnTo>
                  <a:pt x="732979" y="754311"/>
                </a:lnTo>
                <a:lnTo>
                  <a:pt x="700642" y="728943"/>
                </a:lnTo>
                <a:lnTo>
                  <a:pt x="664638" y="707191"/>
                </a:lnTo>
                <a:lnTo>
                  <a:pt x="610520" y="718040"/>
                </a:lnTo>
                <a:lnTo>
                  <a:pt x="556513" y="765160"/>
                </a:lnTo>
                <a:lnTo>
                  <a:pt x="513286" y="783242"/>
                </a:lnTo>
                <a:lnTo>
                  <a:pt x="475503" y="750641"/>
                </a:lnTo>
                <a:lnTo>
                  <a:pt x="421497" y="754311"/>
                </a:lnTo>
                <a:lnTo>
                  <a:pt x="389048" y="783242"/>
                </a:lnTo>
                <a:lnTo>
                  <a:pt x="367379" y="739792"/>
                </a:lnTo>
                <a:cubicBezTo>
                  <a:pt x="360156" y="726514"/>
                  <a:pt x="353044" y="713236"/>
                  <a:pt x="345821" y="699958"/>
                </a:cubicBezTo>
                <a:lnTo>
                  <a:pt x="320595" y="689109"/>
                </a:lnTo>
                <a:lnTo>
                  <a:pt x="277368" y="685439"/>
                </a:lnTo>
                <a:lnTo>
                  <a:pt x="248586" y="663741"/>
                </a:lnTo>
                <a:lnTo>
                  <a:pt x="205358" y="667357"/>
                </a:lnTo>
                <a:lnTo>
                  <a:pt x="151241" y="634756"/>
                </a:lnTo>
                <a:lnTo>
                  <a:pt x="118903" y="613004"/>
                </a:lnTo>
                <a:lnTo>
                  <a:pt x="82899" y="613004"/>
                </a:lnTo>
                <a:lnTo>
                  <a:pt x="39671" y="598539"/>
                </a:lnTo>
                <a:lnTo>
                  <a:pt x="18002" y="569554"/>
                </a:lnTo>
                <a:lnTo>
                  <a:pt x="0" y="482600"/>
                </a:lnTo>
                <a:lnTo>
                  <a:pt x="11235" y="477574"/>
                </a:lnTo>
                <a:lnTo>
                  <a:pt x="41984" y="405978"/>
                </a:lnTo>
                <a:cubicBezTo>
                  <a:pt x="40786" y="393950"/>
                  <a:pt x="39618" y="381921"/>
                  <a:pt x="38420" y="369893"/>
                </a:cubicBezTo>
                <a:lnTo>
                  <a:pt x="95409" y="304911"/>
                </a:lnTo>
                <a:lnTo>
                  <a:pt x="145271" y="263399"/>
                </a:lnTo>
                <a:lnTo>
                  <a:pt x="188034" y="220127"/>
                </a:lnTo>
                <a:lnTo>
                  <a:pt x="170216" y="162382"/>
                </a:lnTo>
                <a:lnTo>
                  <a:pt x="148834" y="122679"/>
                </a:lnTo>
                <a:lnTo>
                  <a:pt x="134580" y="79407"/>
                </a:lnTo>
                <a:lnTo>
                  <a:pt x="155961" y="21662"/>
                </a:lnTo>
                <a:lnTo>
                  <a:pt x="198696" y="3619"/>
                </a:lnTo>
                <a:lnTo>
                  <a:pt x="234332" y="1"/>
                </a:lnTo>
                <a:lnTo>
                  <a:pt x="297022" y="3539"/>
                </a:lnTo>
                <a:close/>
              </a:path>
            </a:pathLst>
          </a:custGeom>
          <a:solidFill>
            <a:srgbClr val="70B0DF"/>
          </a:solidFill>
          <a:ln w="3175" cap="flat" cmpd="sng">
            <a:noFill/>
            <a:prstDash val="solid"/>
            <a:round/>
            <a:headEnd type="none" w="med" len="med"/>
            <a:tailEnd type="none" w="sm" len="sm"/>
          </a:ln>
        </p:spPr>
        <p:txBody>
          <a:bodyPr wrap="none" lIns="32632" tIns="32632" rIns="32632" bIns="32632"/>
          <a:lstStyle/>
          <a:p>
            <a:pPr defTabSz="891045"/>
            <a:endParaRPr lang="en-US" sz="1700" dirty="0">
              <a:solidFill>
                <a:srgbClr val="003149"/>
              </a:solidFill>
              <a:cs typeface="Arial" panose="020B0604020202020204" pitchFamily="34" charset="0"/>
            </a:endParaRPr>
          </a:p>
        </p:txBody>
      </p:sp>
      <p:sp>
        <p:nvSpPr>
          <p:cNvPr id="84" name="Freeform 672"/>
          <p:cNvSpPr>
            <a:spLocks noChangeAspect="1"/>
          </p:cNvSpPr>
          <p:nvPr>
            <p:custDataLst>
              <p:tags r:id="rId60"/>
            </p:custDataLst>
          </p:nvPr>
        </p:nvSpPr>
        <p:spPr bwMode="gray">
          <a:xfrm>
            <a:off x="3258699" y="2712999"/>
            <a:ext cx="740690" cy="446233"/>
          </a:xfrm>
          <a:custGeom>
            <a:avLst/>
            <a:gdLst>
              <a:gd name="T0" fmla="*/ 0 w 4298952"/>
              <a:gd name="T1" fmla="*/ 0 h 2280010"/>
              <a:gd name="T2" fmla="*/ 0 w 4298952"/>
              <a:gd name="T3" fmla="*/ 0 h 2280010"/>
              <a:gd name="T4" fmla="*/ 0 w 4298952"/>
              <a:gd name="T5" fmla="*/ 0 h 2280010"/>
              <a:gd name="T6" fmla="*/ 0 w 4298952"/>
              <a:gd name="T7" fmla="*/ 0 h 2280010"/>
              <a:gd name="T8" fmla="*/ 0 w 4298952"/>
              <a:gd name="T9" fmla="*/ 0 h 2280010"/>
              <a:gd name="T10" fmla="*/ 0 w 4298952"/>
              <a:gd name="T11" fmla="*/ 0 h 2280010"/>
              <a:gd name="T12" fmla="*/ 0 w 4298952"/>
              <a:gd name="T13" fmla="*/ 0 h 2280010"/>
              <a:gd name="T14" fmla="*/ 0 w 4298952"/>
              <a:gd name="T15" fmla="*/ 0 h 2280010"/>
              <a:gd name="T16" fmla="*/ 0 w 4298952"/>
              <a:gd name="T17" fmla="*/ 0 h 2280010"/>
              <a:gd name="T18" fmla="*/ 0 w 4298952"/>
              <a:gd name="T19" fmla="*/ 0 h 2280010"/>
              <a:gd name="T20" fmla="*/ 0 w 4298952"/>
              <a:gd name="T21" fmla="*/ 0 h 2280010"/>
              <a:gd name="T22" fmla="*/ 0 w 4298952"/>
              <a:gd name="T23" fmla="*/ 0 h 2280010"/>
              <a:gd name="T24" fmla="*/ 0 w 4298952"/>
              <a:gd name="T25" fmla="*/ 0 h 2280010"/>
              <a:gd name="T26" fmla="*/ 0 w 4298952"/>
              <a:gd name="T27" fmla="*/ 0 h 2280010"/>
              <a:gd name="T28" fmla="*/ 0 w 4298952"/>
              <a:gd name="T29" fmla="*/ 0 h 2280010"/>
              <a:gd name="T30" fmla="*/ 0 w 4298952"/>
              <a:gd name="T31" fmla="*/ 0 h 2280010"/>
              <a:gd name="T32" fmla="*/ 0 w 4298952"/>
              <a:gd name="T33" fmla="*/ 0 h 2280010"/>
              <a:gd name="T34" fmla="*/ 0 w 4298952"/>
              <a:gd name="T35" fmla="*/ 0 h 2280010"/>
              <a:gd name="T36" fmla="*/ 0 w 4298952"/>
              <a:gd name="T37" fmla="*/ 0 h 2280010"/>
              <a:gd name="T38" fmla="*/ 0 w 4298952"/>
              <a:gd name="T39" fmla="*/ 0 h 2280010"/>
              <a:gd name="T40" fmla="*/ 0 w 4298952"/>
              <a:gd name="T41" fmla="*/ 0 h 2280010"/>
              <a:gd name="T42" fmla="*/ 0 w 4298952"/>
              <a:gd name="T43" fmla="*/ 0 h 2280010"/>
              <a:gd name="T44" fmla="*/ 0 w 4298952"/>
              <a:gd name="T45" fmla="*/ 0 h 2280010"/>
              <a:gd name="T46" fmla="*/ 0 w 4298952"/>
              <a:gd name="T47" fmla="*/ 0 h 2280010"/>
              <a:gd name="T48" fmla="*/ 0 w 4298952"/>
              <a:gd name="T49" fmla="*/ 0 h 2280010"/>
              <a:gd name="T50" fmla="*/ 0 w 4298952"/>
              <a:gd name="T51" fmla="*/ 0 h 2280010"/>
              <a:gd name="T52" fmla="*/ 0 w 4298952"/>
              <a:gd name="T53" fmla="*/ 0 h 2280010"/>
              <a:gd name="T54" fmla="*/ 0 w 4298952"/>
              <a:gd name="T55" fmla="*/ 0 h 2280010"/>
              <a:gd name="T56" fmla="*/ 0 w 4298952"/>
              <a:gd name="T57" fmla="*/ 0 h 2280010"/>
              <a:gd name="T58" fmla="*/ 0 w 4298952"/>
              <a:gd name="T59" fmla="*/ 0 h 2280010"/>
              <a:gd name="T60" fmla="*/ 0 w 4298952"/>
              <a:gd name="T61" fmla="*/ 0 h 2280010"/>
              <a:gd name="T62" fmla="*/ 0 w 4298952"/>
              <a:gd name="T63" fmla="*/ 0 h 2280010"/>
              <a:gd name="T64" fmla="*/ 0 w 4298952"/>
              <a:gd name="T65" fmla="*/ 0 h 2280010"/>
              <a:gd name="T66" fmla="*/ 0 w 4298952"/>
              <a:gd name="T67" fmla="*/ 0 h 2280010"/>
              <a:gd name="T68" fmla="*/ 0 w 4298952"/>
              <a:gd name="T69" fmla="*/ 0 h 2280010"/>
              <a:gd name="T70" fmla="*/ 0 w 4298952"/>
              <a:gd name="T71" fmla="*/ 0 h 2280010"/>
              <a:gd name="T72" fmla="*/ 0 w 4298952"/>
              <a:gd name="T73" fmla="*/ 0 h 2280010"/>
              <a:gd name="T74" fmla="*/ 0 w 4298952"/>
              <a:gd name="T75" fmla="*/ 0 h 2280010"/>
              <a:gd name="T76" fmla="*/ 0 w 4298952"/>
              <a:gd name="T77" fmla="*/ 0 h 2280010"/>
              <a:gd name="T78" fmla="*/ 0 w 4298952"/>
              <a:gd name="T79" fmla="*/ 0 h 2280010"/>
              <a:gd name="T80" fmla="*/ 0 w 4298952"/>
              <a:gd name="T81" fmla="*/ 0 h 2280010"/>
              <a:gd name="T82" fmla="*/ 0 w 4298952"/>
              <a:gd name="T83" fmla="*/ 0 h 2280010"/>
              <a:gd name="T84" fmla="*/ 0 w 4298952"/>
              <a:gd name="T85" fmla="*/ 0 h 2280010"/>
              <a:gd name="T86" fmla="*/ 0 w 4298952"/>
              <a:gd name="T87" fmla="*/ 0 h 2280010"/>
              <a:gd name="T88" fmla="*/ 0 w 4298952"/>
              <a:gd name="T89" fmla="*/ 0 h 2280010"/>
              <a:gd name="T90" fmla="*/ 0 w 4298952"/>
              <a:gd name="T91" fmla="*/ 0 h 2280010"/>
              <a:gd name="T92" fmla="*/ 0 w 4298952"/>
              <a:gd name="T93" fmla="*/ 0 h 2280010"/>
              <a:gd name="T94" fmla="*/ 0 w 4298952"/>
              <a:gd name="T95" fmla="*/ 0 h 2280010"/>
              <a:gd name="T96" fmla="*/ 0 w 4298952"/>
              <a:gd name="T97" fmla="*/ 0 h 2280010"/>
              <a:gd name="T98" fmla="*/ 0 w 4298952"/>
              <a:gd name="T99" fmla="*/ 0 h 2280010"/>
              <a:gd name="T100" fmla="*/ 0 w 4298952"/>
              <a:gd name="T101" fmla="*/ 0 h 2280010"/>
              <a:gd name="T102" fmla="*/ 0 w 4298952"/>
              <a:gd name="T103" fmla="*/ 0 h 2280010"/>
              <a:gd name="T104" fmla="*/ 0 w 4298952"/>
              <a:gd name="T105" fmla="*/ 0 h 2280010"/>
              <a:gd name="T106" fmla="*/ 0 w 4298952"/>
              <a:gd name="T107" fmla="*/ 0 h 2280010"/>
              <a:gd name="T108" fmla="*/ 0 w 4298952"/>
              <a:gd name="T109" fmla="*/ 0 h 2280010"/>
              <a:gd name="T110" fmla="*/ 0 w 4298952"/>
              <a:gd name="T111" fmla="*/ 0 h 2280010"/>
              <a:gd name="T112" fmla="*/ 0 w 4298952"/>
              <a:gd name="T113" fmla="*/ 0 h 2280010"/>
              <a:gd name="T114" fmla="*/ 0 w 4298952"/>
              <a:gd name="T115" fmla="*/ 0 h 2280010"/>
              <a:gd name="T116" fmla="*/ 0 w 4298952"/>
              <a:gd name="T117" fmla="*/ 0 h 2280010"/>
              <a:gd name="T118" fmla="*/ 0 w 4298952"/>
              <a:gd name="T119" fmla="*/ 0 h 2280010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w 4298952"/>
              <a:gd name="T181" fmla="*/ 0 h 2280010"/>
              <a:gd name="T182" fmla="*/ 4298952 w 4298952"/>
              <a:gd name="T183" fmla="*/ 2280010 h 2280010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T180" t="T181" r="T182" b="T183"/>
            <a:pathLst>
              <a:path w="4298952" h="2280010">
                <a:moveTo>
                  <a:pt x="1845431" y="424"/>
                </a:moveTo>
                <a:lnTo>
                  <a:pt x="1846851" y="6591"/>
                </a:lnTo>
                <a:lnTo>
                  <a:pt x="1845869" y="6367"/>
                </a:lnTo>
                <a:lnTo>
                  <a:pt x="1847005" y="7261"/>
                </a:lnTo>
                <a:lnTo>
                  <a:pt x="1846851" y="6591"/>
                </a:lnTo>
                <a:lnTo>
                  <a:pt x="1922602" y="23837"/>
                </a:lnTo>
                <a:lnTo>
                  <a:pt x="1972719" y="34559"/>
                </a:lnTo>
                <a:lnTo>
                  <a:pt x="2026504" y="59602"/>
                </a:lnTo>
                <a:lnTo>
                  <a:pt x="2062197" y="59602"/>
                </a:lnTo>
                <a:lnTo>
                  <a:pt x="2126739" y="66803"/>
                </a:lnTo>
                <a:lnTo>
                  <a:pt x="2198125" y="91846"/>
                </a:lnTo>
                <a:lnTo>
                  <a:pt x="2262667" y="88245"/>
                </a:lnTo>
                <a:lnTo>
                  <a:pt x="2316451" y="77524"/>
                </a:lnTo>
                <a:lnTo>
                  <a:pt x="2352145" y="91846"/>
                </a:lnTo>
                <a:lnTo>
                  <a:pt x="2413019" y="131211"/>
                </a:lnTo>
                <a:cubicBezTo>
                  <a:pt x="2430377" y="139532"/>
                  <a:pt x="2447490" y="147933"/>
                  <a:pt x="2464848" y="156254"/>
                </a:cubicBezTo>
                <a:lnTo>
                  <a:pt x="2522299" y="195619"/>
                </a:lnTo>
                <a:cubicBezTo>
                  <a:pt x="2542591" y="206340"/>
                  <a:pt x="2562638" y="217141"/>
                  <a:pt x="2582929" y="227863"/>
                </a:cubicBezTo>
                <a:lnTo>
                  <a:pt x="2618867" y="260107"/>
                </a:lnTo>
                <a:lnTo>
                  <a:pt x="2658228" y="274429"/>
                </a:lnTo>
                <a:lnTo>
                  <a:pt x="2704678" y="292271"/>
                </a:lnTo>
                <a:cubicBezTo>
                  <a:pt x="2717880" y="302432"/>
                  <a:pt x="2730837" y="312593"/>
                  <a:pt x="2744038" y="322755"/>
                </a:cubicBezTo>
                <a:cubicBezTo>
                  <a:pt x="2759685" y="329876"/>
                  <a:pt x="2775087" y="337077"/>
                  <a:pt x="2790733" y="344197"/>
                </a:cubicBezTo>
                <a:lnTo>
                  <a:pt x="2844273" y="376441"/>
                </a:lnTo>
                <a:lnTo>
                  <a:pt x="2894391" y="401485"/>
                </a:lnTo>
                <a:lnTo>
                  <a:pt x="2941085" y="412206"/>
                </a:lnTo>
                <a:cubicBezTo>
                  <a:pt x="2955265" y="419407"/>
                  <a:pt x="2969689" y="426528"/>
                  <a:pt x="2983869" y="433729"/>
                </a:cubicBezTo>
                <a:lnTo>
                  <a:pt x="3012472" y="473094"/>
                </a:lnTo>
                <a:lnTo>
                  <a:pt x="3055500" y="487415"/>
                </a:lnTo>
                <a:lnTo>
                  <a:pt x="3109284" y="508858"/>
                </a:lnTo>
                <a:cubicBezTo>
                  <a:pt x="3130798" y="521980"/>
                  <a:pt x="3152067" y="535181"/>
                  <a:pt x="3173581" y="548303"/>
                </a:cubicBezTo>
                <a:lnTo>
                  <a:pt x="3209519" y="573346"/>
                </a:lnTo>
                <a:cubicBezTo>
                  <a:pt x="3220276" y="580467"/>
                  <a:pt x="3230788" y="587668"/>
                  <a:pt x="3241545" y="594789"/>
                </a:cubicBezTo>
                <a:lnTo>
                  <a:pt x="3291663" y="605510"/>
                </a:lnTo>
                <a:lnTo>
                  <a:pt x="3327601" y="648476"/>
                </a:lnTo>
                <a:cubicBezTo>
                  <a:pt x="3342025" y="659197"/>
                  <a:pt x="3356204" y="669998"/>
                  <a:pt x="3370628" y="680720"/>
                </a:cubicBezTo>
                <a:lnTo>
                  <a:pt x="3409989" y="680720"/>
                </a:lnTo>
                <a:lnTo>
                  <a:pt x="3456439" y="709363"/>
                </a:lnTo>
                <a:lnTo>
                  <a:pt x="3488710" y="730806"/>
                </a:lnTo>
                <a:lnTo>
                  <a:pt x="3517313" y="755929"/>
                </a:lnTo>
                <a:lnTo>
                  <a:pt x="3570853" y="777372"/>
                </a:lnTo>
                <a:lnTo>
                  <a:pt x="3606791" y="806015"/>
                </a:lnTo>
                <a:lnTo>
                  <a:pt x="3656909" y="806015"/>
                </a:lnTo>
                <a:lnTo>
                  <a:pt x="3751765" y="788093"/>
                </a:lnTo>
                <a:lnTo>
                  <a:pt x="3826819" y="763050"/>
                </a:lnTo>
                <a:lnTo>
                  <a:pt x="3944900" y="745128"/>
                </a:lnTo>
                <a:lnTo>
                  <a:pt x="3980838" y="730806"/>
                </a:lnTo>
                <a:cubicBezTo>
                  <a:pt x="3994040" y="720085"/>
                  <a:pt x="4006997" y="709363"/>
                  <a:pt x="4020199" y="698642"/>
                </a:cubicBezTo>
                <a:lnTo>
                  <a:pt x="4066649" y="698642"/>
                </a:lnTo>
                <a:cubicBezTo>
                  <a:pt x="4083273" y="691441"/>
                  <a:pt x="4100142" y="684320"/>
                  <a:pt x="4116766" y="677119"/>
                </a:cubicBezTo>
                <a:lnTo>
                  <a:pt x="4173973" y="659277"/>
                </a:lnTo>
                <a:lnTo>
                  <a:pt x="4238515" y="677119"/>
                </a:lnTo>
                <a:lnTo>
                  <a:pt x="4282936" y="705699"/>
                </a:lnTo>
                <a:lnTo>
                  <a:pt x="4281442" y="706477"/>
                </a:lnTo>
                <a:lnTo>
                  <a:pt x="4284694" y="706830"/>
                </a:lnTo>
                <a:lnTo>
                  <a:pt x="4282936" y="705699"/>
                </a:lnTo>
                <a:lnTo>
                  <a:pt x="4290439" y="703078"/>
                </a:lnTo>
                <a:lnTo>
                  <a:pt x="4289219" y="707320"/>
                </a:lnTo>
                <a:lnTo>
                  <a:pt x="4298952" y="708375"/>
                </a:lnTo>
                <a:lnTo>
                  <a:pt x="4255889" y="735917"/>
                </a:lnTo>
                <a:cubicBezTo>
                  <a:pt x="4254790" y="751353"/>
                  <a:pt x="4253472" y="767091"/>
                  <a:pt x="4252373" y="782527"/>
                </a:cubicBezTo>
                <a:lnTo>
                  <a:pt x="4212826" y="804016"/>
                </a:lnTo>
                <a:cubicBezTo>
                  <a:pt x="4211727" y="817182"/>
                  <a:pt x="4210409" y="830196"/>
                  <a:pt x="4209310" y="843362"/>
                </a:cubicBezTo>
                <a:lnTo>
                  <a:pt x="4266655" y="886491"/>
                </a:lnTo>
                <a:cubicBezTo>
                  <a:pt x="4276322" y="894814"/>
                  <a:pt x="4285769" y="903288"/>
                  <a:pt x="4295437" y="911611"/>
                </a:cubicBezTo>
                <a:cubicBezTo>
                  <a:pt x="4291921" y="925988"/>
                  <a:pt x="4288186" y="940213"/>
                  <a:pt x="4284671" y="954589"/>
                </a:cubicBezTo>
                <a:lnTo>
                  <a:pt x="4241608" y="961853"/>
                </a:lnTo>
                <a:cubicBezTo>
                  <a:pt x="4231941" y="968965"/>
                  <a:pt x="4222493" y="976229"/>
                  <a:pt x="4212826" y="983342"/>
                </a:cubicBezTo>
                <a:cubicBezTo>
                  <a:pt x="4220076" y="997718"/>
                  <a:pt x="4227107" y="1011943"/>
                  <a:pt x="4234357" y="1026320"/>
                </a:cubicBezTo>
                <a:lnTo>
                  <a:pt x="4166027" y="1040696"/>
                </a:lnTo>
                <a:lnTo>
                  <a:pt x="4133730" y="1058553"/>
                </a:lnTo>
                <a:lnTo>
                  <a:pt x="4047604" y="1073080"/>
                </a:lnTo>
                <a:lnTo>
                  <a:pt x="4008056" y="1073080"/>
                </a:lnTo>
                <a:cubicBezTo>
                  <a:pt x="3993775" y="1093359"/>
                  <a:pt x="3979274" y="1113637"/>
                  <a:pt x="3964993" y="1133915"/>
                </a:cubicBezTo>
                <a:lnTo>
                  <a:pt x="3875351" y="1155404"/>
                </a:lnTo>
                <a:lnTo>
                  <a:pt x="3789225" y="1166300"/>
                </a:lnTo>
                <a:lnTo>
                  <a:pt x="3738911" y="1144811"/>
                </a:lnTo>
                <a:lnTo>
                  <a:pt x="3685082" y="1159036"/>
                </a:lnTo>
                <a:lnTo>
                  <a:pt x="3627518" y="1166300"/>
                </a:lnTo>
                <a:cubicBezTo>
                  <a:pt x="3618071" y="1184308"/>
                  <a:pt x="3608404" y="1202165"/>
                  <a:pt x="3598956" y="1220022"/>
                </a:cubicBezTo>
                <a:lnTo>
                  <a:pt x="3566659" y="1202165"/>
                </a:lnTo>
                <a:lnTo>
                  <a:pt x="3530626" y="1230766"/>
                </a:lnTo>
                <a:cubicBezTo>
                  <a:pt x="3517444" y="1242721"/>
                  <a:pt x="3504481" y="1254827"/>
                  <a:pt x="3491298" y="1266631"/>
                </a:cubicBezTo>
                <a:lnTo>
                  <a:pt x="3448015" y="1295384"/>
                </a:lnTo>
                <a:lnTo>
                  <a:pt x="3379905" y="1298865"/>
                </a:lnTo>
                <a:lnTo>
                  <a:pt x="3308060" y="1306128"/>
                </a:lnTo>
                <a:lnTo>
                  <a:pt x="3254231" y="1316873"/>
                </a:lnTo>
                <a:lnTo>
                  <a:pt x="3186121" y="1327617"/>
                </a:lnTo>
                <a:lnTo>
                  <a:pt x="3143058" y="1349106"/>
                </a:lnTo>
                <a:cubicBezTo>
                  <a:pt x="3133391" y="1356219"/>
                  <a:pt x="3123943" y="1363482"/>
                  <a:pt x="3114276" y="1370746"/>
                </a:cubicBezTo>
                <a:lnTo>
                  <a:pt x="3081979" y="1392235"/>
                </a:lnTo>
                <a:lnTo>
                  <a:pt x="3017384" y="1413724"/>
                </a:lnTo>
                <a:lnTo>
                  <a:pt x="2959820" y="1427949"/>
                </a:lnTo>
                <a:cubicBezTo>
                  <a:pt x="2952569" y="1412513"/>
                  <a:pt x="2945539" y="1396926"/>
                  <a:pt x="2938288" y="1381339"/>
                </a:cubicBezTo>
                <a:lnTo>
                  <a:pt x="2938288" y="1338513"/>
                </a:lnTo>
                <a:lnTo>
                  <a:pt x="2884459" y="1338513"/>
                </a:lnTo>
                <a:lnTo>
                  <a:pt x="2791083" y="1363482"/>
                </a:lnTo>
                <a:cubicBezTo>
                  <a:pt x="2786249" y="1385123"/>
                  <a:pt x="2781635" y="1406460"/>
                  <a:pt x="2776801" y="1427949"/>
                </a:cubicBezTo>
                <a:lnTo>
                  <a:pt x="2733738" y="1435213"/>
                </a:lnTo>
                <a:lnTo>
                  <a:pt x="2694190" y="1503311"/>
                </a:lnTo>
                <a:cubicBezTo>
                  <a:pt x="2686940" y="1514056"/>
                  <a:pt x="2679909" y="1524951"/>
                  <a:pt x="2672659" y="1535696"/>
                </a:cubicBezTo>
                <a:cubicBezTo>
                  <a:pt x="2675076" y="1552493"/>
                  <a:pt x="2677493" y="1569140"/>
                  <a:pt x="2679909" y="1585937"/>
                </a:cubicBezTo>
                <a:lnTo>
                  <a:pt x="2615315" y="1600162"/>
                </a:lnTo>
                <a:lnTo>
                  <a:pt x="2565001" y="1632547"/>
                </a:lnTo>
                <a:lnTo>
                  <a:pt x="2528969" y="1675525"/>
                </a:lnTo>
                <a:cubicBezTo>
                  <a:pt x="2521718" y="1686269"/>
                  <a:pt x="2514687" y="1697165"/>
                  <a:pt x="2507437" y="1707758"/>
                </a:cubicBezTo>
                <a:cubicBezTo>
                  <a:pt x="2497989" y="1724556"/>
                  <a:pt x="2488322" y="1741353"/>
                  <a:pt x="2478875" y="1757999"/>
                </a:cubicBezTo>
                <a:cubicBezTo>
                  <a:pt x="2466791" y="1765112"/>
                  <a:pt x="2454926" y="1772376"/>
                  <a:pt x="2442842" y="1779488"/>
                </a:cubicBezTo>
                <a:lnTo>
                  <a:pt x="2410545" y="1822617"/>
                </a:lnTo>
                <a:lnTo>
                  <a:pt x="2338700" y="1854851"/>
                </a:lnTo>
                <a:lnTo>
                  <a:pt x="2338700" y="1912205"/>
                </a:lnTo>
                <a:lnTo>
                  <a:pt x="2313653" y="1940957"/>
                </a:lnTo>
                <a:lnTo>
                  <a:pt x="2274105" y="1976823"/>
                </a:lnTo>
                <a:cubicBezTo>
                  <a:pt x="2276522" y="1994831"/>
                  <a:pt x="2278939" y="2012537"/>
                  <a:pt x="2281355" y="2030545"/>
                </a:cubicBezTo>
                <a:cubicBezTo>
                  <a:pt x="2274105" y="2041289"/>
                  <a:pt x="2267074" y="2052185"/>
                  <a:pt x="2259824" y="2062929"/>
                </a:cubicBezTo>
                <a:lnTo>
                  <a:pt x="2205995" y="2123764"/>
                </a:lnTo>
                <a:lnTo>
                  <a:pt x="2159197" y="2181118"/>
                </a:lnTo>
                <a:cubicBezTo>
                  <a:pt x="2154363" y="2185961"/>
                  <a:pt x="2149749" y="2190803"/>
                  <a:pt x="2144916" y="2195646"/>
                </a:cubicBezTo>
                <a:lnTo>
                  <a:pt x="2112618" y="2206239"/>
                </a:lnTo>
                <a:cubicBezTo>
                  <a:pt x="2109103" y="2213351"/>
                  <a:pt x="2105368" y="2220615"/>
                  <a:pt x="2101852" y="2227728"/>
                </a:cubicBezTo>
                <a:cubicBezTo>
                  <a:pt x="2109103" y="2241045"/>
                  <a:pt x="2111300" y="2256480"/>
                  <a:pt x="2118550" y="2269646"/>
                </a:cubicBezTo>
                <a:lnTo>
                  <a:pt x="2117858" y="2269244"/>
                </a:lnTo>
                <a:lnTo>
                  <a:pt x="2096343" y="2280010"/>
                </a:lnTo>
                <a:lnTo>
                  <a:pt x="2067630" y="2280010"/>
                </a:lnTo>
                <a:lnTo>
                  <a:pt x="2038820" y="2280010"/>
                </a:lnTo>
                <a:lnTo>
                  <a:pt x="1984863" y="2261969"/>
                </a:lnTo>
                <a:lnTo>
                  <a:pt x="1912984" y="2229569"/>
                </a:lnTo>
                <a:lnTo>
                  <a:pt x="1851896" y="2200852"/>
                </a:lnTo>
                <a:lnTo>
                  <a:pt x="1794373" y="2164893"/>
                </a:lnTo>
                <a:lnTo>
                  <a:pt x="1736851" y="2128811"/>
                </a:lnTo>
                <a:lnTo>
                  <a:pt x="1697250" y="2110893"/>
                </a:lnTo>
                <a:lnTo>
                  <a:pt x="1661310" y="2085612"/>
                </a:lnTo>
                <a:lnTo>
                  <a:pt x="1632597" y="2067693"/>
                </a:lnTo>
                <a:lnTo>
                  <a:pt x="1603787" y="2067693"/>
                </a:lnTo>
                <a:lnTo>
                  <a:pt x="1592996" y="2053212"/>
                </a:lnTo>
                <a:lnTo>
                  <a:pt x="1571413" y="2060453"/>
                </a:lnTo>
                <a:lnTo>
                  <a:pt x="1542700" y="2082053"/>
                </a:lnTo>
                <a:cubicBezTo>
                  <a:pt x="1541544" y="2088066"/>
                  <a:pt x="1540291" y="2094080"/>
                  <a:pt x="1539135" y="2100093"/>
                </a:cubicBezTo>
                <a:lnTo>
                  <a:pt x="1513890" y="2107211"/>
                </a:lnTo>
                <a:lnTo>
                  <a:pt x="1485177" y="2078493"/>
                </a:lnTo>
                <a:lnTo>
                  <a:pt x="1463594" y="2064012"/>
                </a:lnTo>
                <a:lnTo>
                  <a:pt x="1442011" y="2067693"/>
                </a:lnTo>
                <a:lnTo>
                  <a:pt x="1420428" y="2071253"/>
                </a:lnTo>
                <a:lnTo>
                  <a:pt x="1391715" y="2049653"/>
                </a:lnTo>
                <a:lnTo>
                  <a:pt x="1366471" y="2031735"/>
                </a:lnTo>
                <a:lnTo>
                  <a:pt x="1337757" y="2035294"/>
                </a:lnTo>
                <a:lnTo>
                  <a:pt x="1319739" y="2042535"/>
                </a:lnTo>
                <a:lnTo>
                  <a:pt x="1280235" y="2046094"/>
                </a:lnTo>
                <a:lnTo>
                  <a:pt x="1252761" y="2066691"/>
                </a:lnTo>
                <a:lnTo>
                  <a:pt x="1251712" y="2069668"/>
                </a:lnTo>
                <a:lnTo>
                  <a:pt x="1147607" y="1976341"/>
                </a:lnTo>
                <a:lnTo>
                  <a:pt x="1104502" y="1940439"/>
                </a:lnTo>
                <a:lnTo>
                  <a:pt x="1075711" y="1944026"/>
                </a:lnTo>
                <a:lnTo>
                  <a:pt x="1054239" y="1954757"/>
                </a:lnTo>
                <a:lnTo>
                  <a:pt x="1039870" y="1954757"/>
                </a:lnTo>
                <a:cubicBezTo>
                  <a:pt x="1033781" y="1947613"/>
                  <a:pt x="1027905" y="1940408"/>
                  <a:pt x="1021816" y="1933234"/>
                </a:cubicBezTo>
                <a:cubicBezTo>
                  <a:pt x="1018237" y="1923658"/>
                  <a:pt x="1014712" y="1914113"/>
                  <a:pt x="1011026" y="1904537"/>
                </a:cubicBezTo>
                <a:lnTo>
                  <a:pt x="1011026" y="1879427"/>
                </a:lnTo>
                <a:lnTo>
                  <a:pt x="1029081" y="1850699"/>
                </a:lnTo>
                <a:lnTo>
                  <a:pt x="1029081" y="1839907"/>
                </a:lnTo>
                <a:lnTo>
                  <a:pt x="1014659" y="1829176"/>
                </a:lnTo>
                <a:lnTo>
                  <a:pt x="1000237" y="1814797"/>
                </a:lnTo>
                <a:cubicBezTo>
                  <a:pt x="996658" y="1812425"/>
                  <a:pt x="993133" y="1809994"/>
                  <a:pt x="989554" y="1807622"/>
                </a:cubicBezTo>
                <a:lnTo>
                  <a:pt x="967974" y="1804066"/>
                </a:lnTo>
                <a:lnTo>
                  <a:pt x="942816" y="1807622"/>
                </a:lnTo>
                <a:cubicBezTo>
                  <a:pt x="940413" y="1811210"/>
                  <a:pt x="938009" y="1814827"/>
                  <a:pt x="935659" y="1818414"/>
                </a:cubicBezTo>
                <a:lnTo>
                  <a:pt x="914026" y="1796861"/>
                </a:lnTo>
                <a:lnTo>
                  <a:pt x="899711" y="1782512"/>
                </a:lnTo>
                <a:lnTo>
                  <a:pt x="878131" y="1775338"/>
                </a:lnTo>
                <a:lnTo>
                  <a:pt x="849448" y="1789656"/>
                </a:lnTo>
                <a:lnTo>
                  <a:pt x="838605" y="1793274"/>
                </a:lnTo>
                <a:lnTo>
                  <a:pt x="817025" y="1775338"/>
                </a:lnTo>
                <a:cubicBezTo>
                  <a:pt x="814675" y="1768164"/>
                  <a:pt x="812271" y="1760959"/>
                  <a:pt x="809868" y="1753784"/>
                </a:cubicBezTo>
                <a:lnTo>
                  <a:pt x="795553" y="1746610"/>
                </a:lnTo>
                <a:lnTo>
                  <a:pt x="781077" y="1746610"/>
                </a:lnTo>
                <a:lnTo>
                  <a:pt x="759605" y="1757372"/>
                </a:lnTo>
                <a:lnTo>
                  <a:pt x="738025" y="1768133"/>
                </a:lnTo>
                <a:lnTo>
                  <a:pt x="716393" y="1786099"/>
                </a:lnTo>
                <a:lnTo>
                  <a:pt x="702078" y="1804066"/>
                </a:lnTo>
                <a:cubicBezTo>
                  <a:pt x="700849" y="1807622"/>
                  <a:pt x="699727" y="1811210"/>
                  <a:pt x="698499" y="1814797"/>
                </a:cubicBezTo>
                <a:cubicBezTo>
                  <a:pt x="700849" y="1820785"/>
                  <a:pt x="703306" y="1826774"/>
                  <a:pt x="705763" y="1832763"/>
                </a:cubicBezTo>
                <a:lnTo>
                  <a:pt x="727182" y="1868665"/>
                </a:lnTo>
                <a:cubicBezTo>
                  <a:pt x="728411" y="1880582"/>
                  <a:pt x="729586" y="1892590"/>
                  <a:pt x="730868" y="1904537"/>
                </a:cubicBezTo>
                <a:cubicBezTo>
                  <a:pt x="732043" y="1908154"/>
                  <a:pt x="733272" y="1911711"/>
                  <a:pt x="734447" y="1915329"/>
                </a:cubicBezTo>
                <a:lnTo>
                  <a:pt x="720078" y="1926060"/>
                </a:lnTo>
                <a:cubicBezTo>
                  <a:pt x="718957" y="1929677"/>
                  <a:pt x="717621" y="1933234"/>
                  <a:pt x="716393" y="1936821"/>
                </a:cubicBezTo>
                <a:lnTo>
                  <a:pt x="712867" y="1944026"/>
                </a:lnTo>
                <a:cubicBezTo>
                  <a:pt x="709289" y="1948768"/>
                  <a:pt x="705763" y="1953602"/>
                  <a:pt x="702078" y="1958375"/>
                </a:cubicBezTo>
                <a:lnTo>
                  <a:pt x="702185" y="1953562"/>
                </a:lnTo>
                <a:cubicBezTo>
                  <a:pt x="701472" y="1954499"/>
                  <a:pt x="701131" y="1955628"/>
                  <a:pt x="700912" y="1956981"/>
                </a:cubicBezTo>
                <a:cubicBezTo>
                  <a:pt x="694533" y="1956981"/>
                  <a:pt x="685772" y="1949806"/>
                  <a:pt x="679394" y="1949806"/>
                </a:cubicBezTo>
                <a:lnTo>
                  <a:pt x="679394" y="1918063"/>
                </a:lnTo>
                <a:cubicBezTo>
                  <a:pt x="677361" y="1911758"/>
                  <a:pt x="675188" y="1905381"/>
                  <a:pt x="673085" y="1899003"/>
                </a:cubicBezTo>
                <a:lnTo>
                  <a:pt x="628648" y="1899003"/>
                </a:lnTo>
                <a:lnTo>
                  <a:pt x="552388" y="1937124"/>
                </a:lnTo>
                <a:lnTo>
                  <a:pt x="508021" y="1949806"/>
                </a:lnTo>
                <a:lnTo>
                  <a:pt x="488956" y="1949806"/>
                </a:lnTo>
                <a:cubicBezTo>
                  <a:pt x="484680" y="1943501"/>
                  <a:pt x="480545" y="1937124"/>
                  <a:pt x="476269" y="1930819"/>
                </a:cubicBezTo>
                <a:lnTo>
                  <a:pt x="488956" y="1899003"/>
                </a:lnTo>
                <a:lnTo>
                  <a:pt x="469891" y="1873565"/>
                </a:lnTo>
                <a:lnTo>
                  <a:pt x="444518" y="1860883"/>
                </a:lnTo>
                <a:lnTo>
                  <a:pt x="412697" y="1860883"/>
                </a:lnTo>
                <a:lnTo>
                  <a:pt x="374637" y="1860883"/>
                </a:lnTo>
                <a:lnTo>
                  <a:pt x="362021" y="1860883"/>
                </a:lnTo>
                <a:lnTo>
                  <a:pt x="323821" y="1848200"/>
                </a:lnTo>
                <a:lnTo>
                  <a:pt x="292140" y="1835517"/>
                </a:lnTo>
                <a:lnTo>
                  <a:pt x="260319" y="1829140"/>
                </a:lnTo>
                <a:cubicBezTo>
                  <a:pt x="247632" y="1822762"/>
                  <a:pt x="228637" y="1810080"/>
                  <a:pt x="215881" y="1810080"/>
                </a:cubicBezTo>
                <a:cubicBezTo>
                  <a:pt x="209573" y="1810080"/>
                  <a:pt x="203194" y="1835517"/>
                  <a:pt x="190508" y="1835517"/>
                </a:cubicBezTo>
                <a:cubicBezTo>
                  <a:pt x="184129" y="1835517"/>
                  <a:pt x="165135" y="1816530"/>
                  <a:pt x="158756" y="1816530"/>
                </a:cubicBezTo>
                <a:lnTo>
                  <a:pt x="139692" y="1841895"/>
                </a:lnTo>
                <a:lnTo>
                  <a:pt x="107940" y="1854578"/>
                </a:lnTo>
                <a:cubicBezTo>
                  <a:pt x="103735" y="1865159"/>
                  <a:pt x="99459" y="1875739"/>
                  <a:pt x="95254" y="1886321"/>
                </a:cubicBezTo>
                <a:cubicBezTo>
                  <a:pt x="88946" y="1899003"/>
                  <a:pt x="88946" y="1911758"/>
                  <a:pt x="82567" y="1918063"/>
                </a:cubicBezTo>
                <a:cubicBezTo>
                  <a:pt x="76189" y="1924368"/>
                  <a:pt x="69881" y="1930819"/>
                  <a:pt x="57124" y="1930819"/>
                </a:cubicBezTo>
                <a:lnTo>
                  <a:pt x="12757" y="1918063"/>
                </a:lnTo>
                <a:lnTo>
                  <a:pt x="19065" y="1892626"/>
                </a:lnTo>
                <a:lnTo>
                  <a:pt x="44438" y="1867333"/>
                </a:lnTo>
                <a:cubicBezTo>
                  <a:pt x="46470" y="1863057"/>
                  <a:pt x="48713" y="1858853"/>
                  <a:pt x="50816" y="1854578"/>
                </a:cubicBezTo>
                <a:lnTo>
                  <a:pt x="38059" y="1835517"/>
                </a:lnTo>
                <a:lnTo>
                  <a:pt x="12757" y="1772032"/>
                </a:lnTo>
                <a:lnTo>
                  <a:pt x="12757" y="1753044"/>
                </a:lnTo>
                <a:lnTo>
                  <a:pt x="44438" y="1740289"/>
                </a:lnTo>
                <a:cubicBezTo>
                  <a:pt x="42335" y="1727606"/>
                  <a:pt x="40162" y="1714851"/>
                  <a:pt x="38059" y="1702168"/>
                </a:cubicBezTo>
                <a:lnTo>
                  <a:pt x="0" y="1657743"/>
                </a:lnTo>
                <a:cubicBezTo>
                  <a:pt x="4276" y="1640784"/>
                  <a:pt x="8411" y="1623826"/>
                  <a:pt x="12757" y="1606940"/>
                </a:cubicBezTo>
                <a:lnTo>
                  <a:pt x="38059" y="1594185"/>
                </a:lnTo>
                <a:cubicBezTo>
                  <a:pt x="44438" y="1581502"/>
                  <a:pt x="50746" y="1568747"/>
                  <a:pt x="57124" y="1556064"/>
                </a:cubicBezTo>
                <a:lnTo>
                  <a:pt x="76189" y="1524321"/>
                </a:lnTo>
                <a:lnTo>
                  <a:pt x="88946" y="1511711"/>
                </a:lnTo>
                <a:lnTo>
                  <a:pt x="114249" y="1511711"/>
                </a:lnTo>
                <a:lnTo>
                  <a:pt x="133383" y="1499029"/>
                </a:lnTo>
                <a:lnTo>
                  <a:pt x="177751" y="1499029"/>
                </a:lnTo>
                <a:lnTo>
                  <a:pt x="190508" y="1486273"/>
                </a:lnTo>
                <a:cubicBezTo>
                  <a:pt x="192611" y="1479896"/>
                  <a:pt x="194713" y="1473591"/>
                  <a:pt x="196816" y="1467213"/>
                </a:cubicBezTo>
                <a:cubicBezTo>
                  <a:pt x="192611" y="1460836"/>
                  <a:pt x="188405" y="1454458"/>
                  <a:pt x="184129" y="1448225"/>
                </a:cubicBezTo>
                <a:lnTo>
                  <a:pt x="184129" y="1422788"/>
                </a:lnTo>
                <a:lnTo>
                  <a:pt x="215881" y="1416410"/>
                </a:lnTo>
                <a:lnTo>
                  <a:pt x="241324" y="1371985"/>
                </a:lnTo>
                <a:lnTo>
                  <a:pt x="273005" y="1321182"/>
                </a:lnTo>
                <a:cubicBezTo>
                  <a:pt x="270972" y="1316978"/>
                  <a:pt x="268800" y="1312702"/>
                  <a:pt x="266697" y="1308499"/>
                </a:cubicBezTo>
                <a:lnTo>
                  <a:pt x="253940" y="1295744"/>
                </a:lnTo>
                <a:cubicBezTo>
                  <a:pt x="249805" y="1287264"/>
                  <a:pt x="245529" y="1278785"/>
                  <a:pt x="241324" y="1270306"/>
                </a:cubicBezTo>
                <a:lnTo>
                  <a:pt x="241324" y="1251246"/>
                </a:lnTo>
                <a:cubicBezTo>
                  <a:pt x="243427" y="1244941"/>
                  <a:pt x="245529" y="1238563"/>
                  <a:pt x="247632" y="1232258"/>
                </a:cubicBezTo>
                <a:lnTo>
                  <a:pt x="253760" y="1234059"/>
                </a:lnTo>
                <a:lnTo>
                  <a:pt x="253298" y="1233059"/>
                </a:lnTo>
                <a:cubicBezTo>
                  <a:pt x="263626" y="1221840"/>
                  <a:pt x="274113" y="1210747"/>
                  <a:pt x="284441" y="1199528"/>
                </a:cubicBezTo>
                <a:lnTo>
                  <a:pt x="331633" y="1188814"/>
                </a:lnTo>
                <a:lnTo>
                  <a:pt x="403612" y="1235454"/>
                </a:lnTo>
                <a:lnTo>
                  <a:pt x="490368" y="1264069"/>
                </a:lnTo>
                <a:lnTo>
                  <a:pt x="526279" y="1235454"/>
                </a:lnTo>
                <a:lnTo>
                  <a:pt x="587612" y="1192343"/>
                </a:lnTo>
                <a:lnTo>
                  <a:pt x="656254" y="1149358"/>
                </a:lnTo>
                <a:lnTo>
                  <a:pt x="721242" y="1113684"/>
                </a:lnTo>
                <a:lnTo>
                  <a:pt x="764779" y="1102844"/>
                </a:lnTo>
                <a:lnTo>
                  <a:pt x="818644" y="1063514"/>
                </a:lnTo>
                <a:lnTo>
                  <a:pt x="869014" y="1038303"/>
                </a:lnTo>
                <a:lnTo>
                  <a:pt x="912233" y="1009815"/>
                </a:lnTo>
                <a:lnTo>
                  <a:pt x="912233" y="956115"/>
                </a:lnTo>
                <a:lnTo>
                  <a:pt x="869014" y="902415"/>
                </a:lnTo>
                <a:lnTo>
                  <a:pt x="793380" y="891701"/>
                </a:lnTo>
                <a:lnTo>
                  <a:pt x="731888" y="880986"/>
                </a:lnTo>
                <a:lnTo>
                  <a:pt x="620185" y="880986"/>
                </a:lnTo>
                <a:lnTo>
                  <a:pt x="566002" y="855901"/>
                </a:lnTo>
                <a:cubicBezTo>
                  <a:pt x="570928" y="832076"/>
                  <a:pt x="575695" y="808252"/>
                  <a:pt x="580461" y="784301"/>
                </a:cubicBezTo>
                <a:cubicBezTo>
                  <a:pt x="593809" y="761863"/>
                  <a:pt x="606838" y="739173"/>
                  <a:pt x="620185" y="716357"/>
                </a:cubicBezTo>
                <a:lnTo>
                  <a:pt x="674368" y="662658"/>
                </a:lnTo>
                <a:lnTo>
                  <a:pt x="739197" y="633791"/>
                </a:lnTo>
                <a:lnTo>
                  <a:pt x="782575" y="601773"/>
                </a:lnTo>
                <a:cubicBezTo>
                  <a:pt x="790997" y="591814"/>
                  <a:pt x="799100" y="581604"/>
                  <a:pt x="807680" y="571520"/>
                </a:cubicBezTo>
                <a:lnTo>
                  <a:pt x="851217" y="528409"/>
                </a:lnTo>
                <a:cubicBezTo>
                  <a:pt x="854713" y="514164"/>
                  <a:pt x="858368" y="499668"/>
                  <a:pt x="862022" y="485676"/>
                </a:cubicBezTo>
                <a:cubicBezTo>
                  <a:pt x="871715" y="474835"/>
                  <a:pt x="881248" y="463994"/>
                  <a:pt x="890782" y="453279"/>
                </a:cubicBezTo>
                <a:cubicBezTo>
                  <a:pt x="899362" y="431724"/>
                  <a:pt x="907625" y="410168"/>
                  <a:pt x="916205" y="388991"/>
                </a:cubicBezTo>
                <a:cubicBezTo>
                  <a:pt x="908578" y="370965"/>
                  <a:pt x="901587" y="353065"/>
                  <a:pt x="894437" y="335165"/>
                </a:cubicBezTo>
                <a:cubicBezTo>
                  <a:pt x="882361" y="317392"/>
                  <a:pt x="870444" y="299366"/>
                  <a:pt x="858368" y="281466"/>
                </a:cubicBezTo>
                <a:cubicBezTo>
                  <a:pt x="852489" y="270751"/>
                  <a:pt x="846292" y="260036"/>
                  <a:pt x="840413" y="249196"/>
                </a:cubicBezTo>
                <a:cubicBezTo>
                  <a:pt x="833103" y="224237"/>
                  <a:pt x="825477" y="199151"/>
                  <a:pt x="818644" y="174192"/>
                </a:cubicBezTo>
                <a:cubicBezTo>
                  <a:pt x="822299" y="156293"/>
                  <a:pt x="825477" y="138267"/>
                  <a:pt x="829608" y="120493"/>
                </a:cubicBezTo>
                <a:lnTo>
                  <a:pt x="872827" y="116837"/>
                </a:lnTo>
                <a:lnTo>
                  <a:pt x="912233" y="127678"/>
                </a:lnTo>
                <a:cubicBezTo>
                  <a:pt x="919701" y="143183"/>
                  <a:pt x="926692" y="158562"/>
                  <a:pt x="934001" y="174192"/>
                </a:cubicBezTo>
                <a:lnTo>
                  <a:pt x="1002485" y="217051"/>
                </a:lnTo>
                <a:lnTo>
                  <a:pt x="1172184" y="299492"/>
                </a:lnTo>
                <a:lnTo>
                  <a:pt x="1240826" y="335165"/>
                </a:lnTo>
                <a:lnTo>
                  <a:pt x="1302160" y="431850"/>
                </a:lnTo>
                <a:lnTo>
                  <a:pt x="1359838" y="496264"/>
                </a:lnTo>
                <a:lnTo>
                  <a:pt x="1446277" y="517820"/>
                </a:lnTo>
                <a:lnTo>
                  <a:pt x="1500619" y="567864"/>
                </a:lnTo>
                <a:lnTo>
                  <a:pt x="1587375" y="546308"/>
                </a:lnTo>
                <a:cubicBezTo>
                  <a:pt x="1598021" y="521223"/>
                  <a:pt x="1608826" y="496264"/>
                  <a:pt x="1619472" y="471179"/>
                </a:cubicBezTo>
                <a:cubicBezTo>
                  <a:pt x="1623126" y="456809"/>
                  <a:pt x="1626940" y="442439"/>
                  <a:pt x="1630594" y="428194"/>
                </a:cubicBezTo>
                <a:cubicBezTo>
                  <a:pt x="1634249" y="403235"/>
                  <a:pt x="1637745" y="378024"/>
                  <a:pt x="1641240" y="353065"/>
                </a:cubicBezTo>
                <a:cubicBezTo>
                  <a:pt x="1643783" y="327980"/>
                  <a:pt x="1646007" y="302895"/>
                  <a:pt x="1648549" y="277936"/>
                </a:cubicBezTo>
                <a:cubicBezTo>
                  <a:pt x="1644736" y="260036"/>
                  <a:pt x="1641240" y="242136"/>
                  <a:pt x="1637745" y="224237"/>
                </a:cubicBezTo>
                <a:lnTo>
                  <a:pt x="1695582" y="174192"/>
                </a:lnTo>
                <a:cubicBezTo>
                  <a:pt x="1704957" y="159822"/>
                  <a:pt x="1714967" y="145578"/>
                  <a:pt x="1724342" y="131208"/>
                </a:cubicBezTo>
                <a:lnTo>
                  <a:pt x="1767720" y="99063"/>
                </a:lnTo>
                <a:lnTo>
                  <a:pt x="1832549" y="66793"/>
                </a:lnTo>
                <a:cubicBezTo>
                  <a:pt x="1839699" y="48893"/>
                  <a:pt x="1835091" y="21413"/>
                  <a:pt x="1842241" y="3513"/>
                </a:cubicBezTo>
                <a:lnTo>
                  <a:pt x="1844138" y="5005"/>
                </a:lnTo>
                <a:cubicBezTo>
                  <a:pt x="1844223" y="604"/>
                  <a:pt x="1844730" y="-802"/>
                  <a:pt x="1845431" y="424"/>
                </a:cubicBezTo>
                <a:close/>
              </a:path>
            </a:pathLst>
          </a:custGeom>
          <a:solidFill>
            <a:srgbClr val="70B0DF"/>
          </a:solidFill>
          <a:ln w="3175" cap="flat" cmpd="sng">
            <a:noFill/>
            <a:prstDash val="solid"/>
            <a:round/>
            <a:headEnd type="none" w="med" len="med"/>
            <a:tailEnd type="none" w="sm" len="sm"/>
          </a:ln>
        </p:spPr>
        <p:txBody>
          <a:bodyPr wrap="none" lIns="32632" tIns="32632" rIns="32632" bIns="32632" anchor="ctr"/>
          <a:lstStyle/>
          <a:p>
            <a:pPr defTabSz="891045"/>
            <a:endParaRPr lang="en-US" sz="1700" dirty="0">
              <a:solidFill>
                <a:srgbClr val="003149"/>
              </a:solidFill>
              <a:cs typeface="Arial" panose="020B0604020202020204" pitchFamily="34" charset="0"/>
            </a:endParaRPr>
          </a:p>
        </p:txBody>
      </p:sp>
      <p:sp>
        <p:nvSpPr>
          <p:cNvPr id="85" name="Freeform 429"/>
          <p:cNvSpPr>
            <a:spLocks noChangeAspect="1"/>
          </p:cNvSpPr>
          <p:nvPr/>
        </p:nvSpPr>
        <p:spPr bwMode="gray">
          <a:xfrm>
            <a:off x="3095230" y="2497783"/>
            <a:ext cx="481947" cy="463451"/>
          </a:xfrm>
          <a:custGeom>
            <a:avLst/>
            <a:gdLst>
              <a:gd name="T0" fmla="*/ 0 w 2791041"/>
              <a:gd name="T1" fmla="*/ 0 h 2367186"/>
              <a:gd name="T2" fmla="*/ 0 w 2791041"/>
              <a:gd name="T3" fmla="*/ 0 h 2367186"/>
              <a:gd name="T4" fmla="*/ 0 w 2791041"/>
              <a:gd name="T5" fmla="*/ 0 h 2367186"/>
              <a:gd name="T6" fmla="*/ 0 w 2791041"/>
              <a:gd name="T7" fmla="*/ 0 h 2367186"/>
              <a:gd name="T8" fmla="*/ 0 w 2791041"/>
              <a:gd name="T9" fmla="*/ 0 h 2367186"/>
              <a:gd name="T10" fmla="*/ 0 w 2791041"/>
              <a:gd name="T11" fmla="*/ 0 h 2367186"/>
              <a:gd name="T12" fmla="*/ 0 w 2791041"/>
              <a:gd name="T13" fmla="*/ 0 h 2367186"/>
              <a:gd name="T14" fmla="*/ 0 w 2791041"/>
              <a:gd name="T15" fmla="*/ 0 h 2367186"/>
              <a:gd name="T16" fmla="*/ 0 w 2791041"/>
              <a:gd name="T17" fmla="*/ 0 h 2367186"/>
              <a:gd name="T18" fmla="*/ 0 w 2791041"/>
              <a:gd name="T19" fmla="*/ 0 h 2367186"/>
              <a:gd name="T20" fmla="*/ 0 w 2791041"/>
              <a:gd name="T21" fmla="*/ 0 h 2367186"/>
              <a:gd name="T22" fmla="*/ 0 w 2791041"/>
              <a:gd name="T23" fmla="*/ 0 h 2367186"/>
              <a:gd name="T24" fmla="*/ 0 w 2791041"/>
              <a:gd name="T25" fmla="*/ 0 h 2367186"/>
              <a:gd name="T26" fmla="*/ 0 w 2791041"/>
              <a:gd name="T27" fmla="*/ 0 h 2367186"/>
              <a:gd name="T28" fmla="*/ 0 w 2791041"/>
              <a:gd name="T29" fmla="*/ 0 h 2367186"/>
              <a:gd name="T30" fmla="*/ 0 w 2791041"/>
              <a:gd name="T31" fmla="*/ 0 h 2367186"/>
              <a:gd name="T32" fmla="*/ 0 w 2791041"/>
              <a:gd name="T33" fmla="*/ 0 h 2367186"/>
              <a:gd name="T34" fmla="*/ 0 w 2791041"/>
              <a:gd name="T35" fmla="*/ 0 h 2367186"/>
              <a:gd name="T36" fmla="*/ 0 w 2791041"/>
              <a:gd name="T37" fmla="*/ 0 h 2367186"/>
              <a:gd name="T38" fmla="*/ 0 w 2791041"/>
              <a:gd name="T39" fmla="*/ 0 h 2367186"/>
              <a:gd name="T40" fmla="*/ 0 w 2791041"/>
              <a:gd name="T41" fmla="*/ 0 h 2367186"/>
              <a:gd name="T42" fmla="*/ 0 w 2791041"/>
              <a:gd name="T43" fmla="*/ 0 h 2367186"/>
              <a:gd name="T44" fmla="*/ 0 w 2791041"/>
              <a:gd name="T45" fmla="*/ 0 h 2367186"/>
              <a:gd name="T46" fmla="*/ 0 w 2791041"/>
              <a:gd name="T47" fmla="*/ 0 h 2367186"/>
              <a:gd name="T48" fmla="*/ 0 w 2791041"/>
              <a:gd name="T49" fmla="*/ 0 h 2367186"/>
              <a:gd name="T50" fmla="*/ 0 w 2791041"/>
              <a:gd name="T51" fmla="*/ 0 h 2367186"/>
              <a:gd name="T52" fmla="*/ 0 w 2791041"/>
              <a:gd name="T53" fmla="*/ 0 h 2367186"/>
              <a:gd name="T54" fmla="*/ 0 w 2791041"/>
              <a:gd name="T55" fmla="*/ 0 h 2367186"/>
              <a:gd name="T56" fmla="*/ 0 w 2791041"/>
              <a:gd name="T57" fmla="*/ 0 h 2367186"/>
              <a:gd name="T58" fmla="*/ 0 w 2791041"/>
              <a:gd name="T59" fmla="*/ 0 h 2367186"/>
              <a:gd name="T60" fmla="*/ 0 w 2791041"/>
              <a:gd name="T61" fmla="*/ 0 h 2367186"/>
              <a:gd name="T62" fmla="*/ 0 w 2791041"/>
              <a:gd name="T63" fmla="*/ 0 h 2367186"/>
              <a:gd name="T64" fmla="*/ 0 w 2791041"/>
              <a:gd name="T65" fmla="*/ 0 h 2367186"/>
              <a:gd name="T66" fmla="*/ 0 w 2791041"/>
              <a:gd name="T67" fmla="*/ 0 h 2367186"/>
              <a:gd name="T68" fmla="*/ 0 w 2791041"/>
              <a:gd name="T69" fmla="*/ 0 h 2367186"/>
              <a:gd name="T70" fmla="*/ 0 w 2791041"/>
              <a:gd name="T71" fmla="*/ 0 h 2367186"/>
              <a:gd name="T72" fmla="*/ 0 w 2791041"/>
              <a:gd name="T73" fmla="*/ 0 h 2367186"/>
              <a:gd name="T74" fmla="*/ 0 w 2791041"/>
              <a:gd name="T75" fmla="*/ 0 h 2367186"/>
              <a:gd name="T76" fmla="*/ 0 w 2791041"/>
              <a:gd name="T77" fmla="*/ 0 h 2367186"/>
              <a:gd name="T78" fmla="*/ 0 w 2791041"/>
              <a:gd name="T79" fmla="*/ 0 h 2367186"/>
              <a:gd name="T80" fmla="*/ 0 w 2791041"/>
              <a:gd name="T81" fmla="*/ 0 h 2367186"/>
              <a:gd name="T82" fmla="*/ 0 w 2791041"/>
              <a:gd name="T83" fmla="*/ 0 h 2367186"/>
              <a:gd name="T84" fmla="*/ 0 w 2791041"/>
              <a:gd name="T85" fmla="*/ 0 h 2367186"/>
              <a:gd name="T86" fmla="*/ 0 w 2791041"/>
              <a:gd name="T87" fmla="*/ 0 h 2367186"/>
              <a:gd name="T88" fmla="*/ 0 w 2791041"/>
              <a:gd name="T89" fmla="*/ 0 h 2367186"/>
              <a:gd name="T90" fmla="*/ 0 w 2791041"/>
              <a:gd name="T91" fmla="*/ 0 h 2367186"/>
              <a:gd name="T92" fmla="*/ 0 w 2791041"/>
              <a:gd name="T93" fmla="*/ 0 h 2367186"/>
              <a:gd name="T94" fmla="*/ 0 w 2791041"/>
              <a:gd name="T95" fmla="*/ 0 h 2367186"/>
              <a:gd name="T96" fmla="*/ 0 w 2791041"/>
              <a:gd name="T97" fmla="*/ 0 h 2367186"/>
              <a:gd name="T98" fmla="*/ 0 w 2791041"/>
              <a:gd name="T99" fmla="*/ 0 h 2367186"/>
              <a:gd name="T100" fmla="*/ 0 w 2791041"/>
              <a:gd name="T101" fmla="*/ 0 h 2367186"/>
              <a:gd name="T102" fmla="*/ 0 w 2791041"/>
              <a:gd name="T103" fmla="*/ 0 h 2367186"/>
              <a:gd name="T104" fmla="*/ 0 w 2791041"/>
              <a:gd name="T105" fmla="*/ 0 h 2367186"/>
              <a:gd name="T106" fmla="*/ 0 w 2791041"/>
              <a:gd name="T107" fmla="*/ 0 h 2367186"/>
              <a:gd name="T108" fmla="*/ 0 w 2791041"/>
              <a:gd name="T109" fmla="*/ 0 h 236718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w 2791041"/>
              <a:gd name="T166" fmla="*/ 0 h 2367186"/>
              <a:gd name="T167" fmla="*/ 2791041 w 2791041"/>
              <a:gd name="T168" fmla="*/ 2367186 h 2367186"/>
            </a:gdLst>
            <a:ahLst/>
            <a:cxnLst>
              <a:cxn ang="T110">
                <a:pos x="T0" y="T1"/>
              </a:cxn>
              <a:cxn ang="T111">
                <a:pos x="T2" y="T3"/>
              </a:cxn>
              <a:cxn ang="T112">
                <a:pos x="T4" y="T5"/>
              </a:cxn>
              <a:cxn ang="T113">
                <a:pos x="T6" y="T7"/>
              </a:cxn>
              <a:cxn ang="T114">
                <a:pos x="T8" y="T9"/>
              </a:cxn>
              <a:cxn ang="T115">
                <a:pos x="T10" y="T11"/>
              </a:cxn>
              <a:cxn ang="T116">
                <a:pos x="T12" y="T13"/>
              </a:cxn>
              <a:cxn ang="T117">
                <a:pos x="T14" y="T15"/>
              </a:cxn>
              <a:cxn ang="T118">
                <a:pos x="T16" y="T17"/>
              </a:cxn>
              <a:cxn ang="T119">
                <a:pos x="T18" y="T19"/>
              </a:cxn>
              <a:cxn ang="T120">
                <a:pos x="T20" y="T21"/>
              </a:cxn>
              <a:cxn ang="T121">
                <a:pos x="T22" y="T23"/>
              </a:cxn>
              <a:cxn ang="T122">
                <a:pos x="T24" y="T25"/>
              </a:cxn>
              <a:cxn ang="T123">
                <a:pos x="T26" y="T27"/>
              </a:cxn>
              <a:cxn ang="T124">
                <a:pos x="T28" y="T29"/>
              </a:cxn>
              <a:cxn ang="T125">
                <a:pos x="T30" y="T31"/>
              </a:cxn>
              <a:cxn ang="T126">
                <a:pos x="T32" y="T33"/>
              </a:cxn>
              <a:cxn ang="T127">
                <a:pos x="T34" y="T35"/>
              </a:cxn>
              <a:cxn ang="T128">
                <a:pos x="T36" y="T37"/>
              </a:cxn>
              <a:cxn ang="T129">
                <a:pos x="T38" y="T39"/>
              </a:cxn>
              <a:cxn ang="T130">
                <a:pos x="T40" y="T41"/>
              </a:cxn>
              <a:cxn ang="T131">
                <a:pos x="T42" y="T43"/>
              </a:cxn>
              <a:cxn ang="T132">
                <a:pos x="T44" y="T45"/>
              </a:cxn>
              <a:cxn ang="T133">
                <a:pos x="T46" y="T47"/>
              </a:cxn>
              <a:cxn ang="T134">
                <a:pos x="T48" y="T49"/>
              </a:cxn>
              <a:cxn ang="T135">
                <a:pos x="T50" y="T51"/>
              </a:cxn>
              <a:cxn ang="T136">
                <a:pos x="T52" y="T53"/>
              </a:cxn>
              <a:cxn ang="T137">
                <a:pos x="T54" y="T55"/>
              </a:cxn>
              <a:cxn ang="T138">
                <a:pos x="T56" y="T57"/>
              </a:cxn>
              <a:cxn ang="T139">
                <a:pos x="T58" y="T59"/>
              </a:cxn>
              <a:cxn ang="T140">
                <a:pos x="T60" y="T61"/>
              </a:cxn>
              <a:cxn ang="T141">
                <a:pos x="T62" y="T63"/>
              </a:cxn>
              <a:cxn ang="T142">
                <a:pos x="T64" y="T65"/>
              </a:cxn>
              <a:cxn ang="T143">
                <a:pos x="T66" y="T67"/>
              </a:cxn>
              <a:cxn ang="T144">
                <a:pos x="T68" y="T69"/>
              </a:cxn>
              <a:cxn ang="T145">
                <a:pos x="T70" y="T71"/>
              </a:cxn>
              <a:cxn ang="T146">
                <a:pos x="T72" y="T73"/>
              </a:cxn>
              <a:cxn ang="T147">
                <a:pos x="T74" y="T75"/>
              </a:cxn>
              <a:cxn ang="T148">
                <a:pos x="T76" y="T77"/>
              </a:cxn>
              <a:cxn ang="T149">
                <a:pos x="T78" y="T79"/>
              </a:cxn>
              <a:cxn ang="T150">
                <a:pos x="T80" y="T81"/>
              </a:cxn>
              <a:cxn ang="T151">
                <a:pos x="T82" y="T83"/>
              </a:cxn>
              <a:cxn ang="T152">
                <a:pos x="T84" y="T85"/>
              </a:cxn>
              <a:cxn ang="T153">
                <a:pos x="T86" y="T87"/>
              </a:cxn>
              <a:cxn ang="T154">
                <a:pos x="T88" y="T89"/>
              </a:cxn>
              <a:cxn ang="T155">
                <a:pos x="T90" y="T91"/>
              </a:cxn>
              <a:cxn ang="T156">
                <a:pos x="T92" y="T93"/>
              </a:cxn>
              <a:cxn ang="T157">
                <a:pos x="T94" y="T95"/>
              </a:cxn>
              <a:cxn ang="T158">
                <a:pos x="T96" y="T97"/>
              </a:cxn>
              <a:cxn ang="T159">
                <a:pos x="T98" y="T99"/>
              </a:cxn>
              <a:cxn ang="T160">
                <a:pos x="T100" y="T101"/>
              </a:cxn>
              <a:cxn ang="T161">
                <a:pos x="T102" y="T103"/>
              </a:cxn>
              <a:cxn ang="T162">
                <a:pos x="T104" y="T105"/>
              </a:cxn>
              <a:cxn ang="T163">
                <a:pos x="T106" y="T107"/>
              </a:cxn>
              <a:cxn ang="T164">
                <a:pos x="T108" y="T109"/>
              </a:cxn>
            </a:cxnLst>
            <a:rect l="T165" t="T166" r="T167" b="T168"/>
            <a:pathLst>
              <a:path w="2791041" h="2367186">
                <a:moveTo>
                  <a:pt x="1173855" y="0"/>
                </a:moveTo>
                <a:lnTo>
                  <a:pt x="1199029" y="35944"/>
                </a:lnTo>
                <a:lnTo>
                  <a:pt x="1209818" y="75481"/>
                </a:lnTo>
                <a:lnTo>
                  <a:pt x="1206222" y="122207"/>
                </a:lnTo>
                <a:lnTo>
                  <a:pt x="1188240" y="165339"/>
                </a:lnTo>
                <a:lnTo>
                  <a:pt x="1209818" y="237226"/>
                </a:lnTo>
                <a:lnTo>
                  <a:pt x="1220607" y="283952"/>
                </a:lnTo>
                <a:lnTo>
                  <a:pt x="1252974" y="334273"/>
                </a:lnTo>
                <a:lnTo>
                  <a:pt x="1252974" y="409754"/>
                </a:lnTo>
                <a:lnTo>
                  <a:pt x="1270956" y="456480"/>
                </a:lnTo>
                <a:lnTo>
                  <a:pt x="1306919" y="488829"/>
                </a:lnTo>
                <a:lnTo>
                  <a:pt x="1346479" y="485234"/>
                </a:lnTo>
                <a:lnTo>
                  <a:pt x="1382442" y="485234"/>
                </a:lnTo>
                <a:lnTo>
                  <a:pt x="1400424" y="510395"/>
                </a:lnTo>
                <a:lnTo>
                  <a:pt x="1414809" y="528366"/>
                </a:lnTo>
                <a:lnTo>
                  <a:pt x="1443580" y="496017"/>
                </a:lnTo>
                <a:lnTo>
                  <a:pt x="1465158" y="463668"/>
                </a:lnTo>
                <a:lnTo>
                  <a:pt x="1475947" y="431320"/>
                </a:lnTo>
                <a:lnTo>
                  <a:pt x="1508314" y="380999"/>
                </a:lnTo>
                <a:lnTo>
                  <a:pt x="1522699" y="337867"/>
                </a:lnTo>
                <a:lnTo>
                  <a:pt x="1540681" y="291141"/>
                </a:lnTo>
                <a:lnTo>
                  <a:pt x="1587433" y="269575"/>
                </a:lnTo>
                <a:lnTo>
                  <a:pt x="1648571" y="273169"/>
                </a:lnTo>
                <a:lnTo>
                  <a:pt x="1716902" y="291141"/>
                </a:lnTo>
                <a:lnTo>
                  <a:pt x="1788828" y="280358"/>
                </a:lnTo>
                <a:lnTo>
                  <a:pt x="1857159" y="294735"/>
                </a:lnTo>
                <a:lnTo>
                  <a:pt x="1907507" y="334273"/>
                </a:lnTo>
                <a:lnTo>
                  <a:pt x="1975838" y="327084"/>
                </a:lnTo>
                <a:lnTo>
                  <a:pt x="2040572" y="312707"/>
                </a:lnTo>
                <a:lnTo>
                  <a:pt x="2116095" y="323490"/>
                </a:lnTo>
                <a:lnTo>
                  <a:pt x="2144866" y="355839"/>
                </a:lnTo>
                <a:lnTo>
                  <a:pt x="2126884" y="377405"/>
                </a:lnTo>
                <a:lnTo>
                  <a:pt x="2148462" y="402565"/>
                </a:lnTo>
                <a:lnTo>
                  <a:pt x="2188022" y="434914"/>
                </a:lnTo>
                <a:lnTo>
                  <a:pt x="2202407" y="485234"/>
                </a:lnTo>
                <a:lnTo>
                  <a:pt x="2202407" y="521178"/>
                </a:lnTo>
                <a:lnTo>
                  <a:pt x="2166444" y="510395"/>
                </a:lnTo>
                <a:lnTo>
                  <a:pt x="2105306" y="521178"/>
                </a:lnTo>
                <a:lnTo>
                  <a:pt x="2072939" y="549932"/>
                </a:lnTo>
                <a:lnTo>
                  <a:pt x="2080132" y="585876"/>
                </a:lnTo>
                <a:lnTo>
                  <a:pt x="2112498" y="585876"/>
                </a:lnTo>
                <a:lnTo>
                  <a:pt x="2126884" y="542744"/>
                </a:lnTo>
                <a:lnTo>
                  <a:pt x="2159251" y="549932"/>
                </a:lnTo>
                <a:lnTo>
                  <a:pt x="2177233" y="564310"/>
                </a:lnTo>
                <a:lnTo>
                  <a:pt x="2159251" y="603847"/>
                </a:lnTo>
                <a:lnTo>
                  <a:pt x="2148462" y="646979"/>
                </a:lnTo>
                <a:lnTo>
                  <a:pt x="2144866" y="679328"/>
                </a:lnTo>
                <a:lnTo>
                  <a:pt x="2188022" y="636196"/>
                </a:lnTo>
                <a:lnTo>
                  <a:pt x="2220388" y="596659"/>
                </a:lnTo>
                <a:lnTo>
                  <a:pt x="2245563" y="571498"/>
                </a:lnTo>
                <a:lnTo>
                  <a:pt x="2276251" y="563831"/>
                </a:lnTo>
                <a:lnTo>
                  <a:pt x="2280361" y="555953"/>
                </a:lnTo>
                <a:lnTo>
                  <a:pt x="2283749" y="561957"/>
                </a:lnTo>
                <a:lnTo>
                  <a:pt x="2288719" y="560715"/>
                </a:lnTo>
                <a:lnTo>
                  <a:pt x="2288461" y="570305"/>
                </a:lnTo>
                <a:lnTo>
                  <a:pt x="2312728" y="613301"/>
                </a:lnTo>
                <a:lnTo>
                  <a:pt x="2337903" y="656312"/>
                </a:lnTo>
                <a:lnTo>
                  <a:pt x="2370270" y="688570"/>
                </a:lnTo>
                <a:lnTo>
                  <a:pt x="2388251" y="731581"/>
                </a:lnTo>
                <a:lnTo>
                  <a:pt x="2409829" y="774591"/>
                </a:lnTo>
                <a:lnTo>
                  <a:pt x="2445793" y="817602"/>
                </a:lnTo>
                <a:lnTo>
                  <a:pt x="2485352" y="857029"/>
                </a:lnTo>
                <a:lnTo>
                  <a:pt x="2510527" y="900039"/>
                </a:lnTo>
                <a:lnTo>
                  <a:pt x="2553683" y="953803"/>
                </a:lnTo>
                <a:lnTo>
                  <a:pt x="2553683" y="996814"/>
                </a:lnTo>
                <a:lnTo>
                  <a:pt x="2593242" y="1039824"/>
                </a:lnTo>
                <a:lnTo>
                  <a:pt x="2639995" y="1039824"/>
                </a:lnTo>
                <a:lnTo>
                  <a:pt x="2737096" y="1043409"/>
                </a:lnTo>
                <a:lnTo>
                  <a:pt x="2769463" y="1072082"/>
                </a:lnTo>
                <a:lnTo>
                  <a:pt x="2791041" y="1107925"/>
                </a:lnTo>
                <a:lnTo>
                  <a:pt x="2788054" y="1108829"/>
                </a:lnTo>
                <a:cubicBezTo>
                  <a:pt x="2781570" y="1126581"/>
                  <a:pt x="2785580" y="1152683"/>
                  <a:pt x="2778698" y="1169911"/>
                </a:cubicBezTo>
                <a:lnTo>
                  <a:pt x="2713870" y="1202181"/>
                </a:lnTo>
                <a:lnTo>
                  <a:pt x="2670491" y="1234325"/>
                </a:lnTo>
                <a:cubicBezTo>
                  <a:pt x="2661116" y="1248695"/>
                  <a:pt x="2651106" y="1262940"/>
                  <a:pt x="2641731" y="1277310"/>
                </a:cubicBezTo>
                <a:lnTo>
                  <a:pt x="2583894" y="1327354"/>
                </a:lnTo>
                <a:cubicBezTo>
                  <a:pt x="2587390" y="1345254"/>
                  <a:pt x="2590885" y="1363154"/>
                  <a:pt x="2594699" y="1381054"/>
                </a:cubicBezTo>
                <a:cubicBezTo>
                  <a:pt x="2592156" y="1406013"/>
                  <a:pt x="2589932" y="1431098"/>
                  <a:pt x="2587390" y="1456183"/>
                </a:cubicBezTo>
                <a:cubicBezTo>
                  <a:pt x="2583894" y="1481142"/>
                  <a:pt x="2580398" y="1506353"/>
                  <a:pt x="2576744" y="1531312"/>
                </a:cubicBezTo>
                <a:cubicBezTo>
                  <a:pt x="2573089" y="1545556"/>
                  <a:pt x="2569276" y="1559927"/>
                  <a:pt x="2565621" y="1574297"/>
                </a:cubicBezTo>
                <a:cubicBezTo>
                  <a:pt x="2554975" y="1599382"/>
                  <a:pt x="2544170" y="1624341"/>
                  <a:pt x="2533524" y="1649426"/>
                </a:cubicBezTo>
                <a:lnTo>
                  <a:pt x="2446768" y="1670981"/>
                </a:lnTo>
                <a:lnTo>
                  <a:pt x="2392426" y="1620937"/>
                </a:lnTo>
                <a:lnTo>
                  <a:pt x="2305988" y="1599382"/>
                </a:lnTo>
                <a:lnTo>
                  <a:pt x="2248309" y="1534968"/>
                </a:lnTo>
                <a:lnTo>
                  <a:pt x="2186976" y="1438283"/>
                </a:lnTo>
                <a:lnTo>
                  <a:pt x="2118333" y="1402609"/>
                </a:lnTo>
                <a:lnTo>
                  <a:pt x="1948634" y="1320169"/>
                </a:lnTo>
                <a:lnTo>
                  <a:pt x="1880151" y="1277310"/>
                </a:lnTo>
                <a:cubicBezTo>
                  <a:pt x="1872841" y="1261679"/>
                  <a:pt x="1865850" y="1246300"/>
                  <a:pt x="1858382" y="1230796"/>
                </a:cubicBezTo>
                <a:lnTo>
                  <a:pt x="1818976" y="1219955"/>
                </a:lnTo>
                <a:lnTo>
                  <a:pt x="1775757" y="1223610"/>
                </a:lnTo>
                <a:cubicBezTo>
                  <a:pt x="1771626" y="1241384"/>
                  <a:pt x="1768448" y="1259410"/>
                  <a:pt x="1764793" y="1277310"/>
                </a:cubicBezTo>
                <a:cubicBezTo>
                  <a:pt x="1771626" y="1302269"/>
                  <a:pt x="1779253" y="1327354"/>
                  <a:pt x="1786562" y="1352313"/>
                </a:cubicBezTo>
                <a:cubicBezTo>
                  <a:pt x="1792441" y="1363154"/>
                  <a:pt x="1798638" y="1373869"/>
                  <a:pt x="1804517" y="1384583"/>
                </a:cubicBezTo>
                <a:cubicBezTo>
                  <a:pt x="1816593" y="1402483"/>
                  <a:pt x="1828510" y="1420509"/>
                  <a:pt x="1840586" y="1438283"/>
                </a:cubicBezTo>
                <a:cubicBezTo>
                  <a:pt x="1847736" y="1456183"/>
                  <a:pt x="1854728" y="1474083"/>
                  <a:pt x="1862354" y="1492109"/>
                </a:cubicBezTo>
                <a:cubicBezTo>
                  <a:pt x="1853774" y="1513286"/>
                  <a:pt x="1845512" y="1534841"/>
                  <a:pt x="1836931" y="1556397"/>
                </a:cubicBezTo>
                <a:cubicBezTo>
                  <a:pt x="1827398" y="1567112"/>
                  <a:pt x="1817864" y="1577952"/>
                  <a:pt x="1808171" y="1588793"/>
                </a:cubicBezTo>
                <a:cubicBezTo>
                  <a:pt x="1804517" y="1602785"/>
                  <a:pt x="1800862" y="1617282"/>
                  <a:pt x="1797367" y="1631526"/>
                </a:cubicBezTo>
                <a:lnTo>
                  <a:pt x="1753830" y="1674637"/>
                </a:lnTo>
                <a:cubicBezTo>
                  <a:pt x="1745249" y="1684722"/>
                  <a:pt x="1737146" y="1694932"/>
                  <a:pt x="1728724" y="1704890"/>
                </a:cubicBezTo>
                <a:lnTo>
                  <a:pt x="1685346" y="1736909"/>
                </a:lnTo>
                <a:lnTo>
                  <a:pt x="1620517" y="1765775"/>
                </a:lnTo>
                <a:lnTo>
                  <a:pt x="1566334" y="1819475"/>
                </a:lnTo>
                <a:cubicBezTo>
                  <a:pt x="1552987" y="1842291"/>
                  <a:pt x="1539958" y="1864981"/>
                  <a:pt x="1526611" y="1887419"/>
                </a:cubicBezTo>
                <a:cubicBezTo>
                  <a:pt x="1521844" y="1911369"/>
                  <a:pt x="1517077" y="1935194"/>
                  <a:pt x="1512151" y="1959018"/>
                </a:cubicBezTo>
                <a:lnTo>
                  <a:pt x="1566334" y="1984103"/>
                </a:lnTo>
                <a:lnTo>
                  <a:pt x="1678037" y="1984103"/>
                </a:lnTo>
                <a:lnTo>
                  <a:pt x="1739529" y="1994818"/>
                </a:lnTo>
                <a:lnTo>
                  <a:pt x="1815163" y="2005533"/>
                </a:lnTo>
                <a:lnTo>
                  <a:pt x="1858382" y="2059233"/>
                </a:lnTo>
                <a:lnTo>
                  <a:pt x="1858382" y="2112932"/>
                </a:lnTo>
                <a:lnTo>
                  <a:pt x="1815163" y="2141421"/>
                </a:lnTo>
                <a:lnTo>
                  <a:pt x="1764793" y="2166632"/>
                </a:lnTo>
                <a:lnTo>
                  <a:pt x="1710928" y="2205961"/>
                </a:lnTo>
                <a:lnTo>
                  <a:pt x="1667391" y="2216802"/>
                </a:lnTo>
                <a:lnTo>
                  <a:pt x="1602403" y="2252476"/>
                </a:lnTo>
                <a:lnTo>
                  <a:pt x="1533761" y="2295461"/>
                </a:lnTo>
                <a:lnTo>
                  <a:pt x="1472428" y="2338571"/>
                </a:lnTo>
                <a:lnTo>
                  <a:pt x="1436517" y="2367186"/>
                </a:lnTo>
                <a:lnTo>
                  <a:pt x="1349761" y="2338571"/>
                </a:lnTo>
                <a:lnTo>
                  <a:pt x="1277782" y="2291931"/>
                </a:lnTo>
                <a:lnTo>
                  <a:pt x="1230590" y="2302646"/>
                </a:lnTo>
                <a:cubicBezTo>
                  <a:pt x="1220262" y="2313864"/>
                  <a:pt x="1209775" y="2324957"/>
                  <a:pt x="1199447" y="2336176"/>
                </a:cubicBezTo>
                <a:lnTo>
                  <a:pt x="1201795" y="2330704"/>
                </a:lnTo>
                <a:cubicBezTo>
                  <a:pt x="1196732" y="2337233"/>
                  <a:pt x="1193476" y="2341646"/>
                  <a:pt x="1193003" y="2343311"/>
                </a:cubicBezTo>
                <a:cubicBezTo>
                  <a:pt x="1193003" y="2329767"/>
                  <a:pt x="1200149" y="2320986"/>
                  <a:pt x="1200149" y="2307432"/>
                </a:cubicBezTo>
                <a:lnTo>
                  <a:pt x="1165510" y="2287111"/>
                </a:lnTo>
                <a:lnTo>
                  <a:pt x="1146276" y="2246479"/>
                </a:lnTo>
                <a:lnTo>
                  <a:pt x="1102048" y="2244106"/>
                </a:lnTo>
                <a:lnTo>
                  <a:pt x="1097021" y="2247277"/>
                </a:lnTo>
                <a:cubicBezTo>
                  <a:pt x="1095815" y="2232803"/>
                  <a:pt x="1070803" y="2230412"/>
                  <a:pt x="1069596" y="2215938"/>
                </a:cubicBezTo>
                <a:lnTo>
                  <a:pt x="1026702" y="2190707"/>
                </a:lnTo>
                <a:cubicBezTo>
                  <a:pt x="1019462" y="2181145"/>
                  <a:pt x="1012441" y="2171451"/>
                  <a:pt x="1005201" y="2161890"/>
                </a:cubicBezTo>
                <a:lnTo>
                  <a:pt x="962307" y="2125903"/>
                </a:lnTo>
                <a:cubicBezTo>
                  <a:pt x="952763" y="2101867"/>
                  <a:pt x="943109" y="2077964"/>
                  <a:pt x="933565" y="2053928"/>
                </a:cubicBezTo>
                <a:cubicBezTo>
                  <a:pt x="930055" y="2032282"/>
                  <a:pt x="926435" y="2010637"/>
                  <a:pt x="922924" y="1989124"/>
                </a:cubicBezTo>
                <a:lnTo>
                  <a:pt x="879921" y="1963893"/>
                </a:lnTo>
                <a:lnTo>
                  <a:pt x="812125" y="1945833"/>
                </a:lnTo>
                <a:lnTo>
                  <a:pt x="747620" y="1924187"/>
                </a:lnTo>
                <a:lnTo>
                  <a:pt x="708347" y="1882755"/>
                </a:lnTo>
                <a:lnTo>
                  <a:pt x="686845" y="1846768"/>
                </a:lnTo>
                <a:lnTo>
                  <a:pt x="622450" y="1835879"/>
                </a:lnTo>
                <a:lnTo>
                  <a:pt x="586687" y="1839597"/>
                </a:lnTo>
                <a:lnTo>
                  <a:pt x="547304" y="1846768"/>
                </a:lnTo>
                <a:lnTo>
                  <a:pt x="493660" y="1814366"/>
                </a:lnTo>
                <a:lnTo>
                  <a:pt x="457897" y="1781831"/>
                </a:lnTo>
                <a:lnTo>
                  <a:pt x="436505" y="1742258"/>
                </a:lnTo>
                <a:lnTo>
                  <a:pt x="382860" y="1720745"/>
                </a:lnTo>
                <a:lnTo>
                  <a:pt x="354118" y="1673869"/>
                </a:lnTo>
                <a:lnTo>
                  <a:pt x="318465" y="1630578"/>
                </a:lnTo>
                <a:cubicBezTo>
                  <a:pt x="314845" y="1616369"/>
                  <a:pt x="311225" y="1601894"/>
                  <a:pt x="307605" y="1587552"/>
                </a:cubicBezTo>
                <a:lnTo>
                  <a:pt x="264711" y="1547847"/>
                </a:lnTo>
                <a:lnTo>
                  <a:pt x="236079" y="1511859"/>
                </a:lnTo>
                <a:lnTo>
                  <a:pt x="193185" y="1479324"/>
                </a:lnTo>
                <a:lnTo>
                  <a:pt x="160933" y="1457812"/>
                </a:lnTo>
                <a:lnTo>
                  <a:pt x="114419" y="1407217"/>
                </a:lnTo>
                <a:cubicBezTo>
                  <a:pt x="110909" y="1392875"/>
                  <a:pt x="107289" y="1378533"/>
                  <a:pt x="103778" y="1364191"/>
                </a:cubicBezTo>
                <a:lnTo>
                  <a:pt x="75146" y="1342546"/>
                </a:lnTo>
                <a:lnTo>
                  <a:pt x="28742" y="1295669"/>
                </a:lnTo>
                <a:cubicBezTo>
                  <a:pt x="22708" y="1284913"/>
                  <a:pt x="16784" y="1274023"/>
                  <a:pt x="10751" y="1263267"/>
                </a:cubicBezTo>
                <a:cubicBezTo>
                  <a:pt x="7131" y="1250120"/>
                  <a:pt x="3510" y="1236974"/>
                  <a:pt x="0" y="1223694"/>
                </a:cubicBezTo>
                <a:cubicBezTo>
                  <a:pt x="2304" y="1210016"/>
                  <a:pt x="4827" y="1196073"/>
                  <a:pt x="7131" y="1182129"/>
                </a:cubicBezTo>
                <a:cubicBezTo>
                  <a:pt x="10751" y="1166725"/>
                  <a:pt x="14371" y="1150923"/>
                  <a:pt x="17881" y="1135518"/>
                </a:cubicBezTo>
                <a:cubicBezTo>
                  <a:pt x="22599" y="1122106"/>
                  <a:pt x="27535" y="1109092"/>
                  <a:pt x="32252" y="1095813"/>
                </a:cubicBezTo>
                <a:lnTo>
                  <a:pt x="60775" y="1059825"/>
                </a:lnTo>
                <a:cubicBezTo>
                  <a:pt x="65492" y="1048936"/>
                  <a:pt x="70319" y="1038180"/>
                  <a:pt x="75146" y="1027291"/>
                </a:cubicBezTo>
                <a:lnTo>
                  <a:pt x="114419" y="995021"/>
                </a:lnTo>
                <a:lnTo>
                  <a:pt x="114419" y="919328"/>
                </a:lnTo>
                <a:lnTo>
                  <a:pt x="121980" y="923509"/>
                </a:lnTo>
                <a:lnTo>
                  <a:pt x="120128" y="920148"/>
                </a:lnTo>
                <a:lnTo>
                  <a:pt x="152495" y="887799"/>
                </a:lnTo>
                <a:lnTo>
                  <a:pt x="192055" y="877016"/>
                </a:lnTo>
                <a:lnTo>
                  <a:pt x="246000" y="855450"/>
                </a:lnTo>
                <a:lnTo>
                  <a:pt x="267578" y="808724"/>
                </a:lnTo>
                <a:lnTo>
                  <a:pt x="310734" y="747620"/>
                </a:lnTo>
                <a:lnTo>
                  <a:pt x="299945" y="711677"/>
                </a:lnTo>
                <a:lnTo>
                  <a:pt x="343101" y="693705"/>
                </a:lnTo>
                <a:lnTo>
                  <a:pt x="375468" y="679328"/>
                </a:lnTo>
                <a:lnTo>
                  <a:pt x="407835" y="657762"/>
                </a:lnTo>
                <a:lnTo>
                  <a:pt x="433009" y="629008"/>
                </a:lnTo>
                <a:lnTo>
                  <a:pt x="422220" y="593064"/>
                </a:lnTo>
                <a:lnTo>
                  <a:pt x="386257" y="560715"/>
                </a:lnTo>
                <a:lnTo>
                  <a:pt x="375468" y="510395"/>
                </a:lnTo>
                <a:lnTo>
                  <a:pt x="379064" y="474451"/>
                </a:lnTo>
                <a:lnTo>
                  <a:pt x="379064" y="442103"/>
                </a:lnTo>
                <a:lnTo>
                  <a:pt x="411431" y="409754"/>
                </a:lnTo>
                <a:lnTo>
                  <a:pt x="443798" y="391782"/>
                </a:lnTo>
                <a:lnTo>
                  <a:pt x="476165" y="370216"/>
                </a:lnTo>
                <a:lnTo>
                  <a:pt x="486954" y="327084"/>
                </a:lnTo>
                <a:lnTo>
                  <a:pt x="519321" y="305518"/>
                </a:lnTo>
                <a:lnTo>
                  <a:pt x="548092" y="280358"/>
                </a:lnTo>
                <a:lnTo>
                  <a:pt x="584055" y="280358"/>
                </a:lnTo>
                <a:lnTo>
                  <a:pt x="627211" y="294735"/>
                </a:lnTo>
                <a:lnTo>
                  <a:pt x="666771" y="273169"/>
                </a:lnTo>
                <a:lnTo>
                  <a:pt x="720716" y="258792"/>
                </a:lnTo>
                <a:lnTo>
                  <a:pt x="763872" y="248009"/>
                </a:lnTo>
                <a:lnTo>
                  <a:pt x="799836" y="280358"/>
                </a:lnTo>
                <a:lnTo>
                  <a:pt x="807028" y="312707"/>
                </a:lnTo>
                <a:lnTo>
                  <a:pt x="785450" y="345056"/>
                </a:lnTo>
                <a:lnTo>
                  <a:pt x="807028" y="366622"/>
                </a:lnTo>
                <a:lnTo>
                  <a:pt x="839395" y="380999"/>
                </a:lnTo>
                <a:lnTo>
                  <a:pt x="864570" y="377405"/>
                </a:lnTo>
                <a:lnTo>
                  <a:pt x="907726" y="391782"/>
                </a:lnTo>
                <a:lnTo>
                  <a:pt x="947285" y="380999"/>
                </a:lnTo>
                <a:lnTo>
                  <a:pt x="994038" y="355839"/>
                </a:lnTo>
                <a:lnTo>
                  <a:pt x="1026405" y="316301"/>
                </a:lnTo>
                <a:lnTo>
                  <a:pt x="1044386" y="283952"/>
                </a:lnTo>
                <a:lnTo>
                  <a:pt x="1012020" y="269575"/>
                </a:lnTo>
                <a:lnTo>
                  <a:pt x="994038" y="258792"/>
                </a:lnTo>
                <a:lnTo>
                  <a:pt x="968863" y="230037"/>
                </a:lnTo>
                <a:lnTo>
                  <a:pt x="990442" y="197688"/>
                </a:lnTo>
                <a:lnTo>
                  <a:pt x="994038" y="150962"/>
                </a:lnTo>
                <a:lnTo>
                  <a:pt x="1015616" y="107830"/>
                </a:lnTo>
                <a:lnTo>
                  <a:pt x="1015616" y="64698"/>
                </a:lnTo>
                <a:lnTo>
                  <a:pt x="1015616" y="25161"/>
                </a:lnTo>
                <a:lnTo>
                  <a:pt x="1033598" y="35944"/>
                </a:lnTo>
                <a:lnTo>
                  <a:pt x="1058772" y="10783"/>
                </a:lnTo>
                <a:lnTo>
                  <a:pt x="1080350" y="3595"/>
                </a:lnTo>
                <a:lnTo>
                  <a:pt x="1098332" y="21566"/>
                </a:lnTo>
                <a:lnTo>
                  <a:pt x="1141488" y="21566"/>
                </a:lnTo>
                <a:close/>
              </a:path>
            </a:pathLst>
          </a:custGeom>
          <a:solidFill>
            <a:srgbClr val="008E8B"/>
          </a:solidFill>
          <a:ln w="3175" cap="flat" cmpd="sng">
            <a:noFill/>
            <a:prstDash val="solid"/>
            <a:round/>
            <a:headEnd type="none" w="med" len="med"/>
            <a:tailEnd type="none" w="sm" len="sm"/>
          </a:ln>
        </p:spPr>
        <p:txBody>
          <a:bodyPr wrap="none" lIns="32632" tIns="32632" rIns="32632" bIns="32632"/>
          <a:lstStyle/>
          <a:p>
            <a:pPr defTabSz="891045"/>
            <a:endParaRPr lang="en-US" sz="1700" dirty="0">
              <a:solidFill>
                <a:srgbClr val="003149"/>
              </a:solidFill>
              <a:cs typeface="Arial" panose="020B0604020202020204" pitchFamily="34" charset="0"/>
            </a:endParaRPr>
          </a:p>
        </p:txBody>
      </p:sp>
      <p:sp>
        <p:nvSpPr>
          <p:cNvPr id="86" name="Freeform 402"/>
          <p:cNvSpPr>
            <a:spLocks noChangeAspect="1"/>
          </p:cNvSpPr>
          <p:nvPr/>
        </p:nvSpPr>
        <p:spPr bwMode="gray">
          <a:xfrm>
            <a:off x="3487587" y="2476246"/>
            <a:ext cx="543078" cy="396015"/>
          </a:xfrm>
          <a:custGeom>
            <a:avLst/>
            <a:gdLst>
              <a:gd name="T0" fmla="*/ 0 w 3147746"/>
              <a:gd name="T1" fmla="*/ 0 h 2020433"/>
              <a:gd name="T2" fmla="*/ 0 w 3147746"/>
              <a:gd name="T3" fmla="*/ 0 h 2020433"/>
              <a:gd name="T4" fmla="*/ 0 w 3147746"/>
              <a:gd name="T5" fmla="*/ 0 h 2020433"/>
              <a:gd name="T6" fmla="*/ 0 w 3147746"/>
              <a:gd name="T7" fmla="*/ 0 h 2020433"/>
              <a:gd name="T8" fmla="*/ 0 w 3147746"/>
              <a:gd name="T9" fmla="*/ 0 h 2020433"/>
              <a:gd name="T10" fmla="*/ 0 w 3147746"/>
              <a:gd name="T11" fmla="*/ 0 h 2020433"/>
              <a:gd name="T12" fmla="*/ 0 w 3147746"/>
              <a:gd name="T13" fmla="*/ 0 h 2020433"/>
              <a:gd name="T14" fmla="*/ 0 w 3147746"/>
              <a:gd name="T15" fmla="*/ 0 h 2020433"/>
              <a:gd name="T16" fmla="*/ 0 w 3147746"/>
              <a:gd name="T17" fmla="*/ 0 h 2020433"/>
              <a:gd name="T18" fmla="*/ 0 w 3147746"/>
              <a:gd name="T19" fmla="*/ 0 h 2020433"/>
              <a:gd name="T20" fmla="*/ 0 w 3147746"/>
              <a:gd name="T21" fmla="*/ 0 h 2020433"/>
              <a:gd name="T22" fmla="*/ 0 w 3147746"/>
              <a:gd name="T23" fmla="*/ 0 h 2020433"/>
              <a:gd name="T24" fmla="*/ 0 w 3147746"/>
              <a:gd name="T25" fmla="*/ 0 h 2020433"/>
              <a:gd name="T26" fmla="*/ 0 w 3147746"/>
              <a:gd name="T27" fmla="*/ 0 h 2020433"/>
              <a:gd name="T28" fmla="*/ 0 w 3147746"/>
              <a:gd name="T29" fmla="*/ 0 h 2020433"/>
              <a:gd name="T30" fmla="*/ 0 w 3147746"/>
              <a:gd name="T31" fmla="*/ 0 h 2020433"/>
              <a:gd name="T32" fmla="*/ 0 w 3147746"/>
              <a:gd name="T33" fmla="*/ 0 h 2020433"/>
              <a:gd name="T34" fmla="*/ 0 w 3147746"/>
              <a:gd name="T35" fmla="*/ 0 h 2020433"/>
              <a:gd name="T36" fmla="*/ 0 w 3147746"/>
              <a:gd name="T37" fmla="*/ 0 h 2020433"/>
              <a:gd name="T38" fmla="*/ 0 w 3147746"/>
              <a:gd name="T39" fmla="*/ 0 h 2020433"/>
              <a:gd name="T40" fmla="*/ 0 w 3147746"/>
              <a:gd name="T41" fmla="*/ 0 h 2020433"/>
              <a:gd name="T42" fmla="*/ 0 w 3147746"/>
              <a:gd name="T43" fmla="*/ 0 h 2020433"/>
              <a:gd name="T44" fmla="*/ 0 w 3147746"/>
              <a:gd name="T45" fmla="*/ 0 h 2020433"/>
              <a:gd name="T46" fmla="*/ 0 w 3147746"/>
              <a:gd name="T47" fmla="*/ 0 h 2020433"/>
              <a:gd name="T48" fmla="*/ 0 w 3147746"/>
              <a:gd name="T49" fmla="*/ 0 h 2020433"/>
              <a:gd name="T50" fmla="*/ 0 w 3147746"/>
              <a:gd name="T51" fmla="*/ 0 h 2020433"/>
              <a:gd name="T52" fmla="*/ 0 w 3147746"/>
              <a:gd name="T53" fmla="*/ 0 h 2020433"/>
              <a:gd name="T54" fmla="*/ 0 w 3147746"/>
              <a:gd name="T55" fmla="*/ 0 h 2020433"/>
              <a:gd name="T56" fmla="*/ 0 w 3147746"/>
              <a:gd name="T57" fmla="*/ 0 h 2020433"/>
              <a:gd name="T58" fmla="*/ 0 w 3147746"/>
              <a:gd name="T59" fmla="*/ 0 h 2020433"/>
              <a:gd name="T60" fmla="*/ 0 w 3147746"/>
              <a:gd name="T61" fmla="*/ 0 h 2020433"/>
              <a:gd name="T62" fmla="*/ 0 w 3147746"/>
              <a:gd name="T63" fmla="*/ 0 h 2020433"/>
              <a:gd name="T64" fmla="*/ 0 w 3147746"/>
              <a:gd name="T65" fmla="*/ 0 h 2020433"/>
              <a:gd name="T66" fmla="*/ 0 w 3147746"/>
              <a:gd name="T67" fmla="*/ 0 h 2020433"/>
              <a:gd name="T68" fmla="*/ 0 w 3147746"/>
              <a:gd name="T69" fmla="*/ 0 h 2020433"/>
              <a:gd name="T70" fmla="*/ 0 w 3147746"/>
              <a:gd name="T71" fmla="*/ 0 h 2020433"/>
              <a:gd name="T72" fmla="*/ 0 w 3147746"/>
              <a:gd name="T73" fmla="*/ 0 h 2020433"/>
              <a:gd name="T74" fmla="*/ 0 w 3147746"/>
              <a:gd name="T75" fmla="*/ 0 h 2020433"/>
              <a:gd name="T76" fmla="*/ 0 w 3147746"/>
              <a:gd name="T77" fmla="*/ 0 h 2020433"/>
              <a:gd name="T78" fmla="*/ 0 w 3147746"/>
              <a:gd name="T79" fmla="*/ 0 h 2020433"/>
              <a:gd name="T80" fmla="*/ 0 w 3147746"/>
              <a:gd name="T81" fmla="*/ 0 h 2020433"/>
              <a:gd name="T82" fmla="*/ 0 w 3147746"/>
              <a:gd name="T83" fmla="*/ 0 h 2020433"/>
              <a:gd name="T84" fmla="*/ 0 w 3147746"/>
              <a:gd name="T85" fmla="*/ 0 h 2020433"/>
              <a:gd name="T86" fmla="*/ 0 w 3147746"/>
              <a:gd name="T87" fmla="*/ 0 h 2020433"/>
              <a:gd name="T88" fmla="*/ 0 w 3147746"/>
              <a:gd name="T89" fmla="*/ 0 h 2020433"/>
              <a:gd name="T90" fmla="*/ 0 w 3147746"/>
              <a:gd name="T91" fmla="*/ 0 h 2020433"/>
              <a:gd name="T92" fmla="*/ 0 w 3147746"/>
              <a:gd name="T93" fmla="*/ 0 h 2020433"/>
              <a:gd name="T94" fmla="*/ 0 w 3147746"/>
              <a:gd name="T95" fmla="*/ 0 h 2020433"/>
              <a:gd name="T96" fmla="*/ 0 w 3147746"/>
              <a:gd name="T97" fmla="*/ 0 h 2020433"/>
              <a:gd name="T98" fmla="*/ 0 w 3147746"/>
              <a:gd name="T99" fmla="*/ 0 h 2020433"/>
              <a:gd name="T100" fmla="*/ 0 w 3147746"/>
              <a:gd name="T101" fmla="*/ 0 h 2020433"/>
              <a:gd name="T102" fmla="*/ 0 w 3147746"/>
              <a:gd name="T103" fmla="*/ 0 h 2020433"/>
              <a:gd name="T104" fmla="*/ 0 w 3147746"/>
              <a:gd name="T105" fmla="*/ 0 h 2020433"/>
              <a:gd name="T106" fmla="*/ 0 w 3147746"/>
              <a:gd name="T107" fmla="*/ 0 h 2020433"/>
              <a:gd name="T108" fmla="*/ 0 w 3147746"/>
              <a:gd name="T109" fmla="*/ 0 h 2020433"/>
              <a:gd name="T110" fmla="*/ 0 w 3147746"/>
              <a:gd name="T111" fmla="*/ 0 h 2020433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w 3147746"/>
              <a:gd name="T169" fmla="*/ 0 h 2020433"/>
              <a:gd name="T170" fmla="*/ 3147746 w 3147746"/>
              <a:gd name="T171" fmla="*/ 2020433 h 2020433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T168" t="T169" r="T170" b="T171"/>
            <a:pathLst>
              <a:path w="3147746" h="2020433">
                <a:moveTo>
                  <a:pt x="556249" y="0"/>
                </a:moveTo>
                <a:lnTo>
                  <a:pt x="588547" y="21575"/>
                </a:lnTo>
                <a:lnTo>
                  <a:pt x="613668" y="53936"/>
                </a:lnTo>
                <a:lnTo>
                  <a:pt x="613668" y="97085"/>
                </a:lnTo>
                <a:lnTo>
                  <a:pt x="653144" y="140233"/>
                </a:lnTo>
                <a:lnTo>
                  <a:pt x="689031" y="172595"/>
                </a:lnTo>
                <a:lnTo>
                  <a:pt x="721329" y="212147"/>
                </a:lnTo>
                <a:lnTo>
                  <a:pt x="764394" y="266083"/>
                </a:lnTo>
                <a:lnTo>
                  <a:pt x="782337" y="352380"/>
                </a:lnTo>
                <a:lnTo>
                  <a:pt x="732095" y="399125"/>
                </a:lnTo>
                <a:lnTo>
                  <a:pt x="750039" y="442273"/>
                </a:lnTo>
                <a:lnTo>
                  <a:pt x="728507" y="481826"/>
                </a:lnTo>
                <a:lnTo>
                  <a:pt x="689031" y="539357"/>
                </a:lnTo>
                <a:lnTo>
                  <a:pt x="631612" y="535762"/>
                </a:lnTo>
                <a:lnTo>
                  <a:pt x="599313" y="506996"/>
                </a:lnTo>
                <a:lnTo>
                  <a:pt x="567015" y="492613"/>
                </a:lnTo>
                <a:lnTo>
                  <a:pt x="495241" y="460252"/>
                </a:lnTo>
                <a:lnTo>
                  <a:pt x="437822" y="471039"/>
                </a:lnTo>
                <a:lnTo>
                  <a:pt x="387580" y="471039"/>
                </a:lnTo>
                <a:lnTo>
                  <a:pt x="355282" y="503400"/>
                </a:lnTo>
                <a:lnTo>
                  <a:pt x="355282" y="546549"/>
                </a:lnTo>
                <a:lnTo>
                  <a:pt x="366048" y="593293"/>
                </a:lnTo>
                <a:lnTo>
                  <a:pt x="351693" y="625655"/>
                </a:lnTo>
                <a:lnTo>
                  <a:pt x="330161" y="658016"/>
                </a:lnTo>
                <a:lnTo>
                  <a:pt x="340927" y="719143"/>
                </a:lnTo>
                <a:lnTo>
                  <a:pt x="366048" y="762292"/>
                </a:lnTo>
                <a:lnTo>
                  <a:pt x="383991" y="805440"/>
                </a:lnTo>
                <a:lnTo>
                  <a:pt x="419878" y="830610"/>
                </a:lnTo>
                <a:lnTo>
                  <a:pt x="502418" y="862972"/>
                </a:lnTo>
                <a:lnTo>
                  <a:pt x="538305" y="852185"/>
                </a:lnTo>
                <a:lnTo>
                  <a:pt x="599313" y="816227"/>
                </a:lnTo>
                <a:lnTo>
                  <a:pt x="685442" y="755100"/>
                </a:lnTo>
                <a:lnTo>
                  <a:pt x="739273" y="719143"/>
                </a:lnTo>
                <a:lnTo>
                  <a:pt x="782337" y="755100"/>
                </a:lnTo>
                <a:lnTo>
                  <a:pt x="818224" y="762292"/>
                </a:lnTo>
                <a:lnTo>
                  <a:pt x="850523" y="776675"/>
                </a:lnTo>
                <a:lnTo>
                  <a:pt x="889998" y="744313"/>
                </a:lnTo>
                <a:lnTo>
                  <a:pt x="922297" y="711952"/>
                </a:lnTo>
                <a:lnTo>
                  <a:pt x="925885" y="765887"/>
                </a:lnTo>
                <a:lnTo>
                  <a:pt x="968950" y="787462"/>
                </a:lnTo>
                <a:lnTo>
                  <a:pt x="975927" y="794540"/>
                </a:lnTo>
                <a:lnTo>
                  <a:pt x="975927" y="794391"/>
                </a:lnTo>
                <a:lnTo>
                  <a:pt x="1040570" y="797990"/>
                </a:lnTo>
                <a:lnTo>
                  <a:pt x="1126760" y="805187"/>
                </a:lnTo>
                <a:lnTo>
                  <a:pt x="1194994" y="794391"/>
                </a:lnTo>
                <a:lnTo>
                  <a:pt x="1270411" y="815983"/>
                </a:lnTo>
                <a:lnTo>
                  <a:pt x="1331463" y="848370"/>
                </a:lnTo>
                <a:lnTo>
                  <a:pt x="1396105" y="841173"/>
                </a:lnTo>
                <a:lnTo>
                  <a:pt x="1493070" y="862765"/>
                </a:lnTo>
                <a:lnTo>
                  <a:pt x="1439201" y="880758"/>
                </a:lnTo>
                <a:lnTo>
                  <a:pt x="1460748" y="905948"/>
                </a:lnTo>
                <a:lnTo>
                  <a:pt x="1421244" y="923941"/>
                </a:lnTo>
                <a:lnTo>
                  <a:pt x="1421244" y="959927"/>
                </a:lnTo>
                <a:lnTo>
                  <a:pt x="1507435" y="949131"/>
                </a:lnTo>
                <a:lnTo>
                  <a:pt x="1503843" y="923941"/>
                </a:lnTo>
                <a:lnTo>
                  <a:pt x="1518208" y="884356"/>
                </a:lnTo>
                <a:lnTo>
                  <a:pt x="1536165" y="869962"/>
                </a:lnTo>
                <a:lnTo>
                  <a:pt x="1579260" y="859166"/>
                </a:lnTo>
                <a:lnTo>
                  <a:pt x="1679815" y="869962"/>
                </a:lnTo>
                <a:lnTo>
                  <a:pt x="1776780" y="895152"/>
                </a:lnTo>
                <a:lnTo>
                  <a:pt x="1830649" y="938335"/>
                </a:lnTo>
                <a:lnTo>
                  <a:pt x="1816284" y="959927"/>
                </a:lnTo>
                <a:lnTo>
                  <a:pt x="1755232" y="934737"/>
                </a:lnTo>
                <a:lnTo>
                  <a:pt x="1740867" y="959927"/>
                </a:lnTo>
                <a:lnTo>
                  <a:pt x="1697772" y="967124"/>
                </a:lnTo>
                <a:lnTo>
                  <a:pt x="1658268" y="992314"/>
                </a:lnTo>
                <a:lnTo>
                  <a:pt x="1643903" y="1042695"/>
                </a:lnTo>
                <a:lnTo>
                  <a:pt x="1625946" y="1067885"/>
                </a:lnTo>
                <a:lnTo>
                  <a:pt x="1582851" y="1046293"/>
                </a:lnTo>
                <a:lnTo>
                  <a:pt x="1546939" y="1035497"/>
                </a:lnTo>
                <a:lnTo>
                  <a:pt x="1514617" y="1057089"/>
                </a:lnTo>
                <a:lnTo>
                  <a:pt x="1536165" y="1085878"/>
                </a:lnTo>
                <a:lnTo>
                  <a:pt x="1568486" y="1100272"/>
                </a:lnTo>
                <a:lnTo>
                  <a:pt x="1625946" y="1118265"/>
                </a:lnTo>
                <a:lnTo>
                  <a:pt x="1633129" y="1139857"/>
                </a:lnTo>
                <a:lnTo>
                  <a:pt x="1658268" y="1150653"/>
                </a:lnTo>
                <a:lnTo>
                  <a:pt x="1679815" y="1183040"/>
                </a:lnTo>
                <a:lnTo>
                  <a:pt x="1719319" y="1161448"/>
                </a:lnTo>
                <a:lnTo>
                  <a:pt x="1755232" y="1150653"/>
                </a:lnTo>
                <a:lnTo>
                  <a:pt x="1805510" y="1150653"/>
                </a:lnTo>
                <a:lnTo>
                  <a:pt x="1841423" y="1150653"/>
                </a:lnTo>
                <a:lnTo>
                  <a:pt x="1895291" y="1154251"/>
                </a:lnTo>
                <a:lnTo>
                  <a:pt x="1949161" y="1197434"/>
                </a:lnTo>
                <a:lnTo>
                  <a:pt x="1981482" y="1219026"/>
                </a:lnTo>
                <a:lnTo>
                  <a:pt x="2020986" y="1268507"/>
                </a:lnTo>
                <a:lnTo>
                  <a:pt x="2063183" y="1268507"/>
                </a:lnTo>
                <a:lnTo>
                  <a:pt x="2106279" y="1251413"/>
                </a:lnTo>
                <a:lnTo>
                  <a:pt x="2152965" y="1251413"/>
                </a:lnTo>
                <a:lnTo>
                  <a:pt x="2224790" y="1268507"/>
                </a:lnTo>
                <a:lnTo>
                  <a:pt x="2278659" y="1268507"/>
                </a:lnTo>
                <a:lnTo>
                  <a:pt x="2346893" y="1279303"/>
                </a:lnTo>
                <a:lnTo>
                  <a:pt x="2343302" y="1315289"/>
                </a:lnTo>
                <a:lnTo>
                  <a:pt x="2354076" y="1354873"/>
                </a:lnTo>
                <a:lnTo>
                  <a:pt x="2346893" y="1390859"/>
                </a:lnTo>
                <a:lnTo>
                  <a:pt x="2289433" y="1401655"/>
                </a:lnTo>
                <a:lnTo>
                  <a:pt x="2260703" y="1423247"/>
                </a:lnTo>
                <a:lnTo>
                  <a:pt x="2239155" y="1455634"/>
                </a:lnTo>
                <a:lnTo>
                  <a:pt x="2257112" y="1495219"/>
                </a:lnTo>
                <a:lnTo>
                  <a:pt x="2289433" y="1516810"/>
                </a:lnTo>
                <a:lnTo>
                  <a:pt x="2332528" y="1509613"/>
                </a:lnTo>
                <a:lnTo>
                  <a:pt x="2354076" y="1477226"/>
                </a:lnTo>
                <a:lnTo>
                  <a:pt x="2375623" y="1430444"/>
                </a:lnTo>
                <a:lnTo>
                  <a:pt x="2418719" y="1455634"/>
                </a:lnTo>
                <a:lnTo>
                  <a:pt x="2465405" y="1455634"/>
                </a:lnTo>
                <a:lnTo>
                  <a:pt x="2519274" y="1455634"/>
                </a:lnTo>
                <a:lnTo>
                  <a:pt x="2558778" y="1430444"/>
                </a:lnTo>
                <a:lnTo>
                  <a:pt x="2573143" y="1390859"/>
                </a:lnTo>
                <a:lnTo>
                  <a:pt x="2551596" y="1358472"/>
                </a:lnTo>
                <a:lnTo>
                  <a:pt x="2580326" y="1315289"/>
                </a:lnTo>
                <a:lnTo>
                  <a:pt x="2580326" y="1279303"/>
                </a:lnTo>
                <a:lnTo>
                  <a:pt x="2573143" y="1240618"/>
                </a:lnTo>
                <a:lnTo>
                  <a:pt x="2616239" y="1186639"/>
                </a:lnTo>
                <a:lnTo>
                  <a:pt x="2666516" y="1208230"/>
                </a:lnTo>
                <a:lnTo>
                  <a:pt x="2698838" y="1193836"/>
                </a:lnTo>
                <a:lnTo>
                  <a:pt x="2731159" y="1161448"/>
                </a:lnTo>
                <a:lnTo>
                  <a:pt x="2777845" y="1175843"/>
                </a:lnTo>
                <a:lnTo>
                  <a:pt x="2799393" y="1208230"/>
                </a:lnTo>
                <a:lnTo>
                  <a:pt x="2849671" y="1240618"/>
                </a:lnTo>
                <a:lnTo>
                  <a:pt x="2903540" y="1279303"/>
                </a:lnTo>
                <a:lnTo>
                  <a:pt x="2950226" y="1326084"/>
                </a:lnTo>
                <a:lnTo>
                  <a:pt x="3011278" y="1369268"/>
                </a:lnTo>
                <a:lnTo>
                  <a:pt x="3054373" y="1423247"/>
                </a:lnTo>
                <a:lnTo>
                  <a:pt x="3079512" y="1477226"/>
                </a:lnTo>
                <a:lnTo>
                  <a:pt x="3090286" y="1520409"/>
                </a:lnTo>
                <a:lnTo>
                  <a:pt x="3108242" y="1563592"/>
                </a:lnTo>
                <a:lnTo>
                  <a:pt x="3119016" y="1606775"/>
                </a:lnTo>
                <a:lnTo>
                  <a:pt x="3147746" y="1667951"/>
                </a:lnTo>
                <a:lnTo>
                  <a:pt x="3136334" y="1663704"/>
                </a:lnTo>
                <a:lnTo>
                  <a:pt x="3138605" y="1667232"/>
                </a:lnTo>
                <a:lnTo>
                  <a:pt x="3080714" y="1660035"/>
                </a:lnTo>
                <a:lnTo>
                  <a:pt x="3037271" y="1670869"/>
                </a:lnTo>
                <a:lnTo>
                  <a:pt x="3001085" y="1663634"/>
                </a:lnTo>
                <a:lnTo>
                  <a:pt x="2979380" y="1703411"/>
                </a:lnTo>
                <a:lnTo>
                  <a:pt x="2983009" y="1728679"/>
                </a:lnTo>
                <a:lnTo>
                  <a:pt x="3011938" y="1761182"/>
                </a:lnTo>
                <a:lnTo>
                  <a:pt x="3048124" y="1779252"/>
                </a:lnTo>
                <a:lnTo>
                  <a:pt x="3069862" y="1815354"/>
                </a:lnTo>
                <a:cubicBezTo>
                  <a:pt x="3065024" y="1835823"/>
                  <a:pt x="3060219" y="1856331"/>
                  <a:pt x="3055381" y="1876800"/>
                </a:cubicBezTo>
                <a:lnTo>
                  <a:pt x="3033676" y="1909303"/>
                </a:lnTo>
                <a:lnTo>
                  <a:pt x="2990233" y="1909303"/>
                </a:lnTo>
                <a:lnTo>
                  <a:pt x="2957675" y="1930972"/>
                </a:lnTo>
                <a:lnTo>
                  <a:pt x="2957360" y="1923042"/>
                </a:lnTo>
                <a:lnTo>
                  <a:pt x="2908391" y="1891537"/>
                </a:lnTo>
                <a:lnTo>
                  <a:pt x="2843850" y="1873695"/>
                </a:lnTo>
                <a:lnTo>
                  <a:pt x="2786643" y="1891537"/>
                </a:lnTo>
                <a:cubicBezTo>
                  <a:pt x="2770019" y="1898738"/>
                  <a:pt x="2753149" y="1905859"/>
                  <a:pt x="2736525" y="1913060"/>
                </a:cubicBezTo>
                <a:lnTo>
                  <a:pt x="2690075" y="1913060"/>
                </a:lnTo>
                <a:cubicBezTo>
                  <a:pt x="2676873" y="1923781"/>
                  <a:pt x="2663916" y="1934502"/>
                  <a:pt x="2650715" y="1945224"/>
                </a:cubicBezTo>
                <a:lnTo>
                  <a:pt x="2614777" y="1959546"/>
                </a:lnTo>
                <a:lnTo>
                  <a:pt x="2496695" y="1977468"/>
                </a:lnTo>
                <a:lnTo>
                  <a:pt x="2421641" y="2002511"/>
                </a:lnTo>
                <a:lnTo>
                  <a:pt x="2326785" y="2020433"/>
                </a:lnTo>
                <a:lnTo>
                  <a:pt x="2276667" y="2020433"/>
                </a:lnTo>
                <a:lnTo>
                  <a:pt x="2240730" y="1991790"/>
                </a:lnTo>
                <a:lnTo>
                  <a:pt x="2187190" y="1970347"/>
                </a:lnTo>
                <a:lnTo>
                  <a:pt x="2158586" y="1945224"/>
                </a:lnTo>
                <a:lnTo>
                  <a:pt x="2126315" y="1923781"/>
                </a:lnTo>
                <a:lnTo>
                  <a:pt x="2079865" y="1895138"/>
                </a:lnTo>
                <a:lnTo>
                  <a:pt x="2040505" y="1895138"/>
                </a:lnTo>
                <a:cubicBezTo>
                  <a:pt x="2026080" y="1884416"/>
                  <a:pt x="2011901" y="1873615"/>
                  <a:pt x="1997477" y="1862893"/>
                </a:cubicBezTo>
                <a:lnTo>
                  <a:pt x="1961539" y="1819928"/>
                </a:lnTo>
                <a:lnTo>
                  <a:pt x="1911422" y="1809207"/>
                </a:lnTo>
                <a:cubicBezTo>
                  <a:pt x="1900665" y="1802086"/>
                  <a:pt x="1890152" y="1794885"/>
                  <a:pt x="1879395" y="1787764"/>
                </a:cubicBezTo>
                <a:lnTo>
                  <a:pt x="1843457" y="1762721"/>
                </a:lnTo>
                <a:cubicBezTo>
                  <a:pt x="1821944" y="1749599"/>
                  <a:pt x="1800674" y="1736398"/>
                  <a:pt x="1779161" y="1723276"/>
                </a:cubicBezTo>
                <a:lnTo>
                  <a:pt x="1725376" y="1701833"/>
                </a:lnTo>
                <a:lnTo>
                  <a:pt x="1682348" y="1687511"/>
                </a:lnTo>
                <a:lnTo>
                  <a:pt x="1653745" y="1648147"/>
                </a:lnTo>
                <a:cubicBezTo>
                  <a:pt x="1639565" y="1640946"/>
                  <a:pt x="1625141" y="1633825"/>
                  <a:pt x="1610962" y="1626624"/>
                </a:cubicBezTo>
                <a:lnTo>
                  <a:pt x="1564267" y="1615903"/>
                </a:lnTo>
                <a:lnTo>
                  <a:pt x="1514149" y="1590859"/>
                </a:lnTo>
                <a:lnTo>
                  <a:pt x="1460609" y="1558615"/>
                </a:lnTo>
                <a:cubicBezTo>
                  <a:pt x="1444963" y="1551494"/>
                  <a:pt x="1429561" y="1544294"/>
                  <a:pt x="1413915" y="1537173"/>
                </a:cubicBezTo>
                <a:cubicBezTo>
                  <a:pt x="1400713" y="1527011"/>
                  <a:pt x="1387756" y="1516850"/>
                  <a:pt x="1374554" y="1506689"/>
                </a:cubicBezTo>
                <a:lnTo>
                  <a:pt x="1328104" y="1488847"/>
                </a:lnTo>
                <a:lnTo>
                  <a:pt x="1288743" y="1474525"/>
                </a:lnTo>
                <a:lnTo>
                  <a:pt x="1252805" y="1442281"/>
                </a:lnTo>
                <a:cubicBezTo>
                  <a:pt x="1232514" y="1431559"/>
                  <a:pt x="1212467" y="1420758"/>
                  <a:pt x="1192176" y="1410037"/>
                </a:cubicBezTo>
                <a:lnTo>
                  <a:pt x="1134724" y="1370672"/>
                </a:lnTo>
                <a:cubicBezTo>
                  <a:pt x="1117366" y="1362351"/>
                  <a:pt x="1100253" y="1353950"/>
                  <a:pt x="1082895" y="1345629"/>
                </a:cubicBezTo>
                <a:lnTo>
                  <a:pt x="1022021" y="1306264"/>
                </a:lnTo>
                <a:lnTo>
                  <a:pt x="986327" y="1291942"/>
                </a:lnTo>
                <a:lnTo>
                  <a:pt x="932543" y="1302663"/>
                </a:lnTo>
                <a:lnTo>
                  <a:pt x="868002" y="1306264"/>
                </a:lnTo>
                <a:lnTo>
                  <a:pt x="796615" y="1281221"/>
                </a:lnTo>
                <a:lnTo>
                  <a:pt x="732073" y="1274020"/>
                </a:lnTo>
                <a:lnTo>
                  <a:pt x="696380" y="1274020"/>
                </a:lnTo>
                <a:lnTo>
                  <a:pt x="642595" y="1248977"/>
                </a:lnTo>
                <a:lnTo>
                  <a:pt x="592478" y="1238255"/>
                </a:lnTo>
                <a:lnTo>
                  <a:pt x="513757" y="1220333"/>
                </a:lnTo>
                <a:lnTo>
                  <a:pt x="514067" y="1214673"/>
                </a:lnTo>
                <a:lnTo>
                  <a:pt x="495143" y="1183039"/>
                </a:lnTo>
                <a:lnTo>
                  <a:pt x="462851" y="1154250"/>
                </a:lnTo>
                <a:lnTo>
                  <a:pt x="365977" y="1150652"/>
                </a:lnTo>
                <a:lnTo>
                  <a:pt x="319334" y="1150652"/>
                </a:lnTo>
                <a:lnTo>
                  <a:pt x="279867" y="1107469"/>
                </a:lnTo>
                <a:lnTo>
                  <a:pt x="279867" y="1064286"/>
                </a:lnTo>
                <a:lnTo>
                  <a:pt x="236811" y="1010307"/>
                </a:lnTo>
                <a:lnTo>
                  <a:pt x="211696" y="967123"/>
                </a:lnTo>
                <a:lnTo>
                  <a:pt x="172228" y="927539"/>
                </a:lnTo>
                <a:lnTo>
                  <a:pt x="136349" y="884356"/>
                </a:lnTo>
                <a:lnTo>
                  <a:pt x="114821" y="841173"/>
                </a:lnTo>
                <a:lnTo>
                  <a:pt x="96882" y="797989"/>
                </a:lnTo>
                <a:lnTo>
                  <a:pt x="64590" y="765602"/>
                </a:lnTo>
                <a:lnTo>
                  <a:pt x="39474" y="722419"/>
                </a:lnTo>
                <a:lnTo>
                  <a:pt x="11059" y="671753"/>
                </a:lnTo>
                <a:lnTo>
                  <a:pt x="0" y="665207"/>
                </a:lnTo>
                <a:lnTo>
                  <a:pt x="43064" y="636442"/>
                </a:lnTo>
                <a:lnTo>
                  <a:pt x="118427" y="632846"/>
                </a:lnTo>
                <a:lnTo>
                  <a:pt x="139959" y="600485"/>
                </a:lnTo>
                <a:lnTo>
                  <a:pt x="161492" y="568123"/>
                </a:lnTo>
                <a:lnTo>
                  <a:pt x="200967" y="539357"/>
                </a:lnTo>
                <a:lnTo>
                  <a:pt x="215322" y="492613"/>
                </a:lnTo>
                <a:lnTo>
                  <a:pt x="193790" y="453060"/>
                </a:lnTo>
                <a:lnTo>
                  <a:pt x="226088" y="406316"/>
                </a:lnTo>
                <a:lnTo>
                  <a:pt x="297862" y="366763"/>
                </a:lnTo>
                <a:lnTo>
                  <a:pt x="394757" y="323615"/>
                </a:lnTo>
                <a:lnTo>
                  <a:pt x="430644" y="291253"/>
                </a:lnTo>
                <a:lnTo>
                  <a:pt x="462943" y="276870"/>
                </a:lnTo>
                <a:lnTo>
                  <a:pt x="491652" y="255296"/>
                </a:lnTo>
                <a:lnTo>
                  <a:pt x="513185" y="226530"/>
                </a:lnTo>
                <a:lnTo>
                  <a:pt x="538305" y="183382"/>
                </a:lnTo>
                <a:lnTo>
                  <a:pt x="549072" y="136637"/>
                </a:lnTo>
                <a:lnTo>
                  <a:pt x="549072" y="86297"/>
                </a:lnTo>
                <a:close/>
              </a:path>
            </a:pathLst>
          </a:custGeom>
          <a:solidFill>
            <a:srgbClr val="70B0DF"/>
          </a:solidFill>
          <a:ln w="9525">
            <a:noFill/>
            <a:round/>
            <a:headEnd/>
            <a:tailEnd/>
          </a:ln>
        </p:spPr>
        <p:txBody>
          <a:bodyPr wrap="none" lIns="32632" tIns="32632" rIns="32632" bIns="32632" anchor="ctr"/>
          <a:lstStyle/>
          <a:p>
            <a:pPr defTabSz="891045"/>
            <a:endParaRPr lang="en-US" sz="1700" dirty="0">
              <a:solidFill>
                <a:srgbClr val="003149"/>
              </a:solidFill>
              <a:cs typeface="Arial" panose="020B0604020202020204" pitchFamily="34" charset="0"/>
            </a:endParaRPr>
          </a:p>
        </p:txBody>
      </p:sp>
      <p:sp>
        <p:nvSpPr>
          <p:cNvPr id="87" name="Freeform 975"/>
          <p:cNvSpPr>
            <a:spLocks noChangeAspect="1"/>
          </p:cNvSpPr>
          <p:nvPr/>
        </p:nvSpPr>
        <p:spPr bwMode="gray">
          <a:xfrm>
            <a:off x="2775345" y="2426040"/>
            <a:ext cx="261587" cy="272619"/>
          </a:xfrm>
          <a:custGeom>
            <a:avLst/>
            <a:gdLst>
              <a:gd name="T0" fmla="*/ 0 w 1511297"/>
              <a:gd name="T1" fmla="*/ 0 h 1397285"/>
              <a:gd name="T2" fmla="*/ 0 w 1511297"/>
              <a:gd name="T3" fmla="*/ 0 h 1397285"/>
              <a:gd name="T4" fmla="*/ 0 w 1511297"/>
              <a:gd name="T5" fmla="*/ 0 h 1397285"/>
              <a:gd name="T6" fmla="*/ 0 w 1511297"/>
              <a:gd name="T7" fmla="*/ 0 h 1397285"/>
              <a:gd name="T8" fmla="*/ 0 w 1511297"/>
              <a:gd name="T9" fmla="*/ 0 h 1397285"/>
              <a:gd name="T10" fmla="*/ 0 w 1511297"/>
              <a:gd name="T11" fmla="*/ 0 h 1397285"/>
              <a:gd name="T12" fmla="*/ 0 w 1511297"/>
              <a:gd name="T13" fmla="*/ 0 h 1397285"/>
              <a:gd name="T14" fmla="*/ 0 w 1511297"/>
              <a:gd name="T15" fmla="*/ 0 h 1397285"/>
              <a:gd name="T16" fmla="*/ 0 w 1511297"/>
              <a:gd name="T17" fmla="*/ 0 h 1397285"/>
              <a:gd name="T18" fmla="*/ 0 w 1511297"/>
              <a:gd name="T19" fmla="*/ 0 h 1397285"/>
              <a:gd name="T20" fmla="*/ 0 w 1511297"/>
              <a:gd name="T21" fmla="*/ 0 h 1397285"/>
              <a:gd name="T22" fmla="*/ 0 w 1511297"/>
              <a:gd name="T23" fmla="*/ 0 h 1397285"/>
              <a:gd name="T24" fmla="*/ 0 w 1511297"/>
              <a:gd name="T25" fmla="*/ 0 h 1397285"/>
              <a:gd name="T26" fmla="*/ 0 w 1511297"/>
              <a:gd name="T27" fmla="*/ 0 h 1397285"/>
              <a:gd name="T28" fmla="*/ 0 w 1511297"/>
              <a:gd name="T29" fmla="*/ 0 h 1397285"/>
              <a:gd name="T30" fmla="*/ 0 w 1511297"/>
              <a:gd name="T31" fmla="*/ 0 h 1397285"/>
              <a:gd name="T32" fmla="*/ 0 w 1511297"/>
              <a:gd name="T33" fmla="*/ 0 h 1397285"/>
              <a:gd name="T34" fmla="*/ 0 w 1511297"/>
              <a:gd name="T35" fmla="*/ 0 h 1397285"/>
              <a:gd name="T36" fmla="*/ 0 w 1511297"/>
              <a:gd name="T37" fmla="*/ 0 h 1397285"/>
              <a:gd name="T38" fmla="*/ 0 w 1511297"/>
              <a:gd name="T39" fmla="*/ 0 h 1397285"/>
              <a:gd name="T40" fmla="*/ 0 w 1511297"/>
              <a:gd name="T41" fmla="*/ 0 h 1397285"/>
              <a:gd name="T42" fmla="*/ 0 w 1511297"/>
              <a:gd name="T43" fmla="*/ 0 h 1397285"/>
              <a:gd name="T44" fmla="*/ 0 w 1511297"/>
              <a:gd name="T45" fmla="*/ 0 h 1397285"/>
              <a:gd name="T46" fmla="*/ 0 w 1511297"/>
              <a:gd name="T47" fmla="*/ 0 h 1397285"/>
              <a:gd name="T48" fmla="*/ 0 w 1511297"/>
              <a:gd name="T49" fmla="*/ 0 h 1397285"/>
              <a:gd name="T50" fmla="*/ 0 w 1511297"/>
              <a:gd name="T51" fmla="*/ 0 h 1397285"/>
              <a:gd name="T52" fmla="*/ 0 w 1511297"/>
              <a:gd name="T53" fmla="*/ 0 h 1397285"/>
              <a:gd name="T54" fmla="*/ 0 w 1511297"/>
              <a:gd name="T55" fmla="*/ 0 h 1397285"/>
              <a:gd name="T56" fmla="*/ 0 w 1511297"/>
              <a:gd name="T57" fmla="*/ 0 h 1397285"/>
              <a:gd name="T58" fmla="*/ 0 w 1511297"/>
              <a:gd name="T59" fmla="*/ 0 h 1397285"/>
              <a:gd name="T60" fmla="*/ 0 w 1511297"/>
              <a:gd name="T61" fmla="*/ 0 h 1397285"/>
              <a:gd name="T62" fmla="*/ 0 w 1511297"/>
              <a:gd name="T63" fmla="*/ 0 h 1397285"/>
              <a:gd name="T64" fmla="*/ 0 w 1511297"/>
              <a:gd name="T65" fmla="*/ 0 h 1397285"/>
              <a:gd name="T66" fmla="*/ 0 w 1511297"/>
              <a:gd name="T67" fmla="*/ 0 h 1397285"/>
              <a:gd name="T68" fmla="*/ 0 w 1511297"/>
              <a:gd name="T69" fmla="*/ 0 h 1397285"/>
              <a:gd name="T70" fmla="*/ 0 w 1511297"/>
              <a:gd name="T71" fmla="*/ 0 h 1397285"/>
              <a:gd name="T72" fmla="*/ 0 w 1511297"/>
              <a:gd name="T73" fmla="*/ 0 h 1397285"/>
              <a:gd name="T74" fmla="*/ 0 w 1511297"/>
              <a:gd name="T75" fmla="*/ 0 h 1397285"/>
              <a:gd name="T76" fmla="*/ 0 w 1511297"/>
              <a:gd name="T77" fmla="*/ 0 h 1397285"/>
              <a:gd name="T78" fmla="*/ 0 w 1511297"/>
              <a:gd name="T79" fmla="*/ 0 h 1397285"/>
              <a:gd name="T80" fmla="*/ 0 w 1511297"/>
              <a:gd name="T81" fmla="*/ 0 h 1397285"/>
              <a:gd name="T82" fmla="*/ 0 w 1511297"/>
              <a:gd name="T83" fmla="*/ 0 h 1397285"/>
              <a:gd name="T84" fmla="*/ 0 w 1511297"/>
              <a:gd name="T85" fmla="*/ 0 h 1397285"/>
              <a:gd name="T86" fmla="*/ 0 w 1511297"/>
              <a:gd name="T87" fmla="*/ 0 h 1397285"/>
              <a:gd name="T88" fmla="*/ 0 w 1511297"/>
              <a:gd name="T89" fmla="*/ 0 h 1397285"/>
              <a:gd name="T90" fmla="*/ 0 w 1511297"/>
              <a:gd name="T91" fmla="*/ 0 h 1397285"/>
              <a:gd name="T92" fmla="*/ 0 w 1511297"/>
              <a:gd name="T93" fmla="*/ 0 h 1397285"/>
              <a:gd name="T94" fmla="*/ 0 w 1511297"/>
              <a:gd name="T95" fmla="*/ 0 h 1397285"/>
              <a:gd name="T96" fmla="*/ 0 w 1511297"/>
              <a:gd name="T97" fmla="*/ 0 h 1397285"/>
              <a:gd name="T98" fmla="*/ 0 w 1511297"/>
              <a:gd name="T99" fmla="*/ 0 h 1397285"/>
              <a:gd name="T100" fmla="*/ 0 w 1511297"/>
              <a:gd name="T101" fmla="*/ 0 h 1397285"/>
              <a:gd name="T102" fmla="*/ 0 w 1511297"/>
              <a:gd name="T103" fmla="*/ 0 h 1397285"/>
              <a:gd name="T104" fmla="*/ 0 w 1511297"/>
              <a:gd name="T105" fmla="*/ 0 h 1397285"/>
              <a:gd name="T106" fmla="*/ 0 w 1511297"/>
              <a:gd name="T107" fmla="*/ 0 h 1397285"/>
              <a:gd name="T108" fmla="*/ 0 w 1511297"/>
              <a:gd name="T109" fmla="*/ 0 h 1397285"/>
              <a:gd name="T110" fmla="*/ 0 w 1511297"/>
              <a:gd name="T111" fmla="*/ 0 h 1397285"/>
              <a:gd name="T112" fmla="*/ 0 w 1511297"/>
              <a:gd name="T113" fmla="*/ 0 h 1397285"/>
              <a:gd name="T114" fmla="*/ 0 w 1511297"/>
              <a:gd name="T115" fmla="*/ 0 h 1397285"/>
              <a:gd name="T116" fmla="*/ 0 w 1511297"/>
              <a:gd name="T117" fmla="*/ 0 h 1397285"/>
              <a:gd name="T118" fmla="*/ 0 w 1511297"/>
              <a:gd name="T119" fmla="*/ 0 h 1397285"/>
              <a:gd name="T120" fmla="*/ 0 w 1511297"/>
              <a:gd name="T121" fmla="*/ 0 h 1397285"/>
              <a:gd name="T122" fmla="*/ 0 w 1511297"/>
              <a:gd name="T123" fmla="*/ 0 h 1397285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w 1511297"/>
              <a:gd name="T187" fmla="*/ 0 h 1397285"/>
              <a:gd name="T188" fmla="*/ 1511297 w 1511297"/>
              <a:gd name="T189" fmla="*/ 1397285 h 1397285"/>
            </a:gdLst>
            <a:ahLst/>
            <a:cxnLst>
              <a:cxn ang="T124">
                <a:pos x="T0" y="T1"/>
              </a:cxn>
              <a:cxn ang="T125">
                <a:pos x="T2" y="T3"/>
              </a:cxn>
              <a:cxn ang="T126">
                <a:pos x="T4" y="T5"/>
              </a:cxn>
              <a:cxn ang="T127">
                <a:pos x="T6" y="T7"/>
              </a:cxn>
              <a:cxn ang="T128">
                <a:pos x="T8" y="T9"/>
              </a:cxn>
              <a:cxn ang="T129">
                <a:pos x="T10" y="T11"/>
              </a:cxn>
              <a:cxn ang="T130">
                <a:pos x="T12" y="T13"/>
              </a:cxn>
              <a:cxn ang="T131">
                <a:pos x="T14" y="T15"/>
              </a:cxn>
              <a:cxn ang="T132">
                <a:pos x="T16" y="T17"/>
              </a:cxn>
              <a:cxn ang="T133">
                <a:pos x="T18" y="T19"/>
              </a:cxn>
              <a:cxn ang="T134">
                <a:pos x="T20" y="T21"/>
              </a:cxn>
              <a:cxn ang="T135">
                <a:pos x="T22" y="T23"/>
              </a:cxn>
              <a:cxn ang="T136">
                <a:pos x="T24" y="T25"/>
              </a:cxn>
              <a:cxn ang="T137">
                <a:pos x="T26" y="T27"/>
              </a:cxn>
              <a:cxn ang="T138">
                <a:pos x="T28" y="T29"/>
              </a:cxn>
              <a:cxn ang="T139">
                <a:pos x="T30" y="T31"/>
              </a:cxn>
              <a:cxn ang="T140">
                <a:pos x="T32" y="T33"/>
              </a:cxn>
              <a:cxn ang="T141">
                <a:pos x="T34" y="T35"/>
              </a:cxn>
              <a:cxn ang="T142">
                <a:pos x="T36" y="T37"/>
              </a:cxn>
              <a:cxn ang="T143">
                <a:pos x="T38" y="T39"/>
              </a:cxn>
              <a:cxn ang="T144">
                <a:pos x="T40" y="T41"/>
              </a:cxn>
              <a:cxn ang="T145">
                <a:pos x="T42" y="T43"/>
              </a:cxn>
              <a:cxn ang="T146">
                <a:pos x="T44" y="T45"/>
              </a:cxn>
              <a:cxn ang="T147">
                <a:pos x="T46" y="T47"/>
              </a:cxn>
              <a:cxn ang="T148">
                <a:pos x="T48" y="T49"/>
              </a:cxn>
              <a:cxn ang="T149">
                <a:pos x="T50" y="T51"/>
              </a:cxn>
              <a:cxn ang="T150">
                <a:pos x="T52" y="T53"/>
              </a:cxn>
              <a:cxn ang="T151">
                <a:pos x="T54" y="T55"/>
              </a:cxn>
              <a:cxn ang="T152">
                <a:pos x="T56" y="T57"/>
              </a:cxn>
              <a:cxn ang="T153">
                <a:pos x="T58" y="T59"/>
              </a:cxn>
              <a:cxn ang="T154">
                <a:pos x="T60" y="T61"/>
              </a:cxn>
              <a:cxn ang="T155">
                <a:pos x="T62" y="T63"/>
              </a:cxn>
              <a:cxn ang="T156">
                <a:pos x="T64" y="T65"/>
              </a:cxn>
              <a:cxn ang="T157">
                <a:pos x="T66" y="T67"/>
              </a:cxn>
              <a:cxn ang="T158">
                <a:pos x="T68" y="T69"/>
              </a:cxn>
              <a:cxn ang="T159">
                <a:pos x="T70" y="T71"/>
              </a:cxn>
              <a:cxn ang="T160">
                <a:pos x="T72" y="T73"/>
              </a:cxn>
              <a:cxn ang="T161">
                <a:pos x="T74" y="T75"/>
              </a:cxn>
              <a:cxn ang="T162">
                <a:pos x="T76" y="T77"/>
              </a:cxn>
              <a:cxn ang="T163">
                <a:pos x="T78" y="T79"/>
              </a:cxn>
              <a:cxn ang="T164">
                <a:pos x="T80" y="T81"/>
              </a:cxn>
              <a:cxn ang="T165">
                <a:pos x="T82" y="T83"/>
              </a:cxn>
              <a:cxn ang="T166">
                <a:pos x="T84" y="T85"/>
              </a:cxn>
              <a:cxn ang="T167">
                <a:pos x="T86" y="T87"/>
              </a:cxn>
              <a:cxn ang="T168">
                <a:pos x="T88" y="T89"/>
              </a:cxn>
              <a:cxn ang="T169">
                <a:pos x="T90" y="T91"/>
              </a:cxn>
              <a:cxn ang="T170">
                <a:pos x="T92" y="T93"/>
              </a:cxn>
              <a:cxn ang="T171">
                <a:pos x="T94" y="T95"/>
              </a:cxn>
              <a:cxn ang="T172">
                <a:pos x="T96" y="T97"/>
              </a:cxn>
              <a:cxn ang="T173">
                <a:pos x="T98" y="T99"/>
              </a:cxn>
              <a:cxn ang="T174">
                <a:pos x="T100" y="T101"/>
              </a:cxn>
              <a:cxn ang="T175">
                <a:pos x="T102" y="T103"/>
              </a:cxn>
              <a:cxn ang="T176">
                <a:pos x="T104" y="T105"/>
              </a:cxn>
              <a:cxn ang="T177">
                <a:pos x="T106" y="T107"/>
              </a:cxn>
              <a:cxn ang="T178">
                <a:pos x="T108" y="T109"/>
              </a:cxn>
              <a:cxn ang="T179">
                <a:pos x="T110" y="T111"/>
              </a:cxn>
              <a:cxn ang="T180">
                <a:pos x="T112" y="T113"/>
              </a:cxn>
              <a:cxn ang="T181">
                <a:pos x="T114" y="T115"/>
              </a:cxn>
              <a:cxn ang="T182">
                <a:pos x="T116" y="T117"/>
              </a:cxn>
              <a:cxn ang="T183">
                <a:pos x="T118" y="T119"/>
              </a:cxn>
              <a:cxn ang="T184">
                <a:pos x="T120" y="T121"/>
              </a:cxn>
              <a:cxn ang="T185">
                <a:pos x="T122" y="T123"/>
              </a:cxn>
            </a:cxnLst>
            <a:rect l="T186" t="T187" r="T188" b="T189"/>
            <a:pathLst>
              <a:path w="1511297" h="1397285">
                <a:moveTo>
                  <a:pt x="584200" y="0"/>
                </a:moveTo>
                <a:lnTo>
                  <a:pt x="679888" y="26681"/>
                </a:lnTo>
                <a:lnTo>
                  <a:pt x="775576" y="32012"/>
                </a:lnTo>
                <a:lnTo>
                  <a:pt x="903175" y="64033"/>
                </a:lnTo>
                <a:lnTo>
                  <a:pt x="1039945" y="95711"/>
                </a:lnTo>
                <a:lnTo>
                  <a:pt x="1040054" y="95558"/>
                </a:lnTo>
                <a:lnTo>
                  <a:pt x="1040054" y="95737"/>
                </a:lnTo>
                <a:lnTo>
                  <a:pt x="1041381" y="96044"/>
                </a:lnTo>
                <a:lnTo>
                  <a:pt x="1040054" y="98025"/>
                </a:lnTo>
                <a:lnTo>
                  <a:pt x="1040054" y="131819"/>
                </a:lnTo>
                <a:cubicBezTo>
                  <a:pt x="1044847" y="160748"/>
                  <a:pt x="1049578" y="189479"/>
                  <a:pt x="1054371" y="218309"/>
                </a:cubicBezTo>
                <a:cubicBezTo>
                  <a:pt x="1061499" y="253579"/>
                  <a:pt x="1068688" y="288254"/>
                  <a:pt x="1075755" y="323326"/>
                </a:cubicBezTo>
                <a:cubicBezTo>
                  <a:pt x="1079380" y="349877"/>
                  <a:pt x="1082883" y="376428"/>
                  <a:pt x="1086508" y="402881"/>
                </a:cubicBezTo>
                <a:lnTo>
                  <a:pt x="1115143" y="511464"/>
                </a:lnTo>
                <a:lnTo>
                  <a:pt x="1129337" y="594586"/>
                </a:lnTo>
                <a:lnTo>
                  <a:pt x="1150721" y="659577"/>
                </a:lnTo>
                <a:lnTo>
                  <a:pt x="1150721" y="713869"/>
                </a:lnTo>
                <a:lnTo>
                  <a:pt x="1182920" y="757461"/>
                </a:lnTo>
                <a:lnTo>
                  <a:pt x="1222124" y="782625"/>
                </a:lnTo>
                <a:lnTo>
                  <a:pt x="1264953" y="782625"/>
                </a:lnTo>
                <a:lnTo>
                  <a:pt x="1300654" y="782625"/>
                </a:lnTo>
                <a:lnTo>
                  <a:pt x="1343545" y="779059"/>
                </a:lnTo>
                <a:lnTo>
                  <a:pt x="1361364" y="822254"/>
                </a:lnTo>
                <a:lnTo>
                  <a:pt x="1386374" y="858317"/>
                </a:lnTo>
                <a:lnTo>
                  <a:pt x="1450587" y="876546"/>
                </a:lnTo>
                <a:lnTo>
                  <a:pt x="1479160" y="901809"/>
                </a:lnTo>
                <a:cubicBezTo>
                  <a:pt x="1483891" y="918850"/>
                  <a:pt x="1488746" y="935494"/>
                  <a:pt x="1493539" y="952435"/>
                </a:cubicBezTo>
                <a:lnTo>
                  <a:pt x="1511297" y="999495"/>
                </a:lnTo>
                <a:cubicBezTo>
                  <a:pt x="1508962" y="1017526"/>
                  <a:pt x="1506504" y="1035755"/>
                  <a:pt x="1504108" y="1053787"/>
                </a:cubicBezTo>
                <a:cubicBezTo>
                  <a:pt x="1502940" y="1064684"/>
                  <a:pt x="1501773" y="1075483"/>
                  <a:pt x="1500605" y="1086282"/>
                </a:cubicBezTo>
                <a:lnTo>
                  <a:pt x="1500506" y="1086229"/>
                </a:lnTo>
                <a:lnTo>
                  <a:pt x="1447035" y="1075481"/>
                </a:lnTo>
                <a:lnTo>
                  <a:pt x="1390007" y="1086229"/>
                </a:lnTo>
                <a:lnTo>
                  <a:pt x="1361354" y="1115384"/>
                </a:lnTo>
                <a:cubicBezTo>
                  <a:pt x="1356613" y="1123783"/>
                  <a:pt x="1351803" y="1132118"/>
                  <a:pt x="1347062" y="1140614"/>
                </a:cubicBezTo>
                <a:lnTo>
                  <a:pt x="1293590" y="1162078"/>
                </a:lnTo>
                <a:lnTo>
                  <a:pt x="1240048" y="1180228"/>
                </a:lnTo>
                <a:lnTo>
                  <a:pt x="1211465" y="1212762"/>
                </a:lnTo>
                <a:lnTo>
                  <a:pt x="1186506" y="1202143"/>
                </a:lnTo>
                <a:lnTo>
                  <a:pt x="1157853" y="1216431"/>
                </a:lnTo>
                <a:lnTo>
                  <a:pt x="1186506" y="1303222"/>
                </a:lnTo>
                <a:lnTo>
                  <a:pt x="1165034" y="1281629"/>
                </a:lnTo>
                <a:lnTo>
                  <a:pt x="1122228" y="1299682"/>
                </a:lnTo>
                <a:cubicBezTo>
                  <a:pt x="1123344" y="1322498"/>
                  <a:pt x="1124529" y="1345507"/>
                  <a:pt x="1125714" y="1368258"/>
                </a:cubicBezTo>
                <a:lnTo>
                  <a:pt x="1079423" y="1353938"/>
                </a:lnTo>
                <a:lnTo>
                  <a:pt x="1025811" y="1364719"/>
                </a:lnTo>
                <a:lnTo>
                  <a:pt x="997227" y="1357349"/>
                </a:lnTo>
                <a:cubicBezTo>
                  <a:pt x="993602" y="1368226"/>
                  <a:pt x="990116" y="1379103"/>
                  <a:pt x="986561" y="1390077"/>
                </a:cubicBezTo>
                <a:lnTo>
                  <a:pt x="932949" y="1397285"/>
                </a:lnTo>
                <a:lnTo>
                  <a:pt x="907991" y="1364719"/>
                </a:lnTo>
                <a:lnTo>
                  <a:pt x="854449" y="1342965"/>
                </a:lnTo>
                <a:lnTo>
                  <a:pt x="803839" y="1377608"/>
                </a:lnTo>
                <a:lnTo>
                  <a:pt x="798484" y="1385410"/>
                </a:lnTo>
                <a:cubicBezTo>
                  <a:pt x="798945" y="1363762"/>
                  <a:pt x="768423" y="1313365"/>
                  <a:pt x="768808" y="1291716"/>
                </a:cubicBezTo>
                <a:lnTo>
                  <a:pt x="751048" y="1244869"/>
                </a:lnTo>
                <a:lnTo>
                  <a:pt x="751048" y="1194333"/>
                </a:lnTo>
                <a:lnTo>
                  <a:pt x="751048" y="1158345"/>
                </a:lnTo>
                <a:lnTo>
                  <a:pt x="715452" y="1096950"/>
                </a:lnTo>
                <a:lnTo>
                  <a:pt x="683393" y="1053722"/>
                </a:lnTo>
                <a:lnTo>
                  <a:pt x="640724" y="1021215"/>
                </a:lnTo>
                <a:lnTo>
                  <a:pt x="590906" y="974437"/>
                </a:lnTo>
                <a:lnTo>
                  <a:pt x="569532" y="945550"/>
                </a:lnTo>
                <a:cubicBezTo>
                  <a:pt x="568302" y="933507"/>
                  <a:pt x="567149" y="921604"/>
                  <a:pt x="565919" y="909562"/>
                </a:cubicBezTo>
                <a:cubicBezTo>
                  <a:pt x="570685" y="887913"/>
                  <a:pt x="575375" y="866195"/>
                  <a:pt x="580219" y="844616"/>
                </a:cubicBezTo>
                <a:lnTo>
                  <a:pt x="580219" y="801389"/>
                </a:lnTo>
                <a:lnTo>
                  <a:pt x="533937" y="772501"/>
                </a:lnTo>
                <a:lnTo>
                  <a:pt x="484118" y="772501"/>
                </a:lnTo>
                <a:lnTo>
                  <a:pt x="451982" y="790460"/>
                </a:lnTo>
                <a:lnTo>
                  <a:pt x="416463" y="772501"/>
                </a:lnTo>
                <a:lnTo>
                  <a:pt x="366721" y="758022"/>
                </a:lnTo>
                <a:lnTo>
                  <a:pt x="330971" y="729204"/>
                </a:lnTo>
                <a:lnTo>
                  <a:pt x="281230" y="714865"/>
                </a:lnTo>
                <a:lnTo>
                  <a:pt x="234947" y="718415"/>
                </a:lnTo>
                <a:lnTo>
                  <a:pt x="195661" y="725654"/>
                </a:lnTo>
                <a:lnTo>
                  <a:pt x="149379" y="696766"/>
                </a:lnTo>
                <a:lnTo>
                  <a:pt x="99714" y="696766"/>
                </a:lnTo>
                <a:lnTo>
                  <a:pt x="53432" y="703936"/>
                </a:lnTo>
                <a:lnTo>
                  <a:pt x="1" y="660710"/>
                </a:lnTo>
                <a:lnTo>
                  <a:pt x="0" y="660709"/>
                </a:lnTo>
                <a:lnTo>
                  <a:pt x="1" y="660704"/>
                </a:lnTo>
                <a:lnTo>
                  <a:pt x="9527" y="592444"/>
                </a:lnTo>
                <a:lnTo>
                  <a:pt x="22231" y="552890"/>
                </a:lnTo>
                <a:cubicBezTo>
                  <a:pt x="21162" y="531356"/>
                  <a:pt x="20111" y="509747"/>
                  <a:pt x="19048" y="488176"/>
                </a:cubicBezTo>
                <a:lnTo>
                  <a:pt x="57148" y="419873"/>
                </a:lnTo>
                <a:lnTo>
                  <a:pt x="41278" y="387534"/>
                </a:lnTo>
                <a:lnTo>
                  <a:pt x="57148" y="322820"/>
                </a:lnTo>
                <a:lnTo>
                  <a:pt x="38100" y="286855"/>
                </a:lnTo>
                <a:lnTo>
                  <a:pt x="49759" y="288380"/>
                </a:lnTo>
                <a:lnTo>
                  <a:pt x="43422" y="284196"/>
                </a:lnTo>
                <a:lnTo>
                  <a:pt x="79470" y="249566"/>
                </a:lnTo>
                <a:lnTo>
                  <a:pt x="147582" y="242378"/>
                </a:lnTo>
                <a:lnTo>
                  <a:pt x="147582" y="285508"/>
                </a:lnTo>
                <a:cubicBezTo>
                  <a:pt x="154810" y="295072"/>
                  <a:pt x="161946" y="304699"/>
                  <a:pt x="169174" y="314262"/>
                </a:cubicBezTo>
                <a:lnTo>
                  <a:pt x="219586" y="314262"/>
                </a:lnTo>
                <a:lnTo>
                  <a:pt x="219586" y="263943"/>
                </a:lnTo>
                <a:cubicBezTo>
                  <a:pt x="224220" y="251941"/>
                  <a:pt x="229039" y="240002"/>
                  <a:pt x="233950" y="228063"/>
                </a:cubicBezTo>
                <a:lnTo>
                  <a:pt x="266292" y="199309"/>
                </a:lnTo>
                <a:lnTo>
                  <a:pt x="309291" y="188495"/>
                </a:lnTo>
                <a:lnTo>
                  <a:pt x="352382" y="188495"/>
                </a:lnTo>
                <a:cubicBezTo>
                  <a:pt x="358498" y="202872"/>
                  <a:pt x="364429" y="217249"/>
                  <a:pt x="370360" y="231626"/>
                </a:cubicBezTo>
                <a:lnTo>
                  <a:pt x="445885" y="231626"/>
                </a:lnTo>
                <a:lnTo>
                  <a:pt x="445885" y="274694"/>
                </a:lnTo>
                <a:lnTo>
                  <a:pt x="481749" y="292697"/>
                </a:lnTo>
                <a:lnTo>
                  <a:pt x="524932" y="292697"/>
                </a:lnTo>
                <a:lnTo>
                  <a:pt x="553475" y="325014"/>
                </a:lnTo>
                <a:cubicBezTo>
                  <a:pt x="560796" y="340578"/>
                  <a:pt x="567838" y="356143"/>
                  <a:pt x="575159" y="371770"/>
                </a:cubicBezTo>
                <a:lnTo>
                  <a:pt x="589616" y="432778"/>
                </a:lnTo>
                <a:lnTo>
                  <a:pt x="640028" y="414839"/>
                </a:lnTo>
                <a:cubicBezTo>
                  <a:pt x="637526" y="396899"/>
                  <a:pt x="635117" y="378896"/>
                  <a:pt x="632708" y="360956"/>
                </a:cubicBezTo>
                <a:lnTo>
                  <a:pt x="600366" y="314262"/>
                </a:lnTo>
                <a:cubicBezTo>
                  <a:pt x="599161" y="301073"/>
                  <a:pt x="597957" y="287946"/>
                  <a:pt x="596752" y="274694"/>
                </a:cubicBezTo>
                <a:cubicBezTo>
                  <a:pt x="594250" y="259192"/>
                  <a:pt x="592026" y="243565"/>
                  <a:pt x="589616" y="228063"/>
                </a:cubicBezTo>
                <a:lnTo>
                  <a:pt x="629093" y="209998"/>
                </a:lnTo>
                <a:cubicBezTo>
                  <a:pt x="625572" y="190871"/>
                  <a:pt x="621865" y="171743"/>
                  <a:pt x="618251" y="152553"/>
                </a:cubicBezTo>
                <a:lnTo>
                  <a:pt x="660416" y="140864"/>
                </a:lnTo>
                <a:cubicBezTo>
                  <a:pt x="674224" y="141301"/>
                  <a:pt x="684232" y="162492"/>
                  <a:pt x="693777" y="166992"/>
                </a:cubicBezTo>
                <a:cubicBezTo>
                  <a:pt x="703322" y="171493"/>
                  <a:pt x="711384" y="177431"/>
                  <a:pt x="717315" y="167930"/>
                </a:cubicBezTo>
                <a:cubicBezTo>
                  <a:pt x="718983" y="128737"/>
                  <a:pt x="734922" y="137176"/>
                  <a:pt x="736590" y="97983"/>
                </a:cubicBezTo>
                <a:cubicBezTo>
                  <a:pt x="725840" y="87482"/>
                  <a:pt x="693684" y="91232"/>
                  <a:pt x="682934" y="80668"/>
                </a:cubicBezTo>
                <a:lnTo>
                  <a:pt x="635117" y="71167"/>
                </a:lnTo>
                <a:cubicBezTo>
                  <a:pt x="630298" y="56852"/>
                  <a:pt x="622977" y="51977"/>
                  <a:pt x="618251" y="37600"/>
                </a:cubicBezTo>
                <a:lnTo>
                  <a:pt x="595523" y="10024"/>
                </a:lnTo>
                <a:close/>
              </a:path>
            </a:pathLst>
          </a:custGeom>
          <a:solidFill>
            <a:srgbClr val="70B0DF"/>
          </a:solidFill>
          <a:ln w="3175" cap="flat" cmpd="sng">
            <a:noFill/>
            <a:prstDash val="solid"/>
            <a:round/>
            <a:headEnd type="none" w="med" len="med"/>
            <a:tailEnd type="none" w="med" len="med"/>
          </a:ln>
        </p:spPr>
        <p:txBody>
          <a:bodyPr wrap="none" lIns="32632" tIns="32632" rIns="32632" bIns="32632" anchor="ctr"/>
          <a:lstStyle/>
          <a:p>
            <a:pPr defTabSz="891045"/>
            <a:endParaRPr lang="en-US" sz="1700" dirty="0">
              <a:solidFill>
                <a:srgbClr val="003149"/>
              </a:solidFill>
              <a:cs typeface="Arial" panose="020B0604020202020204" pitchFamily="34" charset="0"/>
            </a:endParaRPr>
          </a:p>
        </p:txBody>
      </p:sp>
      <p:sp>
        <p:nvSpPr>
          <p:cNvPr id="88" name="Freeform 391"/>
          <p:cNvSpPr>
            <a:spLocks noChangeAspect="1"/>
          </p:cNvSpPr>
          <p:nvPr/>
        </p:nvSpPr>
        <p:spPr bwMode="gray">
          <a:xfrm>
            <a:off x="2954461" y="2260996"/>
            <a:ext cx="371057" cy="417536"/>
          </a:xfrm>
          <a:custGeom>
            <a:avLst/>
            <a:gdLst>
              <a:gd name="T0" fmla="*/ 0 w 2141343"/>
              <a:gd name="T1" fmla="*/ 0 h 2133291"/>
              <a:gd name="T2" fmla="*/ 0 w 2141343"/>
              <a:gd name="T3" fmla="*/ 0 h 2133291"/>
              <a:gd name="T4" fmla="*/ 0 w 2141343"/>
              <a:gd name="T5" fmla="*/ 0 h 2133291"/>
              <a:gd name="T6" fmla="*/ 0 w 2141343"/>
              <a:gd name="T7" fmla="*/ 0 h 2133291"/>
              <a:gd name="T8" fmla="*/ 0 w 2141343"/>
              <a:gd name="T9" fmla="*/ 0 h 2133291"/>
              <a:gd name="T10" fmla="*/ 0 w 2141343"/>
              <a:gd name="T11" fmla="*/ 0 h 2133291"/>
              <a:gd name="T12" fmla="*/ 0 w 2141343"/>
              <a:gd name="T13" fmla="*/ 0 h 2133291"/>
              <a:gd name="T14" fmla="*/ 0 w 2141343"/>
              <a:gd name="T15" fmla="*/ 0 h 2133291"/>
              <a:gd name="T16" fmla="*/ 0 w 2141343"/>
              <a:gd name="T17" fmla="*/ 0 h 2133291"/>
              <a:gd name="T18" fmla="*/ 0 w 2141343"/>
              <a:gd name="T19" fmla="*/ 0 h 2133291"/>
              <a:gd name="T20" fmla="*/ 0 w 2141343"/>
              <a:gd name="T21" fmla="*/ 0 h 2133291"/>
              <a:gd name="T22" fmla="*/ 0 w 2141343"/>
              <a:gd name="T23" fmla="*/ 0 h 2133291"/>
              <a:gd name="T24" fmla="*/ 0 w 2141343"/>
              <a:gd name="T25" fmla="*/ 0 h 2133291"/>
              <a:gd name="T26" fmla="*/ 0 w 2141343"/>
              <a:gd name="T27" fmla="*/ 0 h 2133291"/>
              <a:gd name="T28" fmla="*/ 0 w 2141343"/>
              <a:gd name="T29" fmla="*/ 0 h 2133291"/>
              <a:gd name="T30" fmla="*/ 0 w 2141343"/>
              <a:gd name="T31" fmla="*/ 0 h 2133291"/>
              <a:gd name="T32" fmla="*/ 0 w 2141343"/>
              <a:gd name="T33" fmla="*/ 0 h 2133291"/>
              <a:gd name="T34" fmla="*/ 0 w 2141343"/>
              <a:gd name="T35" fmla="*/ 0 h 2133291"/>
              <a:gd name="T36" fmla="*/ 0 w 2141343"/>
              <a:gd name="T37" fmla="*/ 0 h 2133291"/>
              <a:gd name="T38" fmla="*/ 0 w 2141343"/>
              <a:gd name="T39" fmla="*/ 0 h 2133291"/>
              <a:gd name="T40" fmla="*/ 0 w 2141343"/>
              <a:gd name="T41" fmla="*/ 0 h 2133291"/>
              <a:gd name="T42" fmla="*/ 0 w 2141343"/>
              <a:gd name="T43" fmla="*/ 0 h 2133291"/>
              <a:gd name="T44" fmla="*/ 0 w 2141343"/>
              <a:gd name="T45" fmla="*/ 0 h 2133291"/>
              <a:gd name="T46" fmla="*/ 0 w 2141343"/>
              <a:gd name="T47" fmla="*/ 0 h 2133291"/>
              <a:gd name="T48" fmla="*/ 0 w 2141343"/>
              <a:gd name="T49" fmla="*/ 0 h 2133291"/>
              <a:gd name="T50" fmla="*/ 0 w 2141343"/>
              <a:gd name="T51" fmla="*/ 0 h 2133291"/>
              <a:gd name="T52" fmla="*/ 0 w 2141343"/>
              <a:gd name="T53" fmla="*/ 0 h 2133291"/>
              <a:gd name="T54" fmla="*/ 0 w 2141343"/>
              <a:gd name="T55" fmla="*/ 0 h 2133291"/>
              <a:gd name="T56" fmla="*/ 0 w 2141343"/>
              <a:gd name="T57" fmla="*/ 0 h 2133291"/>
              <a:gd name="T58" fmla="*/ 0 w 2141343"/>
              <a:gd name="T59" fmla="*/ 0 h 2133291"/>
              <a:gd name="T60" fmla="*/ 0 w 2141343"/>
              <a:gd name="T61" fmla="*/ 0 h 2133291"/>
              <a:gd name="T62" fmla="*/ 0 w 2141343"/>
              <a:gd name="T63" fmla="*/ 0 h 2133291"/>
              <a:gd name="T64" fmla="*/ 0 w 2141343"/>
              <a:gd name="T65" fmla="*/ 0 h 2133291"/>
              <a:gd name="T66" fmla="*/ 0 w 2141343"/>
              <a:gd name="T67" fmla="*/ 0 h 2133291"/>
              <a:gd name="T68" fmla="*/ 0 w 2141343"/>
              <a:gd name="T69" fmla="*/ 0 h 2133291"/>
              <a:gd name="T70" fmla="*/ 0 w 2141343"/>
              <a:gd name="T71" fmla="*/ 0 h 2133291"/>
              <a:gd name="T72" fmla="*/ 0 w 2141343"/>
              <a:gd name="T73" fmla="*/ 0 h 2133291"/>
              <a:gd name="T74" fmla="*/ 0 w 2141343"/>
              <a:gd name="T75" fmla="*/ 0 h 2133291"/>
              <a:gd name="T76" fmla="*/ 0 w 2141343"/>
              <a:gd name="T77" fmla="*/ 0 h 2133291"/>
              <a:gd name="T78" fmla="*/ 0 w 2141343"/>
              <a:gd name="T79" fmla="*/ 0 h 2133291"/>
              <a:gd name="T80" fmla="*/ 0 w 2141343"/>
              <a:gd name="T81" fmla="*/ 0 h 2133291"/>
              <a:gd name="T82" fmla="*/ 0 w 2141343"/>
              <a:gd name="T83" fmla="*/ 0 h 2133291"/>
              <a:gd name="T84" fmla="*/ 0 w 2141343"/>
              <a:gd name="T85" fmla="*/ 0 h 2133291"/>
              <a:gd name="T86" fmla="*/ 0 w 2141343"/>
              <a:gd name="T87" fmla="*/ 0 h 2133291"/>
              <a:gd name="T88" fmla="*/ 0 w 2141343"/>
              <a:gd name="T89" fmla="*/ 0 h 2133291"/>
              <a:gd name="T90" fmla="*/ 0 w 2141343"/>
              <a:gd name="T91" fmla="*/ 0 h 2133291"/>
              <a:gd name="T92" fmla="*/ 0 w 2141343"/>
              <a:gd name="T93" fmla="*/ 0 h 2133291"/>
              <a:gd name="T94" fmla="*/ 0 w 2141343"/>
              <a:gd name="T95" fmla="*/ 0 h 2133291"/>
              <a:gd name="T96" fmla="*/ 0 w 2141343"/>
              <a:gd name="T97" fmla="*/ 0 h 2133291"/>
              <a:gd name="T98" fmla="*/ 0 w 2141343"/>
              <a:gd name="T99" fmla="*/ 0 h 2133291"/>
              <a:gd name="T100" fmla="*/ 0 w 2141343"/>
              <a:gd name="T101" fmla="*/ 0 h 2133291"/>
              <a:gd name="T102" fmla="*/ 0 w 2141343"/>
              <a:gd name="T103" fmla="*/ 0 h 2133291"/>
              <a:gd name="T104" fmla="*/ 0 w 2141343"/>
              <a:gd name="T105" fmla="*/ 0 h 2133291"/>
              <a:gd name="T106" fmla="*/ 0 w 2141343"/>
              <a:gd name="T107" fmla="*/ 0 h 2133291"/>
              <a:gd name="T108" fmla="*/ 0 w 2141343"/>
              <a:gd name="T109" fmla="*/ 0 h 2133291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w 2141343"/>
              <a:gd name="T166" fmla="*/ 0 h 2133291"/>
              <a:gd name="T167" fmla="*/ 2141343 w 2141343"/>
              <a:gd name="T168" fmla="*/ 2133291 h 2133291"/>
            </a:gdLst>
            <a:ahLst/>
            <a:cxnLst>
              <a:cxn ang="T110">
                <a:pos x="T0" y="T1"/>
              </a:cxn>
              <a:cxn ang="T111">
                <a:pos x="T2" y="T3"/>
              </a:cxn>
              <a:cxn ang="T112">
                <a:pos x="T4" y="T5"/>
              </a:cxn>
              <a:cxn ang="T113">
                <a:pos x="T6" y="T7"/>
              </a:cxn>
              <a:cxn ang="T114">
                <a:pos x="T8" y="T9"/>
              </a:cxn>
              <a:cxn ang="T115">
                <a:pos x="T10" y="T11"/>
              </a:cxn>
              <a:cxn ang="T116">
                <a:pos x="T12" y="T13"/>
              </a:cxn>
              <a:cxn ang="T117">
                <a:pos x="T14" y="T15"/>
              </a:cxn>
              <a:cxn ang="T118">
                <a:pos x="T16" y="T17"/>
              </a:cxn>
              <a:cxn ang="T119">
                <a:pos x="T18" y="T19"/>
              </a:cxn>
              <a:cxn ang="T120">
                <a:pos x="T20" y="T21"/>
              </a:cxn>
              <a:cxn ang="T121">
                <a:pos x="T22" y="T23"/>
              </a:cxn>
              <a:cxn ang="T122">
                <a:pos x="T24" y="T25"/>
              </a:cxn>
              <a:cxn ang="T123">
                <a:pos x="T26" y="T27"/>
              </a:cxn>
              <a:cxn ang="T124">
                <a:pos x="T28" y="T29"/>
              </a:cxn>
              <a:cxn ang="T125">
                <a:pos x="T30" y="T31"/>
              </a:cxn>
              <a:cxn ang="T126">
                <a:pos x="T32" y="T33"/>
              </a:cxn>
              <a:cxn ang="T127">
                <a:pos x="T34" y="T35"/>
              </a:cxn>
              <a:cxn ang="T128">
                <a:pos x="T36" y="T37"/>
              </a:cxn>
              <a:cxn ang="T129">
                <a:pos x="T38" y="T39"/>
              </a:cxn>
              <a:cxn ang="T130">
                <a:pos x="T40" y="T41"/>
              </a:cxn>
              <a:cxn ang="T131">
                <a:pos x="T42" y="T43"/>
              </a:cxn>
              <a:cxn ang="T132">
                <a:pos x="T44" y="T45"/>
              </a:cxn>
              <a:cxn ang="T133">
                <a:pos x="T46" y="T47"/>
              </a:cxn>
              <a:cxn ang="T134">
                <a:pos x="T48" y="T49"/>
              </a:cxn>
              <a:cxn ang="T135">
                <a:pos x="T50" y="T51"/>
              </a:cxn>
              <a:cxn ang="T136">
                <a:pos x="T52" y="T53"/>
              </a:cxn>
              <a:cxn ang="T137">
                <a:pos x="T54" y="T55"/>
              </a:cxn>
              <a:cxn ang="T138">
                <a:pos x="T56" y="T57"/>
              </a:cxn>
              <a:cxn ang="T139">
                <a:pos x="T58" y="T59"/>
              </a:cxn>
              <a:cxn ang="T140">
                <a:pos x="T60" y="T61"/>
              </a:cxn>
              <a:cxn ang="T141">
                <a:pos x="T62" y="T63"/>
              </a:cxn>
              <a:cxn ang="T142">
                <a:pos x="T64" y="T65"/>
              </a:cxn>
              <a:cxn ang="T143">
                <a:pos x="T66" y="T67"/>
              </a:cxn>
              <a:cxn ang="T144">
                <a:pos x="T68" y="T69"/>
              </a:cxn>
              <a:cxn ang="T145">
                <a:pos x="T70" y="T71"/>
              </a:cxn>
              <a:cxn ang="T146">
                <a:pos x="T72" y="T73"/>
              </a:cxn>
              <a:cxn ang="T147">
                <a:pos x="T74" y="T75"/>
              </a:cxn>
              <a:cxn ang="T148">
                <a:pos x="T76" y="T77"/>
              </a:cxn>
              <a:cxn ang="T149">
                <a:pos x="T78" y="T79"/>
              </a:cxn>
              <a:cxn ang="T150">
                <a:pos x="T80" y="T81"/>
              </a:cxn>
              <a:cxn ang="T151">
                <a:pos x="T82" y="T83"/>
              </a:cxn>
              <a:cxn ang="T152">
                <a:pos x="T84" y="T85"/>
              </a:cxn>
              <a:cxn ang="T153">
                <a:pos x="T86" y="T87"/>
              </a:cxn>
              <a:cxn ang="T154">
                <a:pos x="T88" y="T89"/>
              </a:cxn>
              <a:cxn ang="T155">
                <a:pos x="T90" y="T91"/>
              </a:cxn>
              <a:cxn ang="T156">
                <a:pos x="T92" y="T93"/>
              </a:cxn>
              <a:cxn ang="T157">
                <a:pos x="T94" y="T95"/>
              </a:cxn>
              <a:cxn ang="T158">
                <a:pos x="T96" y="T97"/>
              </a:cxn>
              <a:cxn ang="T159">
                <a:pos x="T98" y="T99"/>
              </a:cxn>
              <a:cxn ang="T160">
                <a:pos x="T100" y="T101"/>
              </a:cxn>
              <a:cxn ang="T161">
                <a:pos x="T102" y="T103"/>
              </a:cxn>
              <a:cxn ang="T162">
                <a:pos x="T104" y="T105"/>
              </a:cxn>
              <a:cxn ang="T163">
                <a:pos x="T106" y="T107"/>
              </a:cxn>
              <a:cxn ang="T164">
                <a:pos x="T108" y="T109"/>
              </a:cxn>
            </a:cxnLst>
            <a:rect l="T165" t="T166" r="T167" b="T168"/>
            <a:pathLst>
              <a:path w="2141343" h="2133291">
                <a:moveTo>
                  <a:pt x="1821617" y="0"/>
                </a:moveTo>
                <a:lnTo>
                  <a:pt x="1871808" y="32349"/>
                </a:lnTo>
                <a:lnTo>
                  <a:pt x="1929474" y="32349"/>
                </a:lnTo>
                <a:lnTo>
                  <a:pt x="1979664" y="32349"/>
                </a:lnTo>
                <a:lnTo>
                  <a:pt x="2065950" y="32349"/>
                </a:lnTo>
                <a:lnTo>
                  <a:pt x="2101831" y="53976"/>
                </a:lnTo>
                <a:lnTo>
                  <a:pt x="2141343" y="107951"/>
                </a:lnTo>
                <a:cubicBezTo>
                  <a:pt x="2127033" y="127215"/>
                  <a:pt x="2112510" y="146297"/>
                  <a:pt x="2098200" y="165561"/>
                </a:cubicBezTo>
                <a:lnTo>
                  <a:pt x="2037117" y="248250"/>
                </a:lnTo>
                <a:cubicBezTo>
                  <a:pt x="2032418" y="274602"/>
                  <a:pt x="2027506" y="301135"/>
                  <a:pt x="2022807" y="327487"/>
                </a:cubicBezTo>
                <a:lnTo>
                  <a:pt x="2022807" y="381462"/>
                </a:lnTo>
                <a:lnTo>
                  <a:pt x="2055058" y="442707"/>
                </a:lnTo>
                <a:cubicBezTo>
                  <a:pt x="2059970" y="458336"/>
                  <a:pt x="2064668" y="473784"/>
                  <a:pt x="2069581" y="489413"/>
                </a:cubicBezTo>
                <a:cubicBezTo>
                  <a:pt x="2073212" y="495410"/>
                  <a:pt x="2076629" y="501407"/>
                  <a:pt x="2080260" y="507405"/>
                </a:cubicBezTo>
                <a:lnTo>
                  <a:pt x="2098200" y="554292"/>
                </a:lnTo>
                <a:lnTo>
                  <a:pt x="2065950" y="561380"/>
                </a:lnTo>
                <a:lnTo>
                  <a:pt x="2033486" y="550658"/>
                </a:lnTo>
                <a:cubicBezTo>
                  <a:pt x="2041816" y="569922"/>
                  <a:pt x="2050359" y="589004"/>
                  <a:pt x="2058688" y="608268"/>
                </a:cubicBezTo>
                <a:cubicBezTo>
                  <a:pt x="2057407" y="626259"/>
                  <a:pt x="2056339" y="644251"/>
                  <a:pt x="2055058" y="662243"/>
                </a:cubicBezTo>
                <a:cubicBezTo>
                  <a:pt x="2058688" y="669331"/>
                  <a:pt x="2062319" y="676600"/>
                  <a:pt x="2065950" y="683688"/>
                </a:cubicBezTo>
                <a:cubicBezTo>
                  <a:pt x="2063601" y="696954"/>
                  <a:pt x="2061038" y="710039"/>
                  <a:pt x="2058688" y="723306"/>
                </a:cubicBezTo>
                <a:cubicBezTo>
                  <a:pt x="2055058" y="737663"/>
                  <a:pt x="2051640" y="752202"/>
                  <a:pt x="2048010" y="766559"/>
                </a:cubicBezTo>
                <a:cubicBezTo>
                  <a:pt x="2039680" y="780916"/>
                  <a:pt x="2031137" y="795273"/>
                  <a:pt x="2022807" y="809630"/>
                </a:cubicBezTo>
                <a:cubicBezTo>
                  <a:pt x="2020458" y="825259"/>
                  <a:pt x="2017895" y="840889"/>
                  <a:pt x="2015546" y="856518"/>
                </a:cubicBezTo>
                <a:lnTo>
                  <a:pt x="1979664" y="863605"/>
                </a:lnTo>
                <a:lnTo>
                  <a:pt x="1979664" y="834891"/>
                </a:lnTo>
                <a:lnTo>
                  <a:pt x="1947414" y="852883"/>
                </a:lnTo>
                <a:lnTo>
                  <a:pt x="1914950" y="867240"/>
                </a:lnTo>
                <a:lnTo>
                  <a:pt x="1886331" y="867240"/>
                </a:lnTo>
                <a:lnTo>
                  <a:pt x="1839557" y="867240"/>
                </a:lnTo>
                <a:lnTo>
                  <a:pt x="1810724" y="896136"/>
                </a:lnTo>
                <a:cubicBezTo>
                  <a:pt x="1806026" y="906858"/>
                  <a:pt x="1801113" y="917763"/>
                  <a:pt x="1796414" y="928485"/>
                </a:cubicBezTo>
                <a:cubicBezTo>
                  <a:pt x="1786804" y="939207"/>
                  <a:pt x="1777406" y="950111"/>
                  <a:pt x="1767795" y="960834"/>
                </a:cubicBezTo>
                <a:lnTo>
                  <a:pt x="1724652" y="993183"/>
                </a:lnTo>
                <a:cubicBezTo>
                  <a:pt x="1713760" y="1001542"/>
                  <a:pt x="1703081" y="1010084"/>
                  <a:pt x="1692188" y="1018444"/>
                </a:cubicBezTo>
                <a:lnTo>
                  <a:pt x="1670617" y="1047158"/>
                </a:lnTo>
                <a:lnTo>
                  <a:pt x="1627688" y="1068784"/>
                </a:lnTo>
                <a:lnTo>
                  <a:pt x="1595224" y="1090411"/>
                </a:lnTo>
                <a:cubicBezTo>
                  <a:pt x="1590525" y="1097680"/>
                  <a:pt x="1585613" y="1104768"/>
                  <a:pt x="1580914" y="1112037"/>
                </a:cubicBezTo>
                <a:lnTo>
                  <a:pt x="1570022" y="1137117"/>
                </a:lnTo>
                <a:lnTo>
                  <a:pt x="1570022" y="1169647"/>
                </a:lnTo>
                <a:lnTo>
                  <a:pt x="1570022" y="1201996"/>
                </a:lnTo>
                <a:lnTo>
                  <a:pt x="1602486" y="1209084"/>
                </a:lnTo>
                <a:lnTo>
                  <a:pt x="1634736" y="1212719"/>
                </a:lnTo>
                <a:lnTo>
                  <a:pt x="1606116" y="1252337"/>
                </a:lnTo>
                <a:lnTo>
                  <a:pt x="1606116" y="1277598"/>
                </a:lnTo>
                <a:lnTo>
                  <a:pt x="1606116" y="1309947"/>
                </a:lnTo>
                <a:cubicBezTo>
                  <a:pt x="1602486" y="1324304"/>
                  <a:pt x="1598855" y="1338843"/>
                  <a:pt x="1595224" y="1353200"/>
                </a:cubicBezTo>
                <a:lnTo>
                  <a:pt x="1559343" y="1385549"/>
                </a:lnTo>
                <a:cubicBezTo>
                  <a:pt x="1562974" y="1398815"/>
                  <a:pt x="1566391" y="1411900"/>
                  <a:pt x="1570022" y="1425167"/>
                </a:cubicBezTo>
                <a:lnTo>
                  <a:pt x="1570022" y="1457334"/>
                </a:lnTo>
                <a:lnTo>
                  <a:pt x="1562893" y="1459046"/>
                </a:lnTo>
                <a:lnTo>
                  <a:pt x="1568161" y="1461615"/>
                </a:lnTo>
                <a:lnTo>
                  <a:pt x="1525254" y="1472283"/>
                </a:lnTo>
                <a:lnTo>
                  <a:pt x="1471702" y="1486551"/>
                </a:lnTo>
                <a:lnTo>
                  <a:pt x="1432387" y="1507954"/>
                </a:lnTo>
                <a:lnTo>
                  <a:pt x="1389480" y="1493686"/>
                </a:lnTo>
                <a:lnTo>
                  <a:pt x="1353757" y="1493686"/>
                </a:lnTo>
                <a:lnTo>
                  <a:pt x="1325217" y="1518689"/>
                </a:lnTo>
                <a:lnTo>
                  <a:pt x="1293021" y="1540025"/>
                </a:lnTo>
                <a:cubicBezTo>
                  <a:pt x="1289429" y="1554294"/>
                  <a:pt x="1285902" y="1568562"/>
                  <a:pt x="1282310" y="1582831"/>
                </a:cubicBezTo>
                <a:lnTo>
                  <a:pt x="1250179" y="1604233"/>
                </a:lnTo>
                <a:lnTo>
                  <a:pt x="1217983" y="1622036"/>
                </a:lnTo>
                <a:lnTo>
                  <a:pt x="1184055" y="1654173"/>
                </a:lnTo>
                <a:lnTo>
                  <a:pt x="1184055" y="1686244"/>
                </a:lnTo>
                <a:cubicBezTo>
                  <a:pt x="1182837" y="1698112"/>
                  <a:pt x="1181682" y="1710047"/>
                  <a:pt x="1180464" y="1721915"/>
                </a:cubicBezTo>
                <a:lnTo>
                  <a:pt x="1191238" y="1771788"/>
                </a:lnTo>
                <a:lnTo>
                  <a:pt x="1228757" y="1803926"/>
                </a:lnTo>
                <a:cubicBezTo>
                  <a:pt x="1232349" y="1815794"/>
                  <a:pt x="1235876" y="1827662"/>
                  <a:pt x="1239468" y="1839530"/>
                </a:cubicBezTo>
                <a:lnTo>
                  <a:pt x="1214455" y="1868067"/>
                </a:lnTo>
                <a:lnTo>
                  <a:pt x="1180464" y="1889470"/>
                </a:lnTo>
                <a:lnTo>
                  <a:pt x="1148332" y="1903738"/>
                </a:lnTo>
                <a:lnTo>
                  <a:pt x="1105489" y="1921541"/>
                </a:lnTo>
                <a:cubicBezTo>
                  <a:pt x="1109081" y="1933409"/>
                  <a:pt x="1112608" y="1945344"/>
                  <a:pt x="1116200" y="1957212"/>
                </a:cubicBezTo>
                <a:lnTo>
                  <a:pt x="1073294" y="2017820"/>
                </a:lnTo>
                <a:lnTo>
                  <a:pt x="1051872" y="2064159"/>
                </a:lnTo>
                <a:lnTo>
                  <a:pt x="998255" y="2085562"/>
                </a:lnTo>
                <a:lnTo>
                  <a:pt x="958940" y="2096296"/>
                </a:lnTo>
                <a:lnTo>
                  <a:pt x="926809" y="2128367"/>
                </a:lnTo>
                <a:lnTo>
                  <a:pt x="926747" y="2122768"/>
                </a:lnTo>
                <a:cubicBezTo>
                  <a:pt x="924540" y="2127498"/>
                  <a:pt x="922914" y="2131099"/>
                  <a:pt x="922097" y="2133291"/>
                </a:cubicBezTo>
                <a:lnTo>
                  <a:pt x="875265" y="2101197"/>
                </a:lnTo>
                <a:cubicBezTo>
                  <a:pt x="871681" y="2079808"/>
                  <a:pt x="868142" y="2058419"/>
                  <a:pt x="864465" y="2037030"/>
                </a:cubicBezTo>
                <a:cubicBezTo>
                  <a:pt x="858491" y="2022770"/>
                  <a:pt x="852470" y="2008511"/>
                  <a:pt x="846496" y="1994251"/>
                </a:cubicBezTo>
                <a:lnTo>
                  <a:pt x="799710" y="1969307"/>
                </a:lnTo>
                <a:lnTo>
                  <a:pt x="760140" y="1962177"/>
                </a:lnTo>
                <a:lnTo>
                  <a:pt x="724109" y="1969307"/>
                </a:lnTo>
                <a:lnTo>
                  <a:pt x="673693" y="1969307"/>
                </a:lnTo>
                <a:lnTo>
                  <a:pt x="637754" y="2004956"/>
                </a:lnTo>
                <a:lnTo>
                  <a:pt x="594507" y="1994251"/>
                </a:lnTo>
                <a:lnTo>
                  <a:pt x="551306" y="1972862"/>
                </a:lnTo>
                <a:lnTo>
                  <a:pt x="500890" y="1990676"/>
                </a:lnTo>
                <a:lnTo>
                  <a:pt x="468490" y="1969307"/>
                </a:lnTo>
                <a:cubicBezTo>
                  <a:pt x="467295" y="1956233"/>
                  <a:pt x="463710" y="1945528"/>
                  <a:pt x="462515" y="1932453"/>
                </a:cubicBezTo>
                <a:lnTo>
                  <a:pt x="465667" y="1930211"/>
                </a:lnTo>
                <a:lnTo>
                  <a:pt x="460552" y="1930213"/>
                </a:lnTo>
                <a:cubicBezTo>
                  <a:pt x="461720" y="1919414"/>
                  <a:pt x="462887" y="1908615"/>
                  <a:pt x="464055" y="1897718"/>
                </a:cubicBezTo>
                <a:cubicBezTo>
                  <a:pt x="466451" y="1879686"/>
                  <a:pt x="468909" y="1861457"/>
                  <a:pt x="471244" y="1843426"/>
                </a:cubicBezTo>
                <a:lnTo>
                  <a:pt x="453486" y="1796366"/>
                </a:lnTo>
                <a:cubicBezTo>
                  <a:pt x="448693" y="1779425"/>
                  <a:pt x="443838" y="1762781"/>
                  <a:pt x="439107" y="1745740"/>
                </a:cubicBezTo>
                <a:lnTo>
                  <a:pt x="410534" y="1720477"/>
                </a:lnTo>
                <a:lnTo>
                  <a:pt x="346321" y="1702248"/>
                </a:lnTo>
                <a:lnTo>
                  <a:pt x="321311" y="1666185"/>
                </a:lnTo>
                <a:lnTo>
                  <a:pt x="303491" y="1622990"/>
                </a:lnTo>
                <a:lnTo>
                  <a:pt x="260601" y="1626556"/>
                </a:lnTo>
                <a:lnTo>
                  <a:pt x="224899" y="1626556"/>
                </a:lnTo>
                <a:lnTo>
                  <a:pt x="182070" y="1626556"/>
                </a:lnTo>
                <a:lnTo>
                  <a:pt x="142867" y="1601392"/>
                </a:lnTo>
                <a:lnTo>
                  <a:pt x="110668" y="1557800"/>
                </a:lnTo>
                <a:lnTo>
                  <a:pt x="110668" y="1503508"/>
                </a:lnTo>
                <a:lnTo>
                  <a:pt x="89284" y="1438517"/>
                </a:lnTo>
                <a:lnTo>
                  <a:pt x="75090" y="1355395"/>
                </a:lnTo>
                <a:lnTo>
                  <a:pt x="46455" y="1246812"/>
                </a:lnTo>
                <a:cubicBezTo>
                  <a:pt x="42829" y="1220359"/>
                  <a:pt x="39327" y="1193808"/>
                  <a:pt x="35701" y="1167257"/>
                </a:cubicBezTo>
                <a:cubicBezTo>
                  <a:pt x="28635" y="1132185"/>
                  <a:pt x="21446" y="1097510"/>
                  <a:pt x="14318" y="1062240"/>
                </a:cubicBezTo>
                <a:cubicBezTo>
                  <a:pt x="9525" y="1033410"/>
                  <a:pt x="4793" y="1004679"/>
                  <a:pt x="0" y="975750"/>
                </a:cubicBezTo>
                <a:lnTo>
                  <a:pt x="0" y="939489"/>
                </a:lnTo>
                <a:lnTo>
                  <a:pt x="9313" y="943959"/>
                </a:lnTo>
                <a:lnTo>
                  <a:pt x="5563" y="939207"/>
                </a:lnTo>
                <a:lnTo>
                  <a:pt x="37814" y="942842"/>
                </a:lnTo>
                <a:lnTo>
                  <a:pt x="84587" y="950111"/>
                </a:lnTo>
                <a:lnTo>
                  <a:pt x="138409" y="950111"/>
                </a:lnTo>
                <a:lnTo>
                  <a:pt x="199492" y="953746"/>
                </a:lnTo>
                <a:lnTo>
                  <a:pt x="285778" y="964468"/>
                </a:lnTo>
                <a:lnTo>
                  <a:pt x="372063" y="975191"/>
                </a:lnTo>
                <a:lnTo>
                  <a:pt x="429516" y="982460"/>
                </a:lnTo>
                <a:lnTo>
                  <a:pt x="512170" y="996817"/>
                </a:lnTo>
                <a:lnTo>
                  <a:pt x="598242" y="1007721"/>
                </a:lnTo>
                <a:lnTo>
                  <a:pt x="662956" y="986095"/>
                </a:lnTo>
                <a:lnTo>
                  <a:pt x="720409" y="964468"/>
                </a:lnTo>
                <a:cubicBezTo>
                  <a:pt x="727670" y="956109"/>
                  <a:pt x="734719" y="947567"/>
                  <a:pt x="741980" y="939207"/>
                </a:cubicBezTo>
                <a:lnTo>
                  <a:pt x="770813" y="899589"/>
                </a:lnTo>
                <a:cubicBezTo>
                  <a:pt x="779142" y="881597"/>
                  <a:pt x="787686" y="863605"/>
                  <a:pt x="796015" y="845614"/>
                </a:cubicBezTo>
                <a:lnTo>
                  <a:pt x="828265" y="788185"/>
                </a:lnTo>
                <a:cubicBezTo>
                  <a:pt x="831896" y="767831"/>
                  <a:pt x="835314" y="747295"/>
                  <a:pt x="838944" y="726941"/>
                </a:cubicBezTo>
                <a:cubicBezTo>
                  <a:pt x="844925" y="714946"/>
                  <a:pt x="851118" y="702952"/>
                  <a:pt x="857098" y="690957"/>
                </a:cubicBezTo>
                <a:cubicBezTo>
                  <a:pt x="860729" y="674237"/>
                  <a:pt x="864147" y="657336"/>
                  <a:pt x="867777" y="640616"/>
                </a:cubicBezTo>
                <a:cubicBezTo>
                  <a:pt x="872476" y="624987"/>
                  <a:pt x="877388" y="609358"/>
                  <a:pt x="882087" y="593729"/>
                </a:cubicBezTo>
                <a:lnTo>
                  <a:pt x="910920" y="604633"/>
                </a:lnTo>
                <a:lnTo>
                  <a:pt x="936122" y="608268"/>
                </a:lnTo>
                <a:lnTo>
                  <a:pt x="964742" y="615355"/>
                </a:lnTo>
                <a:lnTo>
                  <a:pt x="1007885" y="608268"/>
                </a:lnTo>
                <a:lnTo>
                  <a:pt x="1088617" y="586641"/>
                </a:lnTo>
                <a:cubicBezTo>
                  <a:pt x="1092248" y="575919"/>
                  <a:pt x="1095879" y="565015"/>
                  <a:pt x="1099510" y="554292"/>
                </a:cubicBezTo>
                <a:cubicBezTo>
                  <a:pt x="1103140" y="542298"/>
                  <a:pt x="1106558" y="530122"/>
                  <a:pt x="1110188" y="518127"/>
                </a:cubicBezTo>
                <a:lnTo>
                  <a:pt x="1131760" y="489413"/>
                </a:lnTo>
                <a:lnTo>
                  <a:pt x="1131760" y="457064"/>
                </a:lnTo>
                <a:lnTo>
                  <a:pt x="1192843" y="446160"/>
                </a:lnTo>
                <a:lnTo>
                  <a:pt x="1218045" y="424715"/>
                </a:lnTo>
                <a:cubicBezTo>
                  <a:pt x="1220395" y="416355"/>
                  <a:pt x="1222958" y="407814"/>
                  <a:pt x="1225307" y="399454"/>
                </a:cubicBezTo>
                <a:lnTo>
                  <a:pt x="1225307" y="367105"/>
                </a:lnTo>
                <a:cubicBezTo>
                  <a:pt x="1232569" y="356383"/>
                  <a:pt x="1239617" y="345479"/>
                  <a:pt x="1246878" y="334756"/>
                </a:cubicBezTo>
                <a:cubicBezTo>
                  <a:pt x="1257557" y="327487"/>
                  <a:pt x="1268450" y="320399"/>
                  <a:pt x="1279129" y="313130"/>
                </a:cubicBezTo>
                <a:lnTo>
                  <a:pt x="1322271" y="305860"/>
                </a:lnTo>
                <a:lnTo>
                  <a:pt x="1354522" y="302226"/>
                </a:lnTo>
                <a:lnTo>
                  <a:pt x="1354522" y="273512"/>
                </a:lnTo>
                <a:lnTo>
                  <a:pt x="1386986" y="259155"/>
                </a:lnTo>
                <a:lnTo>
                  <a:pt x="1429915" y="262789"/>
                </a:lnTo>
                <a:lnTo>
                  <a:pt x="1476688" y="248250"/>
                </a:lnTo>
                <a:lnTo>
                  <a:pt x="1505521" y="208814"/>
                </a:lnTo>
                <a:lnTo>
                  <a:pt x="1541402" y="241163"/>
                </a:lnTo>
                <a:lnTo>
                  <a:pt x="1573653" y="241163"/>
                </a:lnTo>
                <a:lnTo>
                  <a:pt x="1616796" y="215902"/>
                </a:lnTo>
                <a:cubicBezTo>
                  <a:pt x="1627688" y="201544"/>
                  <a:pt x="1638367" y="187006"/>
                  <a:pt x="1649259" y="172649"/>
                </a:cubicBezTo>
                <a:lnTo>
                  <a:pt x="1699450" y="122308"/>
                </a:lnTo>
                <a:lnTo>
                  <a:pt x="1735331" y="75602"/>
                </a:lnTo>
                <a:lnTo>
                  <a:pt x="1778474" y="43253"/>
                </a:lnTo>
                <a:close/>
              </a:path>
            </a:pathLst>
          </a:custGeom>
          <a:solidFill>
            <a:srgbClr val="70B0DF"/>
          </a:solidFill>
          <a:ln w="9525">
            <a:noFill/>
            <a:round/>
            <a:headEnd/>
            <a:tailEnd/>
          </a:ln>
        </p:spPr>
        <p:txBody>
          <a:bodyPr wrap="none" lIns="32632" tIns="32632" rIns="32632" bIns="32632" anchor="ctr"/>
          <a:lstStyle/>
          <a:p>
            <a:pPr defTabSz="891045"/>
            <a:endParaRPr lang="en-US" sz="1700" dirty="0">
              <a:solidFill>
                <a:srgbClr val="003149"/>
              </a:solidFill>
              <a:cs typeface="Arial" panose="020B0604020202020204" pitchFamily="34" charset="0"/>
            </a:endParaRPr>
          </a:p>
        </p:txBody>
      </p:sp>
      <p:sp>
        <p:nvSpPr>
          <p:cNvPr id="89" name="Freeform 919"/>
          <p:cNvSpPr>
            <a:spLocks noChangeAspect="1"/>
          </p:cNvSpPr>
          <p:nvPr/>
        </p:nvSpPr>
        <p:spPr bwMode="gray">
          <a:xfrm>
            <a:off x="2465405" y="2956891"/>
            <a:ext cx="136480" cy="152092"/>
          </a:xfrm>
          <a:custGeom>
            <a:avLst/>
            <a:gdLst>
              <a:gd name="T0" fmla="*/ 0 w 784986"/>
              <a:gd name="T1" fmla="*/ 0 h 785014"/>
              <a:gd name="T2" fmla="*/ 0 w 784986"/>
              <a:gd name="T3" fmla="*/ 0 h 785014"/>
              <a:gd name="T4" fmla="*/ 0 w 784986"/>
              <a:gd name="T5" fmla="*/ 0 h 785014"/>
              <a:gd name="T6" fmla="*/ 0 w 784986"/>
              <a:gd name="T7" fmla="*/ 0 h 785014"/>
              <a:gd name="T8" fmla="*/ 0 w 784986"/>
              <a:gd name="T9" fmla="*/ 0 h 785014"/>
              <a:gd name="T10" fmla="*/ 0 w 784986"/>
              <a:gd name="T11" fmla="*/ 0 h 785014"/>
              <a:gd name="T12" fmla="*/ 0 w 784986"/>
              <a:gd name="T13" fmla="*/ 0 h 785014"/>
              <a:gd name="T14" fmla="*/ 0 w 784986"/>
              <a:gd name="T15" fmla="*/ 0 h 785014"/>
              <a:gd name="T16" fmla="*/ 0 w 784986"/>
              <a:gd name="T17" fmla="*/ 0 h 785014"/>
              <a:gd name="T18" fmla="*/ 0 w 784986"/>
              <a:gd name="T19" fmla="*/ 0 h 785014"/>
              <a:gd name="T20" fmla="*/ 0 w 784986"/>
              <a:gd name="T21" fmla="*/ 0 h 785014"/>
              <a:gd name="T22" fmla="*/ 0 w 784986"/>
              <a:gd name="T23" fmla="*/ 0 h 785014"/>
              <a:gd name="T24" fmla="*/ 0 w 784986"/>
              <a:gd name="T25" fmla="*/ 0 h 785014"/>
              <a:gd name="T26" fmla="*/ 0 w 784986"/>
              <a:gd name="T27" fmla="*/ 0 h 785014"/>
              <a:gd name="T28" fmla="*/ 0 w 784986"/>
              <a:gd name="T29" fmla="*/ 0 h 785014"/>
              <a:gd name="T30" fmla="*/ 0 w 784986"/>
              <a:gd name="T31" fmla="*/ 0 h 785014"/>
              <a:gd name="T32" fmla="*/ 0 w 784986"/>
              <a:gd name="T33" fmla="*/ 0 h 785014"/>
              <a:gd name="T34" fmla="*/ 0 w 784986"/>
              <a:gd name="T35" fmla="*/ 0 h 785014"/>
              <a:gd name="T36" fmla="*/ 0 w 784986"/>
              <a:gd name="T37" fmla="*/ 0 h 785014"/>
              <a:gd name="T38" fmla="*/ 0 w 784986"/>
              <a:gd name="T39" fmla="*/ 0 h 785014"/>
              <a:gd name="T40" fmla="*/ 0 w 784986"/>
              <a:gd name="T41" fmla="*/ 0 h 785014"/>
              <a:gd name="T42" fmla="*/ 0 w 784986"/>
              <a:gd name="T43" fmla="*/ 0 h 785014"/>
              <a:gd name="T44" fmla="*/ 0 w 784986"/>
              <a:gd name="T45" fmla="*/ 0 h 785014"/>
              <a:gd name="T46" fmla="*/ 0 w 784986"/>
              <a:gd name="T47" fmla="*/ 0 h 785014"/>
              <a:gd name="T48" fmla="*/ 0 w 784986"/>
              <a:gd name="T49" fmla="*/ 0 h 785014"/>
              <a:gd name="T50" fmla="*/ 0 w 784986"/>
              <a:gd name="T51" fmla="*/ 0 h 785014"/>
              <a:gd name="T52" fmla="*/ 0 w 784986"/>
              <a:gd name="T53" fmla="*/ 0 h 785014"/>
              <a:gd name="T54" fmla="*/ 0 w 784986"/>
              <a:gd name="T55" fmla="*/ 0 h 785014"/>
              <a:gd name="T56" fmla="*/ 0 w 784986"/>
              <a:gd name="T57" fmla="*/ 0 h 785014"/>
              <a:gd name="T58" fmla="*/ 0 w 784986"/>
              <a:gd name="T59" fmla="*/ 0 h 785014"/>
              <a:gd name="T60" fmla="*/ 0 w 784986"/>
              <a:gd name="T61" fmla="*/ 0 h 785014"/>
              <a:gd name="T62" fmla="*/ 0 w 784986"/>
              <a:gd name="T63" fmla="*/ 0 h 785014"/>
              <a:gd name="T64" fmla="*/ 0 w 784986"/>
              <a:gd name="T65" fmla="*/ 0 h 785014"/>
              <a:gd name="T66" fmla="*/ 0 w 784986"/>
              <a:gd name="T67" fmla="*/ 0 h 785014"/>
              <a:gd name="T68" fmla="*/ 0 w 784986"/>
              <a:gd name="T69" fmla="*/ 0 h 785014"/>
              <a:gd name="T70" fmla="*/ 0 w 784986"/>
              <a:gd name="T71" fmla="*/ 0 h 785014"/>
              <a:gd name="T72" fmla="*/ 0 w 784986"/>
              <a:gd name="T73" fmla="*/ 0 h 785014"/>
              <a:gd name="T74" fmla="*/ 0 w 784986"/>
              <a:gd name="T75" fmla="*/ 0 h 785014"/>
              <a:gd name="T76" fmla="*/ 0 w 784986"/>
              <a:gd name="T77" fmla="*/ 0 h 785014"/>
              <a:gd name="T78" fmla="*/ 0 w 784986"/>
              <a:gd name="T79" fmla="*/ 0 h 785014"/>
              <a:gd name="T80" fmla="*/ 0 w 784986"/>
              <a:gd name="T81" fmla="*/ 0 h 785014"/>
              <a:gd name="T82" fmla="*/ 0 w 784986"/>
              <a:gd name="T83" fmla="*/ 0 h 785014"/>
              <a:gd name="T84" fmla="*/ 0 w 784986"/>
              <a:gd name="T85" fmla="*/ 0 h 785014"/>
              <a:gd name="T86" fmla="*/ 0 w 784986"/>
              <a:gd name="T87" fmla="*/ 0 h 785014"/>
              <a:gd name="T88" fmla="*/ 0 w 784986"/>
              <a:gd name="T89" fmla="*/ 0 h 785014"/>
              <a:gd name="T90" fmla="*/ 0 w 784986"/>
              <a:gd name="T91" fmla="*/ 0 h 785014"/>
              <a:gd name="T92" fmla="*/ 0 w 784986"/>
              <a:gd name="T93" fmla="*/ 0 h 785014"/>
              <a:gd name="T94" fmla="*/ 0 w 784986"/>
              <a:gd name="T95" fmla="*/ 0 h 785014"/>
              <a:gd name="T96" fmla="*/ 0 w 784986"/>
              <a:gd name="T97" fmla="*/ 0 h 785014"/>
              <a:gd name="T98" fmla="*/ 0 w 784986"/>
              <a:gd name="T99" fmla="*/ 0 h 785014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w 784986"/>
              <a:gd name="T151" fmla="*/ 0 h 785014"/>
              <a:gd name="T152" fmla="*/ 784986 w 784986"/>
              <a:gd name="T153" fmla="*/ 785014 h 785014"/>
            </a:gdLst>
            <a:ahLst/>
            <a:cxnLst>
              <a:cxn ang="T100">
                <a:pos x="T0" y="T1"/>
              </a:cxn>
              <a:cxn ang="T101">
                <a:pos x="T2" y="T3"/>
              </a:cxn>
              <a:cxn ang="T102">
                <a:pos x="T4" y="T5"/>
              </a:cxn>
              <a:cxn ang="T103">
                <a:pos x="T6" y="T7"/>
              </a:cxn>
              <a:cxn ang="T104">
                <a:pos x="T8" y="T9"/>
              </a:cxn>
              <a:cxn ang="T105">
                <a:pos x="T10" y="T11"/>
              </a:cxn>
              <a:cxn ang="T106">
                <a:pos x="T12" y="T13"/>
              </a:cxn>
              <a:cxn ang="T107">
                <a:pos x="T14" y="T15"/>
              </a:cxn>
              <a:cxn ang="T108">
                <a:pos x="T16" y="T17"/>
              </a:cxn>
              <a:cxn ang="T109">
                <a:pos x="T18" y="T19"/>
              </a:cxn>
              <a:cxn ang="T110">
                <a:pos x="T20" y="T21"/>
              </a:cxn>
              <a:cxn ang="T111">
                <a:pos x="T22" y="T23"/>
              </a:cxn>
              <a:cxn ang="T112">
                <a:pos x="T24" y="T25"/>
              </a:cxn>
              <a:cxn ang="T113">
                <a:pos x="T26" y="T27"/>
              </a:cxn>
              <a:cxn ang="T114">
                <a:pos x="T28" y="T29"/>
              </a:cxn>
              <a:cxn ang="T115">
                <a:pos x="T30" y="T31"/>
              </a:cxn>
              <a:cxn ang="T116">
                <a:pos x="T32" y="T33"/>
              </a:cxn>
              <a:cxn ang="T117">
                <a:pos x="T34" y="T35"/>
              </a:cxn>
              <a:cxn ang="T118">
                <a:pos x="T36" y="T37"/>
              </a:cxn>
              <a:cxn ang="T119">
                <a:pos x="T38" y="T39"/>
              </a:cxn>
              <a:cxn ang="T120">
                <a:pos x="T40" y="T41"/>
              </a:cxn>
              <a:cxn ang="T121">
                <a:pos x="T42" y="T43"/>
              </a:cxn>
              <a:cxn ang="T122">
                <a:pos x="T44" y="T45"/>
              </a:cxn>
              <a:cxn ang="T123">
                <a:pos x="T46" y="T47"/>
              </a:cxn>
              <a:cxn ang="T124">
                <a:pos x="T48" y="T49"/>
              </a:cxn>
              <a:cxn ang="T125">
                <a:pos x="T50" y="T51"/>
              </a:cxn>
              <a:cxn ang="T126">
                <a:pos x="T52" y="T53"/>
              </a:cxn>
              <a:cxn ang="T127">
                <a:pos x="T54" y="T55"/>
              </a:cxn>
              <a:cxn ang="T128">
                <a:pos x="T56" y="T57"/>
              </a:cxn>
              <a:cxn ang="T129">
                <a:pos x="T58" y="T59"/>
              </a:cxn>
              <a:cxn ang="T130">
                <a:pos x="T60" y="T61"/>
              </a:cxn>
              <a:cxn ang="T131">
                <a:pos x="T62" y="T63"/>
              </a:cxn>
              <a:cxn ang="T132">
                <a:pos x="T64" y="T65"/>
              </a:cxn>
              <a:cxn ang="T133">
                <a:pos x="T66" y="T67"/>
              </a:cxn>
              <a:cxn ang="T134">
                <a:pos x="T68" y="T69"/>
              </a:cxn>
              <a:cxn ang="T135">
                <a:pos x="T70" y="T71"/>
              </a:cxn>
              <a:cxn ang="T136">
                <a:pos x="T72" y="T73"/>
              </a:cxn>
              <a:cxn ang="T137">
                <a:pos x="T74" y="T75"/>
              </a:cxn>
              <a:cxn ang="T138">
                <a:pos x="T76" y="T77"/>
              </a:cxn>
              <a:cxn ang="T139">
                <a:pos x="T78" y="T79"/>
              </a:cxn>
              <a:cxn ang="T140">
                <a:pos x="T80" y="T81"/>
              </a:cxn>
              <a:cxn ang="T141">
                <a:pos x="T82" y="T83"/>
              </a:cxn>
              <a:cxn ang="T142">
                <a:pos x="T84" y="T85"/>
              </a:cxn>
              <a:cxn ang="T143">
                <a:pos x="T86" y="T87"/>
              </a:cxn>
              <a:cxn ang="T144">
                <a:pos x="T88" y="T89"/>
              </a:cxn>
              <a:cxn ang="T145">
                <a:pos x="T90" y="T91"/>
              </a:cxn>
              <a:cxn ang="T146">
                <a:pos x="T92" y="T93"/>
              </a:cxn>
              <a:cxn ang="T147">
                <a:pos x="T94" y="T95"/>
              </a:cxn>
              <a:cxn ang="T148">
                <a:pos x="T96" y="T97"/>
              </a:cxn>
              <a:cxn ang="T149">
                <a:pos x="T98" y="T99"/>
              </a:cxn>
            </a:cxnLst>
            <a:rect l="T150" t="T151" r="T152" b="T153"/>
            <a:pathLst>
              <a:path w="784986" h="785014">
                <a:moveTo>
                  <a:pt x="647430" y="775628"/>
                </a:moveTo>
                <a:cubicBezTo>
                  <a:pt x="645248" y="779910"/>
                  <a:pt x="642463" y="783148"/>
                  <a:pt x="638934" y="785014"/>
                </a:cubicBezTo>
                <a:close/>
                <a:moveTo>
                  <a:pt x="288527" y="0"/>
                </a:moveTo>
                <a:lnTo>
                  <a:pt x="320832" y="43119"/>
                </a:lnTo>
                <a:lnTo>
                  <a:pt x="353191" y="25137"/>
                </a:lnTo>
                <a:lnTo>
                  <a:pt x="399008" y="46697"/>
                </a:lnTo>
                <a:lnTo>
                  <a:pt x="452921" y="43119"/>
                </a:lnTo>
                <a:lnTo>
                  <a:pt x="471258" y="58965"/>
                </a:lnTo>
                <a:lnTo>
                  <a:pt x="470826" y="60276"/>
                </a:lnTo>
                <a:lnTo>
                  <a:pt x="488051" y="75278"/>
                </a:lnTo>
                <a:lnTo>
                  <a:pt x="504033" y="82422"/>
                </a:lnTo>
                <a:lnTo>
                  <a:pt x="525259" y="103985"/>
                </a:lnTo>
                <a:lnTo>
                  <a:pt x="546484" y="125355"/>
                </a:lnTo>
                <a:lnTo>
                  <a:pt x="537672" y="146853"/>
                </a:lnTo>
                <a:cubicBezTo>
                  <a:pt x="538745" y="158761"/>
                  <a:pt x="539977" y="170797"/>
                  <a:pt x="541272" y="182576"/>
                </a:cubicBezTo>
                <a:lnTo>
                  <a:pt x="558012" y="193196"/>
                </a:lnTo>
                <a:lnTo>
                  <a:pt x="573994" y="205683"/>
                </a:lnTo>
                <a:lnTo>
                  <a:pt x="591714" y="220101"/>
                </a:lnTo>
                <a:lnTo>
                  <a:pt x="605895" y="230786"/>
                </a:lnTo>
                <a:lnTo>
                  <a:pt x="634322" y="237995"/>
                </a:lnTo>
                <a:cubicBezTo>
                  <a:pt x="635459" y="248036"/>
                  <a:pt x="636659" y="258206"/>
                  <a:pt x="637860" y="268376"/>
                </a:cubicBezTo>
                <a:lnTo>
                  <a:pt x="637860" y="300495"/>
                </a:lnTo>
                <a:lnTo>
                  <a:pt x="637860" y="332678"/>
                </a:lnTo>
                <a:lnTo>
                  <a:pt x="621846" y="354176"/>
                </a:lnTo>
                <a:cubicBezTo>
                  <a:pt x="624278" y="361836"/>
                  <a:pt x="626615" y="369624"/>
                  <a:pt x="628953" y="377283"/>
                </a:cubicBezTo>
                <a:cubicBezTo>
                  <a:pt x="630721" y="389191"/>
                  <a:pt x="632585" y="400970"/>
                  <a:pt x="634322" y="413007"/>
                </a:cubicBezTo>
                <a:lnTo>
                  <a:pt x="653684" y="439847"/>
                </a:lnTo>
                <a:lnTo>
                  <a:pt x="653684" y="466559"/>
                </a:lnTo>
                <a:lnTo>
                  <a:pt x="669697" y="489924"/>
                </a:lnTo>
                <a:lnTo>
                  <a:pt x="659085" y="511422"/>
                </a:lnTo>
                <a:cubicBezTo>
                  <a:pt x="661517" y="531054"/>
                  <a:pt x="663854" y="550750"/>
                  <a:pt x="666191" y="570253"/>
                </a:cubicBezTo>
                <a:lnTo>
                  <a:pt x="691049" y="573857"/>
                </a:lnTo>
                <a:lnTo>
                  <a:pt x="713127" y="573857"/>
                </a:lnTo>
                <a:cubicBezTo>
                  <a:pt x="713790" y="580938"/>
                  <a:pt x="714264" y="588147"/>
                  <a:pt x="714927" y="595291"/>
                </a:cubicBezTo>
                <a:lnTo>
                  <a:pt x="730941" y="616597"/>
                </a:lnTo>
                <a:lnTo>
                  <a:pt x="755704" y="638031"/>
                </a:lnTo>
                <a:lnTo>
                  <a:pt x="766474" y="655989"/>
                </a:lnTo>
                <a:lnTo>
                  <a:pt x="784983" y="702461"/>
                </a:lnTo>
                <a:lnTo>
                  <a:pt x="784986" y="702462"/>
                </a:lnTo>
                <a:lnTo>
                  <a:pt x="776501" y="717941"/>
                </a:lnTo>
                <a:lnTo>
                  <a:pt x="751015" y="717941"/>
                </a:lnTo>
                <a:lnTo>
                  <a:pt x="723849" y="719658"/>
                </a:lnTo>
                <a:lnTo>
                  <a:pt x="703475" y="729977"/>
                </a:lnTo>
                <a:lnTo>
                  <a:pt x="688183" y="743738"/>
                </a:lnTo>
                <a:lnTo>
                  <a:pt x="679697" y="760934"/>
                </a:lnTo>
                <a:lnTo>
                  <a:pt x="657614" y="764376"/>
                </a:lnTo>
                <a:lnTo>
                  <a:pt x="647430" y="775628"/>
                </a:lnTo>
                <a:lnTo>
                  <a:pt x="651349" y="764384"/>
                </a:lnTo>
                <a:lnTo>
                  <a:pt x="638934" y="785014"/>
                </a:lnTo>
                <a:lnTo>
                  <a:pt x="638934" y="763150"/>
                </a:lnTo>
                <a:lnTo>
                  <a:pt x="621126" y="752218"/>
                </a:lnTo>
                <a:lnTo>
                  <a:pt x="610400" y="733970"/>
                </a:lnTo>
                <a:lnTo>
                  <a:pt x="596133" y="719421"/>
                </a:lnTo>
                <a:lnTo>
                  <a:pt x="583636" y="703003"/>
                </a:lnTo>
                <a:lnTo>
                  <a:pt x="553331" y="690242"/>
                </a:lnTo>
                <a:lnTo>
                  <a:pt x="521256" y="681138"/>
                </a:lnTo>
                <a:lnTo>
                  <a:pt x="499855" y="681138"/>
                </a:lnTo>
                <a:lnTo>
                  <a:pt x="476684" y="659274"/>
                </a:lnTo>
                <a:lnTo>
                  <a:pt x="439194" y="642855"/>
                </a:lnTo>
                <a:lnTo>
                  <a:pt x="419615" y="642855"/>
                </a:lnTo>
                <a:lnTo>
                  <a:pt x="403526" y="624649"/>
                </a:lnTo>
                <a:lnTo>
                  <a:pt x="376814" y="624649"/>
                </a:lnTo>
                <a:lnTo>
                  <a:pt x="350050" y="615545"/>
                </a:lnTo>
                <a:cubicBezTo>
                  <a:pt x="346509" y="608230"/>
                  <a:pt x="342916" y="600955"/>
                  <a:pt x="339376" y="593640"/>
                </a:cubicBezTo>
                <a:lnTo>
                  <a:pt x="321516" y="591852"/>
                </a:lnTo>
                <a:cubicBezTo>
                  <a:pt x="320318" y="580920"/>
                  <a:pt x="319173" y="569947"/>
                  <a:pt x="317975" y="559015"/>
                </a:cubicBezTo>
                <a:lnTo>
                  <a:pt x="291211" y="542637"/>
                </a:lnTo>
                <a:cubicBezTo>
                  <a:pt x="288816" y="533534"/>
                  <a:pt x="286473" y="524390"/>
                  <a:pt x="284077" y="515286"/>
                </a:cubicBezTo>
                <a:lnTo>
                  <a:pt x="269810" y="500697"/>
                </a:lnTo>
                <a:cubicBezTo>
                  <a:pt x="266217" y="491593"/>
                  <a:pt x="262677" y="482490"/>
                  <a:pt x="259084" y="473387"/>
                </a:cubicBezTo>
                <a:lnTo>
                  <a:pt x="235913" y="456968"/>
                </a:lnTo>
                <a:lnTo>
                  <a:pt x="203838" y="433275"/>
                </a:lnTo>
                <a:lnTo>
                  <a:pt x="182437" y="396821"/>
                </a:lnTo>
                <a:lnTo>
                  <a:pt x="161036" y="396821"/>
                </a:lnTo>
                <a:lnTo>
                  <a:pt x="146769" y="378614"/>
                </a:lnTo>
                <a:cubicBezTo>
                  <a:pt x="137240" y="378614"/>
                  <a:pt x="123025" y="392919"/>
                  <a:pt x="113496" y="392919"/>
                </a:cubicBezTo>
                <a:lnTo>
                  <a:pt x="114868" y="389446"/>
                </a:lnTo>
                <a:lnTo>
                  <a:pt x="112552" y="390409"/>
                </a:lnTo>
                <a:lnTo>
                  <a:pt x="91125" y="380029"/>
                </a:lnTo>
                <a:lnTo>
                  <a:pt x="75049" y="359007"/>
                </a:lnTo>
                <a:lnTo>
                  <a:pt x="101807" y="337688"/>
                </a:lnTo>
                <a:lnTo>
                  <a:pt x="118009" y="305691"/>
                </a:lnTo>
                <a:lnTo>
                  <a:pt x="96560" y="284148"/>
                </a:lnTo>
                <a:lnTo>
                  <a:pt x="53621" y="236078"/>
                </a:lnTo>
                <a:lnTo>
                  <a:pt x="42897" y="204602"/>
                </a:lnTo>
                <a:lnTo>
                  <a:pt x="32173" y="172902"/>
                </a:lnTo>
                <a:lnTo>
                  <a:pt x="0" y="156011"/>
                </a:lnTo>
                <a:lnTo>
                  <a:pt x="10724" y="119325"/>
                </a:lnTo>
                <a:lnTo>
                  <a:pt x="37629" y="113558"/>
                </a:lnTo>
                <a:lnTo>
                  <a:pt x="53621" y="98341"/>
                </a:lnTo>
                <a:lnTo>
                  <a:pt x="91125" y="92723"/>
                </a:lnTo>
                <a:lnTo>
                  <a:pt x="101807" y="76762"/>
                </a:lnTo>
                <a:lnTo>
                  <a:pt x="112552" y="50048"/>
                </a:lnTo>
                <a:lnTo>
                  <a:pt x="139353" y="39593"/>
                </a:lnTo>
                <a:lnTo>
                  <a:pt x="171546" y="60949"/>
                </a:lnTo>
                <a:lnTo>
                  <a:pt x="192974" y="55405"/>
                </a:lnTo>
                <a:lnTo>
                  <a:pt x="209050" y="39593"/>
                </a:lnTo>
                <a:cubicBezTo>
                  <a:pt x="207273" y="32858"/>
                  <a:pt x="205538" y="25157"/>
                  <a:pt x="203677" y="18348"/>
                </a:cubicBezTo>
                <a:lnTo>
                  <a:pt x="206934" y="20228"/>
                </a:lnTo>
                <a:lnTo>
                  <a:pt x="203167" y="11667"/>
                </a:lnTo>
                <a:lnTo>
                  <a:pt x="245392" y="3608"/>
                </a:lnTo>
                <a:close/>
              </a:path>
            </a:pathLst>
          </a:custGeom>
          <a:solidFill>
            <a:srgbClr val="70B0DF"/>
          </a:solidFill>
          <a:ln w="3175" cap="flat" cmpd="sng">
            <a:noFill/>
            <a:prstDash val="solid"/>
            <a:round/>
            <a:headEnd/>
            <a:tailEnd/>
          </a:ln>
        </p:spPr>
        <p:txBody>
          <a:bodyPr wrap="none" lIns="32632" tIns="32632" rIns="32632" bIns="32632" anchor="ctr"/>
          <a:lstStyle/>
          <a:p>
            <a:pPr defTabSz="891045"/>
            <a:endParaRPr lang="en-US" sz="1700" dirty="0">
              <a:solidFill>
                <a:srgbClr val="003149"/>
              </a:solidFill>
              <a:cs typeface="Arial" panose="020B0604020202020204" pitchFamily="34" charset="0"/>
            </a:endParaRPr>
          </a:p>
        </p:txBody>
      </p:sp>
      <p:sp>
        <p:nvSpPr>
          <p:cNvPr id="90" name="Freeform 830"/>
          <p:cNvSpPr>
            <a:spLocks noChangeAspect="1"/>
          </p:cNvSpPr>
          <p:nvPr>
            <p:custDataLst>
              <p:tags r:id="rId61"/>
            </p:custDataLst>
          </p:nvPr>
        </p:nvSpPr>
        <p:spPr bwMode="gray">
          <a:xfrm>
            <a:off x="6123368" y="1750234"/>
            <a:ext cx="668186" cy="813551"/>
          </a:xfrm>
          <a:custGeom>
            <a:avLst/>
            <a:gdLst>
              <a:gd name="T0" fmla="*/ 0 w 3871492"/>
              <a:gd name="T1" fmla="*/ 0 h 4159253"/>
              <a:gd name="T2" fmla="*/ 0 w 3871492"/>
              <a:gd name="T3" fmla="*/ 0 h 4159253"/>
              <a:gd name="T4" fmla="*/ 0 w 3871492"/>
              <a:gd name="T5" fmla="*/ 0 h 4159253"/>
              <a:gd name="T6" fmla="*/ 0 w 3871492"/>
              <a:gd name="T7" fmla="*/ 0 h 4159253"/>
              <a:gd name="T8" fmla="*/ 0 w 3871492"/>
              <a:gd name="T9" fmla="*/ 0 h 4159253"/>
              <a:gd name="T10" fmla="*/ 0 w 3871492"/>
              <a:gd name="T11" fmla="*/ 0 h 4159253"/>
              <a:gd name="T12" fmla="*/ 0 w 3871492"/>
              <a:gd name="T13" fmla="*/ 0 h 4159253"/>
              <a:gd name="T14" fmla="*/ 0 w 3871492"/>
              <a:gd name="T15" fmla="*/ 0 h 4159253"/>
              <a:gd name="T16" fmla="*/ 0 w 3871492"/>
              <a:gd name="T17" fmla="*/ 0 h 4159253"/>
              <a:gd name="T18" fmla="*/ 0 w 3871492"/>
              <a:gd name="T19" fmla="*/ 0 h 4159253"/>
              <a:gd name="T20" fmla="*/ 0 w 3871492"/>
              <a:gd name="T21" fmla="*/ 0 h 4159253"/>
              <a:gd name="T22" fmla="*/ 0 w 3871492"/>
              <a:gd name="T23" fmla="*/ 0 h 4159253"/>
              <a:gd name="T24" fmla="*/ 0 w 3871492"/>
              <a:gd name="T25" fmla="*/ 0 h 4159253"/>
              <a:gd name="T26" fmla="*/ 0 w 3871492"/>
              <a:gd name="T27" fmla="*/ 0 h 4159253"/>
              <a:gd name="T28" fmla="*/ 0 w 3871492"/>
              <a:gd name="T29" fmla="*/ 0 h 4159253"/>
              <a:gd name="T30" fmla="*/ 0 w 3871492"/>
              <a:gd name="T31" fmla="*/ 0 h 4159253"/>
              <a:gd name="T32" fmla="*/ 0 w 3871492"/>
              <a:gd name="T33" fmla="*/ 0 h 4159253"/>
              <a:gd name="T34" fmla="*/ 0 w 3871492"/>
              <a:gd name="T35" fmla="*/ 0 h 4159253"/>
              <a:gd name="T36" fmla="*/ 0 w 3871492"/>
              <a:gd name="T37" fmla="*/ 0 h 4159253"/>
              <a:gd name="T38" fmla="*/ 0 w 3871492"/>
              <a:gd name="T39" fmla="*/ 0 h 4159253"/>
              <a:gd name="T40" fmla="*/ 0 w 3871492"/>
              <a:gd name="T41" fmla="*/ 0 h 4159253"/>
              <a:gd name="T42" fmla="*/ 0 w 3871492"/>
              <a:gd name="T43" fmla="*/ 0 h 4159253"/>
              <a:gd name="T44" fmla="*/ 0 w 3871492"/>
              <a:gd name="T45" fmla="*/ 0 h 4159253"/>
              <a:gd name="T46" fmla="*/ 0 w 3871492"/>
              <a:gd name="T47" fmla="*/ 0 h 4159253"/>
              <a:gd name="T48" fmla="*/ 0 w 3871492"/>
              <a:gd name="T49" fmla="*/ 0 h 4159253"/>
              <a:gd name="T50" fmla="*/ 0 w 3871492"/>
              <a:gd name="T51" fmla="*/ 0 h 4159253"/>
              <a:gd name="T52" fmla="*/ 0 w 3871492"/>
              <a:gd name="T53" fmla="*/ 0 h 4159253"/>
              <a:gd name="T54" fmla="*/ 0 w 3871492"/>
              <a:gd name="T55" fmla="*/ 0 h 4159253"/>
              <a:gd name="T56" fmla="*/ 0 w 3871492"/>
              <a:gd name="T57" fmla="*/ 0 h 4159253"/>
              <a:gd name="T58" fmla="*/ 0 w 3871492"/>
              <a:gd name="T59" fmla="*/ 0 h 4159253"/>
              <a:gd name="T60" fmla="*/ 0 w 3871492"/>
              <a:gd name="T61" fmla="*/ 0 h 4159253"/>
              <a:gd name="T62" fmla="*/ 0 w 3871492"/>
              <a:gd name="T63" fmla="*/ 0 h 4159253"/>
              <a:gd name="T64" fmla="*/ 0 w 3871492"/>
              <a:gd name="T65" fmla="*/ 0 h 4159253"/>
              <a:gd name="T66" fmla="*/ 0 w 3871492"/>
              <a:gd name="T67" fmla="*/ 0 h 4159253"/>
              <a:gd name="T68" fmla="*/ 0 w 3871492"/>
              <a:gd name="T69" fmla="*/ 0 h 4159253"/>
              <a:gd name="T70" fmla="*/ 0 w 3871492"/>
              <a:gd name="T71" fmla="*/ 0 h 4159253"/>
              <a:gd name="T72" fmla="*/ 0 w 3871492"/>
              <a:gd name="T73" fmla="*/ 0 h 4159253"/>
              <a:gd name="T74" fmla="*/ 0 w 3871492"/>
              <a:gd name="T75" fmla="*/ 0 h 4159253"/>
              <a:gd name="T76" fmla="*/ 0 w 3871492"/>
              <a:gd name="T77" fmla="*/ 0 h 4159253"/>
              <a:gd name="T78" fmla="*/ 0 w 3871492"/>
              <a:gd name="T79" fmla="*/ 0 h 4159253"/>
              <a:gd name="T80" fmla="*/ 0 w 3871492"/>
              <a:gd name="T81" fmla="*/ 0 h 4159253"/>
              <a:gd name="T82" fmla="*/ 0 w 3871492"/>
              <a:gd name="T83" fmla="*/ 0 h 4159253"/>
              <a:gd name="T84" fmla="*/ 0 w 3871492"/>
              <a:gd name="T85" fmla="*/ 0 h 4159253"/>
              <a:gd name="T86" fmla="*/ 0 w 3871492"/>
              <a:gd name="T87" fmla="*/ 0 h 4159253"/>
              <a:gd name="T88" fmla="*/ 0 w 3871492"/>
              <a:gd name="T89" fmla="*/ 0 h 4159253"/>
              <a:gd name="T90" fmla="*/ 0 w 3871492"/>
              <a:gd name="T91" fmla="*/ 0 h 4159253"/>
              <a:gd name="T92" fmla="*/ 0 w 3871492"/>
              <a:gd name="T93" fmla="*/ 0 h 4159253"/>
              <a:gd name="T94" fmla="*/ 0 w 3871492"/>
              <a:gd name="T95" fmla="*/ 0 h 4159253"/>
              <a:gd name="T96" fmla="*/ 0 w 3871492"/>
              <a:gd name="T97" fmla="*/ 0 h 4159253"/>
              <a:gd name="T98" fmla="*/ 0 w 3871492"/>
              <a:gd name="T99" fmla="*/ 0 h 4159253"/>
              <a:gd name="T100" fmla="*/ 0 w 3871492"/>
              <a:gd name="T101" fmla="*/ 0 h 4159253"/>
              <a:gd name="T102" fmla="*/ 0 w 3871492"/>
              <a:gd name="T103" fmla="*/ 0 h 4159253"/>
              <a:gd name="T104" fmla="*/ 0 w 3871492"/>
              <a:gd name="T105" fmla="*/ 0 h 4159253"/>
              <a:gd name="T106" fmla="*/ 0 w 3871492"/>
              <a:gd name="T107" fmla="*/ 0 h 4159253"/>
              <a:gd name="T108" fmla="*/ 0 w 3871492"/>
              <a:gd name="T109" fmla="*/ 0 h 4159253"/>
              <a:gd name="T110" fmla="*/ 0 w 3871492"/>
              <a:gd name="T111" fmla="*/ 0 h 4159253"/>
              <a:gd name="T112" fmla="*/ 0 w 3871492"/>
              <a:gd name="T113" fmla="*/ 0 h 4159253"/>
              <a:gd name="T114" fmla="*/ 0 w 3871492"/>
              <a:gd name="T115" fmla="*/ 0 h 4159253"/>
              <a:gd name="T116" fmla="*/ 0 w 3871492"/>
              <a:gd name="T117" fmla="*/ 0 h 4159253"/>
              <a:gd name="T118" fmla="*/ 0 w 3871492"/>
              <a:gd name="T119" fmla="*/ 0 h 4159253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w 3871492"/>
              <a:gd name="T181" fmla="*/ 0 h 4159253"/>
              <a:gd name="T182" fmla="*/ 3871492 w 3871492"/>
              <a:gd name="T183" fmla="*/ 4159253 h 4159253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T180" t="T181" r="T182" b="T183"/>
            <a:pathLst>
              <a:path w="3871492" h="4159253">
                <a:moveTo>
                  <a:pt x="3004664" y="0"/>
                </a:moveTo>
                <a:lnTo>
                  <a:pt x="3031378" y="21303"/>
                </a:lnTo>
                <a:lnTo>
                  <a:pt x="3031378" y="47854"/>
                </a:lnTo>
                <a:lnTo>
                  <a:pt x="3010084" y="63908"/>
                </a:lnTo>
                <a:cubicBezTo>
                  <a:pt x="3022474" y="72552"/>
                  <a:pt x="3034862" y="81814"/>
                  <a:pt x="3047252" y="90459"/>
                </a:cubicBezTo>
                <a:cubicBezTo>
                  <a:pt x="3054220" y="106513"/>
                  <a:pt x="3061576" y="122259"/>
                  <a:pt x="3068544" y="138313"/>
                </a:cubicBezTo>
                <a:lnTo>
                  <a:pt x="3116164" y="149119"/>
                </a:lnTo>
                <a:cubicBezTo>
                  <a:pt x="3127004" y="154367"/>
                  <a:pt x="3137456" y="159924"/>
                  <a:pt x="3148298" y="165173"/>
                </a:cubicBezTo>
                <a:cubicBezTo>
                  <a:pt x="3150232" y="179375"/>
                  <a:pt x="3151782" y="193576"/>
                  <a:pt x="3153718" y="207778"/>
                </a:cubicBezTo>
                <a:cubicBezTo>
                  <a:pt x="3137844" y="216731"/>
                  <a:pt x="3121584" y="225376"/>
                  <a:pt x="3105712" y="234329"/>
                </a:cubicBezTo>
                <a:lnTo>
                  <a:pt x="3073964" y="250075"/>
                </a:lnTo>
                <a:cubicBezTo>
                  <a:pt x="3065060" y="253471"/>
                  <a:pt x="3056156" y="257484"/>
                  <a:pt x="3047252" y="260880"/>
                </a:cubicBezTo>
                <a:cubicBezTo>
                  <a:pt x="3041832" y="266129"/>
                  <a:pt x="3036798" y="271686"/>
                  <a:pt x="3031378" y="276935"/>
                </a:cubicBezTo>
                <a:lnTo>
                  <a:pt x="3078998" y="271377"/>
                </a:lnTo>
                <a:lnTo>
                  <a:pt x="3111132" y="255632"/>
                </a:lnTo>
                <a:cubicBezTo>
                  <a:pt x="3121584" y="248531"/>
                  <a:pt x="3132424" y="241430"/>
                  <a:pt x="3142878" y="234329"/>
                </a:cubicBezTo>
                <a:lnTo>
                  <a:pt x="3185464" y="250075"/>
                </a:lnTo>
                <a:cubicBezTo>
                  <a:pt x="3181980" y="256867"/>
                  <a:pt x="3178496" y="264276"/>
                  <a:pt x="3175010" y="271377"/>
                </a:cubicBezTo>
                <a:cubicBezTo>
                  <a:pt x="3171526" y="278169"/>
                  <a:pt x="3167654" y="285579"/>
                  <a:pt x="3164170" y="292680"/>
                </a:cubicBezTo>
                <a:cubicBezTo>
                  <a:pt x="3160686" y="303486"/>
                  <a:pt x="3157202" y="313983"/>
                  <a:pt x="3153718" y="324788"/>
                </a:cubicBezTo>
                <a:cubicBezTo>
                  <a:pt x="3150232" y="333433"/>
                  <a:pt x="3146362" y="342695"/>
                  <a:pt x="3142878" y="351340"/>
                </a:cubicBezTo>
                <a:cubicBezTo>
                  <a:pt x="3137456" y="358440"/>
                  <a:pt x="3132424" y="365541"/>
                  <a:pt x="3127004" y="372642"/>
                </a:cubicBezTo>
                <a:lnTo>
                  <a:pt x="3127004" y="393945"/>
                </a:lnTo>
                <a:lnTo>
                  <a:pt x="3078998" y="415248"/>
                </a:lnTo>
                <a:lnTo>
                  <a:pt x="3047252" y="431302"/>
                </a:lnTo>
                <a:cubicBezTo>
                  <a:pt x="3041832" y="438403"/>
                  <a:pt x="3036798" y="445503"/>
                  <a:pt x="3031378" y="452604"/>
                </a:cubicBezTo>
                <a:cubicBezTo>
                  <a:pt x="3029442" y="461249"/>
                  <a:pt x="3027894" y="470511"/>
                  <a:pt x="3025958" y="479156"/>
                </a:cubicBezTo>
                <a:cubicBezTo>
                  <a:pt x="3036412" y="477303"/>
                  <a:pt x="3047252" y="475759"/>
                  <a:pt x="3057704" y="473907"/>
                </a:cubicBezTo>
                <a:cubicBezTo>
                  <a:pt x="3064672" y="466806"/>
                  <a:pt x="3072028" y="459705"/>
                  <a:pt x="3078998" y="452604"/>
                </a:cubicBezTo>
                <a:lnTo>
                  <a:pt x="3132424" y="426053"/>
                </a:lnTo>
                <a:cubicBezTo>
                  <a:pt x="3137844" y="417100"/>
                  <a:pt x="3142878" y="408147"/>
                  <a:pt x="3148298" y="399193"/>
                </a:cubicBezTo>
                <a:cubicBezTo>
                  <a:pt x="3155266" y="406294"/>
                  <a:pt x="3162622" y="413395"/>
                  <a:pt x="3169590" y="420496"/>
                </a:cubicBezTo>
                <a:cubicBezTo>
                  <a:pt x="3181980" y="422040"/>
                  <a:pt x="3194368" y="424201"/>
                  <a:pt x="3206756" y="426053"/>
                </a:cubicBezTo>
                <a:lnTo>
                  <a:pt x="3206756" y="479156"/>
                </a:lnTo>
                <a:cubicBezTo>
                  <a:pt x="3203272" y="487800"/>
                  <a:pt x="3199400" y="497062"/>
                  <a:pt x="3195916" y="505707"/>
                </a:cubicBezTo>
                <a:cubicBezTo>
                  <a:pt x="3204820" y="491196"/>
                  <a:pt x="3213726" y="477303"/>
                  <a:pt x="3222630" y="463101"/>
                </a:cubicBezTo>
                <a:lnTo>
                  <a:pt x="3222630" y="436550"/>
                </a:lnTo>
                <a:cubicBezTo>
                  <a:pt x="3235018" y="433154"/>
                  <a:pt x="3247408" y="429449"/>
                  <a:pt x="3259796" y="426053"/>
                </a:cubicBezTo>
                <a:cubicBezTo>
                  <a:pt x="3263280" y="436550"/>
                  <a:pt x="3267152" y="447356"/>
                  <a:pt x="3270636" y="457853"/>
                </a:cubicBezTo>
                <a:lnTo>
                  <a:pt x="3318256" y="473907"/>
                </a:lnTo>
                <a:cubicBezTo>
                  <a:pt x="3323676" y="482552"/>
                  <a:pt x="3329096" y="491814"/>
                  <a:pt x="3334516" y="500458"/>
                </a:cubicBezTo>
                <a:cubicBezTo>
                  <a:pt x="3329096" y="507250"/>
                  <a:pt x="3323676" y="514660"/>
                  <a:pt x="3318256" y="521761"/>
                </a:cubicBezTo>
                <a:lnTo>
                  <a:pt x="3339548" y="537815"/>
                </a:lnTo>
                <a:cubicBezTo>
                  <a:pt x="3338000" y="552017"/>
                  <a:pt x="3336064" y="566219"/>
                  <a:pt x="3334516" y="580420"/>
                </a:cubicBezTo>
                <a:lnTo>
                  <a:pt x="3334516" y="612220"/>
                </a:lnTo>
                <a:cubicBezTo>
                  <a:pt x="3348840" y="601723"/>
                  <a:pt x="3362778" y="590917"/>
                  <a:pt x="3377102" y="580420"/>
                </a:cubicBezTo>
                <a:cubicBezTo>
                  <a:pt x="3384072" y="592461"/>
                  <a:pt x="3391040" y="605119"/>
                  <a:pt x="3398008" y="617468"/>
                </a:cubicBezTo>
                <a:lnTo>
                  <a:pt x="3446016" y="617468"/>
                </a:lnTo>
                <a:lnTo>
                  <a:pt x="3446016" y="590917"/>
                </a:lnTo>
                <a:cubicBezTo>
                  <a:pt x="3451436" y="583816"/>
                  <a:pt x="3456468" y="576407"/>
                  <a:pt x="3461888" y="569615"/>
                </a:cubicBezTo>
                <a:cubicBezTo>
                  <a:pt x="3472728" y="559118"/>
                  <a:pt x="3483182" y="548312"/>
                  <a:pt x="3494022" y="537815"/>
                </a:cubicBezTo>
                <a:cubicBezTo>
                  <a:pt x="3504474" y="534110"/>
                  <a:pt x="3515314" y="530714"/>
                  <a:pt x="3525768" y="527009"/>
                </a:cubicBezTo>
                <a:cubicBezTo>
                  <a:pt x="3534672" y="541211"/>
                  <a:pt x="3543576" y="555104"/>
                  <a:pt x="3552480" y="569615"/>
                </a:cubicBezTo>
                <a:lnTo>
                  <a:pt x="3552480" y="601723"/>
                </a:lnTo>
                <a:cubicBezTo>
                  <a:pt x="3545512" y="606972"/>
                  <a:pt x="3538156" y="612220"/>
                  <a:pt x="3531188" y="617468"/>
                </a:cubicBezTo>
                <a:cubicBezTo>
                  <a:pt x="3536608" y="620865"/>
                  <a:pt x="3541640" y="624878"/>
                  <a:pt x="3547060" y="628274"/>
                </a:cubicBezTo>
                <a:cubicBezTo>
                  <a:pt x="3550546" y="638771"/>
                  <a:pt x="3554416" y="649577"/>
                  <a:pt x="3557902" y="660074"/>
                </a:cubicBezTo>
                <a:cubicBezTo>
                  <a:pt x="3559450" y="666866"/>
                  <a:pt x="3561386" y="674276"/>
                  <a:pt x="3562934" y="681376"/>
                </a:cubicBezTo>
                <a:cubicBezTo>
                  <a:pt x="3557514" y="690021"/>
                  <a:pt x="3552480" y="698974"/>
                  <a:pt x="3547060" y="707928"/>
                </a:cubicBezTo>
                <a:lnTo>
                  <a:pt x="3515314" y="707928"/>
                </a:lnTo>
                <a:cubicBezTo>
                  <a:pt x="3508346" y="698974"/>
                  <a:pt x="3500990" y="690330"/>
                  <a:pt x="3494022" y="681376"/>
                </a:cubicBezTo>
                <a:lnTo>
                  <a:pt x="3419302" y="686625"/>
                </a:lnTo>
                <a:cubicBezTo>
                  <a:pt x="3431690" y="690330"/>
                  <a:pt x="3444466" y="693726"/>
                  <a:pt x="3456856" y="697431"/>
                </a:cubicBezTo>
                <a:cubicBezTo>
                  <a:pt x="3469244" y="699283"/>
                  <a:pt x="3481632" y="700827"/>
                  <a:pt x="3494022" y="702679"/>
                </a:cubicBezTo>
                <a:cubicBezTo>
                  <a:pt x="3497506" y="716881"/>
                  <a:pt x="3500990" y="730774"/>
                  <a:pt x="3504474" y="745284"/>
                </a:cubicBezTo>
                <a:cubicBezTo>
                  <a:pt x="3500990" y="753929"/>
                  <a:pt x="3497506" y="762882"/>
                  <a:pt x="3494022" y="771836"/>
                </a:cubicBezTo>
                <a:cubicBezTo>
                  <a:pt x="3487052" y="778937"/>
                  <a:pt x="3479696" y="786037"/>
                  <a:pt x="3472728" y="793138"/>
                </a:cubicBezTo>
                <a:lnTo>
                  <a:pt x="3424722" y="793138"/>
                </a:lnTo>
                <a:lnTo>
                  <a:pt x="3355810" y="809192"/>
                </a:lnTo>
                <a:cubicBezTo>
                  <a:pt x="3348840" y="819998"/>
                  <a:pt x="3341484" y="830495"/>
                  <a:pt x="3334516" y="841301"/>
                </a:cubicBezTo>
                <a:lnTo>
                  <a:pt x="3307802" y="857046"/>
                </a:lnTo>
                <a:cubicBezTo>
                  <a:pt x="3293478" y="865691"/>
                  <a:pt x="3279540" y="874644"/>
                  <a:pt x="3265216" y="883597"/>
                </a:cubicBezTo>
                <a:lnTo>
                  <a:pt x="3265216" y="910457"/>
                </a:lnTo>
                <a:cubicBezTo>
                  <a:pt x="3267152" y="919102"/>
                  <a:pt x="3268700" y="928055"/>
                  <a:pt x="3270636" y="937008"/>
                </a:cubicBezTo>
                <a:cubicBezTo>
                  <a:pt x="3263668" y="947505"/>
                  <a:pt x="3256312" y="958311"/>
                  <a:pt x="3249344" y="968808"/>
                </a:cubicBezTo>
                <a:lnTo>
                  <a:pt x="3206756" y="963560"/>
                </a:lnTo>
                <a:cubicBezTo>
                  <a:pt x="3196304" y="970661"/>
                  <a:pt x="3185464" y="977761"/>
                  <a:pt x="3175010" y="984862"/>
                </a:cubicBezTo>
                <a:cubicBezTo>
                  <a:pt x="3169590" y="988258"/>
                  <a:pt x="3164170" y="991963"/>
                  <a:pt x="3158750" y="995668"/>
                </a:cubicBezTo>
                <a:cubicBezTo>
                  <a:pt x="3153330" y="1006165"/>
                  <a:pt x="3148298" y="1016971"/>
                  <a:pt x="3142878" y="1027468"/>
                </a:cubicBezTo>
                <a:cubicBezTo>
                  <a:pt x="3125068" y="1009870"/>
                  <a:pt x="3107646" y="991963"/>
                  <a:pt x="3089838" y="974365"/>
                </a:cubicBezTo>
                <a:lnTo>
                  <a:pt x="3031378" y="968808"/>
                </a:lnTo>
                <a:lnTo>
                  <a:pt x="2988792" y="963560"/>
                </a:lnTo>
                <a:cubicBezTo>
                  <a:pt x="2977952" y="970352"/>
                  <a:pt x="2967498" y="977761"/>
                  <a:pt x="2956658" y="984862"/>
                </a:cubicBezTo>
                <a:cubicBezTo>
                  <a:pt x="2947754" y="999064"/>
                  <a:pt x="2939236" y="1012957"/>
                  <a:pt x="2930332" y="1027468"/>
                </a:cubicBezTo>
                <a:cubicBezTo>
                  <a:pt x="2916008" y="1030864"/>
                  <a:pt x="2902070" y="1034569"/>
                  <a:pt x="2887746" y="1038273"/>
                </a:cubicBezTo>
                <a:cubicBezTo>
                  <a:pt x="2885810" y="1057724"/>
                  <a:pt x="2884262" y="1076865"/>
                  <a:pt x="2882326" y="1096624"/>
                </a:cubicBezTo>
                <a:cubicBezTo>
                  <a:pt x="2876906" y="1103416"/>
                  <a:pt x="2871872" y="1110826"/>
                  <a:pt x="2866452" y="1117927"/>
                </a:cubicBezTo>
                <a:cubicBezTo>
                  <a:pt x="2871872" y="1135525"/>
                  <a:pt x="2876906" y="1153431"/>
                  <a:pt x="2882326" y="1171338"/>
                </a:cubicBezTo>
                <a:cubicBezTo>
                  <a:pt x="2880390" y="1188936"/>
                  <a:pt x="2878842" y="1206534"/>
                  <a:pt x="2876906" y="1224440"/>
                </a:cubicBezTo>
                <a:cubicBezTo>
                  <a:pt x="2871486" y="1240494"/>
                  <a:pt x="2866452" y="1256240"/>
                  <a:pt x="2861032" y="1272294"/>
                </a:cubicBezTo>
                <a:cubicBezTo>
                  <a:pt x="2855612" y="1286496"/>
                  <a:pt x="2850580" y="1300389"/>
                  <a:pt x="2845160" y="1314899"/>
                </a:cubicBezTo>
                <a:cubicBezTo>
                  <a:pt x="2838190" y="1323853"/>
                  <a:pt x="2830836" y="1332497"/>
                  <a:pt x="2823866" y="1341450"/>
                </a:cubicBezTo>
                <a:lnTo>
                  <a:pt x="2770826" y="1314899"/>
                </a:lnTo>
                <a:cubicBezTo>
                  <a:pt x="2759986" y="1311503"/>
                  <a:pt x="2749534" y="1307798"/>
                  <a:pt x="2738694" y="1304402"/>
                </a:cubicBezTo>
                <a:lnTo>
                  <a:pt x="2701528" y="1320148"/>
                </a:lnTo>
                <a:cubicBezTo>
                  <a:pt x="2692622" y="1323544"/>
                  <a:pt x="2683718" y="1327249"/>
                  <a:pt x="2674814" y="1330953"/>
                </a:cubicBezTo>
                <a:lnTo>
                  <a:pt x="2632228" y="1330953"/>
                </a:lnTo>
                <a:lnTo>
                  <a:pt x="2595060" y="1330953"/>
                </a:lnTo>
                <a:lnTo>
                  <a:pt x="2573768" y="1314899"/>
                </a:lnTo>
                <a:lnTo>
                  <a:pt x="2600482" y="1299154"/>
                </a:lnTo>
                <a:cubicBezTo>
                  <a:pt x="2593512" y="1292053"/>
                  <a:pt x="2586156" y="1284952"/>
                  <a:pt x="2579188" y="1277851"/>
                </a:cubicBezTo>
                <a:cubicBezTo>
                  <a:pt x="2577252" y="1265193"/>
                  <a:pt x="2575704" y="1252844"/>
                  <a:pt x="2573768" y="1240494"/>
                </a:cubicBezTo>
                <a:lnTo>
                  <a:pt x="2542022" y="1224440"/>
                </a:lnTo>
                <a:cubicBezTo>
                  <a:pt x="2529632" y="1219192"/>
                  <a:pt x="2517244" y="1213634"/>
                  <a:pt x="2504856" y="1208386"/>
                </a:cubicBezTo>
                <a:cubicBezTo>
                  <a:pt x="2497886" y="1212091"/>
                  <a:pt x="2490530" y="1215487"/>
                  <a:pt x="2483562" y="1219192"/>
                </a:cubicBezTo>
                <a:lnTo>
                  <a:pt x="2531182" y="1245743"/>
                </a:lnTo>
                <a:cubicBezTo>
                  <a:pt x="2533118" y="1256548"/>
                  <a:pt x="2534666" y="1267045"/>
                  <a:pt x="2536602" y="1277851"/>
                </a:cubicBezTo>
                <a:cubicBezTo>
                  <a:pt x="2538538" y="1289892"/>
                  <a:pt x="2540086" y="1302550"/>
                  <a:pt x="2542022" y="1314899"/>
                </a:cubicBezTo>
                <a:lnTo>
                  <a:pt x="2515308" y="1314899"/>
                </a:lnTo>
                <a:cubicBezTo>
                  <a:pt x="2497500" y="1307798"/>
                  <a:pt x="2480078" y="1300389"/>
                  <a:pt x="2462268" y="1293597"/>
                </a:cubicBezTo>
                <a:cubicBezTo>
                  <a:pt x="2467688" y="1307798"/>
                  <a:pt x="2472722" y="1321691"/>
                  <a:pt x="2478142" y="1336202"/>
                </a:cubicBezTo>
                <a:cubicBezTo>
                  <a:pt x="2485110" y="1338054"/>
                  <a:pt x="2492466" y="1339598"/>
                  <a:pt x="2499436" y="1341450"/>
                </a:cubicBezTo>
                <a:cubicBezTo>
                  <a:pt x="2511824" y="1344846"/>
                  <a:pt x="2524212" y="1348551"/>
                  <a:pt x="2536602" y="1352256"/>
                </a:cubicBezTo>
                <a:cubicBezTo>
                  <a:pt x="2534666" y="1360901"/>
                  <a:pt x="2533118" y="1369854"/>
                  <a:pt x="2531182" y="1378807"/>
                </a:cubicBezTo>
                <a:cubicBezTo>
                  <a:pt x="2520728" y="1382512"/>
                  <a:pt x="2509888" y="1385908"/>
                  <a:pt x="2499436" y="1389613"/>
                </a:cubicBezTo>
                <a:lnTo>
                  <a:pt x="2547442" y="1421413"/>
                </a:lnTo>
                <a:cubicBezTo>
                  <a:pt x="2556346" y="1428205"/>
                  <a:pt x="2564864" y="1435614"/>
                  <a:pt x="2573768" y="1442715"/>
                </a:cubicBezTo>
                <a:lnTo>
                  <a:pt x="2637648" y="1442715"/>
                </a:lnTo>
                <a:lnTo>
                  <a:pt x="2701528" y="1426661"/>
                </a:lnTo>
                <a:lnTo>
                  <a:pt x="2759986" y="1432218"/>
                </a:lnTo>
                <a:cubicBezTo>
                  <a:pt x="2766956" y="1437467"/>
                  <a:pt x="2774312" y="1442715"/>
                  <a:pt x="2781280" y="1447964"/>
                </a:cubicBezTo>
                <a:lnTo>
                  <a:pt x="2781280" y="1485321"/>
                </a:lnTo>
                <a:lnTo>
                  <a:pt x="2759986" y="1501375"/>
                </a:lnTo>
                <a:cubicBezTo>
                  <a:pt x="2761922" y="1518973"/>
                  <a:pt x="2763472" y="1536570"/>
                  <a:pt x="2765406" y="1554168"/>
                </a:cubicBezTo>
                <a:cubicBezTo>
                  <a:pt x="2770826" y="1557873"/>
                  <a:pt x="2775860" y="1561578"/>
                  <a:pt x="2781280" y="1565283"/>
                </a:cubicBezTo>
                <a:cubicBezTo>
                  <a:pt x="2786700" y="1563430"/>
                  <a:pt x="2791732" y="1561269"/>
                  <a:pt x="2797152" y="1559417"/>
                </a:cubicBezTo>
                <a:lnTo>
                  <a:pt x="2797152" y="1543980"/>
                </a:lnTo>
                <a:cubicBezTo>
                  <a:pt x="2804122" y="1542128"/>
                  <a:pt x="2811478" y="1539967"/>
                  <a:pt x="2818446" y="1538114"/>
                </a:cubicBezTo>
                <a:cubicBezTo>
                  <a:pt x="2816510" y="1533174"/>
                  <a:pt x="2814962" y="1527926"/>
                  <a:pt x="2813026" y="1522677"/>
                </a:cubicBezTo>
                <a:cubicBezTo>
                  <a:pt x="2807606" y="1511872"/>
                  <a:pt x="2802572" y="1501375"/>
                  <a:pt x="2797152" y="1490569"/>
                </a:cubicBezTo>
                <a:cubicBezTo>
                  <a:pt x="2804122" y="1488717"/>
                  <a:pt x="2811478" y="1487173"/>
                  <a:pt x="2818446" y="1485321"/>
                </a:cubicBezTo>
                <a:cubicBezTo>
                  <a:pt x="2827350" y="1487173"/>
                  <a:pt x="2836256" y="1488717"/>
                  <a:pt x="2845160" y="1490569"/>
                </a:cubicBezTo>
                <a:cubicBezTo>
                  <a:pt x="2859484" y="1515268"/>
                  <a:pt x="2873422" y="1540275"/>
                  <a:pt x="2887746" y="1565283"/>
                </a:cubicBezTo>
                <a:cubicBezTo>
                  <a:pt x="2896650" y="1588129"/>
                  <a:pt x="2905168" y="1611284"/>
                  <a:pt x="2914072" y="1634439"/>
                </a:cubicBezTo>
                <a:cubicBezTo>
                  <a:pt x="2926460" y="1648641"/>
                  <a:pt x="2939236" y="1662534"/>
                  <a:pt x="2951626" y="1677045"/>
                </a:cubicBezTo>
                <a:cubicBezTo>
                  <a:pt x="2953174" y="1701743"/>
                  <a:pt x="2955110" y="1726442"/>
                  <a:pt x="2956658" y="1751141"/>
                </a:cubicBezTo>
                <a:lnTo>
                  <a:pt x="2956658" y="1783249"/>
                </a:lnTo>
                <a:cubicBezTo>
                  <a:pt x="2955110" y="1799612"/>
                  <a:pt x="2953174" y="1815049"/>
                  <a:pt x="2951626" y="1831103"/>
                </a:cubicBezTo>
                <a:cubicBezTo>
                  <a:pt x="2949690" y="1843761"/>
                  <a:pt x="2948142" y="1856111"/>
                  <a:pt x="2946206" y="1868460"/>
                </a:cubicBezTo>
                <a:cubicBezTo>
                  <a:pt x="2937300" y="1882970"/>
                  <a:pt x="2928396" y="1896863"/>
                  <a:pt x="2919492" y="1911065"/>
                </a:cubicBezTo>
                <a:cubicBezTo>
                  <a:pt x="2914072" y="1921562"/>
                  <a:pt x="2909040" y="1932368"/>
                  <a:pt x="2903620" y="1942865"/>
                </a:cubicBezTo>
                <a:cubicBezTo>
                  <a:pt x="2896650" y="1955523"/>
                  <a:pt x="2889294" y="1967872"/>
                  <a:pt x="2882326" y="1980222"/>
                </a:cubicBezTo>
                <a:lnTo>
                  <a:pt x="2850580" y="1980222"/>
                </a:lnTo>
                <a:cubicBezTo>
                  <a:pt x="2841676" y="1982074"/>
                  <a:pt x="2832770" y="1983618"/>
                  <a:pt x="2823866" y="1985470"/>
                </a:cubicBezTo>
                <a:cubicBezTo>
                  <a:pt x="2814962" y="1980222"/>
                  <a:pt x="2806058" y="1974664"/>
                  <a:pt x="2797152" y="1969416"/>
                </a:cubicBezTo>
                <a:cubicBezTo>
                  <a:pt x="2782828" y="1976517"/>
                  <a:pt x="2768892" y="1983927"/>
                  <a:pt x="2754566" y="1990719"/>
                </a:cubicBezTo>
                <a:lnTo>
                  <a:pt x="2728240" y="1990719"/>
                </a:lnTo>
                <a:cubicBezTo>
                  <a:pt x="2722820" y="1997820"/>
                  <a:pt x="2717400" y="2005229"/>
                  <a:pt x="2711980" y="2012021"/>
                </a:cubicBezTo>
                <a:lnTo>
                  <a:pt x="2674814" y="2012021"/>
                </a:lnTo>
                <a:lnTo>
                  <a:pt x="2674814" y="2044130"/>
                </a:lnTo>
                <a:cubicBezTo>
                  <a:pt x="2673266" y="2054627"/>
                  <a:pt x="2671330" y="2065432"/>
                  <a:pt x="2669780" y="2075929"/>
                </a:cubicBezTo>
                <a:cubicBezTo>
                  <a:pt x="2660876" y="2088587"/>
                  <a:pt x="2651972" y="2100937"/>
                  <a:pt x="2643068" y="2113286"/>
                </a:cubicBezTo>
                <a:lnTo>
                  <a:pt x="2701528" y="2091984"/>
                </a:lnTo>
                <a:lnTo>
                  <a:pt x="2701528" y="2059875"/>
                </a:lnTo>
                <a:lnTo>
                  <a:pt x="2701528" y="2033324"/>
                </a:lnTo>
                <a:lnTo>
                  <a:pt x="2733274" y="2017270"/>
                </a:lnTo>
                <a:lnTo>
                  <a:pt x="2786700" y="2006773"/>
                </a:lnTo>
                <a:cubicBezTo>
                  <a:pt x="2799088" y="2008625"/>
                  <a:pt x="2811478" y="2010169"/>
                  <a:pt x="2823866" y="2012021"/>
                </a:cubicBezTo>
                <a:cubicBezTo>
                  <a:pt x="2813414" y="2026532"/>
                  <a:pt x="2802572" y="2040425"/>
                  <a:pt x="2792120" y="2054627"/>
                </a:cubicBezTo>
                <a:cubicBezTo>
                  <a:pt x="2783216" y="2061728"/>
                  <a:pt x="2774312" y="2069137"/>
                  <a:pt x="2765406" y="2075929"/>
                </a:cubicBezTo>
                <a:cubicBezTo>
                  <a:pt x="2763472" y="2086735"/>
                  <a:pt x="2761922" y="2097232"/>
                  <a:pt x="2759986" y="2108038"/>
                </a:cubicBezTo>
                <a:cubicBezTo>
                  <a:pt x="2753018" y="2113286"/>
                  <a:pt x="2745662" y="2118535"/>
                  <a:pt x="2738694" y="2123783"/>
                </a:cubicBezTo>
                <a:lnTo>
                  <a:pt x="2706948" y="2139837"/>
                </a:lnTo>
                <a:cubicBezTo>
                  <a:pt x="2698042" y="2145086"/>
                  <a:pt x="2689138" y="2150643"/>
                  <a:pt x="2680234" y="2155892"/>
                </a:cubicBezTo>
                <a:lnTo>
                  <a:pt x="2744114" y="2155892"/>
                </a:lnTo>
                <a:lnTo>
                  <a:pt x="2781280" y="2155892"/>
                </a:lnTo>
                <a:cubicBezTo>
                  <a:pt x="2788248" y="2166389"/>
                  <a:pt x="2795604" y="2177194"/>
                  <a:pt x="2802572" y="2187691"/>
                </a:cubicBezTo>
                <a:lnTo>
                  <a:pt x="2823866" y="2203745"/>
                </a:lnTo>
                <a:lnTo>
                  <a:pt x="2823866" y="2161140"/>
                </a:lnTo>
                <a:cubicBezTo>
                  <a:pt x="2821930" y="2154348"/>
                  <a:pt x="2820382" y="2146938"/>
                  <a:pt x="2818446" y="2139837"/>
                </a:cubicBezTo>
                <a:cubicBezTo>
                  <a:pt x="2830836" y="2131193"/>
                  <a:pt x="2843224" y="2122240"/>
                  <a:pt x="2855612" y="2113286"/>
                </a:cubicBezTo>
                <a:cubicBezTo>
                  <a:pt x="2864516" y="2106494"/>
                  <a:pt x="2873422" y="2099084"/>
                  <a:pt x="2882326" y="2091984"/>
                </a:cubicBezTo>
                <a:cubicBezTo>
                  <a:pt x="2887746" y="2081178"/>
                  <a:pt x="2892778" y="2070681"/>
                  <a:pt x="2898200" y="2059875"/>
                </a:cubicBezTo>
                <a:cubicBezTo>
                  <a:pt x="2912524" y="2051231"/>
                  <a:pt x="2926460" y="2042277"/>
                  <a:pt x="2940786" y="2033324"/>
                </a:cubicBezTo>
                <a:cubicBezTo>
                  <a:pt x="2949690" y="2031472"/>
                  <a:pt x="2958594" y="2029928"/>
                  <a:pt x="2967498" y="2028076"/>
                </a:cubicBezTo>
                <a:lnTo>
                  <a:pt x="2994212" y="2028076"/>
                </a:lnTo>
                <a:lnTo>
                  <a:pt x="3052672" y="2022827"/>
                </a:lnTo>
                <a:cubicBezTo>
                  <a:pt x="3059640" y="2015726"/>
                  <a:pt x="3066996" y="2008625"/>
                  <a:pt x="3073964" y="2001524"/>
                </a:cubicBezTo>
                <a:cubicBezTo>
                  <a:pt x="3075514" y="1992571"/>
                  <a:pt x="3077448" y="1983927"/>
                  <a:pt x="3078998" y="1974664"/>
                </a:cubicBezTo>
                <a:cubicBezTo>
                  <a:pt x="3073578" y="1972812"/>
                  <a:pt x="3068544" y="1971268"/>
                  <a:pt x="3063124" y="1969416"/>
                </a:cubicBezTo>
                <a:cubicBezTo>
                  <a:pt x="3057704" y="1962624"/>
                  <a:pt x="3052672" y="1955214"/>
                  <a:pt x="3047252" y="1948113"/>
                </a:cubicBezTo>
                <a:lnTo>
                  <a:pt x="3057704" y="1932368"/>
                </a:lnTo>
                <a:lnTo>
                  <a:pt x="3121584" y="1916314"/>
                </a:lnTo>
                <a:lnTo>
                  <a:pt x="3158750" y="1916314"/>
                </a:lnTo>
                <a:cubicBezTo>
                  <a:pt x="3162234" y="1926811"/>
                  <a:pt x="3166106" y="1937616"/>
                  <a:pt x="3169590" y="1948113"/>
                </a:cubicBezTo>
                <a:cubicBezTo>
                  <a:pt x="3173074" y="1953362"/>
                  <a:pt x="3176560" y="1958919"/>
                  <a:pt x="3180044" y="1964168"/>
                </a:cubicBezTo>
                <a:cubicBezTo>
                  <a:pt x="3188948" y="1955523"/>
                  <a:pt x="3197852" y="1946570"/>
                  <a:pt x="3206756" y="1937616"/>
                </a:cubicBezTo>
                <a:cubicBezTo>
                  <a:pt x="3212176" y="1935764"/>
                  <a:pt x="3217210" y="1934220"/>
                  <a:pt x="3222630" y="1932368"/>
                </a:cubicBezTo>
                <a:cubicBezTo>
                  <a:pt x="3228050" y="1937616"/>
                  <a:pt x="3233084" y="1942865"/>
                  <a:pt x="3238504" y="1948113"/>
                </a:cubicBezTo>
                <a:cubicBezTo>
                  <a:pt x="3241988" y="1942865"/>
                  <a:pt x="3245860" y="1937616"/>
                  <a:pt x="3249344" y="1932368"/>
                </a:cubicBezTo>
                <a:lnTo>
                  <a:pt x="3323676" y="1953671"/>
                </a:lnTo>
                <a:lnTo>
                  <a:pt x="3323676" y="1995967"/>
                </a:lnTo>
                <a:cubicBezTo>
                  <a:pt x="3318256" y="2008625"/>
                  <a:pt x="3313222" y="2020975"/>
                  <a:pt x="3307802" y="2033324"/>
                </a:cubicBezTo>
                <a:cubicBezTo>
                  <a:pt x="3316708" y="2037029"/>
                  <a:pt x="3325612" y="2040734"/>
                  <a:pt x="3334516" y="2044130"/>
                </a:cubicBezTo>
                <a:cubicBezTo>
                  <a:pt x="3339936" y="2028076"/>
                  <a:pt x="3344968" y="2012021"/>
                  <a:pt x="3350390" y="1995967"/>
                </a:cubicBezTo>
                <a:cubicBezTo>
                  <a:pt x="3362778" y="1997820"/>
                  <a:pt x="3375166" y="1999981"/>
                  <a:pt x="3387556" y="2001524"/>
                </a:cubicBezTo>
                <a:lnTo>
                  <a:pt x="3430142" y="2001524"/>
                </a:lnTo>
                <a:cubicBezTo>
                  <a:pt x="3424722" y="1996276"/>
                  <a:pt x="3419688" y="1990719"/>
                  <a:pt x="3414268" y="1985470"/>
                </a:cubicBezTo>
                <a:cubicBezTo>
                  <a:pt x="3401880" y="1983618"/>
                  <a:pt x="3389492" y="1982074"/>
                  <a:pt x="3377102" y="1980222"/>
                </a:cubicBezTo>
                <a:cubicBezTo>
                  <a:pt x="3370134" y="1978678"/>
                  <a:pt x="3362778" y="1976517"/>
                  <a:pt x="3355810" y="1974664"/>
                </a:cubicBezTo>
                <a:cubicBezTo>
                  <a:pt x="3359294" y="1967564"/>
                  <a:pt x="3362778" y="1960771"/>
                  <a:pt x="3366262" y="1953671"/>
                </a:cubicBezTo>
                <a:cubicBezTo>
                  <a:pt x="3378652" y="1957067"/>
                  <a:pt x="3391040" y="1960771"/>
                  <a:pt x="3403428" y="1964168"/>
                </a:cubicBezTo>
                <a:lnTo>
                  <a:pt x="3446016" y="1964168"/>
                </a:lnTo>
                <a:lnTo>
                  <a:pt x="3499054" y="1964168"/>
                </a:lnTo>
                <a:lnTo>
                  <a:pt x="3536608" y="1942865"/>
                </a:lnTo>
                <a:cubicBezTo>
                  <a:pt x="3545512" y="1939469"/>
                  <a:pt x="3554030" y="1935764"/>
                  <a:pt x="3562934" y="1932368"/>
                </a:cubicBezTo>
                <a:lnTo>
                  <a:pt x="3610940" y="1948113"/>
                </a:lnTo>
                <a:cubicBezTo>
                  <a:pt x="3605520" y="1960771"/>
                  <a:pt x="3600488" y="1973121"/>
                  <a:pt x="3595068" y="1985470"/>
                </a:cubicBezTo>
                <a:cubicBezTo>
                  <a:pt x="3603972" y="1995967"/>
                  <a:pt x="3612490" y="2006773"/>
                  <a:pt x="3621394" y="2017270"/>
                </a:cubicBezTo>
                <a:lnTo>
                  <a:pt x="3621394" y="1990719"/>
                </a:lnTo>
                <a:lnTo>
                  <a:pt x="3658948" y="1990719"/>
                </a:lnTo>
                <a:cubicBezTo>
                  <a:pt x="3665916" y="1978678"/>
                  <a:pt x="3672884" y="1966020"/>
                  <a:pt x="3679854" y="1953671"/>
                </a:cubicBezTo>
                <a:lnTo>
                  <a:pt x="3722440" y="1953671"/>
                </a:lnTo>
                <a:cubicBezTo>
                  <a:pt x="3736764" y="1957067"/>
                  <a:pt x="3750702" y="1960771"/>
                  <a:pt x="3765026" y="1964168"/>
                </a:cubicBezTo>
                <a:cubicBezTo>
                  <a:pt x="3768510" y="1973121"/>
                  <a:pt x="3772382" y="1982074"/>
                  <a:pt x="3775866" y="1990719"/>
                </a:cubicBezTo>
                <a:cubicBezTo>
                  <a:pt x="3786320" y="2006773"/>
                  <a:pt x="3797160" y="2022518"/>
                  <a:pt x="3807612" y="2038572"/>
                </a:cubicBezTo>
                <a:lnTo>
                  <a:pt x="3807612" y="2070681"/>
                </a:lnTo>
                <a:lnTo>
                  <a:pt x="3871492" y="2091984"/>
                </a:lnTo>
                <a:cubicBezTo>
                  <a:pt x="3868008" y="2097232"/>
                  <a:pt x="3864524" y="2102789"/>
                  <a:pt x="3861040" y="2108038"/>
                </a:cubicBezTo>
                <a:lnTo>
                  <a:pt x="3823486" y="2118535"/>
                </a:lnTo>
                <a:lnTo>
                  <a:pt x="3775866" y="2155892"/>
                </a:lnTo>
                <a:cubicBezTo>
                  <a:pt x="3766962" y="2164845"/>
                  <a:pt x="3758058" y="2173798"/>
                  <a:pt x="3749152" y="2182443"/>
                </a:cubicBezTo>
                <a:cubicBezTo>
                  <a:pt x="3740248" y="2187691"/>
                  <a:pt x="3731344" y="2193248"/>
                  <a:pt x="3722440" y="2198497"/>
                </a:cubicBezTo>
                <a:lnTo>
                  <a:pt x="3696114" y="2198497"/>
                </a:lnTo>
                <a:cubicBezTo>
                  <a:pt x="3692628" y="2207450"/>
                  <a:pt x="3688758" y="2216404"/>
                  <a:pt x="3685274" y="2225048"/>
                </a:cubicBezTo>
                <a:lnTo>
                  <a:pt x="3685274" y="2256848"/>
                </a:lnTo>
                <a:cubicBezTo>
                  <a:pt x="3681788" y="2266110"/>
                  <a:pt x="3678304" y="2274754"/>
                  <a:pt x="3674820" y="2283708"/>
                </a:cubicBezTo>
                <a:cubicBezTo>
                  <a:pt x="3663980" y="2282164"/>
                  <a:pt x="3653528" y="2280003"/>
                  <a:pt x="3642686" y="2278150"/>
                </a:cubicBezTo>
                <a:cubicBezTo>
                  <a:pt x="3639202" y="2271358"/>
                  <a:pt x="3635718" y="2263949"/>
                  <a:pt x="3632234" y="2256848"/>
                </a:cubicBezTo>
                <a:lnTo>
                  <a:pt x="3632234" y="2283708"/>
                </a:lnTo>
                <a:cubicBezTo>
                  <a:pt x="3635718" y="2292661"/>
                  <a:pt x="3639202" y="2301614"/>
                  <a:pt x="3642686" y="2310259"/>
                </a:cubicBezTo>
                <a:lnTo>
                  <a:pt x="3610940" y="2326313"/>
                </a:lnTo>
                <a:cubicBezTo>
                  <a:pt x="3600488" y="2317360"/>
                  <a:pt x="3589648" y="2308715"/>
                  <a:pt x="3579194" y="2299453"/>
                </a:cubicBezTo>
                <a:cubicBezTo>
                  <a:pt x="3573774" y="2306554"/>
                  <a:pt x="3568354" y="2313964"/>
                  <a:pt x="3562934" y="2320756"/>
                </a:cubicBezTo>
                <a:lnTo>
                  <a:pt x="3562934" y="2294205"/>
                </a:lnTo>
                <a:cubicBezTo>
                  <a:pt x="3559450" y="2290808"/>
                  <a:pt x="3555966" y="2287104"/>
                  <a:pt x="3552480" y="2283708"/>
                </a:cubicBezTo>
                <a:cubicBezTo>
                  <a:pt x="3548996" y="2285560"/>
                  <a:pt x="3545126" y="2287412"/>
                  <a:pt x="3541640" y="2288956"/>
                </a:cubicBezTo>
                <a:cubicBezTo>
                  <a:pt x="3543576" y="2296057"/>
                  <a:pt x="3545126" y="2303467"/>
                  <a:pt x="3547060" y="2310259"/>
                </a:cubicBezTo>
                <a:cubicBezTo>
                  <a:pt x="3540092" y="2312111"/>
                  <a:pt x="3532736" y="2313655"/>
                  <a:pt x="3525768" y="2315507"/>
                </a:cubicBezTo>
                <a:lnTo>
                  <a:pt x="3504474" y="2315507"/>
                </a:lnTo>
                <a:lnTo>
                  <a:pt x="3478148" y="2315507"/>
                </a:lnTo>
                <a:cubicBezTo>
                  <a:pt x="3481632" y="2320756"/>
                  <a:pt x="3485116" y="2326313"/>
                  <a:pt x="3488602" y="2331561"/>
                </a:cubicBezTo>
                <a:lnTo>
                  <a:pt x="3520348" y="2331561"/>
                </a:lnTo>
                <a:cubicBezTo>
                  <a:pt x="3529252" y="2334957"/>
                  <a:pt x="3538156" y="2338662"/>
                  <a:pt x="3547060" y="2342058"/>
                </a:cubicBezTo>
                <a:cubicBezTo>
                  <a:pt x="3552480" y="2343911"/>
                  <a:pt x="3557514" y="2346072"/>
                  <a:pt x="3562934" y="2347616"/>
                </a:cubicBezTo>
                <a:cubicBezTo>
                  <a:pt x="3569902" y="2349468"/>
                  <a:pt x="3577258" y="2351012"/>
                  <a:pt x="3584228" y="2352864"/>
                </a:cubicBezTo>
                <a:cubicBezTo>
                  <a:pt x="3586164" y="2349468"/>
                  <a:pt x="3587712" y="2345763"/>
                  <a:pt x="3589648" y="2342058"/>
                </a:cubicBezTo>
                <a:cubicBezTo>
                  <a:pt x="3596616" y="2340206"/>
                  <a:pt x="3603972" y="2338662"/>
                  <a:pt x="3610940" y="2336810"/>
                </a:cubicBezTo>
                <a:cubicBezTo>
                  <a:pt x="3616360" y="2338662"/>
                  <a:pt x="3621394" y="2340206"/>
                  <a:pt x="3626814" y="2342058"/>
                </a:cubicBezTo>
                <a:lnTo>
                  <a:pt x="3626814" y="2363361"/>
                </a:lnTo>
                <a:cubicBezTo>
                  <a:pt x="3624878" y="2370462"/>
                  <a:pt x="3623330" y="2377872"/>
                  <a:pt x="3621394" y="2384664"/>
                </a:cubicBezTo>
                <a:lnTo>
                  <a:pt x="3621394" y="2400718"/>
                </a:lnTo>
                <a:cubicBezTo>
                  <a:pt x="3619844" y="2404423"/>
                  <a:pt x="3617910" y="2407819"/>
                  <a:pt x="3616360" y="2411215"/>
                </a:cubicBezTo>
                <a:lnTo>
                  <a:pt x="3595068" y="2411215"/>
                </a:lnTo>
                <a:cubicBezTo>
                  <a:pt x="3589648" y="2414920"/>
                  <a:pt x="3584614" y="2418624"/>
                  <a:pt x="3579194" y="2422021"/>
                </a:cubicBezTo>
                <a:cubicBezTo>
                  <a:pt x="3586164" y="2425417"/>
                  <a:pt x="3593132" y="2429121"/>
                  <a:pt x="3600100" y="2432518"/>
                </a:cubicBezTo>
                <a:cubicBezTo>
                  <a:pt x="3605520" y="2437766"/>
                  <a:pt x="3610940" y="2443323"/>
                  <a:pt x="3616360" y="2448572"/>
                </a:cubicBezTo>
                <a:cubicBezTo>
                  <a:pt x="3617910" y="2455673"/>
                  <a:pt x="3619844" y="2463082"/>
                  <a:pt x="3621394" y="2469874"/>
                </a:cubicBezTo>
                <a:cubicBezTo>
                  <a:pt x="3624878" y="2475123"/>
                  <a:pt x="3628750" y="2480680"/>
                  <a:pt x="3632234" y="2485929"/>
                </a:cubicBezTo>
                <a:lnTo>
                  <a:pt x="3653528" y="2501983"/>
                </a:lnTo>
                <a:cubicBezTo>
                  <a:pt x="3651592" y="2510936"/>
                  <a:pt x="3650042" y="2519889"/>
                  <a:pt x="3648108" y="2528534"/>
                </a:cubicBezTo>
                <a:cubicBezTo>
                  <a:pt x="3646172" y="2541192"/>
                  <a:pt x="3644622" y="2553541"/>
                  <a:pt x="3642686" y="2565891"/>
                </a:cubicBezTo>
                <a:lnTo>
                  <a:pt x="3642686" y="2602939"/>
                </a:lnTo>
                <a:lnTo>
                  <a:pt x="3642686" y="2640296"/>
                </a:lnTo>
                <a:lnTo>
                  <a:pt x="3642686" y="2672095"/>
                </a:lnTo>
                <a:cubicBezTo>
                  <a:pt x="3639202" y="2681357"/>
                  <a:pt x="3635718" y="2690002"/>
                  <a:pt x="3632234" y="2698955"/>
                </a:cubicBezTo>
                <a:cubicBezTo>
                  <a:pt x="3634170" y="2706056"/>
                  <a:pt x="3635718" y="2713466"/>
                  <a:pt x="3637654" y="2720258"/>
                </a:cubicBezTo>
                <a:cubicBezTo>
                  <a:pt x="3646558" y="2723654"/>
                  <a:pt x="3655076" y="2727359"/>
                  <a:pt x="3663980" y="2730755"/>
                </a:cubicBezTo>
                <a:cubicBezTo>
                  <a:pt x="3665916" y="2741561"/>
                  <a:pt x="3667464" y="2752058"/>
                  <a:pt x="3669400" y="2762863"/>
                </a:cubicBezTo>
                <a:cubicBezTo>
                  <a:pt x="3667464" y="2769964"/>
                  <a:pt x="3665916" y="2777374"/>
                  <a:pt x="3663980" y="2784166"/>
                </a:cubicBezTo>
                <a:cubicBezTo>
                  <a:pt x="3660496" y="2787562"/>
                  <a:pt x="3657012" y="2791267"/>
                  <a:pt x="3653528" y="2794663"/>
                </a:cubicBezTo>
                <a:cubicBezTo>
                  <a:pt x="3648108" y="2799911"/>
                  <a:pt x="3643074" y="2805469"/>
                  <a:pt x="3637654" y="2810717"/>
                </a:cubicBezTo>
                <a:cubicBezTo>
                  <a:pt x="3643074" y="2815966"/>
                  <a:pt x="3648108" y="2821523"/>
                  <a:pt x="3653528" y="2826771"/>
                </a:cubicBezTo>
                <a:cubicBezTo>
                  <a:pt x="3660496" y="2828624"/>
                  <a:pt x="3667852" y="2830167"/>
                  <a:pt x="3674820" y="2832020"/>
                </a:cubicBezTo>
                <a:lnTo>
                  <a:pt x="3685274" y="2847765"/>
                </a:lnTo>
                <a:lnTo>
                  <a:pt x="3674820" y="2869068"/>
                </a:lnTo>
                <a:cubicBezTo>
                  <a:pt x="3669400" y="2876169"/>
                  <a:pt x="3664368" y="2883270"/>
                  <a:pt x="3658948" y="2890371"/>
                </a:cubicBezTo>
                <a:cubicBezTo>
                  <a:pt x="3657012" y="2897472"/>
                  <a:pt x="3655462" y="2904573"/>
                  <a:pt x="3653528" y="2911673"/>
                </a:cubicBezTo>
                <a:cubicBezTo>
                  <a:pt x="3650042" y="2915378"/>
                  <a:pt x="3646172" y="2918774"/>
                  <a:pt x="3642686" y="2922479"/>
                </a:cubicBezTo>
                <a:lnTo>
                  <a:pt x="3653528" y="2932976"/>
                </a:lnTo>
                <a:cubicBezTo>
                  <a:pt x="3655462" y="2936372"/>
                  <a:pt x="3657012" y="2940386"/>
                  <a:pt x="3658948" y="2943782"/>
                </a:cubicBezTo>
                <a:cubicBezTo>
                  <a:pt x="3664368" y="2947178"/>
                  <a:pt x="3669400" y="2950883"/>
                  <a:pt x="3674820" y="2954279"/>
                </a:cubicBezTo>
                <a:cubicBezTo>
                  <a:pt x="3676368" y="2959527"/>
                  <a:pt x="3678304" y="2965084"/>
                  <a:pt x="3679854" y="2970333"/>
                </a:cubicBezTo>
                <a:cubicBezTo>
                  <a:pt x="3676368" y="2973729"/>
                  <a:pt x="3672884" y="2977743"/>
                  <a:pt x="3669400" y="2981139"/>
                </a:cubicBezTo>
                <a:cubicBezTo>
                  <a:pt x="3663980" y="2984535"/>
                  <a:pt x="3658948" y="2988240"/>
                  <a:pt x="3653528" y="2991636"/>
                </a:cubicBezTo>
                <a:cubicBezTo>
                  <a:pt x="3648108" y="2995032"/>
                  <a:pt x="3643074" y="2999045"/>
                  <a:pt x="3637654" y="3002441"/>
                </a:cubicBezTo>
                <a:lnTo>
                  <a:pt x="3637654" y="3023744"/>
                </a:lnTo>
                <a:cubicBezTo>
                  <a:pt x="3643074" y="3027140"/>
                  <a:pt x="3648108" y="3030845"/>
                  <a:pt x="3653528" y="3034241"/>
                </a:cubicBezTo>
                <a:cubicBezTo>
                  <a:pt x="3658948" y="3037637"/>
                  <a:pt x="3663980" y="3041651"/>
                  <a:pt x="3669400" y="3045047"/>
                </a:cubicBezTo>
                <a:cubicBezTo>
                  <a:pt x="3674820" y="3046899"/>
                  <a:pt x="3679854" y="3048443"/>
                  <a:pt x="3685274" y="3050295"/>
                </a:cubicBezTo>
                <a:cubicBezTo>
                  <a:pt x="3683338" y="3055544"/>
                  <a:pt x="3681788" y="3060792"/>
                  <a:pt x="3679854" y="3066041"/>
                </a:cubicBezTo>
                <a:lnTo>
                  <a:pt x="3672988" y="3080033"/>
                </a:lnTo>
                <a:lnTo>
                  <a:pt x="3674840" y="3081963"/>
                </a:lnTo>
                <a:lnTo>
                  <a:pt x="3672120" y="3081801"/>
                </a:lnTo>
                <a:lnTo>
                  <a:pt x="3669400" y="3087343"/>
                </a:lnTo>
                <a:lnTo>
                  <a:pt x="3660790" y="3081128"/>
                </a:lnTo>
                <a:lnTo>
                  <a:pt x="3638436" y="3079798"/>
                </a:lnTo>
                <a:lnTo>
                  <a:pt x="3561332" y="3077633"/>
                </a:lnTo>
                <a:lnTo>
                  <a:pt x="3490764" y="3073400"/>
                </a:lnTo>
                <a:lnTo>
                  <a:pt x="3422248" y="3075566"/>
                </a:lnTo>
                <a:lnTo>
                  <a:pt x="3420008" y="3094759"/>
                </a:lnTo>
                <a:cubicBezTo>
                  <a:pt x="3424302" y="3099089"/>
                  <a:pt x="3428596" y="3103322"/>
                  <a:pt x="3432890" y="3107652"/>
                </a:cubicBezTo>
                <a:lnTo>
                  <a:pt x="3469294" y="3137574"/>
                </a:lnTo>
                <a:cubicBezTo>
                  <a:pt x="3474336" y="3144759"/>
                  <a:pt x="3479188" y="3151845"/>
                  <a:pt x="3484230" y="3159030"/>
                </a:cubicBezTo>
                <a:cubicBezTo>
                  <a:pt x="3487030" y="3177534"/>
                  <a:pt x="3490016" y="3196137"/>
                  <a:pt x="3492818" y="3214641"/>
                </a:cubicBezTo>
                <a:cubicBezTo>
                  <a:pt x="3490764" y="3238853"/>
                  <a:pt x="3488524" y="3263164"/>
                  <a:pt x="3486470" y="3287377"/>
                </a:cubicBezTo>
                <a:lnTo>
                  <a:pt x="3441478" y="3360113"/>
                </a:lnTo>
                <a:lnTo>
                  <a:pt x="3358028" y="3398597"/>
                </a:lnTo>
                <a:lnTo>
                  <a:pt x="3216702" y="3439247"/>
                </a:lnTo>
                <a:lnTo>
                  <a:pt x="3111784" y="3477829"/>
                </a:lnTo>
                <a:lnTo>
                  <a:pt x="3030386" y="3524877"/>
                </a:lnTo>
                <a:lnTo>
                  <a:pt x="2936294" y="3554798"/>
                </a:lnTo>
                <a:lnTo>
                  <a:pt x="2856952" y="3556963"/>
                </a:lnTo>
                <a:lnTo>
                  <a:pt x="2764912" y="3522711"/>
                </a:lnTo>
                <a:lnTo>
                  <a:pt x="2685756" y="3473499"/>
                </a:lnTo>
                <a:lnTo>
                  <a:pt x="2591478" y="3415723"/>
                </a:lnTo>
                <a:lnTo>
                  <a:pt x="2516616" y="3372908"/>
                </a:lnTo>
                <a:lnTo>
                  <a:pt x="2480210" y="3366511"/>
                </a:lnTo>
                <a:lnTo>
                  <a:pt x="2398814" y="3396530"/>
                </a:lnTo>
                <a:lnTo>
                  <a:pt x="2323952" y="3460703"/>
                </a:lnTo>
                <a:lnTo>
                  <a:pt x="2285306" y="3507751"/>
                </a:lnTo>
                <a:lnTo>
                  <a:pt x="2223326" y="3580487"/>
                </a:lnTo>
                <a:lnTo>
                  <a:pt x="2165452" y="3651156"/>
                </a:lnTo>
                <a:lnTo>
                  <a:pt x="2114112" y="3691806"/>
                </a:lnTo>
                <a:lnTo>
                  <a:pt x="2077708" y="3753814"/>
                </a:lnTo>
                <a:lnTo>
                  <a:pt x="2028422" y="3826550"/>
                </a:lnTo>
                <a:lnTo>
                  <a:pt x="1955612" y="3931373"/>
                </a:lnTo>
                <a:lnTo>
                  <a:pt x="1917154" y="3980585"/>
                </a:lnTo>
                <a:lnTo>
                  <a:pt x="1872162" y="4002042"/>
                </a:lnTo>
                <a:lnTo>
                  <a:pt x="1825116" y="4029798"/>
                </a:lnTo>
                <a:cubicBezTo>
                  <a:pt x="1819328" y="4039050"/>
                  <a:pt x="1813728" y="4048400"/>
                  <a:pt x="1807940" y="4057652"/>
                </a:cubicBezTo>
                <a:lnTo>
                  <a:pt x="1807940" y="4057653"/>
                </a:lnTo>
                <a:lnTo>
                  <a:pt x="1771996" y="4058669"/>
                </a:lnTo>
                <a:lnTo>
                  <a:pt x="1681026" y="4061717"/>
                </a:lnTo>
                <a:lnTo>
                  <a:pt x="1591218" y="4067813"/>
                </a:lnTo>
                <a:lnTo>
                  <a:pt x="1489708" y="4070861"/>
                </a:lnTo>
                <a:cubicBezTo>
                  <a:pt x="1478112" y="4076622"/>
                  <a:pt x="1466412" y="4082372"/>
                  <a:pt x="1454816" y="4088133"/>
                </a:cubicBezTo>
                <a:lnTo>
                  <a:pt x="1370278" y="4110485"/>
                </a:lnTo>
                <a:lnTo>
                  <a:pt x="1210582" y="4122677"/>
                </a:lnTo>
                <a:lnTo>
                  <a:pt x="1102748" y="4124709"/>
                </a:lnTo>
                <a:cubicBezTo>
                  <a:pt x="1097792" y="4128092"/>
                  <a:pt x="1092944" y="4131486"/>
                  <a:pt x="1087990" y="4134869"/>
                </a:cubicBezTo>
                <a:cubicBezTo>
                  <a:pt x="1081666" y="4139949"/>
                  <a:pt x="1075236" y="4145029"/>
                  <a:pt x="1068910" y="4150109"/>
                </a:cubicBezTo>
                <a:lnTo>
                  <a:pt x="1030858" y="4159253"/>
                </a:lnTo>
                <a:lnTo>
                  <a:pt x="1001238" y="4155189"/>
                </a:lnTo>
                <a:lnTo>
                  <a:pt x="926186" y="4156205"/>
                </a:lnTo>
                <a:lnTo>
                  <a:pt x="837324" y="4158237"/>
                </a:lnTo>
                <a:lnTo>
                  <a:pt x="798218" y="4140965"/>
                </a:lnTo>
                <a:cubicBezTo>
                  <a:pt x="790102" y="4129454"/>
                  <a:pt x="782090" y="4117932"/>
                  <a:pt x="773974" y="4106421"/>
                </a:cubicBezTo>
                <a:lnTo>
                  <a:pt x="755220" y="4101690"/>
                </a:lnTo>
                <a:lnTo>
                  <a:pt x="753840" y="4102100"/>
                </a:lnTo>
                <a:lnTo>
                  <a:pt x="732376" y="4086180"/>
                </a:lnTo>
                <a:cubicBezTo>
                  <a:pt x="728810" y="4078743"/>
                  <a:pt x="725172" y="4071422"/>
                  <a:pt x="721608" y="4063985"/>
                </a:cubicBezTo>
                <a:lnTo>
                  <a:pt x="703424" y="4054456"/>
                </a:lnTo>
                <a:lnTo>
                  <a:pt x="689518" y="4054456"/>
                </a:lnTo>
                <a:lnTo>
                  <a:pt x="673474" y="4055502"/>
                </a:lnTo>
                <a:lnTo>
                  <a:pt x="647660" y="4057594"/>
                </a:lnTo>
                <a:lnTo>
                  <a:pt x="635894" y="4057594"/>
                </a:lnTo>
                <a:cubicBezTo>
                  <a:pt x="634826" y="4043184"/>
                  <a:pt x="633756" y="4028659"/>
                  <a:pt x="632686" y="4014249"/>
                </a:cubicBezTo>
                <a:lnTo>
                  <a:pt x="621990" y="3991009"/>
                </a:lnTo>
                <a:cubicBezTo>
                  <a:pt x="618068" y="3984966"/>
                  <a:pt x="614074" y="3979039"/>
                  <a:pt x="610152" y="3972997"/>
                </a:cubicBezTo>
                <a:lnTo>
                  <a:pt x="602664" y="3936973"/>
                </a:lnTo>
                <a:cubicBezTo>
                  <a:pt x="600454" y="3928839"/>
                  <a:pt x="598386" y="3920821"/>
                  <a:pt x="596176" y="3912687"/>
                </a:cubicBezTo>
                <a:lnTo>
                  <a:pt x="580132" y="3902112"/>
                </a:lnTo>
                <a:lnTo>
                  <a:pt x="558668" y="3899904"/>
                </a:lnTo>
                <a:lnTo>
                  <a:pt x="531856" y="3890491"/>
                </a:lnTo>
                <a:lnTo>
                  <a:pt x="507254" y="3876663"/>
                </a:lnTo>
                <a:lnTo>
                  <a:pt x="483650" y="3876663"/>
                </a:lnTo>
                <a:lnTo>
                  <a:pt x="442934" y="3884100"/>
                </a:lnTo>
                <a:lnTo>
                  <a:pt x="409632" y="3889329"/>
                </a:lnTo>
                <a:lnTo>
                  <a:pt x="380682" y="3890491"/>
                </a:lnTo>
                <a:lnTo>
                  <a:pt x="339964" y="3899904"/>
                </a:lnTo>
                <a:lnTo>
                  <a:pt x="316360" y="3896766"/>
                </a:lnTo>
                <a:lnTo>
                  <a:pt x="301314" y="3879801"/>
                </a:lnTo>
                <a:lnTo>
                  <a:pt x="278782" y="3870272"/>
                </a:lnTo>
                <a:lnTo>
                  <a:pt x="253038" y="3870272"/>
                </a:lnTo>
                <a:lnTo>
                  <a:pt x="229436" y="3860743"/>
                </a:lnTo>
                <a:lnTo>
                  <a:pt x="211252" y="3841802"/>
                </a:lnTo>
                <a:lnTo>
                  <a:pt x="210182" y="3816353"/>
                </a:lnTo>
                <a:cubicBezTo>
                  <a:pt x="209042" y="3805081"/>
                  <a:pt x="208044" y="3793809"/>
                  <a:pt x="206974" y="3782537"/>
                </a:cubicBezTo>
                <a:lnTo>
                  <a:pt x="220878" y="3773008"/>
                </a:lnTo>
                <a:lnTo>
                  <a:pt x="230576" y="3762434"/>
                </a:lnTo>
                <a:cubicBezTo>
                  <a:pt x="228438" y="3757088"/>
                  <a:pt x="226226" y="3751859"/>
                  <a:pt x="224088" y="3746514"/>
                </a:cubicBezTo>
                <a:lnTo>
                  <a:pt x="210182" y="3744422"/>
                </a:lnTo>
                <a:lnTo>
                  <a:pt x="190858" y="3744422"/>
                </a:lnTo>
                <a:lnTo>
                  <a:pt x="172602" y="3746514"/>
                </a:lnTo>
                <a:lnTo>
                  <a:pt x="161906" y="3733847"/>
                </a:lnTo>
                <a:lnTo>
                  <a:pt x="149072" y="3692479"/>
                </a:lnTo>
                <a:lnTo>
                  <a:pt x="149072" y="3641697"/>
                </a:lnTo>
                <a:cubicBezTo>
                  <a:pt x="151140" y="3635306"/>
                  <a:pt x="153350" y="3629031"/>
                  <a:pt x="155488" y="3622640"/>
                </a:cubicBezTo>
                <a:lnTo>
                  <a:pt x="174742" y="3595215"/>
                </a:lnTo>
                <a:cubicBezTo>
                  <a:pt x="175884" y="3582549"/>
                  <a:pt x="176952" y="3569766"/>
                  <a:pt x="178022" y="3557100"/>
                </a:cubicBezTo>
                <a:lnTo>
                  <a:pt x="197346" y="3527468"/>
                </a:lnTo>
                <a:cubicBezTo>
                  <a:pt x="197704" y="3523517"/>
                  <a:pt x="198060" y="3519682"/>
                  <a:pt x="198416" y="3515731"/>
                </a:cubicBezTo>
                <a:lnTo>
                  <a:pt x="223018" y="3499927"/>
                </a:lnTo>
                <a:lnTo>
                  <a:pt x="226226" y="3471341"/>
                </a:lnTo>
                <a:lnTo>
                  <a:pt x="235854" y="3442755"/>
                </a:lnTo>
                <a:lnTo>
                  <a:pt x="274502" y="3417306"/>
                </a:lnTo>
                <a:lnTo>
                  <a:pt x="303526" y="3387674"/>
                </a:lnTo>
                <a:cubicBezTo>
                  <a:pt x="307090" y="3376053"/>
                  <a:pt x="310584" y="3364433"/>
                  <a:pt x="314150" y="3352812"/>
                </a:cubicBezTo>
                <a:cubicBezTo>
                  <a:pt x="311654" y="3332709"/>
                  <a:pt x="309230" y="3312605"/>
                  <a:pt x="306734" y="3292502"/>
                </a:cubicBezTo>
                <a:cubicBezTo>
                  <a:pt x="309230" y="3281230"/>
                  <a:pt x="311654" y="3269842"/>
                  <a:pt x="314150" y="3258570"/>
                </a:cubicBezTo>
                <a:lnTo>
                  <a:pt x="332406" y="3244858"/>
                </a:lnTo>
                <a:lnTo>
                  <a:pt x="368844" y="3244858"/>
                </a:lnTo>
                <a:lnTo>
                  <a:pt x="399934" y="3223709"/>
                </a:lnTo>
                <a:lnTo>
                  <a:pt x="420328" y="3213134"/>
                </a:lnTo>
                <a:lnTo>
                  <a:pt x="446142" y="3197214"/>
                </a:lnTo>
                <a:lnTo>
                  <a:pt x="446142" y="3175019"/>
                </a:lnTo>
                <a:lnTo>
                  <a:pt x="413912" y="3147478"/>
                </a:lnTo>
                <a:lnTo>
                  <a:pt x="390308" y="3133766"/>
                </a:lnTo>
                <a:cubicBezTo>
                  <a:pt x="388596" y="3125632"/>
                  <a:pt x="386742" y="3117498"/>
                  <a:pt x="384960" y="3109363"/>
                </a:cubicBezTo>
                <a:lnTo>
                  <a:pt x="361428" y="3103088"/>
                </a:lnTo>
                <a:lnTo>
                  <a:pt x="338824" y="3080777"/>
                </a:lnTo>
                <a:lnTo>
                  <a:pt x="323848" y="3092397"/>
                </a:lnTo>
                <a:cubicBezTo>
                  <a:pt x="319570" y="3083914"/>
                  <a:pt x="315220" y="3075548"/>
                  <a:pt x="310942" y="3067065"/>
                </a:cubicBezTo>
                <a:lnTo>
                  <a:pt x="303526" y="3052191"/>
                </a:lnTo>
                <a:lnTo>
                  <a:pt x="291688" y="3048007"/>
                </a:lnTo>
                <a:cubicBezTo>
                  <a:pt x="291332" y="3043824"/>
                  <a:pt x="290904" y="3039524"/>
                  <a:pt x="290548" y="3035341"/>
                </a:cubicBezTo>
                <a:lnTo>
                  <a:pt x="265946" y="3035341"/>
                </a:lnTo>
                <a:lnTo>
                  <a:pt x="248832" y="3035341"/>
                </a:lnTo>
                <a:lnTo>
                  <a:pt x="227296" y="3035341"/>
                </a:lnTo>
                <a:lnTo>
                  <a:pt x="213392" y="3025812"/>
                </a:lnTo>
                <a:cubicBezTo>
                  <a:pt x="211252" y="3021977"/>
                  <a:pt x="209112" y="3018026"/>
                  <a:pt x="206974" y="3014192"/>
                </a:cubicBezTo>
                <a:lnTo>
                  <a:pt x="198416" y="3000363"/>
                </a:lnTo>
                <a:lnTo>
                  <a:pt x="198416" y="2984559"/>
                </a:lnTo>
                <a:lnTo>
                  <a:pt x="198416" y="2968639"/>
                </a:lnTo>
                <a:cubicBezTo>
                  <a:pt x="196920" y="2963294"/>
                  <a:pt x="195564" y="2958065"/>
                  <a:pt x="194138" y="2952719"/>
                </a:cubicBezTo>
                <a:lnTo>
                  <a:pt x="179092" y="2949582"/>
                </a:lnTo>
                <a:lnTo>
                  <a:pt x="149072" y="2950628"/>
                </a:lnTo>
                <a:lnTo>
                  <a:pt x="116910" y="2950628"/>
                </a:lnTo>
                <a:lnTo>
                  <a:pt x="101864" y="2953765"/>
                </a:lnTo>
                <a:lnTo>
                  <a:pt x="78262" y="2960156"/>
                </a:lnTo>
                <a:lnTo>
                  <a:pt x="55800" y="2962248"/>
                </a:lnTo>
                <a:cubicBezTo>
                  <a:pt x="54730" y="2958413"/>
                  <a:pt x="53588" y="2954462"/>
                  <a:pt x="52520" y="2950628"/>
                </a:cubicBezTo>
                <a:lnTo>
                  <a:pt x="31198" y="2935289"/>
                </a:lnTo>
                <a:lnTo>
                  <a:pt x="49482" y="2925200"/>
                </a:lnTo>
                <a:lnTo>
                  <a:pt x="26714" y="2927728"/>
                </a:lnTo>
                <a:cubicBezTo>
                  <a:pt x="17808" y="2917231"/>
                  <a:pt x="8904" y="2906425"/>
                  <a:pt x="0" y="2895928"/>
                </a:cubicBezTo>
                <a:cubicBezTo>
                  <a:pt x="5420" y="2883270"/>
                  <a:pt x="10454" y="2871229"/>
                  <a:pt x="15874" y="2858571"/>
                </a:cubicBezTo>
                <a:cubicBezTo>
                  <a:pt x="30198" y="2844369"/>
                  <a:pt x="44136" y="2830167"/>
                  <a:pt x="58460" y="2815966"/>
                </a:cubicBezTo>
                <a:cubicBezTo>
                  <a:pt x="61944" y="2801764"/>
                  <a:pt x="65816" y="2787871"/>
                  <a:pt x="69300" y="2773360"/>
                </a:cubicBezTo>
                <a:lnTo>
                  <a:pt x="127760" y="2741561"/>
                </a:lnTo>
                <a:cubicBezTo>
                  <a:pt x="122340" y="2730755"/>
                  <a:pt x="116920" y="2720258"/>
                  <a:pt x="111498" y="2709452"/>
                </a:cubicBezTo>
                <a:lnTo>
                  <a:pt x="186218" y="2688150"/>
                </a:lnTo>
                <a:lnTo>
                  <a:pt x="244678" y="2666847"/>
                </a:lnTo>
                <a:cubicBezTo>
                  <a:pt x="255132" y="2644001"/>
                  <a:pt x="265972" y="2620845"/>
                  <a:pt x="276424" y="2597690"/>
                </a:cubicBezTo>
                <a:lnTo>
                  <a:pt x="340304" y="2523285"/>
                </a:lnTo>
                <a:cubicBezTo>
                  <a:pt x="352692" y="2512480"/>
                  <a:pt x="365082" y="2501983"/>
                  <a:pt x="377470" y="2491177"/>
                </a:cubicBezTo>
                <a:cubicBezTo>
                  <a:pt x="386374" y="2480680"/>
                  <a:pt x="395280" y="2469874"/>
                  <a:pt x="404184" y="2459377"/>
                </a:cubicBezTo>
                <a:cubicBezTo>
                  <a:pt x="411152" y="2448572"/>
                  <a:pt x="418508" y="2438075"/>
                  <a:pt x="425476" y="2427269"/>
                </a:cubicBezTo>
                <a:cubicBezTo>
                  <a:pt x="423542" y="2413067"/>
                  <a:pt x="421992" y="2399174"/>
                  <a:pt x="420056" y="2384664"/>
                </a:cubicBezTo>
                <a:cubicBezTo>
                  <a:pt x="413088" y="2377563"/>
                  <a:pt x="405732" y="2370462"/>
                  <a:pt x="398764" y="2363361"/>
                </a:cubicBezTo>
                <a:cubicBezTo>
                  <a:pt x="395280" y="2349159"/>
                  <a:pt x="391796" y="2335266"/>
                  <a:pt x="388310" y="2320756"/>
                </a:cubicBezTo>
                <a:cubicBezTo>
                  <a:pt x="393730" y="2308715"/>
                  <a:pt x="398764" y="2296057"/>
                  <a:pt x="404184" y="2283708"/>
                </a:cubicBezTo>
                <a:lnTo>
                  <a:pt x="441350" y="2299453"/>
                </a:lnTo>
                <a:lnTo>
                  <a:pt x="505230" y="2294205"/>
                </a:lnTo>
                <a:lnTo>
                  <a:pt x="558270" y="2310259"/>
                </a:lnTo>
                <a:cubicBezTo>
                  <a:pt x="577626" y="2319212"/>
                  <a:pt x="597372" y="2327857"/>
                  <a:pt x="616728" y="2336810"/>
                </a:cubicBezTo>
                <a:lnTo>
                  <a:pt x="654282" y="2320756"/>
                </a:lnTo>
                <a:cubicBezTo>
                  <a:pt x="661250" y="2315507"/>
                  <a:pt x="668606" y="2310259"/>
                  <a:pt x="675576" y="2305010"/>
                </a:cubicBezTo>
                <a:lnTo>
                  <a:pt x="734034" y="2294205"/>
                </a:lnTo>
                <a:cubicBezTo>
                  <a:pt x="741004" y="2287104"/>
                  <a:pt x="748360" y="2280003"/>
                  <a:pt x="755328" y="2272902"/>
                </a:cubicBezTo>
                <a:lnTo>
                  <a:pt x="808368" y="2267653"/>
                </a:lnTo>
                <a:cubicBezTo>
                  <a:pt x="817272" y="2274754"/>
                  <a:pt x="826176" y="2282164"/>
                  <a:pt x="835080" y="2288956"/>
                </a:cubicBezTo>
                <a:lnTo>
                  <a:pt x="877280" y="2288956"/>
                </a:lnTo>
                <a:cubicBezTo>
                  <a:pt x="884248" y="2278150"/>
                  <a:pt x="891604" y="2267653"/>
                  <a:pt x="898574" y="2256848"/>
                </a:cubicBezTo>
                <a:cubicBezTo>
                  <a:pt x="903994" y="2248203"/>
                  <a:pt x="909414" y="2239250"/>
                  <a:pt x="914834" y="2230297"/>
                </a:cubicBezTo>
                <a:cubicBezTo>
                  <a:pt x="923738" y="2217947"/>
                  <a:pt x="932256" y="2205289"/>
                  <a:pt x="941160" y="2192940"/>
                </a:cubicBezTo>
                <a:cubicBezTo>
                  <a:pt x="928770" y="2191087"/>
                  <a:pt x="916382" y="2189544"/>
                  <a:pt x="903994" y="2187691"/>
                </a:cubicBezTo>
                <a:cubicBezTo>
                  <a:pt x="900510" y="2170093"/>
                  <a:pt x="897024" y="2152496"/>
                  <a:pt x="893540" y="2134589"/>
                </a:cubicBezTo>
                <a:cubicBezTo>
                  <a:pt x="888120" y="2120387"/>
                  <a:pt x="882700" y="2106494"/>
                  <a:pt x="877280" y="2091984"/>
                </a:cubicBezTo>
                <a:lnTo>
                  <a:pt x="818820" y="2086735"/>
                </a:lnTo>
                <a:cubicBezTo>
                  <a:pt x="811852" y="2077782"/>
                  <a:pt x="804496" y="2069137"/>
                  <a:pt x="797528" y="2059875"/>
                </a:cubicBezTo>
                <a:lnTo>
                  <a:pt x="776234" y="2075929"/>
                </a:lnTo>
                <a:lnTo>
                  <a:pt x="734034" y="2059875"/>
                </a:lnTo>
                <a:cubicBezTo>
                  <a:pt x="721646" y="2058023"/>
                  <a:pt x="708870" y="2056479"/>
                  <a:pt x="696482" y="2054627"/>
                </a:cubicBezTo>
                <a:lnTo>
                  <a:pt x="664736" y="2054627"/>
                </a:lnTo>
                <a:cubicBezTo>
                  <a:pt x="666670" y="2069137"/>
                  <a:pt x="668220" y="2083030"/>
                  <a:pt x="670156" y="2097232"/>
                </a:cubicBezTo>
                <a:lnTo>
                  <a:pt x="627568" y="2102481"/>
                </a:lnTo>
                <a:cubicBezTo>
                  <a:pt x="615180" y="2093836"/>
                  <a:pt x="602792" y="2084883"/>
                  <a:pt x="590402" y="2075929"/>
                </a:cubicBezTo>
                <a:cubicBezTo>
                  <a:pt x="586918" y="2065432"/>
                  <a:pt x="583046" y="2054627"/>
                  <a:pt x="579562" y="2044130"/>
                </a:cubicBezTo>
                <a:cubicBezTo>
                  <a:pt x="576078" y="2031780"/>
                  <a:pt x="572594" y="2019431"/>
                  <a:pt x="569110" y="2006773"/>
                </a:cubicBezTo>
                <a:lnTo>
                  <a:pt x="521102" y="1985470"/>
                </a:lnTo>
                <a:cubicBezTo>
                  <a:pt x="510650" y="1981765"/>
                  <a:pt x="499810" y="1978369"/>
                  <a:pt x="489356" y="1974664"/>
                </a:cubicBezTo>
                <a:cubicBezTo>
                  <a:pt x="476968" y="1979913"/>
                  <a:pt x="464580" y="1985470"/>
                  <a:pt x="452190" y="1990719"/>
                </a:cubicBezTo>
                <a:cubicBezTo>
                  <a:pt x="453738" y="1978678"/>
                  <a:pt x="455674" y="1966020"/>
                  <a:pt x="457224" y="1953671"/>
                </a:cubicBezTo>
                <a:lnTo>
                  <a:pt x="553236" y="1884205"/>
                </a:lnTo>
                <a:cubicBezTo>
                  <a:pt x="571046" y="1866607"/>
                  <a:pt x="588466" y="1848701"/>
                  <a:pt x="606276" y="1831103"/>
                </a:cubicBezTo>
                <a:cubicBezTo>
                  <a:pt x="625634" y="1815049"/>
                  <a:pt x="645378" y="1799612"/>
                  <a:pt x="664736" y="1783249"/>
                </a:cubicBezTo>
                <a:lnTo>
                  <a:pt x="664736" y="1735704"/>
                </a:lnTo>
                <a:lnTo>
                  <a:pt x="749908" y="1708536"/>
                </a:lnTo>
                <a:cubicBezTo>
                  <a:pt x="739068" y="1698347"/>
                  <a:pt x="728614" y="1687233"/>
                  <a:pt x="717774" y="1677045"/>
                </a:cubicBezTo>
                <a:cubicBezTo>
                  <a:pt x="728614" y="1668091"/>
                  <a:pt x="739068" y="1659138"/>
                  <a:pt x="749908" y="1650493"/>
                </a:cubicBezTo>
                <a:cubicBezTo>
                  <a:pt x="764232" y="1648641"/>
                  <a:pt x="778170" y="1646480"/>
                  <a:pt x="792494" y="1644628"/>
                </a:cubicBezTo>
                <a:lnTo>
                  <a:pt x="792494" y="1623325"/>
                </a:lnTo>
                <a:cubicBezTo>
                  <a:pt x="790558" y="1609123"/>
                  <a:pt x="789010" y="1595230"/>
                  <a:pt x="787074" y="1580720"/>
                </a:cubicBezTo>
                <a:cubicBezTo>
                  <a:pt x="799464" y="1568679"/>
                  <a:pt x="811852" y="1556021"/>
                  <a:pt x="824240" y="1543980"/>
                </a:cubicBezTo>
                <a:cubicBezTo>
                  <a:pt x="836630" y="1524530"/>
                  <a:pt x="849018" y="1504771"/>
                  <a:pt x="861408" y="1485321"/>
                </a:cubicBezTo>
                <a:cubicBezTo>
                  <a:pt x="866828" y="1470810"/>
                  <a:pt x="871860" y="1456917"/>
                  <a:pt x="877280" y="1442715"/>
                </a:cubicBezTo>
                <a:lnTo>
                  <a:pt x="877280" y="1400110"/>
                </a:lnTo>
                <a:cubicBezTo>
                  <a:pt x="884248" y="1391157"/>
                  <a:pt x="891604" y="1382512"/>
                  <a:pt x="898574" y="1373559"/>
                </a:cubicBezTo>
                <a:lnTo>
                  <a:pt x="930706" y="1368310"/>
                </a:lnTo>
                <a:lnTo>
                  <a:pt x="994586" y="1357505"/>
                </a:lnTo>
                <a:cubicBezTo>
                  <a:pt x="1013944" y="1330953"/>
                  <a:pt x="1033688" y="1304402"/>
                  <a:pt x="1053046" y="1277851"/>
                </a:cubicBezTo>
                <a:lnTo>
                  <a:pt x="1100666" y="1229689"/>
                </a:lnTo>
                <a:lnTo>
                  <a:pt x="1180418" y="1181835"/>
                </a:lnTo>
                <a:cubicBezTo>
                  <a:pt x="1196292" y="1158680"/>
                  <a:pt x="1212552" y="1135525"/>
                  <a:pt x="1228424" y="1112678"/>
                </a:cubicBezTo>
                <a:lnTo>
                  <a:pt x="1302756" y="1091376"/>
                </a:lnTo>
                <a:lnTo>
                  <a:pt x="1255138" y="1133981"/>
                </a:lnTo>
                <a:cubicBezTo>
                  <a:pt x="1274496" y="1119470"/>
                  <a:pt x="1294240" y="1105577"/>
                  <a:pt x="1313598" y="1091376"/>
                </a:cubicBezTo>
                <a:lnTo>
                  <a:pt x="1409224" y="1064824"/>
                </a:lnTo>
                <a:lnTo>
                  <a:pt x="1478522" y="1027468"/>
                </a:lnTo>
                <a:cubicBezTo>
                  <a:pt x="1490912" y="1014810"/>
                  <a:pt x="1503300" y="1002460"/>
                  <a:pt x="1515690" y="990111"/>
                </a:cubicBezTo>
                <a:cubicBezTo>
                  <a:pt x="1521110" y="983010"/>
                  <a:pt x="1526142" y="975600"/>
                  <a:pt x="1531562" y="968808"/>
                </a:cubicBezTo>
                <a:lnTo>
                  <a:pt x="1590022" y="953063"/>
                </a:lnTo>
                <a:cubicBezTo>
                  <a:pt x="1604346" y="945962"/>
                  <a:pt x="1618284" y="938552"/>
                  <a:pt x="1632608" y="931760"/>
                </a:cubicBezTo>
                <a:lnTo>
                  <a:pt x="1696488" y="926203"/>
                </a:lnTo>
                <a:lnTo>
                  <a:pt x="1749528" y="883597"/>
                </a:lnTo>
                <a:lnTo>
                  <a:pt x="1807986" y="878349"/>
                </a:lnTo>
                <a:cubicBezTo>
                  <a:pt x="1811472" y="871248"/>
                  <a:pt x="1815342" y="863838"/>
                  <a:pt x="1818828" y="857046"/>
                </a:cubicBezTo>
                <a:cubicBezTo>
                  <a:pt x="1822312" y="849945"/>
                  <a:pt x="1825796" y="842536"/>
                  <a:pt x="1829280" y="835744"/>
                </a:cubicBezTo>
                <a:cubicBezTo>
                  <a:pt x="1840120" y="832348"/>
                  <a:pt x="1850574" y="828643"/>
                  <a:pt x="1861414" y="825247"/>
                </a:cubicBezTo>
                <a:cubicBezTo>
                  <a:pt x="1857928" y="814441"/>
                  <a:pt x="1854058" y="803944"/>
                  <a:pt x="1850574" y="793138"/>
                </a:cubicBezTo>
                <a:cubicBezTo>
                  <a:pt x="1861414" y="789742"/>
                  <a:pt x="1871866" y="786037"/>
                  <a:pt x="1882706" y="782641"/>
                </a:cubicBezTo>
                <a:lnTo>
                  <a:pt x="1941166" y="761339"/>
                </a:lnTo>
                <a:cubicBezTo>
                  <a:pt x="1951620" y="763191"/>
                  <a:pt x="1962460" y="764735"/>
                  <a:pt x="1972912" y="766587"/>
                </a:cubicBezTo>
                <a:lnTo>
                  <a:pt x="2026338" y="761339"/>
                </a:lnTo>
                <a:cubicBezTo>
                  <a:pt x="2029824" y="748681"/>
                  <a:pt x="2033308" y="736331"/>
                  <a:pt x="2036792" y="723982"/>
                </a:cubicBezTo>
                <a:cubicBezTo>
                  <a:pt x="2047244" y="709471"/>
                  <a:pt x="2058086" y="695578"/>
                  <a:pt x="2068538" y="681376"/>
                </a:cubicBezTo>
                <a:lnTo>
                  <a:pt x="2089832" y="697431"/>
                </a:lnTo>
                <a:cubicBezTo>
                  <a:pt x="2098736" y="699283"/>
                  <a:pt x="2107640" y="700827"/>
                  <a:pt x="2116544" y="702679"/>
                </a:cubicBezTo>
                <a:cubicBezTo>
                  <a:pt x="2121964" y="722129"/>
                  <a:pt x="2126998" y="741580"/>
                  <a:pt x="2132418" y="761339"/>
                </a:cubicBezTo>
                <a:cubicBezTo>
                  <a:pt x="2143258" y="743432"/>
                  <a:pt x="2153712" y="725525"/>
                  <a:pt x="2164552" y="707928"/>
                </a:cubicBezTo>
                <a:lnTo>
                  <a:pt x="2212170" y="697431"/>
                </a:lnTo>
                <a:cubicBezTo>
                  <a:pt x="2217590" y="684773"/>
                  <a:pt x="2222624" y="672423"/>
                  <a:pt x="2228044" y="660074"/>
                </a:cubicBezTo>
                <a:cubicBezTo>
                  <a:pt x="2221076" y="663470"/>
                  <a:pt x="2214106" y="667483"/>
                  <a:pt x="2207138" y="670880"/>
                </a:cubicBezTo>
                <a:lnTo>
                  <a:pt x="2164552" y="686625"/>
                </a:lnTo>
                <a:cubicBezTo>
                  <a:pt x="2155646" y="688169"/>
                  <a:pt x="2146742" y="690330"/>
                  <a:pt x="2137838" y="692182"/>
                </a:cubicBezTo>
                <a:cubicBezTo>
                  <a:pt x="2128934" y="688786"/>
                  <a:pt x="2120028" y="684773"/>
                  <a:pt x="2111124" y="681376"/>
                </a:cubicBezTo>
                <a:cubicBezTo>
                  <a:pt x="2109576" y="672423"/>
                  <a:pt x="2107640" y="663470"/>
                  <a:pt x="2106092" y="654825"/>
                </a:cubicBezTo>
                <a:cubicBezTo>
                  <a:pt x="2120028" y="642167"/>
                  <a:pt x="2134354" y="629818"/>
                  <a:pt x="2148292" y="617468"/>
                </a:cubicBezTo>
                <a:lnTo>
                  <a:pt x="2190878" y="617468"/>
                </a:lnTo>
                <a:lnTo>
                  <a:pt x="2254756" y="612220"/>
                </a:lnTo>
                <a:lnTo>
                  <a:pt x="2308184" y="665322"/>
                </a:lnTo>
                <a:cubicBezTo>
                  <a:pt x="2304700" y="654825"/>
                  <a:pt x="2300828" y="644020"/>
                  <a:pt x="2297344" y="633523"/>
                </a:cubicBezTo>
                <a:cubicBezTo>
                  <a:pt x="2290374" y="623026"/>
                  <a:pt x="2283018" y="612220"/>
                  <a:pt x="2276050" y="601723"/>
                </a:cubicBezTo>
                <a:lnTo>
                  <a:pt x="2329090" y="596166"/>
                </a:lnTo>
                <a:lnTo>
                  <a:pt x="2382516" y="623026"/>
                </a:lnTo>
                <a:cubicBezTo>
                  <a:pt x="2396840" y="631670"/>
                  <a:pt x="2410778" y="640932"/>
                  <a:pt x="2425102" y="649577"/>
                </a:cubicBezTo>
                <a:cubicBezTo>
                  <a:pt x="2437492" y="644328"/>
                  <a:pt x="2449880" y="638771"/>
                  <a:pt x="2462268" y="633523"/>
                </a:cubicBezTo>
                <a:lnTo>
                  <a:pt x="2536602" y="644328"/>
                </a:lnTo>
                <a:cubicBezTo>
                  <a:pt x="2534666" y="654825"/>
                  <a:pt x="2533118" y="665631"/>
                  <a:pt x="2531182" y="676128"/>
                </a:cubicBezTo>
                <a:lnTo>
                  <a:pt x="2573768" y="681376"/>
                </a:lnTo>
                <a:lnTo>
                  <a:pt x="2621774" y="660074"/>
                </a:lnTo>
                <a:cubicBezTo>
                  <a:pt x="2634164" y="656678"/>
                  <a:pt x="2646552" y="652973"/>
                  <a:pt x="2658940" y="649577"/>
                </a:cubicBezTo>
                <a:cubicBezTo>
                  <a:pt x="2664360" y="654825"/>
                  <a:pt x="2669394" y="660074"/>
                  <a:pt x="2674814" y="665322"/>
                </a:cubicBezTo>
                <a:lnTo>
                  <a:pt x="2706948" y="665322"/>
                </a:lnTo>
                <a:lnTo>
                  <a:pt x="2738694" y="665322"/>
                </a:lnTo>
                <a:cubicBezTo>
                  <a:pt x="2729788" y="658221"/>
                  <a:pt x="2720884" y="651429"/>
                  <a:pt x="2711980" y="644328"/>
                </a:cubicBezTo>
                <a:cubicBezTo>
                  <a:pt x="2705012" y="637227"/>
                  <a:pt x="2698042" y="629818"/>
                  <a:pt x="2691074" y="623026"/>
                </a:cubicBezTo>
                <a:lnTo>
                  <a:pt x="2669780" y="606972"/>
                </a:lnTo>
                <a:cubicBezTo>
                  <a:pt x="2687590" y="598327"/>
                  <a:pt x="2705012" y="589065"/>
                  <a:pt x="2722820" y="580420"/>
                </a:cubicBezTo>
                <a:cubicBezTo>
                  <a:pt x="2737144" y="592461"/>
                  <a:pt x="2751082" y="605119"/>
                  <a:pt x="2765406" y="617468"/>
                </a:cubicBezTo>
                <a:cubicBezTo>
                  <a:pt x="2774312" y="619012"/>
                  <a:pt x="2783216" y="621173"/>
                  <a:pt x="2792120" y="623026"/>
                </a:cubicBezTo>
                <a:cubicBezTo>
                  <a:pt x="2779732" y="608515"/>
                  <a:pt x="2766956" y="594622"/>
                  <a:pt x="2754566" y="580420"/>
                </a:cubicBezTo>
                <a:cubicBezTo>
                  <a:pt x="2747598" y="573319"/>
                  <a:pt x="2740242" y="566219"/>
                  <a:pt x="2733274" y="559118"/>
                </a:cubicBezTo>
                <a:lnTo>
                  <a:pt x="2680234" y="553560"/>
                </a:lnTo>
                <a:cubicBezTo>
                  <a:pt x="2671330" y="558809"/>
                  <a:pt x="2662424" y="564366"/>
                  <a:pt x="2653520" y="569615"/>
                </a:cubicBezTo>
                <a:cubicBezTo>
                  <a:pt x="2644616" y="581964"/>
                  <a:pt x="2636100" y="594622"/>
                  <a:pt x="2627194" y="606972"/>
                </a:cubicBezTo>
                <a:cubicBezTo>
                  <a:pt x="2611322" y="594313"/>
                  <a:pt x="2595060" y="582273"/>
                  <a:pt x="2579188" y="569615"/>
                </a:cubicBezTo>
                <a:lnTo>
                  <a:pt x="2547442" y="553560"/>
                </a:lnTo>
                <a:lnTo>
                  <a:pt x="2499436" y="543064"/>
                </a:lnTo>
                <a:cubicBezTo>
                  <a:pt x="2492466" y="546460"/>
                  <a:pt x="2485110" y="549856"/>
                  <a:pt x="2478142" y="553560"/>
                </a:cubicBezTo>
                <a:lnTo>
                  <a:pt x="2478142" y="580420"/>
                </a:lnTo>
                <a:cubicBezTo>
                  <a:pt x="2469238" y="569615"/>
                  <a:pt x="2460334" y="559118"/>
                  <a:pt x="2451428" y="548312"/>
                </a:cubicBezTo>
                <a:lnTo>
                  <a:pt x="2451428" y="574863"/>
                </a:lnTo>
                <a:cubicBezTo>
                  <a:pt x="2440976" y="567762"/>
                  <a:pt x="2430136" y="560661"/>
                  <a:pt x="2419682" y="553560"/>
                </a:cubicBezTo>
                <a:cubicBezTo>
                  <a:pt x="2421618" y="539050"/>
                  <a:pt x="2423166" y="525157"/>
                  <a:pt x="2425102" y="510955"/>
                </a:cubicBezTo>
                <a:cubicBezTo>
                  <a:pt x="2430522" y="502311"/>
                  <a:pt x="2435556" y="493049"/>
                  <a:pt x="2440976" y="484404"/>
                </a:cubicBezTo>
                <a:cubicBezTo>
                  <a:pt x="2446396" y="466497"/>
                  <a:pt x="2451428" y="449208"/>
                  <a:pt x="2456848" y="431302"/>
                </a:cubicBezTo>
                <a:cubicBezTo>
                  <a:pt x="2462268" y="424201"/>
                  <a:pt x="2467302" y="417100"/>
                  <a:pt x="2472722" y="409999"/>
                </a:cubicBezTo>
                <a:cubicBezTo>
                  <a:pt x="2476206" y="402898"/>
                  <a:pt x="2480078" y="395797"/>
                  <a:pt x="2483562" y="388696"/>
                </a:cubicBezTo>
                <a:cubicBezTo>
                  <a:pt x="2490530" y="395797"/>
                  <a:pt x="2497886" y="402898"/>
                  <a:pt x="2504856" y="409999"/>
                </a:cubicBezTo>
                <a:cubicBezTo>
                  <a:pt x="2519180" y="415248"/>
                  <a:pt x="2533118" y="420805"/>
                  <a:pt x="2547442" y="426053"/>
                </a:cubicBezTo>
                <a:cubicBezTo>
                  <a:pt x="2536602" y="413704"/>
                  <a:pt x="2526148" y="401046"/>
                  <a:pt x="2515308" y="388696"/>
                </a:cubicBezTo>
                <a:lnTo>
                  <a:pt x="2536602" y="372642"/>
                </a:lnTo>
                <a:cubicBezTo>
                  <a:pt x="2540086" y="365541"/>
                  <a:pt x="2543958" y="358440"/>
                  <a:pt x="2547442" y="351340"/>
                </a:cubicBezTo>
                <a:lnTo>
                  <a:pt x="2510276" y="351340"/>
                </a:lnTo>
                <a:cubicBezTo>
                  <a:pt x="2515696" y="338681"/>
                  <a:pt x="2520728" y="326641"/>
                  <a:pt x="2526148" y="313983"/>
                </a:cubicBezTo>
                <a:cubicBezTo>
                  <a:pt x="2535052" y="303486"/>
                  <a:pt x="2543570" y="292680"/>
                  <a:pt x="2552474" y="282183"/>
                </a:cubicBezTo>
                <a:lnTo>
                  <a:pt x="2552474" y="244826"/>
                </a:lnTo>
                <a:cubicBezTo>
                  <a:pt x="2563314" y="234329"/>
                  <a:pt x="2573768" y="223524"/>
                  <a:pt x="2584608" y="213027"/>
                </a:cubicBezTo>
                <a:lnTo>
                  <a:pt x="2627194" y="207778"/>
                </a:lnTo>
                <a:cubicBezTo>
                  <a:pt x="2636100" y="202530"/>
                  <a:pt x="2644616" y="196972"/>
                  <a:pt x="2653520" y="191724"/>
                </a:cubicBezTo>
                <a:lnTo>
                  <a:pt x="2685654" y="186475"/>
                </a:lnTo>
                <a:lnTo>
                  <a:pt x="2744114" y="180918"/>
                </a:lnTo>
                <a:cubicBezTo>
                  <a:pt x="2758438" y="170421"/>
                  <a:pt x="2772376" y="159616"/>
                  <a:pt x="2786700" y="149119"/>
                </a:cubicBezTo>
                <a:cubicBezTo>
                  <a:pt x="2799088" y="140474"/>
                  <a:pt x="2811478" y="131212"/>
                  <a:pt x="2823866" y="122567"/>
                </a:cubicBezTo>
                <a:cubicBezTo>
                  <a:pt x="2838190" y="117319"/>
                  <a:pt x="2852128" y="111762"/>
                  <a:pt x="2866452" y="106513"/>
                </a:cubicBezTo>
                <a:cubicBezTo>
                  <a:pt x="2873422" y="102808"/>
                  <a:pt x="2880778" y="99412"/>
                  <a:pt x="2887746" y="95708"/>
                </a:cubicBezTo>
                <a:cubicBezTo>
                  <a:pt x="2894714" y="108366"/>
                  <a:pt x="2902070" y="120406"/>
                  <a:pt x="2909040" y="133064"/>
                </a:cubicBezTo>
                <a:cubicBezTo>
                  <a:pt x="2910588" y="109909"/>
                  <a:pt x="2912524" y="87063"/>
                  <a:pt x="2914072" y="63908"/>
                </a:cubicBezTo>
                <a:cubicBezTo>
                  <a:pt x="2924912" y="60512"/>
                  <a:pt x="2935366" y="56498"/>
                  <a:pt x="2946206" y="53102"/>
                </a:cubicBezTo>
                <a:cubicBezTo>
                  <a:pt x="2953174" y="63908"/>
                  <a:pt x="2960530" y="74405"/>
                  <a:pt x="2967498" y="85211"/>
                </a:cubicBezTo>
                <a:lnTo>
                  <a:pt x="2967498" y="42605"/>
                </a:lnTo>
                <a:cubicBezTo>
                  <a:pt x="2970984" y="33961"/>
                  <a:pt x="2974468" y="24699"/>
                  <a:pt x="2977952" y="16054"/>
                </a:cubicBezTo>
                <a:cubicBezTo>
                  <a:pt x="2986856" y="10806"/>
                  <a:pt x="2995760" y="5248"/>
                  <a:pt x="3004664" y="0"/>
                </a:cubicBezTo>
                <a:close/>
              </a:path>
            </a:pathLst>
          </a:custGeom>
          <a:solidFill>
            <a:srgbClr val="70B0DF"/>
          </a:solidFill>
          <a:ln w="3175" cap="flat" cmpd="sng">
            <a:noFill/>
            <a:prstDash val="solid"/>
            <a:round/>
            <a:headEnd type="none" w="med" len="med"/>
            <a:tailEnd type="none" w="med" len="med"/>
          </a:ln>
        </p:spPr>
        <p:txBody>
          <a:bodyPr wrap="none" lIns="32632" tIns="32632" rIns="32632" bIns="32632" anchor="ctr"/>
          <a:lstStyle/>
          <a:p>
            <a:pPr defTabSz="891045"/>
            <a:endParaRPr lang="en-US" sz="1700" dirty="0">
              <a:solidFill>
                <a:srgbClr val="003149"/>
              </a:solidFill>
              <a:cs typeface="Arial" panose="020B0604020202020204" pitchFamily="34" charset="0"/>
            </a:endParaRPr>
          </a:p>
        </p:txBody>
      </p:sp>
      <p:sp>
        <p:nvSpPr>
          <p:cNvPr id="91" name="Freeform 661"/>
          <p:cNvSpPr>
            <a:spLocks noChangeAspect="1"/>
          </p:cNvSpPr>
          <p:nvPr>
            <p:custDataLst>
              <p:tags r:id="rId62"/>
            </p:custDataLst>
          </p:nvPr>
        </p:nvSpPr>
        <p:spPr bwMode="gray">
          <a:xfrm>
            <a:off x="2718462" y="2814866"/>
            <a:ext cx="143589" cy="185093"/>
          </a:xfrm>
          <a:custGeom>
            <a:avLst/>
            <a:gdLst>
              <a:gd name="T0" fmla="*/ 0 w 842396"/>
              <a:gd name="T1" fmla="*/ 0 h 948662"/>
              <a:gd name="T2" fmla="*/ 0 w 842396"/>
              <a:gd name="T3" fmla="*/ 0 h 948662"/>
              <a:gd name="T4" fmla="*/ 0 w 842396"/>
              <a:gd name="T5" fmla="*/ 0 h 948662"/>
              <a:gd name="T6" fmla="*/ 0 w 842396"/>
              <a:gd name="T7" fmla="*/ 0 h 948662"/>
              <a:gd name="T8" fmla="*/ 0 w 842396"/>
              <a:gd name="T9" fmla="*/ 0 h 948662"/>
              <a:gd name="T10" fmla="*/ 0 w 842396"/>
              <a:gd name="T11" fmla="*/ 0 h 948662"/>
              <a:gd name="T12" fmla="*/ 0 w 842396"/>
              <a:gd name="T13" fmla="*/ 0 h 948662"/>
              <a:gd name="T14" fmla="*/ 0 w 842396"/>
              <a:gd name="T15" fmla="*/ 0 h 948662"/>
              <a:gd name="T16" fmla="*/ 0 w 842396"/>
              <a:gd name="T17" fmla="*/ 0 h 948662"/>
              <a:gd name="T18" fmla="*/ 0 w 842396"/>
              <a:gd name="T19" fmla="*/ 0 h 948662"/>
              <a:gd name="T20" fmla="*/ 0 w 842396"/>
              <a:gd name="T21" fmla="*/ 0 h 948662"/>
              <a:gd name="T22" fmla="*/ 0 w 842396"/>
              <a:gd name="T23" fmla="*/ 0 h 948662"/>
              <a:gd name="T24" fmla="*/ 0 w 842396"/>
              <a:gd name="T25" fmla="*/ 0 h 948662"/>
              <a:gd name="T26" fmla="*/ 0 w 842396"/>
              <a:gd name="T27" fmla="*/ 0 h 948662"/>
              <a:gd name="T28" fmla="*/ 0 w 842396"/>
              <a:gd name="T29" fmla="*/ 0 h 948662"/>
              <a:gd name="T30" fmla="*/ 0 w 842396"/>
              <a:gd name="T31" fmla="*/ 0 h 948662"/>
              <a:gd name="T32" fmla="*/ 0 w 842396"/>
              <a:gd name="T33" fmla="*/ 0 h 948662"/>
              <a:gd name="T34" fmla="*/ 0 w 842396"/>
              <a:gd name="T35" fmla="*/ 0 h 948662"/>
              <a:gd name="T36" fmla="*/ 0 w 842396"/>
              <a:gd name="T37" fmla="*/ 0 h 948662"/>
              <a:gd name="T38" fmla="*/ 0 w 842396"/>
              <a:gd name="T39" fmla="*/ 0 h 948662"/>
              <a:gd name="T40" fmla="*/ 0 w 842396"/>
              <a:gd name="T41" fmla="*/ 0 h 948662"/>
              <a:gd name="T42" fmla="*/ 0 w 842396"/>
              <a:gd name="T43" fmla="*/ 0 h 948662"/>
              <a:gd name="T44" fmla="*/ 0 w 842396"/>
              <a:gd name="T45" fmla="*/ 0 h 948662"/>
              <a:gd name="T46" fmla="*/ 0 w 842396"/>
              <a:gd name="T47" fmla="*/ 0 h 948662"/>
              <a:gd name="T48" fmla="*/ 0 w 842396"/>
              <a:gd name="T49" fmla="*/ 0 h 948662"/>
              <a:gd name="T50" fmla="*/ 0 w 842396"/>
              <a:gd name="T51" fmla="*/ 0 h 948662"/>
              <a:gd name="T52" fmla="*/ 0 w 842396"/>
              <a:gd name="T53" fmla="*/ 0 h 948662"/>
              <a:gd name="T54" fmla="*/ 0 w 842396"/>
              <a:gd name="T55" fmla="*/ 0 h 948662"/>
              <a:gd name="T56" fmla="*/ 0 w 842396"/>
              <a:gd name="T57" fmla="*/ 0 h 948662"/>
              <a:gd name="T58" fmla="*/ 0 w 842396"/>
              <a:gd name="T59" fmla="*/ 0 h 948662"/>
              <a:gd name="T60" fmla="*/ 0 w 842396"/>
              <a:gd name="T61" fmla="*/ 0 h 948662"/>
              <a:gd name="T62" fmla="*/ 0 w 842396"/>
              <a:gd name="T63" fmla="*/ 0 h 948662"/>
              <a:gd name="T64" fmla="*/ 0 w 842396"/>
              <a:gd name="T65" fmla="*/ 0 h 948662"/>
              <a:gd name="T66" fmla="*/ 0 w 842396"/>
              <a:gd name="T67" fmla="*/ 0 h 948662"/>
              <a:gd name="T68" fmla="*/ 0 w 842396"/>
              <a:gd name="T69" fmla="*/ 0 h 948662"/>
              <a:gd name="T70" fmla="*/ 0 w 842396"/>
              <a:gd name="T71" fmla="*/ 0 h 948662"/>
              <a:gd name="T72" fmla="*/ 0 w 842396"/>
              <a:gd name="T73" fmla="*/ 0 h 948662"/>
              <a:gd name="T74" fmla="*/ 0 w 842396"/>
              <a:gd name="T75" fmla="*/ 0 h 948662"/>
              <a:gd name="T76" fmla="*/ 0 w 842396"/>
              <a:gd name="T77" fmla="*/ 0 h 948662"/>
              <a:gd name="T78" fmla="*/ 0 w 842396"/>
              <a:gd name="T79" fmla="*/ 0 h 948662"/>
              <a:gd name="T80" fmla="*/ 0 w 842396"/>
              <a:gd name="T81" fmla="*/ 0 h 948662"/>
              <a:gd name="T82" fmla="*/ 0 w 842396"/>
              <a:gd name="T83" fmla="*/ 0 h 948662"/>
              <a:gd name="T84" fmla="*/ 0 w 842396"/>
              <a:gd name="T85" fmla="*/ 0 h 948662"/>
              <a:gd name="T86" fmla="*/ 0 w 842396"/>
              <a:gd name="T87" fmla="*/ 0 h 948662"/>
              <a:gd name="T88" fmla="*/ 0 w 842396"/>
              <a:gd name="T89" fmla="*/ 0 h 948662"/>
              <a:gd name="T90" fmla="*/ 0 w 842396"/>
              <a:gd name="T91" fmla="*/ 0 h 948662"/>
              <a:gd name="T92" fmla="*/ 0 w 842396"/>
              <a:gd name="T93" fmla="*/ 0 h 948662"/>
              <a:gd name="T94" fmla="*/ 0 w 842396"/>
              <a:gd name="T95" fmla="*/ 0 h 948662"/>
              <a:gd name="T96" fmla="*/ 0 w 842396"/>
              <a:gd name="T97" fmla="*/ 0 h 948662"/>
              <a:gd name="T98" fmla="*/ 0 w 842396"/>
              <a:gd name="T99" fmla="*/ 0 h 948662"/>
              <a:gd name="T100" fmla="*/ 0 w 842396"/>
              <a:gd name="T101" fmla="*/ 0 h 948662"/>
              <a:gd name="T102" fmla="*/ 0 w 842396"/>
              <a:gd name="T103" fmla="*/ 0 h 948662"/>
              <a:gd name="T104" fmla="*/ 0 w 842396"/>
              <a:gd name="T105" fmla="*/ 0 h 948662"/>
              <a:gd name="T106" fmla="*/ 0 w 842396"/>
              <a:gd name="T107" fmla="*/ 0 h 948662"/>
              <a:gd name="T108" fmla="*/ 0 w 842396"/>
              <a:gd name="T109" fmla="*/ 0 h 948662"/>
              <a:gd name="T110" fmla="*/ 0 w 842396"/>
              <a:gd name="T111" fmla="*/ 0 h 948662"/>
              <a:gd name="T112" fmla="*/ 0 w 842396"/>
              <a:gd name="T113" fmla="*/ 0 h 948662"/>
              <a:gd name="T114" fmla="*/ 0 w 842396"/>
              <a:gd name="T115" fmla="*/ 0 h 948662"/>
              <a:gd name="T116" fmla="*/ 0 w 842396"/>
              <a:gd name="T117" fmla="*/ 0 h 948662"/>
              <a:gd name="T118" fmla="*/ 0 w 842396"/>
              <a:gd name="T119" fmla="*/ 0 h 948662"/>
              <a:gd name="T120" fmla="*/ 0 w 842396"/>
              <a:gd name="T121" fmla="*/ 0 h 948662"/>
              <a:gd name="T122" fmla="*/ 0 w 842396"/>
              <a:gd name="T123" fmla="*/ 0 h 948662"/>
              <a:gd name="T124" fmla="*/ 0 w 842396"/>
              <a:gd name="T125" fmla="*/ 0 h 948662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60000 65536"/>
              <a:gd name="T187" fmla="*/ 0 60000 65536"/>
              <a:gd name="T188" fmla="*/ 0 60000 65536"/>
              <a:gd name="T189" fmla="*/ 0 w 842396"/>
              <a:gd name="T190" fmla="*/ 0 h 948662"/>
              <a:gd name="T191" fmla="*/ 842396 w 842396"/>
              <a:gd name="T192" fmla="*/ 948662 h 948662"/>
            </a:gdLst>
            <a:ahLst/>
            <a:cxnLst>
              <a:cxn ang="T126">
                <a:pos x="T0" y="T1"/>
              </a:cxn>
              <a:cxn ang="T127">
                <a:pos x="T2" y="T3"/>
              </a:cxn>
              <a:cxn ang="T128">
                <a:pos x="T4" y="T5"/>
              </a:cxn>
              <a:cxn ang="T129">
                <a:pos x="T6" y="T7"/>
              </a:cxn>
              <a:cxn ang="T130">
                <a:pos x="T8" y="T9"/>
              </a:cxn>
              <a:cxn ang="T131">
                <a:pos x="T10" y="T11"/>
              </a:cxn>
              <a:cxn ang="T132">
                <a:pos x="T12" y="T13"/>
              </a:cxn>
              <a:cxn ang="T133">
                <a:pos x="T14" y="T15"/>
              </a:cxn>
              <a:cxn ang="T134">
                <a:pos x="T16" y="T17"/>
              </a:cxn>
              <a:cxn ang="T135">
                <a:pos x="T18" y="T19"/>
              </a:cxn>
              <a:cxn ang="T136">
                <a:pos x="T20" y="T21"/>
              </a:cxn>
              <a:cxn ang="T137">
                <a:pos x="T22" y="T23"/>
              </a:cxn>
              <a:cxn ang="T138">
                <a:pos x="T24" y="T25"/>
              </a:cxn>
              <a:cxn ang="T139">
                <a:pos x="T26" y="T27"/>
              </a:cxn>
              <a:cxn ang="T140">
                <a:pos x="T28" y="T29"/>
              </a:cxn>
              <a:cxn ang="T141">
                <a:pos x="T30" y="T31"/>
              </a:cxn>
              <a:cxn ang="T142">
                <a:pos x="T32" y="T33"/>
              </a:cxn>
              <a:cxn ang="T143">
                <a:pos x="T34" y="T35"/>
              </a:cxn>
              <a:cxn ang="T144">
                <a:pos x="T36" y="T37"/>
              </a:cxn>
              <a:cxn ang="T145">
                <a:pos x="T38" y="T39"/>
              </a:cxn>
              <a:cxn ang="T146">
                <a:pos x="T40" y="T41"/>
              </a:cxn>
              <a:cxn ang="T147">
                <a:pos x="T42" y="T43"/>
              </a:cxn>
              <a:cxn ang="T148">
                <a:pos x="T44" y="T45"/>
              </a:cxn>
              <a:cxn ang="T149">
                <a:pos x="T46" y="T47"/>
              </a:cxn>
              <a:cxn ang="T150">
                <a:pos x="T48" y="T49"/>
              </a:cxn>
              <a:cxn ang="T151">
                <a:pos x="T50" y="T51"/>
              </a:cxn>
              <a:cxn ang="T152">
                <a:pos x="T52" y="T53"/>
              </a:cxn>
              <a:cxn ang="T153">
                <a:pos x="T54" y="T55"/>
              </a:cxn>
              <a:cxn ang="T154">
                <a:pos x="T56" y="T57"/>
              </a:cxn>
              <a:cxn ang="T155">
                <a:pos x="T58" y="T59"/>
              </a:cxn>
              <a:cxn ang="T156">
                <a:pos x="T60" y="T61"/>
              </a:cxn>
              <a:cxn ang="T157">
                <a:pos x="T62" y="T63"/>
              </a:cxn>
              <a:cxn ang="T158">
                <a:pos x="T64" y="T65"/>
              </a:cxn>
              <a:cxn ang="T159">
                <a:pos x="T66" y="T67"/>
              </a:cxn>
              <a:cxn ang="T160">
                <a:pos x="T68" y="T69"/>
              </a:cxn>
              <a:cxn ang="T161">
                <a:pos x="T70" y="T71"/>
              </a:cxn>
              <a:cxn ang="T162">
                <a:pos x="T72" y="T73"/>
              </a:cxn>
              <a:cxn ang="T163">
                <a:pos x="T74" y="T75"/>
              </a:cxn>
              <a:cxn ang="T164">
                <a:pos x="T76" y="T77"/>
              </a:cxn>
              <a:cxn ang="T165">
                <a:pos x="T78" y="T79"/>
              </a:cxn>
              <a:cxn ang="T166">
                <a:pos x="T80" y="T81"/>
              </a:cxn>
              <a:cxn ang="T167">
                <a:pos x="T82" y="T83"/>
              </a:cxn>
              <a:cxn ang="T168">
                <a:pos x="T84" y="T85"/>
              </a:cxn>
              <a:cxn ang="T169">
                <a:pos x="T86" y="T87"/>
              </a:cxn>
              <a:cxn ang="T170">
                <a:pos x="T88" y="T89"/>
              </a:cxn>
              <a:cxn ang="T171">
                <a:pos x="T90" y="T91"/>
              </a:cxn>
              <a:cxn ang="T172">
                <a:pos x="T92" y="T93"/>
              </a:cxn>
              <a:cxn ang="T173">
                <a:pos x="T94" y="T95"/>
              </a:cxn>
              <a:cxn ang="T174">
                <a:pos x="T96" y="T97"/>
              </a:cxn>
              <a:cxn ang="T175">
                <a:pos x="T98" y="T99"/>
              </a:cxn>
              <a:cxn ang="T176">
                <a:pos x="T100" y="T101"/>
              </a:cxn>
              <a:cxn ang="T177">
                <a:pos x="T102" y="T103"/>
              </a:cxn>
              <a:cxn ang="T178">
                <a:pos x="T104" y="T105"/>
              </a:cxn>
              <a:cxn ang="T179">
                <a:pos x="T106" y="T107"/>
              </a:cxn>
              <a:cxn ang="T180">
                <a:pos x="T108" y="T109"/>
              </a:cxn>
              <a:cxn ang="T181">
                <a:pos x="T110" y="T111"/>
              </a:cxn>
              <a:cxn ang="T182">
                <a:pos x="T112" y="T113"/>
              </a:cxn>
              <a:cxn ang="T183">
                <a:pos x="T114" y="T115"/>
              </a:cxn>
              <a:cxn ang="T184">
                <a:pos x="T116" y="T117"/>
              </a:cxn>
              <a:cxn ang="T185">
                <a:pos x="T118" y="T119"/>
              </a:cxn>
              <a:cxn ang="T186">
                <a:pos x="T120" y="T121"/>
              </a:cxn>
              <a:cxn ang="T187">
                <a:pos x="T122" y="T123"/>
              </a:cxn>
              <a:cxn ang="T188">
                <a:pos x="T124" y="T125"/>
              </a:cxn>
            </a:cxnLst>
            <a:rect l="T189" t="T190" r="T191" b="T192"/>
            <a:pathLst>
              <a:path w="842396" h="948662">
                <a:moveTo>
                  <a:pt x="159480" y="0"/>
                </a:moveTo>
                <a:lnTo>
                  <a:pt x="164884" y="9575"/>
                </a:lnTo>
                <a:lnTo>
                  <a:pt x="221764" y="26388"/>
                </a:lnTo>
                <a:lnTo>
                  <a:pt x="257704" y="26388"/>
                </a:lnTo>
                <a:lnTo>
                  <a:pt x="286262" y="62420"/>
                </a:lnTo>
                <a:cubicBezTo>
                  <a:pt x="294747" y="75591"/>
                  <a:pt x="302956" y="88762"/>
                  <a:pt x="311372" y="101983"/>
                </a:cubicBezTo>
                <a:lnTo>
                  <a:pt x="361797" y="101983"/>
                </a:lnTo>
                <a:lnTo>
                  <a:pt x="408636" y="101983"/>
                </a:lnTo>
                <a:lnTo>
                  <a:pt x="469547" y="148764"/>
                </a:lnTo>
                <a:lnTo>
                  <a:pt x="491207" y="177478"/>
                </a:lnTo>
                <a:lnTo>
                  <a:pt x="534390" y="242324"/>
                </a:lnTo>
                <a:lnTo>
                  <a:pt x="581021" y="242324"/>
                </a:lnTo>
                <a:lnTo>
                  <a:pt x="642001" y="274722"/>
                </a:lnTo>
                <a:lnTo>
                  <a:pt x="710431" y="310753"/>
                </a:lnTo>
                <a:lnTo>
                  <a:pt x="774998" y="343151"/>
                </a:lnTo>
                <a:lnTo>
                  <a:pt x="835960" y="402461"/>
                </a:lnTo>
                <a:lnTo>
                  <a:pt x="842396" y="402563"/>
                </a:lnTo>
                <a:lnTo>
                  <a:pt x="792490" y="438402"/>
                </a:lnTo>
                <a:lnTo>
                  <a:pt x="760405" y="477857"/>
                </a:lnTo>
                <a:lnTo>
                  <a:pt x="724764" y="513751"/>
                </a:lnTo>
                <a:lnTo>
                  <a:pt x="692678" y="556769"/>
                </a:lnTo>
                <a:lnTo>
                  <a:pt x="642752" y="606965"/>
                </a:lnTo>
                <a:cubicBezTo>
                  <a:pt x="641573" y="621916"/>
                  <a:pt x="640375" y="636867"/>
                  <a:pt x="639196" y="651818"/>
                </a:cubicBezTo>
                <a:lnTo>
                  <a:pt x="660593" y="705631"/>
                </a:lnTo>
                <a:lnTo>
                  <a:pt x="696234" y="755827"/>
                </a:lnTo>
                <a:lnTo>
                  <a:pt x="696234" y="795283"/>
                </a:lnTo>
                <a:lnTo>
                  <a:pt x="705155" y="811421"/>
                </a:lnTo>
                <a:lnTo>
                  <a:pt x="722975" y="816765"/>
                </a:lnTo>
                <a:lnTo>
                  <a:pt x="739008" y="820381"/>
                </a:lnTo>
                <a:lnTo>
                  <a:pt x="771093" y="856220"/>
                </a:lnTo>
                <a:lnTo>
                  <a:pt x="746140" y="888497"/>
                </a:lnTo>
                <a:lnTo>
                  <a:pt x="696234" y="942310"/>
                </a:lnTo>
                <a:lnTo>
                  <a:pt x="691956" y="936640"/>
                </a:lnTo>
                <a:lnTo>
                  <a:pt x="696345" y="948662"/>
                </a:lnTo>
                <a:lnTo>
                  <a:pt x="674958" y="927007"/>
                </a:lnTo>
                <a:lnTo>
                  <a:pt x="628584" y="927007"/>
                </a:lnTo>
                <a:lnTo>
                  <a:pt x="564353" y="916142"/>
                </a:lnTo>
                <a:lnTo>
                  <a:pt x="489393" y="916142"/>
                </a:lnTo>
                <a:lnTo>
                  <a:pt x="418033" y="937797"/>
                </a:lnTo>
                <a:lnTo>
                  <a:pt x="311026" y="927007"/>
                </a:lnTo>
                <a:lnTo>
                  <a:pt x="253924" y="890891"/>
                </a:lnTo>
                <a:cubicBezTo>
                  <a:pt x="250394" y="870435"/>
                  <a:pt x="246795" y="849979"/>
                  <a:pt x="243265" y="829523"/>
                </a:cubicBezTo>
                <a:lnTo>
                  <a:pt x="246795" y="786139"/>
                </a:lnTo>
                <a:lnTo>
                  <a:pt x="246795" y="742829"/>
                </a:lnTo>
                <a:lnTo>
                  <a:pt x="214679" y="717578"/>
                </a:lnTo>
                <a:lnTo>
                  <a:pt x="179034" y="675992"/>
                </a:lnTo>
                <a:cubicBezTo>
                  <a:pt x="175435" y="668799"/>
                  <a:pt x="171905" y="661530"/>
                  <a:pt x="168306" y="654337"/>
                </a:cubicBezTo>
                <a:lnTo>
                  <a:pt x="139789" y="632682"/>
                </a:lnTo>
                <a:lnTo>
                  <a:pt x="168306" y="596566"/>
                </a:lnTo>
                <a:lnTo>
                  <a:pt x="193292" y="542392"/>
                </a:lnTo>
                <a:cubicBezTo>
                  <a:pt x="196891" y="524334"/>
                  <a:pt x="200421" y="506276"/>
                  <a:pt x="204020" y="488217"/>
                </a:cubicBezTo>
                <a:lnTo>
                  <a:pt x="189693" y="434118"/>
                </a:lnTo>
                <a:lnTo>
                  <a:pt x="161176" y="401598"/>
                </a:lnTo>
                <a:lnTo>
                  <a:pt x="107673" y="351021"/>
                </a:lnTo>
                <a:lnTo>
                  <a:pt x="54170" y="314904"/>
                </a:lnTo>
                <a:cubicBezTo>
                  <a:pt x="50571" y="300443"/>
                  <a:pt x="47041" y="286056"/>
                  <a:pt x="43442" y="271595"/>
                </a:cubicBezTo>
                <a:lnTo>
                  <a:pt x="18455" y="221017"/>
                </a:lnTo>
                <a:lnTo>
                  <a:pt x="4746" y="200197"/>
                </a:lnTo>
                <a:lnTo>
                  <a:pt x="0" y="198444"/>
                </a:lnTo>
                <a:lnTo>
                  <a:pt x="55562" y="173182"/>
                </a:lnTo>
                <a:lnTo>
                  <a:pt x="94938" y="122698"/>
                </a:lnTo>
                <a:lnTo>
                  <a:pt x="116436" y="75786"/>
                </a:lnTo>
                <a:lnTo>
                  <a:pt x="141554" y="43281"/>
                </a:lnTo>
                <a:close/>
              </a:path>
            </a:pathLst>
          </a:custGeom>
          <a:solidFill>
            <a:srgbClr val="70B0DF"/>
          </a:solidFill>
          <a:ln w="3175" cap="flat" cmpd="sng">
            <a:noFill/>
            <a:prstDash val="solid"/>
            <a:round/>
            <a:headEnd type="none" w="med" len="med"/>
            <a:tailEnd type="none" w="sm" len="sm"/>
          </a:ln>
        </p:spPr>
        <p:txBody>
          <a:bodyPr wrap="none" lIns="32632" tIns="32632" rIns="32632" bIns="32632" anchor="ctr"/>
          <a:lstStyle/>
          <a:p>
            <a:pPr defTabSz="891045"/>
            <a:endParaRPr lang="en-US" sz="1700" dirty="0">
              <a:solidFill>
                <a:srgbClr val="003149"/>
              </a:solidFill>
              <a:cs typeface="Arial" panose="020B0604020202020204" pitchFamily="34" charset="0"/>
            </a:endParaRPr>
          </a:p>
        </p:txBody>
      </p:sp>
      <p:sp>
        <p:nvSpPr>
          <p:cNvPr id="92" name="Freeform 143"/>
          <p:cNvSpPr>
            <a:spLocks noChangeAspect="1"/>
          </p:cNvSpPr>
          <p:nvPr>
            <p:custDataLst>
              <p:tags r:id="rId63"/>
            </p:custDataLst>
          </p:nvPr>
        </p:nvSpPr>
        <p:spPr bwMode="gray">
          <a:xfrm rot="120000">
            <a:off x="4060521" y="1915214"/>
            <a:ext cx="8530" cy="11479"/>
          </a:xfrm>
          <a:custGeom>
            <a:avLst/>
            <a:gdLst>
              <a:gd name="T0" fmla="*/ 0 w 47"/>
              <a:gd name="T1" fmla="*/ 0 h 51"/>
              <a:gd name="T2" fmla="*/ 0 w 47"/>
              <a:gd name="T3" fmla="*/ 0 h 51"/>
              <a:gd name="T4" fmla="*/ 0 w 47"/>
              <a:gd name="T5" fmla="*/ 0 h 51"/>
              <a:gd name="T6" fmla="*/ 0 w 47"/>
              <a:gd name="T7" fmla="*/ 0 h 51"/>
              <a:gd name="T8" fmla="*/ 0 w 47"/>
              <a:gd name="T9" fmla="*/ 0 h 51"/>
              <a:gd name="T10" fmla="*/ 0 w 47"/>
              <a:gd name="T11" fmla="*/ 0 h 51"/>
              <a:gd name="T12" fmla="*/ 0 w 47"/>
              <a:gd name="T13" fmla="*/ 0 h 51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47"/>
              <a:gd name="T22" fmla="*/ 0 h 51"/>
              <a:gd name="T23" fmla="*/ 47 w 47"/>
              <a:gd name="T24" fmla="*/ 51 h 51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47" h="51">
                <a:moveTo>
                  <a:pt x="21" y="51"/>
                </a:moveTo>
                <a:lnTo>
                  <a:pt x="47" y="28"/>
                </a:lnTo>
                <a:lnTo>
                  <a:pt x="36" y="7"/>
                </a:lnTo>
                <a:lnTo>
                  <a:pt x="21" y="0"/>
                </a:lnTo>
                <a:lnTo>
                  <a:pt x="0" y="10"/>
                </a:lnTo>
                <a:lnTo>
                  <a:pt x="0" y="31"/>
                </a:lnTo>
                <a:lnTo>
                  <a:pt x="21" y="51"/>
                </a:lnTo>
                <a:close/>
              </a:path>
            </a:pathLst>
          </a:custGeom>
          <a:solidFill>
            <a:srgbClr val="969696"/>
          </a:solidFill>
          <a:ln w="3175" cap="flat" cmpd="sng">
            <a:noFill/>
            <a:prstDash val="solid"/>
            <a:round/>
            <a:headEnd type="none" w="med" len="med"/>
            <a:tailEnd type="none" w="med" len="med"/>
          </a:ln>
        </p:spPr>
        <p:txBody>
          <a:bodyPr wrap="none" lIns="32632" tIns="32632" rIns="32632" bIns="32632" anchor="ctr"/>
          <a:lstStyle/>
          <a:p>
            <a:pPr defTabSz="891045"/>
            <a:endParaRPr lang="en-US" sz="1700" dirty="0">
              <a:solidFill>
                <a:srgbClr val="003149"/>
              </a:solidFill>
              <a:cs typeface="Arial" panose="020B0604020202020204" pitchFamily="34" charset="0"/>
            </a:endParaRPr>
          </a:p>
        </p:txBody>
      </p:sp>
      <p:sp>
        <p:nvSpPr>
          <p:cNvPr id="93" name="Freeform 148"/>
          <p:cNvSpPr>
            <a:spLocks noChangeAspect="1"/>
          </p:cNvSpPr>
          <p:nvPr>
            <p:custDataLst>
              <p:tags r:id="rId64"/>
            </p:custDataLst>
          </p:nvPr>
        </p:nvSpPr>
        <p:spPr bwMode="gray">
          <a:xfrm rot="120000">
            <a:off x="3790421" y="1817646"/>
            <a:ext cx="7109" cy="8610"/>
          </a:xfrm>
          <a:custGeom>
            <a:avLst/>
            <a:gdLst>
              <a:gd name="T0" fmla="*/ 0 w 51"/>
              <a:gd name="T1" fmla="*/ 0 h 40"/>
              <a:gd name="T2" fmla="*/ 0 w 51"/>
              <a:gd name="T3" fmla="*/ 0 h 40"/>
              <a:gd name="T4" fmla="*/ 0 w 51"/>
              <a:gd name="T5" fmla="*/ 0 h 40"/>
              <a:gd name="T6" fmla="*/ 0 w 51"/>
              <a:gd name="T7" fmla="*/ 0 h 40"/>
              <a:gd name="T8" fmla="*/ 0 w 51"/>
              <a:gd name="T9" fmla="*/ 0 h 40"/>
              <a:gd name="T10" fmla="*/ 0 w 51"/>
              <a:gd name="T11" fmla="*/ 0 h 40"/>
              <a:gd name="T12" fmla="*/ 0 w 51"/>
              <a:gd name="T13" fmla="*/ 0 h 40"/>
              <a:gd name="T14" fmla="*/ 0 w 51"/>
              <a:gd name="T15" fmla="*/ 0 h 40"/>
              <a:gd name="T16" fmla="*/ 0 w 51"/>
              <a:gd name="T17" fmla="*/ 0 h 40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51"/>
              <a:gd name="T28" fmla="*/ 0 h 40"/>
              <a:gd name="T29" fmla="*/ 51 w 51"/>
              <a:gd name="T30" fmla="*/ 40 h 40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51" h="40">
                <a:moveTo>
                  <a:pt x="18" y="27"/>
                </a:moveTo>
                <a:lnTo>
                  <a:pt x="33" y="40"/>
                </a:lnTo>
                <a:lnTo>
                  <a:pt x="51" y="19"/>
                </a:lnTo>
                <a:lnTo>
                  <a:pt x="45" y="0"/>
                </a:lnTo>
                <a:lnTo>
                  <a:pt x="29" y="3"/>
                </a:lnTo>
                <a:lnTo>
                  <a:pt x="15" y="0"/>
                </a:lnTo>
                <a:lnTo>
                  <a:pt x="6" y="4"/>
                </a:lnTo>
                <a:lnTo>
                  <a:pt x="0" y="25"/>
                </a:lnTo>
                <a:lnTo>
                  <a:pt x="18" y="27"/>
                </a:lnTo>
                <a:close/>
              </a:path>
            </a:pathLst>
          </a:custGeom>
          <a:solidFill>
            <a:srgbClr val="969696"/>
          </a:solidFill>
          <a:ln w="3175" cap="flat" cmpd="sng">
            <a:noFill/>
            <a:prstDash val="solid"/>
            <a:round/>
            <a:headEnd type="none" w="med" len="med"/>
            <a:tailEnd type="none" w="med" len="med"/>
          </a:ln>
        </p:spPr>
        <p:txBody>
          <a:bodyPr wrap="none" lIns="32632" tIns="32632" rIns="32632" bIns="32632" anchor="ctr"/>
          <a:lstStyle/>
          <a:p>
            <a:pPr defTabSz="891045"/>
            <a:endParaRPr lang="en-US" sz="1700" dirty="0">
              <a:solidFill>
                <a:srgbClr val="003149"/>
              </a:solidFill>
              <a:cs typeface="Arial" panose="020B0604020202020204" pitchFamily="34" charset="0"/>
            </a:endParaRPr>
          </a:p>
        </p:txBody>
      </p:sp>
      <p:sp>
        <p:nvSpPr>
          <p:cNvPr id="94" name="Freeform 157"/>
          <p:cNvSpPr>
            <a:spLocks noChangeAspect="1"/>
          </p:cNvSpPr>
          <p:nvPr>
            <p:custDataLst>
              <p:tags r:id="rId65"/>
            </p:custDataLst>
          </p:nvPr>
        </p:nvSpPr>
        <p:spPr bwMode="gray">
          <a:xfrm rot="120000">
            <a:off x="4340608" y="2106041"/>
            <a:ext cx="41229" cy="31566"/>
          </a:xfrm>
          <a:custGeom>
            <a:avLst/>
            <a:gdLst>
              <a:gd name="T0" fmla="*/ 0 w 225"/>
              <a:gd name="T1" fmla="*/ 0 h 162"/>
              <a:gd name="T2" fmla="*/ 0 w 225"/>
              <a:gd name="T3" fmla="*/ 0 h 162"/>
              <a:gd name="T4" fmla="*/ 0 w 225"/>
              <a:gd name="T5" fmla="*/ 0 h 162"/>
              <a:gd name="T6" fmla="*/ 0 w 225"/>
              <a:gd name="T7" fmla="*/ 0 h 162"/>
              <a:gd name="T8" fmla="*/ 0 w 225"/>
              <a:gd name="T9" fmla="*/ 0 h 162"/>
              <a:gd name="T10" fmla="*/ 0 w 225"/>
              <a:gd name="T11" fmla="*/ 0 h 162"/>
              <a:gd name="T12" fmla="*/ 0 w 225"/>
              <a:gd name="T13" fmla="*/ 0 h 162"/>
              <a:gd name="T14" fmla="*/ 0 w 225"/>
              <a:gd name="T15" fmla="*/ 0 h 162"/>
              <a:gd name="T16" fmla="*/ 0 w 225"/>
              <a:gd name="T17" fmla="*/ 0 h 162"/>
              <a:gd name="T18" fmla="*/ 0 w 225"/>
              <a:gd name="T19" fmla="*/ 0 h 162"/>
              <a:gd name="T20" fmla="*/ 0 w 225"/>
              <a:gd name="T21" fmla="*/ 0 h 162"/>
              <a:gd name="T22" fmla="*/ 0 w 225"/>
              <a:gd name="T23" fmla="*/ 0 h 162"/>
              <a:gd name="T24" fmla="*/ 0 w 225"/>
              <a:gd name="T25" fmla="*/ 0 h 162"/>
              <a:gd name="T26" fmla="*/ 0 w 225"/>
              <a:gd name="T27" fmla="*/ 0 h 162"/>
              <a:gd name="T28" fmla="*/ 0 w 225"/>
              <a:gd name="T29" fmla="*/ 0 h 162"/>
              <a:gd name="T30" fmla="*/ 0 w 225"/>
              <a:gd name="T31" fmla="*/ 0 h 162"/>
              <a:gd name="T32" fmla="*/ 0 w 225"/>
              <a:gd name="T33" fmla="*/ 0 h 162"/>
              <a:gd name="T34" fmla="*/ 0 w 225"/>
              <a:gd name="T35" fmla="*/ 0 h 162"/>
              <a:gd name="T36" fmla="*/ 0 w 225"/>
              <a:gd name="T37" fmla="*/ 0 h 162"/>
              <a:gd name="T38" fmla="*/ 0 w 225"/>
              <a:gd name="T39" fmla="*/ 0 h 162"/>
              <a:gd name="T40" fmla="*/ 0 w 225"/>
              <a:gd name="T41" fmla="*/ 0 h 162"/>
              <a:gd name="T42" fmla="*/ 0 w 225"/>
              <a:gd name="T43" fmla="*/ 0 h 162"/>
              <a:gd name="T44" fmla="*/ 0 w 225"/>
              <a:gd name="T45" fmla="*/ 0 h 162"/>
              <a:gd name="T46" fmla="*/ 0 w 225"/>
              <a:gd name="T47" fmla="*/ 0 h 162"/>
              <a:gd name="T48" fmla="*/ 0 w 225"/>
              <a:gd name="T49" fmla="*/ 0 h 162"/>
              <a:gd name="T50" fmla="*/ 0 w 225"/>
              <a:gd name="T51" fmla="*/ 0 h 162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w 225"/>
              <a:gd name="T79" fmla="*/ 0 h 162"/>
              <a:gd name="T80" fmla="*/ 225 w 225"/>
              <a:gd name="T81" fmla="*/ 162 h 162"/>
            </a:gdLst>
            <a:ahLst/>
            <a:cxnLst>
              <a:cxn ang="T52">
                <a:pos x="T0" y="T1"/>
              </a:cxn>
              <a:cxn ang="T53">
                <a:pos x="T2" y="T3"/>
              </a:cxn>
              <a:cxn ang="T54">
                <a:pos x="T4" y="T5"/>
              </a:cxn>
              <a:cxn ang="T55">
                <a:pos x="T6" y="T7"/>
              </a:cxn>
              <a:cxn ang="T56">
                <a:pos x="T8" y="T9"/>
              </a:cxn>
              <a:cxn ang="T57">
                <a:pos x="T10" y="T11"/>
              </a:cxn>
              <a:cxn ang="T58">
                <a:pos x="T12" y="T13"/>
              </a:cxn>
              <a:cxn ang="T59">
                <a:pos x="T14" y="T15"/>
              </a:cxn>
              <a:cxn ang="T60">
                <a:pos x="T16" y="T17"/>
              </a:cxn>
              <a:cxn ang="T61">
                <a:pos x="T18" y="T19"/>
              </a:cxn>
              <a:cxn ang="T62">
                <a:pos x="T20" y="T21"/>
              </a:cxn>
              <a:cxn ang="T63">
                <a:pos x="T22" y="T23"/>
              </a:cxn>
              <a:cxn ang="T64">
                <a:pos x="T24" y="T25"/>
              </a:cxn>
              <a:cxn ang="T65">
                <a:pos x="T26" y="T27"/>
              </a:cxn>
              <a:cxn ang="T66">
                <a:pos x="T28" y="T29"/>
              </a:cxn>
              <a:cxn ang="T67">
                <a:pos x="T30" y="T31"/>
              </a:cxn>
              <a:cxn ang="T68">
                <a:pos x="T32" y="T33"/>
              </a:cxn>
              <a:cxn ang="T69">
                <a:pos x="T34" y="T35"/>
              </a:cxn>
              <a:cxn ang="T70">
                <a:pos x="T36" y="T37"/>
              </a:cxn>
              <a:cxn ang="T71">
                <a:pos x="T38" y="T39"/>
              </a:cxn>
              <a:cxn ang="T72">
                <a:pos x="T40" y="T41"/>
              </a:cxn>
              <a:cxn ang="T73">
                <a:pos x="T42" y="T43"/>
              </a:cxn>
              <a:cxn ang="T74">
                <a:pos x="T44" y="T45"/>
              </a:cxn>
              <a:cxn ang="T75">
                <a:pos x="T46" y="T47"/>
              </a:cxn>
              <a:cxn ang="T76">
                <a:pos x="T48" y="T49"/>
              </a:cxn>
              <a:cxn ang="T77">
                <a:pos x="T50" y="T51"/>
              </a:cxn>
            </a:cxnLst>
            <a:rect l="T78" t="T79" r="T80" b="T81"/>
            <a:pathLst>
              <a:path w="225" h="162">
                <a:moveTo>
                  <a:pt x="109" y="162"/>
                </a:moveTo>
                <a:lnTo>
                  <a:pt x="169" y="155"/>
                </a:lnTo>
                <a:lnTo>
                  <a:pt x="210" y="116"/>
                </a:lnTo>
                <a:lnTo>
                  <a:pt x="223" y="87"/>
                </a:lnTo>
                <a:lnTo>
                  <a:pt x="223" y="66"/>
                </a:lnTo>
                <a:lnTo>
                  <a:pt x="225" y="51"/>
                </a:lnTo>
                <a:lnTo>
                  <a:pt x="219" y="29"/>
                </a:lnTo>
                <a:lnTo>
                  <a:pt x="211" y="12"/>
                </a:lnTo>
                <a:lnTo>
                  <a:pt x="199" y="0"/>
                </a:lnTo>
                <a:lnTo>
                  <a:pt x="169" y="2"/>
                </a:lnTo>
                <a:lnTo>
                  <a:pt x="157" y="11"/>
                </a:lnTo>
                <a:lnTo>
                  <a:pt x="147" y="35"/>
                </a:lnTo>
                <a:lnTo>
                  <a:pt x="141" y="45"/>
                </a:lnTo>
                <a:lnTo>
                  <a:pt x="133" y="56"/>
                </a:lnTo>
                <a:lnTo>
                  <a:pt x="108" y="57"/>
                </a:lnTo>
                <a:lnTo>
                  <a:pt x="75" y="53"/>
                </a:lnTo>
                <a:lnTo>
                  <a:pt x="48" y="53"/>
                </a:lnTo>
                <a:lnTo>
                  <a:pt x="28" y="59"/>
                </a:lnTo>
                <a:lnTo>
                  <a:pt x="15" y="74"/>
                </a:lnTo>
                <a:lnTo>
                  <a:pt x="13" y="98"/>
                </a:lnTo>
                <a:lnTo>
                  <a:pt x="0" y="122"/>
                </a:lnTo>
                <a:lnTo>
                  <a:pt x="13" y="143"/>
                </a:lnTo>
                <a:lnTo>
                  <a:pt x="25" y="149"/>
                </a:lnTo>
                <a:lnTo>
                  <a:pt x="52" y="152"/>
                </a:lnTo>
                <a:lnTo>
                  <a:pt x="87" y="156"/>
                </a:lnTo>
                <a:lnTo>
                  <a:pt x="109" y="162"/>
                </a:lnTo>
                <a:close/>
              </a:path>
            </a:pathLst>
          </a:custGeom>
          <a:solidFill>
            <a:srgbClr val="70B0DF"/>
          </a:solidFill>
          <a:ln w="9525">
            <a:noFill/>
            <a:round/>
            <a:headEnd/>
            <a:tailEnd/>
          </a:ln>
        </p:spPr>
        <p:txBody>
          <a:bodyPr wrap="none" lIns="32632" tIns="32632" rIns="32632" bIns="32632" anchor="ctr"/>
          <a:lstStyle/>
          <a:p>
            <a:pPr defTabSz="891045"/>
            <a:endParaRPr lang="en-US" sz="1700" dirty="0">
              <a:solidFill>
                <a:srgbClr val="003149"/>
              </a:solidFill>
              <a:cs typeface="Arial" panose="020B0604020202020204" pitchFamily="34" charset="0"/>
            </a:endParaRPr>
          </a:p>
        </p:txBody>
      </p:sp>
      <p:sp>
        <p:nvSpPr>
          <p:cNvPr id="95" name="Freeform 158"/>
          <p:cNvSpPr>
            <a:spLocks noChangeAspect="1"/>
          </p:cNvSpPr>
          <p:nvPr>
            <p:custDataLst>
              <p:tags r:id="rId66"/>
            </p:custDataLst>
          </p:nvPr>
        </p:nvSpPr>
        <p:spPr bwMode="gray">
          <a:xfrm rot="120000">
            <a:off x="4369023" y="2061560"/>
            <a:ext cx="14216" cy="17217"/>
          </a:xfrm>
          <a:custGeom>
            <a:avLst/>
            <a:gdLst>
              <a:gd name="T0" fmla="*/ 0 w 102"/>
              <a:gd name="T1" fmla="*/ 0 h 89"/>
              <a:gd name="T2" fmla="*/ 0 w 102"/>
              <a:gd name="T3" fmla="*/ 0 h 89"/>
              <a:gd name="T4" fmla="*/ 0 w 102"/>
              <a:gd name="T5" fmla="*/ 0 h 89"/>
              <a:gd name="T6" fmla="*/ 0 w 102"/>
              <a:gd name="T7" fmla="*/ 0 h 89"/>
              <a:gd name="T8" fmla="*/ 0 w 102"/>
              <a:gd name="T9" fmla="*/ 0 h 89"/>
              <a:gd name="T10" fmla="*/ 0 w 102"/>
              <a:gd name="T11" fmla="*/ 0 h 89"/>
              <a:gd name="T12" fmla="*/ 0 w 102"/>
              <a:gd name="T13" fmla="*/ 0 h 89"/>
              <a:gd name="T14" fmla="*/ 0 w 102"/>
              <a:gd name="T15" fmla="*/ 0 h 89"/>
              <a:gd name="T16" fmla="*/ 0 w 102"/>
              <a:gd name="T17" fmla="*/ 0 h 89"/>
              <a:gd name="T18" fmla="*/ 0 w 102"/>
              <a:gd name="T19" fmla="*/ 0 h 89"/>
              <a:gd name="T20" fmla="*/ 0 w 102"/>
              <a:gd name="T21" fmla="*/ 0 h 89"/>
              <a:gd name="T22" fmla="*/ 0 w 102"/>
              <a:gd name="T23" fmla="*/ 0 h 89"/>
              <a:gd name="T24" fmla="*/ 0 w 102"/>
              <a:gd name="T25" fmla="*/ 0 h 89"/>
              <a:gd name="T26" fmla="*/ 0 w 102"/>
              <a:gd name="T27" fmla="*/ 0 h 89"/>
              <a:gd name="T28" fmla="*/ 0 w 102"/>
              <a:gd name="T29" fmla="*/ 0 h 89"/>
              <a:gd name="T30" fmla="*/ 0 w 102"/>
              <a:gd name="T31" fmla="*/ 0 h 89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w 102"/>
              <a:gd name="T49" fmla="*/ 0 h 89"/>
              <a:gd name="T50" fmla="*/ 102 w 102"/>
              <a:gd name="T51" fmla="*/ 89 h 89"/>
            </a:gdLst>
            <a:ahLst/>
            <a:cxnLst>
              <a:cxn ang="T32">
                <a:pos x="T0" y="T1"/>
              </a:cxn>
              <a:cxn ang="T33">
                <a:pos x="T2" y="T3"/>
              </a:cxn>
              <a:cxn ang="T34">
                <a:pos x="T4" y="T5"/>
              </a:cxn>
              <a:cxn ang="T35">
                <a:pos x="T6" y="T7"/>
              </a:cxn>
              <a:cxn ang="T36">
                <a:pos x="T8" y="T9"/>
              </a:cxn>
              <a:cxn ang="T37">
                <a:pos x="T10" y="T11"/>
              </a:cxn>
              <a:cxn ang="T38">
                <a:pos x="T12" y="T13"/>
              </a:cxn>
              <a:cxn ang="T39">
                <a:pos x="T14" y="T15"/>
              </a:cxn>
              <a:cxn ang="T40">
                <a:pos x="T16" y="T17"/>
              </a:cxn>
              <a:cxn ang="T41">
                <a:pos x="T18" y="T19"/>
              </a:cxn>
              <a:cxn ang="T42">
                <a:pos x="T20" y="T21"/>
              </a:cxn>
              <a:cxn ang="T43">
                <a:pos x="T22" y="T23"/>
              </a:cxn>
              <a:cxn ang="T44">
                <a:pos x="T24" y="T25"/>
              </a:cxn>
              <a:cxn ang="T45">
                <a:pos x="T26" y="T27"/>
              </a:cxn>
              <a:cxn ang="T46">
                <a:pos x="T28" y="T29"/>
              </a:cxn>
              <a:cxn ang="T47">
                <a:pos x="T30" y="T31"/>
              </a:cxn>
            </a:cxnLst>
            <a:rect l="T48" t="T49" r="T50" b="T51"/>
            <a:pathLst>
              <a:path w="102" h="89">
                <a:moveTo>
                  <a:pt x="102" y="86"/>
                </a:moveTo>
                <a:lnTo>
                  <a:pt x="100" y="62"/>
                </a:lnTo>
                <a:lnTo>
                  <a:pt x="91" y="54"/>
                </a:lnTo>
                <a:lnTo>
                  <a:pt x="84" y="44"/>
                </a:lnTo>
                <a:lnTo>
                  <a:pt x="75" y="30"/>
                </a:lnTo>
                <a:lnTo>
                  <a:pt x="70" y="18"/>
                </a:lnTo>
                <a:lnTo>
                  <a:pt x="54" y="6"/>
                </a:lnTo>
                <a:lnTo>
                  <a:pt x="33" y="0"/>
                </a:lnTo>
                <a:lnTo>
                  <a:pt x="13" y="5"/>
                </a:lnTo>
                <a:lnTo>
                  <a:pt x="0" y="14"/>
                </a:lnTo>
                <a:lnTo>
                  <a:pt x="4" y="36"/>
                </a:lnTo>
                <a:lnTo>
                  <a:pt x="28" y="56"/>
                </a:lnTo>
                <a:lnTo>
                  <a:pt x="45" y="71"/>
                </a:lnTo>
                <a:lnTo>
                  <a:pt x="67" y="81"/>
                </a:lnTo>
                <a:lnTo>
                  <a:pt x="84" y="89"/>
                </a:lnTo>
                <a:lnTo>
                  <a:pt x="102" y="86"/>
                </a:lnTo>
                <a:close/>
              </a:path>
            </a:pathLst>
          </a:custGeom>
          <a:solidFill>
            <a:srgbClr val="70B0DF"/>
          </a:solidFill>
          <a:ln w="9525">
            <a:noFill/>
            <a:round/>
            <a:headEnd/>
            <a:tailEnd/>
          </a:ln>
        </p:spPr>
        <p:txBody>
          <a:bodyPr wrap="none" lIns="32632" tIns="32632" rIns="32632" bIns="32632" anchor="ctr"/>
          <a:lstStyle/>
          <a:p>
            <a:pPr defTabSz="891045"/>
            <a:endParaRPr lang="en-US" sz="1700" dirty="0">
              <a:solidFill>
                <a:srgbClr val="003149"/>
              </a:solidFill>
              <a:cs typeface="Arial" panose="020B0604020202020204" pitchFamily="34" charset="0"/>
            </a:endParaRPr>
          </a:p>
        </p:txBody>
      </p:sp>
      <p:sp>
        <p:nvSpPr>
          <p:cNvPr id="96" name="Freeform 159"/>
          <p:cNvSpPr>
            <a:spLocks noChangeAspect="1"/>
          </p:cNvSpPr>
          <p:nvPr>
            <p:custDataLst>
              <p:tags r:id="rId67"/>
            </p:custDataLst>
          </p:nvPr>
        </p:nvSpPr>
        <p:spPr bwMode="gray">
          <a:xfrm rot="120000">
            <a:off x="4360496" y="2063004"/>
            <a:ext cx="4265" cy="7174"/>
          </a:xfrm>
          <a:custGeom>
            <a:avLst/>
            <a:gdLst>
              <a:gd name="T0" fmla="*/ 0 w 36"/>
              <a:gd name="T1" fmla="*/ 0 h 39"/>
              <a:gd name="T2" fmla="*/ 0 w 36"/>
              <a:gd name="T3" fmla="*/ 0 h 39"/>
              <a:gd name="T4" fmla="*/ 0 w 36"/>
              <a:gd name="T5" fmla="*/ 0 h 39"/>
              <a:gd name="T6" fmla="*/ 0 w 36"/>
              <a:gd name="T7" fmla="*/ 0 h 39"/>
              <a:gd name="T8" fmla="*/ 0 w 36"/>
              <a:gd name="T9" fmla="*/ 0 h 39"/>
              <a:gd name="T10" fmla="*/ 0 w 36"/>
              <a:gd name="T11" fmla="*/ 0 h 39"/>
              <a:gd name="T12" fmla="*/ 0 w 36"/>
              <a:gd name="T13" fmla="*/ 0 h 39"/>
              <a:gd name="T14" fmla="*/ 0 w 36"/>
              <a:gd name="T15" fmla="*/ 0 h 39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36"/>
              <a:gd name="T25" fmla="*/ 0 h 39"/>
              <a:gd name="T26" fmla="*/ 36 w 36"/>
              <a:gd name="T27" fmla="*/ 39 h 39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36" h="39">
                <a:moveTo>
                  <a:pt x="25" y="39"/>
                </a:moveTo>
                <a:lnTo>
                  <a:pt x="36" y="26"/>
                </a:lnTo>
                <a:lnTo>
                  <a:pt x="30" y="8"/>
                </a:lnTo>
                <a:lnTo>
                  <a:pt x="21" y="0"/>
                </a:lnTo>
                <a:lnTo>
                  <a:pt x="3" y="2"/>
                </a:lnTo>
                <a:lnTo>
                  <a:pt x="0" y="14"/>
                </a:lnTo>
                <a:lnTo>
                  <a:pt x="7" y="29"/>
                </a:lnTo>
                <a:lnTo>
                  <a:pt x="25" y="39"/>
                </a:lnTo>
                <a:close/>
              </a:path>
            </a:pathLst>
          </a:custGeom>
          <a:solidFill>
            <a:srgbClr val="70B0DF"/>
          </a:solidFill>
          <a:ln w="9525">
            <a:noFill/>
            <a:round/>
            <a:headEnd/>
            <a:tailEnd/>
          </a:ln>
        </p:spPr>
        <p:txBody>
          <a:bodyPr wrap="none" lIns="32632" tIns="32632" rIns="32632" bIns="32632" anchor="ctr"/>
          <a:lstStyle/>
          <a:p>
            <a:pPr defTabSz="891045"/>
            <a:endParaRPr lang="en-US" sz="1700" dirty="0">
              <a:solidFill>
                <a:srgbClr val="003149"/>
              </a:solidFill>
              <a:cs typeface="Arial" panose="020B0604020202020204" pitchFamily="34" charset="0"/>
            </a:endParaRPr>
          </a:p>
        </p:txBody>
      </p:sp>
      <p:sp>
        <p:nvSpPr>
          <p:cNvPr id="97" name="Freeform 160"/>
          <p:cNvSpPr>
            <a:spLocks noChangeAspect="1"/>
          </p:cNvSpPr>
          <p:nvPr>
            <p:custDataLst>
              <p:tags r:id="rId68"/>
            </p:custDataLst>
          </p:nvPr>
        </p:nvSpPr>
        <p:spPr bwMode="gray">
          <a:xfrm rot="120000">
            <a:off x="4320713" y="2084536"/>
            <a:ext cx="21325" cy="12913"/>
          </a:xfrm>
          <a:custGeom>
            <a:avLst/>
            <a:gdLst>
              <a:gd name="T0" fmla="*/ 0 w 126"/>
              <a:gd name="T1" fmla="*/ 0 h 67"/>
              <a:gd name="T2" fmla="*/ 0 w 126"/>
              <a:gd name="T3" fmla="*/ 0 h 67"/>
              <a:gd name="T4" fmla="*/ 0 w 126"/>
              <a:gd name="T5" fmla="*/ 0 h 67"/>
              <a:gd name="T6" fmla="*/ 0 w 126"/>
              <a:gd name="T7" fmla="*/ 0 h 67"/>
              <a:gd name="T8" fmla="*/ 0 w 126"/>
              <a:gd name="T9" fmla="*/ 0 h 67"/>
              <a:gd name="T10" fmla="*/ 0 w 126"/>
              <a:gd name="T11" fmla="*/ 0 h 67"/>
              <a:gd name="T12" fmla="*/ 0 w 126"/>
              <a:gd name="T13" fmla="*/ 0 h 67"/>
              <a:gd name="T14" fmla="*/ 0 w 126"/>
              <a:gd name="T15" fmla="*/ 0 h 67"/>
              <a:gd name="T16" fmla="*/ 0 w 126"/>
              <a:gd name="T17" fmla="*/ 0 h 67"/>
              <a:gd name="T18" fmla="*/ 0 w 126"/>
              <a:gd name="T19" fmla="*/ 0 h 67"/>
              <a:gd name="T20" fmla="*/ 0 w 126"/>
              <a:gd name="T21" fmla="*/ 0 h 67"/>
              <a:gd name="T22" fmla="*/ 0 w 126"/>
              <a:gd name="T23" fmla="*/ 0 h 67"/>
              <a:gd name="T24" fmla="*/ 0 w 126"/>
              <a:gd name="T25" fmla="*/ 0 h 67"/>
              <a:gd name="T26" fmla="*/ 0 w 126"/>
              <a:gd name="T27" fmla="*/ 0 h 67"/>
              <a:gd name="T28" fmla="*/ 0 w 126"/>
              <a:gd name="T29" fmla="*/ 0 h 67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w 126"/>
              <a:gd name="T46" fmla="*/ 0 h 67"/>
              <a:gd name="T47" fmla="*/ 126 w 126"/>
              <a:gd name="T48" fmla="*/ 67 h 67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T45" t="T46" r="T47" b="T48"/>
            <a:pathLst>
              <a:path w="126" h="67">
                <a:moveTo>
                  <a:pt x="82" y="66"/>
                </a:moveTo>
                <a:lnTo>
                  <a:pt x="114" y="52"/>
                </a:lnTo>
                <a:lnTo>
                  <a:pt x="126" y="37"/>
                </a:lnTo>
                <a:lnTo>
                  <a:pt x="120" y="10"/>
                </a:lnTo>
                <a:lnTo>
                  <a:pt x="105" y="0"/>
                </a:lnTo>
                <a:lnTo>
                  <a:pt x="75" y="3"/>
                </a:lnTo>
                <a:lnTo>
                  <a:pt x="33" y="6"/>
                </a:lnTo>
                <a:lnTo>
                  <a:pt x="7" y="9"/>
                </a:lnTo>
                <a:lnTo>
                  <a:pt x="6" y="25"/>
                </a:lnTo>
                <a:lnTo>
                  <a:pt x="0" y="33"/>
                </a:lnTo>
                <a:lnTo>
                  <a:pt x="3" y="52"/>
                </a:lnTo>
                <a:lnTo>
                  <a:pt x="10" y="64"/>
                </a:lnTo>
                <a:lnTo>
                  <a:pt x="42" y="63"/>
                </a:lnTo>
                <a:lnTo>
                  <a:pt x="63" y="67"/>
                </a:lnTo>
                <a:lnTo>
                  <a:pt x="82" y="66"/>
                </a:lnTo>
                <a:close/>
              </a:path>
            </a:pathLst>
          </a:custGeom>
          <a:solidFill>
            <a:srgbClr val="70B0DF"/>
          </a:solidFill>
          <a:ln w="9525">
            <a:noFill/>
            <a:round/>
            <a:headEnd/>
            <a:tailEnd/>
          </a:ln>
        </p:spPr>
        <p:txBody>
          <a:bodyPr wrap="none" lIns="32632" tIns="32632" rIns="32632" bIns="32632" anchor="ctr"/>
          <a:lstStyle/>
          <a:p>
            <a:pPr defTabSz="891045"/>
            <a:endParaRPr lang="en-US" sz="1700" dirty="0">
              <a:solidFill>
                <a:srgbClr val="003149"/>
              </a:solidFill>
              <a:cs typeface="Arial" panose="020B0604020202020204" pitchFamily="34" charset="0"/>
            </a:endParaRPr>
          </a:p>
        </p:txBody>
      </p:sp>
      <p:sp>
        <p:nvSpPr>
          <p:cNvPr id="98" name="Freeform 161"/>
          <p:cNvSpPr>
            <a:spLocks noChangeAspect="1"/>
          </p:cNvSpPr>
          <p:nvPr>
            <p:custDataLst>
              <p:tags r:id="rId69"/>
            </p:custDataLst>
          </p:nvPr>
        </p:nvSpPr>
        <p:spPr bwMode="gray">
          <a:xfrm rot="120000">
            <a:off x="4293689" y="2095995"/>
            <a:ext cx="44071" cy="38740"/>
          </a:xfrm>
          <a:custGeom>
            <a:avLst/>
            <a:gdLst>
              <a:gd name="T0" fmla="*/ 0 w 249"/>
              <a:gd name="T1" fmla="*/ 0 h 186"/>
              <a:gd name="T2" fmla="*/ 0 w 249"/>
              <a:gd name="T3" fmla="*/ 0 h 186"/>
              <a:gd name="T4" fmla="*/ 0 w 249"/>
              <a:gd name="T5" fmla="*/ 0 h 186"/>
              <a:gd name="T6" fmla="*/ 0 w 249"/>
              <a:gd name="T7" fmla="*/ 0 h 186"/>
              <a:gd name="T8" fmla="*/ 0 w 249"/>
              <a:gd name="T9" fmla="*/ 0 h 186"/>
              <a:gd name="T10" fmla="*/ 0 w 249"/>
              <a:gd name="T11" fmla="*/ 0 h 186"/>
              <a:gd name="T12" fmla="*/ 0 w 249"/>
              <a:gd name="T13" fmla="*/ 0 h 186"/>
              <a:gd name="T14" fmla="*/ 0 w 249"/>
              <a:gd name="T15" fmla="*/ 0 h 186"/>
              <a:gd name="T16" fmla="*/ 0 w 249"/>
              <a:gd name="T17" fmla="*/ 0 h 186"/>
              <a:gd name="T18" fmla="*/ 0 w 249"/>
              <a:gd name="T19" fmla="*/ 0 h 186"/>
              <a:gd name="T20" fmla="*/ 0 w 249"/>
              <a:gd name="T21" fmla="*/ 0 h 186"/>
              <a:gd name="T22" fmla="*/ 0 w 249"/>
              <a:gd name="T23" fmla="*/ 0 h 186"/>
              <a:gd name="T24" fmla="*/ 0 w 249"/>
              <a:gd name="T25" fmla="*/ 0 h 186"/>
              <a:gd name="T26" fmla="*/ 0 w 249"/>
              <a:gd name="T27" fmla="*/ 0 h 186"/>
              <a:gd name="T28" fmla="*/ 0 w 249"/>
              <a:gd name="T29" fmla="*/ 0 h 186"/>
              <a:gd name="T30" fmla="*/ 0 w 249"/>
              <a:gd name="T31" fmla="*/ 0 h 186"/>
              <a:gd name="T32" fmla="*/ 0 w 249"/>
              <a:gd name="T33" fmla="*/ 0 h 186"/>
              <a:gd name="T34" fmla="*/ 0 w 249"/>
              <a:gd name="T35" fmla="*/ 0 h 186"/>
              <a:gd name="T36" fmla="*/ 0 w 249"/>
              <a:gd name="T37" fmla="*/ 0 h 186"/>
              <a:gd name="T38" fmla="*/ 0 w 249"/>
              <a:gd name="T39" fmla="*/ 0 h 186"/>
              <a:gd name="T40" fmla="*/ 0 w 249"/>
              <a:gd name="T41" fmla="*/ 0 h 186"/>
              <a:gd name="T42" fmla="*/ 0 w 249"/>
              <a:gd name="T43" fmla="*/ 0 h 186"/>
              <a:gd name="T44" fmla="*/ 0 w 249"/>
              <a:gd name="T45" fmla="*/ 0 h 186"/>
              <a:gd name="T46" fmla="*/ 0 w 249"/>
              <a:gd name="T47" fmla="*/ 0 h 186"/>
              <a:gd name="T48" fmla="*/ 0 w 249"/>
              <a:gd name="T49" fmla="*/ 0 h 186"/>
              <a:gd name="T50" fmla="*/ 0 w 249"/>
              <a:gd name="T51" fmla="*/ 0 h 186"/>
              <a:gd name="T52" fmla="*/ 0 w 249"/>
              <a:gd name="T53" fmla="*/ 0 h 186"/>
              <a:gd name="T54" fmla="*/ 0 w 249"/>
              <a:gd name="T55" fmla="*/ 0 h 186"/>
              <a:gd name="T56" fmla="*/ 0 w 249"/>
              <a:gd name="T57" fmla="*/ 0 h 186"/>
              <a:gd name="T58" fmla="*/ 0 w 249"/>
              <a:gd name="T59" fmla="*/ 0 h 186"/>
              <a:gd name="T60" fmla="*/ 0 w 249"/>
              <a:gd name="T61" fmla="*/ 0 h 186"/>
              <a:gd name="T62" fmla="*/ 0 w 249"/>
              <a:gd name="T63" fmla="*/ 0 h 186"/>
              <a:gd name="T64" fmla="*/ 0 w 249"/>
              <a:gd name="T65" fmla="*/ 0 h 186"/>
              <a:gd name="T66" fmla="*/ 0 w 249"/>
              <a:gd name="T67" fmla="*/ 0 h 18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w 249"/>
              <a:gd name="T103" fmla="*/ 0 h 186"/>
              <a:gd name="T104" fmla="*/ 249 w 249"/>
              <a:gd name="T105" fmla="*/ 186 h 186"/>
            </a:gdLst>
            <a:ahLst/>
            <a:cxnLst>
              <a:cxn ang="T68">
                <a:pos x="T0" y="T1"/>
              </a:cxn>
              <a:cxn ang="T69">
                <a:pos x="T2" y="T3"/>
              </a:cxn>
              <a:cxn ang="T70">
                <a:pos x="T4" y="T5"/>
              </a:cxn>
              <a:cxn ang="T71">
                <a:pos x="T6" y="T7"/>
              </a:cxn>
              <a:cxn ang="T72">
                <a:pos x="T8" y="T9"/>
              </a:cxn>
              <a:cxn ang="T73">
                <a:pos x="T10" y="T11"/>
              </a:cxn>
              <a:cxn ang="T74">
                <a:pos x="T12" y="T13"/>
              </a:cxn>
              <a:cxn ang="T75">
                <a:pos x="T14" y="T15"/>
              </a:cxn>
              <a:cxn ang="T76">
                <a:pos x="T16" y="T17"/>
              </a:cxn>
              <a:cxn ang="T77">
                <a:pos x="T18" y="T19"/>
              </a:cxn>
              <a:cxn ang="T78">
                <a:pos x="T20" y="T21"/>
              </a:cxn>
              <a:cxn ang="T79">
                <a:pos x="T22" y="T23"/>
              </a:cxn>
              <a:cxn ang="T80">
                <a:pos x="T24" y="T25"/>
              </a:cxn>
              <a:cxn ang="T81">
                <a:pos x="T26" y="T27"/>
              </a:cxn>
              <a:cxn ang="T82">
                <a:pos x="T28" y="T29"/>
              </a:cxn>
              <a:cxn ang="T83">
                <a:pos x="T30" y="T31"/>
              </a:cxn>
              <a:cxn ang="T84">
                <a:pos x="T32" y="T33"/>
              </a:cxn>
              <a:cxn ang="T85">
                <a:pos x="T34" y="T35"/>
              </a:cxn>
              <a:cxn ang="T86">
                <a:pos x="T36" y="T37"/>
              </a:cxn>
              <a:cxn ang="T87">
                <a:pos x="T38" y="T39"/>
              </a:cxn>
              <a:cxn ang="T88">
                <a:pos x="T40" y="T41"/>
              </a:cxn>
              <a:cxn ang="T89">
                <a:pos x="T42" y="T43"/>
              </a:cxn>
              <a:cxn ang="T90">
                <a:pos x="T44" y="T45"/>
              </a:cxn>
              <a:cxn ang="T91">
                <a:pos x="T46" y="T47"/>
              </a:cxn>
              <a:cxn ang="T92">
                <a:pos x="T48" y="T49"/>
              </a:cxn>
              <a:cxn ang="T93">
                <a:pos x="T50" y="T51"/>
              </a:cxn>
              <a:cxn ang="T94">
                <a:pos x="T52" y="T53"/>
              </a:cxn>
              <a:cxn ang="T95">
                <a:pos x="T54" y="T55"/>
              </a:cxn>
              <a:cxn ang="T96">
                <a:pos x="T56" y="T57"/>
              </a:cxn>
              <a:cxn ang="T97">
                <a:pos x="T58" y="T59"/>
              </a:cxn>
              <a:cxn ang="T98">
                <a:pos x="T60" y="T61"/>
              </a:cxn>
              <a:cxn ang="T99">
                <a:pos x="T62" y="T63"/>
              </a:cxn>
              <a:cxn ang="T100">
                <a:pos x="T64" y="T65"/>
              </a:cxn>
              <a:cxn ang="T101">
                <a:pos x="T66" y="T67"/>
              </a:cxn>
            </a:cxnLst>
            <a:rect l="T102" t="T103" r="T104" b="T105"/>
            <a:pathLst>
              <a:path w="249" h="186">
                <a:moveTo>
                  <a:pt x="156" y="178"/>
                </a:moveTo>
                <a:lnTo>
                  <a:pt x="176" y="160"/>
                </a:lnTo>
                <a:lnTo>
                  <a:pt x="204" y="160"/>
                </a:lnTo>
                <a:lnTo>
                  <a:pt x="249" y="114"/>
                </a:lnTo>
                <a:lnTo>
                  <a:pt x="234" y="73"/>
                </a:lnTo>
                <a:lnTo>
                  <a:pt x="218" y="61"/>
                </a:lnTo>
                <a:lnTo>
                  <a:pt x="188" y="55"/>
                </a:lnTo>
                <a:lnTo>
                  <a:pt x="170" y="57"/>
                </a:lnTo>
                <a:lnTo>
                  <a:pt x="158" y="46"/>
                </a:lnTo>
                <a:lnTo>
                  <a:pt x="135" y="34"/>
                </a:lnTo>
                <a:lnTo>
                  <a:pt x="134" y="18"/>
                </a:lnTo>
                <a:lnTo>
                  <a:pt x="125" y="6"/>
                </a:lnTo>
                <a:lnTo>
                  <a:pt x="108" y="0"/>
                </a:lnTo>
                <a:lnTo>
                  <a:pt x="99" y="13"/>
                </a:lnTo>
                <a:lnTo>
                  <a:pt x="90" y="30"/>
                </a:lnTo>
                <a:lnTo>
                  <a:pt x="81" y="16"/>
                </a:lnTo>
                <a:lnTo>
                  <a:pt x="65" y="21"/>
                </a:lnTo>
                <a:lnTo>
                  <a:pt x="51" y="31"/>
                </a:lnTo>
                <a:lnTo>
                  <a:pt x="33" y="39"/>
                </a:lnTo>
                <a:lnTo>
                  <a:pt x="24" y="43"/>
                </a:lnTo>
                <a:lnTo>
                  <a:pt x="24" y="58"/>
                </a:lnTo>
                <a:lnTo>
                  <a:pt x="14" y="63"/>
                </a:lnTo>
                <a:lnTo>
                  <a:pt x="15" y="73"/>
                </a:lnTo>
                <a:lnTo>
                  <a:pt x="0" y="85"/>
                </a:lnTo>
                <a:lnTo>
                  <a:pt x="8" y="105"/>
                </a:lnTo>
                <a:lnTo>
                  <a:pt x="3" y="120"/>
                </a:lnTo>
                <a:lnTo>
                  <a:pt x="20" y="130"/>
                </a:lnTo>
                <a:lnTo>
                  <a:pt x="53" y="135"/>
                </a:lnTo>
                <a:lnTo>
                  <a:pt x="72" y="141"/>
                </a:lnTo>
                <a:lnTo>
                  <a:pt x="80" y="165"/>
                </a:lnTo>
                <a:lnTo>
                  <a:pt x="87" y="184"/>
                </a:lnTo>
                <a:lnTo>
                  <a:pt x="108" y="186"/>
                </a:lnTo>
                <a:lnTo>
                  <a:pt x="138" y="186"/>
                </a:lnTo>
                <a:lnTo>
                  <a:pt x="156" y="178"/>
                </a:lnTo>
                <a:close/>
              </a:path>
            </a:pathLst>
          </a:custGeom>
          <a:solidFill>
            <a:srgbClr val="70B0DF"/>
          </a:solidFill>
          <a:ln w="9525">
            <a:noFill/>
            <a:round/>
            <a:headEnd/>
            <a:tailEnd/>
          </a:ln>
        </p:spPr>
        <p:txBody>
          <a:bodyPr wrap="none" lIns="32632" tIns="32632" rIns="32632" bIns="32632" anchor="ctr"/>
          <a:lstStyle/>
          <a:p>
            <a:pPr defTabSz="891045"/>
            <a:endParaRPr lang="en-US" sz="1700" dirty="0">
              <a:solidFill>
                <a:srgbClr val="003149"/>
              </a:solidFill>
              <a:cs typeface="Arial" panose="020B0604020202020204" pitchFamily="34" charset="0"/>
            </a:endParaRPr>
          </a:p>
        </p:txBody>
      </p:sp>
      <p:sp>
        <p:nvSpPr>
          <p:cNvPr id="99" name="Freeform 162"/>
          <p:cNvSpPr>
            <a:spLocks noChangeAspect="1"/>
          </p:cNvSpPr>
          <p:nvPr>
            <p:custDataLst>
              <p:tags r:id="rId70"/>
            </p:custDataLst>
          </p:nvPr>
        </p:nvSpPr>
        <p:spPr bwMode="gray">
          <a:xfrm rot="120000">
            <a:off x="4327812" y="2025682"/>
            <a:ext cx="25590" cy="11479"/>
          </a:xfrm>
          <a:custGeom>
            <a:avLst/>
            <a:gdLst>
              <a:gd name="T0" fmla="*/ 0 w 132"/>
              <a:gd name="T1" fmla="*/ 0 h 66"/>
              <a:gd name="T2" fmla="*/ 0 w 132"/>
              <a:gd name="T3" fmla="*/ 0 h 66"/>
              <a:gd name="T4" fmla="*/ 0 w 132"/>
              <a:gd name="T5" fmla="*/ 0 h 66"/>
              <a:gd name="T6" fmla="*/ 0 w 132"/>
              <a:gd name="T7" fmla="*/ 0 h 66"/>
              <a:gd name="T8" fmla="*/ 0 w 132"/>
              <a:gd name="T9" fmla="*/ 0 h 66"/>
              <a:gd name="T10" fmla="*/ 0 w 132"/>
              <a:gd name="T11" fmla="*/ 0 h 66"/>
              <a:gd name="T12" fmla="*/ 0 w 132"/>
              <a:gd name="T13" fmla="*/ 0 h 66"/>
              <a:gd name="T14" fmla="*/ 0 w 132"/>
              <a:gd name="T15" fmla="*/ 0 h 66"/>
              <a:gd name="T16" fmla="*/ 0 w 132"/>
              <a:gd name="T17" fmla="*/ 0 h 66"/>
              <a:gd name="T18" fmla="*/ 0 w 132"/>
              <a:gd name="T19" fmla="*/ 0 h 66"/>
              <a:gd name="T20" fmla="*/ 0 w 132"/>
              <a:gd name="T21" fmla="*/ 0 h 66"/>
              <a:gd name="T22" fmla="*/ 0 w 132"/>
              <a:gd name="T23" fmla="*/ 0 h 66"/>
              <a:gd name="T24" fmla="*/ 0 w 132"/>
              <a:gd name="T25" fmla="*/ 0 h 66"/>
              <a:gd name="T26" fmla="*/ 0 w 132"/>
              <a:gd name="T27" fmla="*/ 0 h 66"/>
              <a:gd name="T28" fmla="*/ 0 w 132"/>
              <a:gd name="T29" fmla="*/ 0 h 66"/>
              <a:gd name="T30" fmla="*/ 0 w 132"/>
              <a:gd name="T31" fmla="*/ 0 h 6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w 132"/>
              <a:gd name="T49" fmla="*/ 0 h 66"/>
              <a:gd name="T50" fmla="*/ 132 w 132"/>
              <a:gd name="T51" fmla="*/ 66 h 66"/>
            </a:gdLst>
            <a:ahLst/>
            <a:cxnLst>
              <a:cxn ang="T32">
                <a:pos x="T0" y="T1"/>
              </a:cxn>
              <a:cxn ang="T33">
                <a:pos x="T2" y="T3"/>
              </a:cxn>
              <a:cxn ang="T34">
                <a:pos x="T4" y="T5"/>
              </a:cxn>
              <a:cxn ang="T35">
                <a:pos x="T6" y="T7"/>
              </a:cxn>
              <a:cxn ang="T36">
                <a:pos x="T8" y="T9"/>
              </a:cxn>
              <a:cxn ang="T37">
                <a:pos x="T10" y="T11"/>
              </a:cxn>
              <a:cxn ang="T38">
                <a:pos x="T12" y="T13"/>
              </a:cxn>
              <a:cxn ang="T39">
                <a:pos x="T14" y="T15"/>
              </a:cxn>
              <a:cxn ang="T40">
                <a:pos x="T16" y="T17"/>
              </a:cxn>
              <a:cxn ang="T41">
                <a:pos x="T18" y="T19"/>
              </a:cxn>
              <a:cxn ang="T42">
                <a:pos x="T20" y="T21"/>
              </a:cxn>
              <a:cxn ang="T43">
                <a:pos x="T22" y="T23"/>
              </a:cxn>
              <a:cxn ang="T44">
                <a:pos x="T24" y="T25"/>
              </a:cxn>
              <a:cxn ang="T45">
                <a:pos x="T26" y="T27"/>
              </a:cxn>
              <a:cxn ang="T46">
                <a:pos x="T28" y="T29"/>
              </a:cxn>
              <a:cxn ang="T47">
                <a:pos x="T30" y="T31"/>
              </a:cxn>
            </a:cxnLst>
            <a:rect l="T48" t="T49" r="T50" b="T51"/>
            <a:pathLst>
              <a:path w="132" h="66">
                <a:moveTo>
                  <a:pt x="38" y="40"/>
                </a:moveTo>
                <a:lnTo>
                  <a:pt x="66" y="46"/>
                </a:lnTo>
                <a:lnTo>
                  <a:pt x="84" y="55"/>
                </a:lnTo>
                <a:lnTo>
                  <a:pt x="111" y="66"/>
                </a:lnTo>
                <a:lnTo>
                  <a:pt x="131" y="51"/>
                </a:lnTo>
                <a:lnTo>
                  <a:pt x="132" y="30"/>
                </a:lnTo>
                <a:lnTo>
                  <a:pt x="125" y="13"/>
                </a:lnTo>
                <a:lnTo>
                  <a:pt x="95" y="13"/>
                </a:lnTo>
                <a:lnTo>
                  <a:pt x="80" y="6"/>
                </a:lnTo>
                <a:lnTo>
                  <a:pt x="66" y="0"/>
                </a:lnTo>
                <a:lnTo>
                  <a:pt x="39" y="3"/>
                </a:lnTo>
                <a:lnTo>
                  <a:pt x="23" y="10"/>
                </a:lnTo>
                <a:lnTo>
                  <a:pt x="6" y="15"/>
                </a:lnTo>
                <a:lnTo>
                  <a:pt x="0" y="34"/>
                </a:lnTo>
                <a:lnTo>
                  <a:pt x="12" y="42"/>
                </a:lnTo>
                <a:lnTo>
                  <a:pt x="38" y="40"/>
                </a:lnTo>
                <a:close/>
              </a:path>
            </a:pathLst>
          </a:custGeom>
          <a:solidFill>
            <a:srgbClr val="70B0DF"/>
          </a:solidFill>
          <a:ln w="9525">
            <a:noFill/>
            <a:round/>
            <a:headEnd/>
            <a:tailEnd/>
          </a:ln>
        </p:spPr>
        <p:txBody>
          <a:bodyPr wrap="none" lIns="32632" tIns="32632" rIns="32632" bIns="32632" anchor="ctr"/>
          <a:lstStyle/>
          <a:p>
            <a:pPr defTabSz="891045"/>
            <a:endParaRPr lang="en-US" sz="1700" dirty="0">
              <a:solidFill>
                <a:srgbClr val="003149"/>
              </a:solidFill>
              <a:cs typeface="Arial" panose="020B0604020202020204" pitchFamily="34" charset="0"/>
            </a:endParaRPr>
          </a:p>
        </p:txBody>
      </p:sp>
      <p:sp>
        <p:nvSpPr>
          <p:cNvPr id="100" name="Freeform 163"/>
          <p:cNvSpPr>
            <a:spLocks noChangeAspect="1"/>
          </p:cNvSpPr>
          <p:nvPr>
            <p:custDataLst>
              <p:tags r:id="rId71"/>
            </p:custDataLst>
          </p:nvPr>
        </p:nvSpPr>
        <p:spPr bwMode="gray">
          <a:xfrm rot="120000">
            <a:off x="4320688" y="2051520"/>
            <a:ext cx="8530" cy="11479"/>
          </a:xfrm>
          <a:custGeom>
            <a:avLst/>
            <a:gdLst>
              <a:gd name="T0" fmla="*/ 0 w 61"/>
              <a:gd name="T1" fmla="*/ 0 h 54"/>
              <a:gd name="T2" fmla="*/ 0 w 61"/>
              <a:gd name="T3" fmla="*/ 0 h 54"/>
              <a:gd name="T4" fmla="*/ 0 w 61"/>
              <a:gd name="T5" fmla="*/ 0 h 54"/>
              <a:gd name="T6" fmla="*/ 0 w 61"/>
              <a:gd name="T7" fmla="*/ 0 h 54"/>
              <a:gd name="T8" fmla="*/ 0 w 61"/>
              <a:gd name="T9" fmla="*/ 0 h 54"/>
              <a:gd name="T10" fmla="*/ 0 w 61"/>
              <a:gd name="T11" fmla="*/ 0 h 54"/>
              <a:gd name="T12" fmla="*/ 0 w 61"/>
              <a:gd name="T13" fmla="*/ 0 h 54"/>
              <a:gd name="T14" fmla="*/ 0 w 61"/>
              <a:gd name="T15" fmla="*/ 0 h 54"/>
              <a:gd name="T16" fmla="*/ 0 w 61"/>
              <a:gd name="T17" fmla="*/ 0 h 54"/>
              <a:gd name="T18" fmla="*/ 0 w 61"/>
              <a:gd name="T19" fmla="*/ 0 h 54"/>
              <a:gd name="T20" fmla="*/ 0 w 61"/>
              <a:gd name="T21" fmla="*/ 0 h 54"/>
              <a:gd name="T22" fmla="*/ 0 w 61"/>
              <a:gd name="T23" fmla="*/ 0 h 54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w 61"/>
              <a:gd name="T37" fmla="*/ 0 h 54"/>
              <a:gd name="T38" fmla="*/ 61 w 61"/>
              <a:gd name="T39" fmla="*/ 54 h 54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T36" t="T37" r="T38" b="T39"/>
            <a:pathLst>
              <a:path w="61" h="54">
                <a:moveTo>
                  <a:pt x="28" y="45"/>
                </a:moveTo>
                <a:lnTo>
                  <a:pt x="49" y="54"/>
                </a:lnTo>
                <a:lnTo>
                  <a:pt x="61" y="43"/>
                </a:lnTo>
                <a:lnTo>
                  <a:pt x="61" y="27"/>
                </a:lnTo>
                <a:lnTo>
                  <a:pt x="54" y="9"/>
                </a:lnTo>
                <a:lnTo>
                  <a:pt x="37" y="1"/>
                </a:lnTo>
                <a:lnTo>
                  <a:pt x="22" y="0"/>
                </a:lnTo>
                <a:lnTo>
                  <a:pt x="7" y="0"/>
                </a:lnTo>
                <a:lnTo>
                  <a:pt x="0" y="13"/>
                </a:lnTo>
                <a:lnTo>
                  <a:pt x="1" y="28"/>
                </a:lnTo>
                <a:lnTo>
                  <a:pt x="13" y="42"/>
                </a:lnTo>
                <a:lnTo>
                  <a:pt x="28" y="45"/>
                </a:lnTo>
                <a:close/>
              </a:path>
            </a:pathLst>
          </a:custGeom>
          <a:solidFill>
            <a:srgbClr val="70B0DF"/>
          </a:solidFill>
          <a:ln w="9525">
            <a:noFill/>
            <a:round/>
            <a:headEnd/>
            <a:tailEnd/>
          </a:ln>
        </p:spPr>
        <p:txBody>
          <a:bodyPr wrap="none" lIns="32632" tIns="32632" rIns="32632" bIns="32632" anchor="ctr"/>
          <a:lstStyle/>
          <a:p>
            <a:pPr defTabSz="891045"/>
            <a:endParaRPr lang="en-US" sz="1700" dirty="0">
              <a:solidFill>
                <a:srgbClr val="003149"/>
              </a:solidFill>
              <a:cs typeface="Arial" panose="020B0604020202020204" pitchFamily="34" charset="0"/>
            </a:endParaRPr>
          </a:p>
        </p:txBody>
      </p:sp>
      <p:sp>
        <p:nvSpPr>
          <p:cNvPr id="101" name="Freeform 164"/>
          <p:cNvSpPr>
            <a:spLocks noChangeAspect="1"/>
          </p:cNvSpPr>
          <p:nvPr>
            <p:custDataLst>
              <p:tags r:id="rId72"/>
            </p:custDataLst>
          </p:nvPr>
        </p:nvSpPr>
        <p:spPr bwMode="gray">
          <a:xfrm rot="120000">
            <a:off x="4299387" y="2051510"/>
            <a:ext cx="12795" cy="10043"/>
          </a:xfrm>
          <a:custGeom>
            <a:avLst/>
            <a:gdLst>
              <a:gd name="T0" fmla="*/ 0 w 63"/>
              <a:gd name="T1" fmla="*/ 0 h 45"/>
              <a:gd name="T2" fmla="*/ 0 w 63"/>
              <a:gd name="T3" fmla="*/ 0 h 45"/>
              <a:gd name="T4" fmla="*/ 0 w 63"/>
              <a:gd name="T5" fmla="*/ 0 h 45"/>
              <a:gd name="T6" fmla="*/ 0 w 63"/>
              <a:gd name="T7" fmla="*/ 0 h 45"/>
              <a:gd name="T8" fmla="*/ 0 w 63"/>
              <a:gd name="T9" fmla="*/ 0 h 45"/>
              <a:gd name="T10" fmla="*/ 0 w 63"/>
              <a:gd name="T11" fmla="*/ 0 h 45"/>
              <a:gd name="T12" fmla="*/ 0 w 63"/>
              <a:gd name="T13" fmla="*/ 0 h 45"/>
              <a:gd name="T14" fmla="*/ 0 w 63"/>
              <a:gd name="T15" fmla="*/ 0 h 45"/>
              <a:gd name="T16" fmla="*/ 0 w 63"/>
              <a:gd name="T17" fmla="*/ 0 h 45"/>
              <a:gd name="T18" fmla="*/ 0 w 63"/>
              <a:gd name="T19" fmla="*/ 0 h 45"/>
              <a:gd name="T20" fmla="*/ 0 w 63"/>
              <a:gd name="T21" fmla="*/ 0 h 45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63"/>
              <a:gd name="T34" fmla="*/ 0 h 45"/>
              <a:gd name="T35" fmla="*/ 63 w 63"/>
              <a:gd name="T36" fmla="*/ 45 h 45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63" h="45">
                <a:moveTo>
                  <a:pt x="35" y="45"/>
                </a:moveTo>
                <a:lnTo>
                  <a:pt x="54" y="41"/>
                </a:lnTo>
                <a:lnTo>
                  <a:pt x="63" y="29"/>
                </a:lnTo>
                <a:lnTo>
                  <a:pt x="54" y="14"/>
                </a:lnTo>
                <a:lnTo>
                  <a:pt x="39" y="8"/>
                </a:lnTo>
                <a:lnTo>
                  <a:pt x="27" y="0"/>
                </a:lnTo>
                <a:lnTo>
                  <a:pt x="17" y="0"/>
                </a:lnTo>
                <a:lnTo>
                  <a:pt x="3" y="5"/>
                </a:lnTo>
                <a:lnTo>
                  <a:pt x="0" y="23"/>
                </a:lnTo>
                <a:lnTo>
                  <a:pt x="20" y="27"/>
                </a:lnTo>
                <a:lnTo>
                  <a:pt x="35" y="45"/>
                </a:lnTo>
                <a:close/>
              </a:path>
            </a:pathLst>
          </a:custGeom>
          <a:solidFill>
            <a:srgbClr val="70B0DF"/>
          </a:solidFill>
          <a:ln w="9525">
            <a:noFill/>
            <a:round/>
            <a:headEnd/>
            <a:tailEnd/>
          </a:ln>
        </p:spPr>
        <p:txBody>
          <a:bodyPr wrap="none" lIns="32632" tIns="32632" rIns="32632" bIns="32632" anchor="ctr"/>
          <a:lstStyle/>
          <a:p>
            <a:pPr defTabSz="891045"/>
            <a:endParaRPr lang="en-US" sz="1700" dirty="0">
              <a:solidFill>
                <a:srgbClr val="003149"/>
              </a:solidFill>
              <a:cs typeface="Arial" panose="020B0604020202020204" pitchFamily="34" charset="0"/>
            </a:endParaRPr>
          </a:p>
        </p:txBody>
      </p:sp>
      <p:sp>
        <p:nvSpPr>
          <p:cNvPr id="102" name="Freeform 165"/>
          <p:cNvSpPr>
            <a:spLocks noChangeAspect="1"/>
          </p:cNvSpPr>
          <p:nvPr>
            <p:custDataLst>
              <p:tags r:id="rId73"/>
            </p:custDataLst>
          </p:nvPr>
        </p:nvSpPr>
        <p:spPr bwMode="gray">
          <a:xfrm rot="120000">
            <a:off x="4303626" y="2067308"/>
            <a:ext cx="4265" cy="8610"/>
          </a:xfrm>
          <a:custGeom>
            <a:avLst/>
            <a:gdLst>
              <a:gd name="T0" fmla="*/ 0 w 32"/>
              <a:gd name="T1" fmla="*/ 0 h 54"/>
              <a:gd name="T2" fmla="*/ 0 w 32"/>
              <a:gd name="T3" fmla="*/ 0 h 54"/>
              <a:gd name="T4" fmla="*/ 0 w 32"/>
              <a:gd name="T5" fmla="*/ 0 h 54"/>
              <a:gd name="T6" fmla="*/ 0 w 32"/>
              <a:gd name="T7" fmla="*/ 0 h 54"/>
              <a:gd name="T8" fmla="*/ 0 w 32"/>
              <a:gd name="T9" fmla="*/ 0 h 54"/>
              <a:gd name="T10" fmla="*/ 0 w 32"/>
              <a:gd name="T11" fmla="*/ 0 h 54"/>
              <a:gd name="T12" fmla="*/ 0 w 32"/>
              <a:gd name="T13" fmla="*/ 0 h 54"/>
              <a:gd name="T14" fmla="*/ 0 w 32"/>
              <a:gd name="T15" fmla="*/ 0 h 54"/>
              <a:gd name="T16" fmla="*/ 0 w 32"/>
              <a:gd name="T17" fmla="*/ 0 h 54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32"/>
              <a:gd name="T28" fmla="*/ 0 h 54"/>
              <a:gd name="T29" fmla="*/ 32 w 32"/>
              <a:gd name="T30" fmla="*/ 54 h 54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32" h="54">
                <a:moveTo>
                  <a:pt x="17" y="54"/>
                </a:moveTo>
                <a:lnTo>
                  <a:pt x="32" y="52"/>
                </a:lnTo>
                <a:lnTo>
                  <a:pt x="32" y="30"/>
                </a:lnTo>
                <a:lnTo>
                  <a:pt x="29" y="9"/>
                </a:lnTo>
                <a:lnTo>
                  <a:pt x="18" y="0"/>
                </a:lnTo>
                <a:lnTo>
                  <a:pt x="3" y="1"/>
                </a:lnTo>
                <a:lnTo>
                  <a:pt x="0" y="16"/>
                </a:lnTo>
                <a:lnTo>
                  <a:pt x="2" y="36"/>
                </a:lnTo>
                <a:lnTo>
                  <a:pt x="17" y="54"/>
                </a:lnTo>
                <a:close/>
              </a:path>
            </a:pathLst>
          </a:custGeom>
          <a:solidFill>
            <a:srgbClr val="70B0DF"/>
          </a:solidFill>
          <a:ln w="9525">
            <a:noFill/>
            <a:round/>
            <a:headEnd/>
            <a:tailEnd/>
          </a:ln>
        </p:spPr>
        <p:txBody>
          <a:bodyPr wrap="none" lIns="32632" tIns="32632" rIns="32632" bIns="32632" anchor="ctr"/>
          <a:lstStyle/>
          <a:p>
            <a:pPr defTabSz="891045"/>
            <a:endParaRPr lang="en-US" sz="1700" dirty="0">
              <a:solidFill>
                <a:srgbClr val="003149"/>
              </a:solidFill>
              <a:cs typeface="Arial" panose="020B0604020202020204" pitchFamily="34" charset="0"/>
            </a:endParaRPr>
          </a:p>
        </p:txBody>
      </p:sp>
      <p:sp>
        <p:nvSpPr>
          <p:cNvPr id="103" name="Freeform 166"/>
          <p:cNvSpPr>
            <a:spLocks noChangeAspect="1"/>
          </p:cNvSpPr>
          <p:nvPr>
            <p:custDataLst>
              <p:tags r:id="rId74"/>
            </p:custDataLst>
          </p:nvPr>
        </p:nvSpPr>
        <p:spPr bwMode="gray">
          <a:xfrm rot="120000">
            <a:off x="4293676" y="2080219"/>
            <a:ext cx="14216" cy="11479"/>
          </a:xfrm>
          <a:custGeom>
            <a:avLst/>
            <a:gdLst>
              <a:gd name="T0" fmla="*/ 0 w 75"/>
              <a:gd name="T1" fmla="*/ 0 h 57"/>
              <a:gd name="T2" fmla="*/ 0 w 75"/>
              <a:gd name="T3" fmla="*/ 0 h 57"/>
              <a:gd name="T4" fmla="*/ 0 w 75"/>
              <a:gd name="T5" fmla="*/ 0 h 57"/>
              <a:gd name="T6" fmla="*/ 0 w 75"/>
              <a:gd name="T7" fmla="*/ 0 h 57"/>
              <a:gd name="T8" fmla="*/ 0 w 75"/>
              <a:gd name="T9" fmla="*/ 0 h 57"/>
              <a:gd name="T10" fmla="*/ 0 w 75"/>
              <a:gd name="T11" fmla="*/ 0 h 57"/>
              <a:gd name="T12" fmla="*/ 0 w 75"/>
              <a:gd name="T13" fmla="*/ 0 h 57"/>
              <a:gd name="T14" fmla="*/ 0 w 75"/>
              <a:gd name="T15" fmla="*/ 0 h 57"/>
              <a:gd name="T16" fmla="*/ 0 w 75"/>
              <a:gd name="T17" fmla="*/ 0 h 57"/>
              <a:gd name="T18" fmla="*/ 0 w 75"/>
              <a:gd name="T19" fmla="*/ 0 h 57"/>
              <a:gd name="T20" fmla="*/ 0 w 75"/>
              <a:gd name="T21" fmla="*/ 0 h 57"/>
              <a:gd name="T22" fmla="*/ 0 w 75"/>
              <a:gd name="T23" fmla="*/ 0 h 57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w 75"/>
              <a:gd name="T37" fmla="*/ 0 h 57"/>
              <a:gd name="T38" fmla="*/ 75 w 75"/>
              <a:gd name="T39" fmla="*/ 57 h 57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T36" t="T37" r="T38" b="T39"/>
            <a:pathLst>
              <a:path w="75" h="57">
                <a:moveTo>
                  <a:pt x="25" y="51"/>
                </a:moveTo>
                <a:lnTo>
                  <a:pt x="45" y="57"/>
                </a:lnTo>
                <a:lnTo>
                  <a:pt x="67" y="56"/>
                </a:lnTo>
                <a:lnTo>
                  <a:pt x="75" y="38"/>
                </a:lnTo>
                <a:lnTo>
                  <a:pt x="69" y="18"/>
                </a:lnTo>
                <a:lnTo>
                  <a:pt x="55" y="6"/>
                </a:lnTo>
                <a:lnTo>
                  <a:pt x="40" y="0"/>
                </a:lnTo>
                <a:lnTo>
                  <a:pt x="12" y="0"/>
                </a:lnTo>
                <a:lnTo>
                  <a:pt x="1" y="14"/>
                </a:lnTo>
                <a:lnTo>
                  <a:pt x="0" y="32"/>
                </a:lnTo>
                <a:lnTo>
                  <a:pt x="9" y="45"/>
                </a:lnTo>
                <a:lnTo>
                  <a:pt x="25" y="51"/>
                </a:lnTo>
                <a:close/>
              </a:path>
            </a:pathLst>
          </a:custGeom>
          <a:solidFill>
            <a:srgbClr val="70B0DF"/>
          </a:solidFill>
          <a:ln w="9525">
            <a:noFill/>
            <a:round/>
            <a:headEnd/>
            <a:tailEnd/>
          </a:ln>
        </p:spPr>
        <p:txBody>
          <a:bodyPr wrap="none" lIns="32632" tIns="32632" rIns="32632" bIns="32632" anchor="ctr"/>
          <a:lstStyle/>
          <a:p>
            <a:pPr defTabSz="891045"/>
            <a:endParaRPr lang="en-US" sz="1700" dirty="0">
              <a:solidFill>
                <a:srgbClr val="003149"/>
              </a:solidFill>
              <a:cs typeface="Arial" panose="020B0604020202020204" pitchFamily="34" charset="0"/>
            </a:endParaRPr>
          </a:p>
        </p:txBody>
      </p:sp>
      <p:sp>
        <p:nvSpPr>
          <p:cNvPr id="104" name="Freeform 167"/>
          <p:cNvSpPr>
            <a:spLocks noChangeAspect="1"/>
          </p:cNvSpPr>
          <p:nvPr>
            <p:custDataLst>
              <p:tags r:id="rId75"/>
            </p:custDataLst>
          </p:nvPr>
        </p:nvSpPr>
        <p:spPr bwMode="gray">
          <a:xfrm rot="120000">
            <a:off x="4293677" y="2096015"/>
            <a:ext cx="4265" cy="5739"/>
          </a:xfrm>
          <a:custGeom>
            <a:avLst/>
            <a:gdLst>
              <a:gd name="T0" fmla="*/ 0 w 34"/>
              <a:gd name="T1" fmla="*/ 0 h 36"/>
              <a:gd name="T2" fmla="*/ 0 w 34"/>
              <a:gd name="T3" fmla="*/ 0 h 36"/>
              <a:gd name="T4" fmla="*/ 0 w 34"/>
              <a:gd name="T5" fmla="*/ 0 h 36"/>
              <a:gd name="T6" fmla="*/ 0 w 34"/>
              <a:gd name="T7" fmla="*/ 0 h 36"/>
              <a:gd name="T8" fmla="*/ 0 w 34"/>
              <a:gd name="T9" fmla="*/ 0 h 36"/>
              <a:gd name="T10" fmla="*/ 0 w 34"/>
              <a:gd name="T11" fmla="*/ 0 h 36"/>
              <a:gd name="T12" fmla="*/ 0 w 34"/>
              <a:gd name="T13" fmla="*/ 0 h 36"/>
              <a:gd name="T14" fmla="*/ 0 w 34"/>
              <a:gd name="T15" fmla="*/ 0 h 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34"/>
              <a:gd name="T25" fmla="*/ 0 h 36"/>
              <a:gd name="T26" fmla="*/ 34 w 34"/>
              <a:gd name="T27" fmla="*/ 36 h 36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34" h="36">
                <a:moveTo>
                  <a:pt x="25" y="33"/>
                </a:moveTo>
                <a:lnTo>
                  <a:pt x="34" y="14"/>
                </a:lnTo>
                <a:lnTo>
                  <a:pt x="24" y="0"/>
                </a:lnTo>
                <a:lnTo>
                  <a:pt x="9" y="0"/>
                </a:lnTo>
                <a:lnTo>
                  <a:pt x="0" y="8"/>
                </a:lnTo>
                <a:lnTo>
                  <a:pt x="1" y="26"/>
                </a:lnTo>
                <a:lnTo>
                  <a:pt x="15" y="36"/>
                </a:lnTo>
                <a:lnTo>
                  <a:pt x="25" y="33"/>
                </a:lnTo>
                <a:close/>
              </a:path>
            </a:pathLst>
          </a:custGeom>
          <a:solidFill>
            <a:srgbClr val="70B0DF"/>
          </a:solidFill>
          <a:ln w="9525">
            <a:noFill/>
            <a:round/>
            <a:headEnd/>
            <a:tailEnd/>
          </a:ln>
        </p:spPr>
        <p:txBody>
          <a:bodyPr wrap="none" lIns="32632" tIns="32632" rIns="32632" bIns="32632" anchor="ctr"/>
          <a:lstStyle/>
          <a:p>
            <a:pPr defTabSz="891045"/>
            <a:endParaRPr lang="en-US" sz="1700" dirty="0">
              <a:solidFill>
                <a:srgbClr val="003149"/>
              </a:solidFill>
              <a:cs typeface="Arial" panose="020B0604020202020204" pitchFamily="34" charset="0"/>
            </a:endParaRPr>
          </a:p>
        </p:txBody>
      </p:sp>
      <p:sp>
        <p:nvSpPr>
          <p:cNvPr id="105" name="Freeform 168"/>
          <p:cNvSpPr>
            <a:spLocks noChangeAspect="1"/>
          </p:cNvSpPr>
          <p:nvPr>
            <p:custDataLst>
              <p:tags r:id="rId76"/>
            </p:custDataLst>
          </p:nvPr>
        </p:nvSpPr>
        <p:spPr bwMode="gray">
          <a:xfrm rot="120000">
            <a:off x="4280879" y="2084526"/>
            <a:ext cx="8530" cy="8610"/>
          </a:xfrm>
          <a:custGeom>
            <a:avLst/>
            <a:gdLst>
              <a:gd name="T0" fmla="*/ 0 w 46"/>
              <a:gd name="T1" fmla="*/ 0 h 45"/>
              <a:gd name="T2" fmla="*/ 0 w 46"/>
              <a:gd name="T3" fmla="*/ 0 h 45"/>
              <a:gd name="T4" fmla="*/ 0 w 46"/>
              <a:gd name="T5" fmla="*/ 0 h 45"/>
              <a:gd name="T6" fmla="*/ 0 w 46"/>
              <a:gd name="T7" fmla="*/ 0 h 45"/>
              <a:gd name="T8" fmla="*/ 0 w 46"/>
              <a:gd name="T9" fmla="*/ 0 h 45"/>
              <a:gd name="T10" fmla="*/ 0 w 46"/>
              <a:gd name="T11" fmla="*/ 0 h 45"/>
              <a:gd name="T12" fmla="*/ 0 w 46"/>
              <a:gd name="T13" fmla="*/ 0 h 45"/>
              <a:gd name="T14" fmla="*/ 0 w 46"/>
              <a:gd name="T15" fmla="*/ 0 h 45"/>
              <a:gd name="T16" fmla="*/ 0 w 46"/>
              <a:gd name="T17" fmla="*/ 0 h 45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46"/>
              <a:gd name="T28" fmla="*/ 0 h 45"/>
              <a:gd name="T29" fmla="*/ 46 w 46"/>
              <a:gd name="T30" fmla="*/ 45 h 45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46" h="45">
                <a:moveTo>
                  <a:pt x="22" y="45"/>
                </a:moveTo>
                <a:lnTo>
                  <a:pt x="46" y="41"/>
                </a:lnTo>
                <a:lnTo>
                  <a:pt x="43" y="24"/>
                </a:lnTo>
                <a:lnTo>
                  <a:pt x="36" y="14"/>
                </a:lnTo>
                <a:lnTo>
                  <a:pt x="30" y="2"/>
                </a:lnTo>
                <a:lnTo>
                  <a:pt x="1" y="0"/>
                </a:lnTo>
                <a:lnTo>
                  <a:pt x="0" y="15"/>
                </a:lnTo>
                <a:lnTo>
                  <a:pt x="6" y="35"/>
                </a:lnTo>
                <a:lnTo>
                  <a:pt x="22" y="45"/>
                </a:lnTo>
                <a:close/>
              </a:path>
            </a:pathLst>
          </a:custGeom>
          <a:solidFill>
            <a:srgbClr val="70B0DF"/>
          </a:solidFill>
          <a:ln w="9525">
            <a:noFill/>
            <a:round/>
            <a:headEnd/>
            <a:tailEnd/>
          </a:ln>
        </p:spPr>
        <p:txBody>
          <a:bodyPr wrap="none" lIns="32632" tIns="32632" rIns="32632" bIns="32632" anchor="ctr"/>
          <a:lstStyle/>
          <a:p>
            <a:pPr defTabSz="891045"/>
            <a:endParaRPr lang="en-US" sz="1700" dirty="0">
              <a:solidFill>
                <a:srgbClr val="003149"/>
              </a:solidFill>
              <a:cs typeface="Arial" panose="020B0604020202020204" pitchFamily="34" charset="0"/>
            </a:endParaRPr>
          </a:p>
        </p:txBody>
      </p:sp>
      <p:sp>
        <p:nvSpPr>
          <p:cNvPr id="106" name="Freeform 169"/>
          <p:cNvSpPr>
            <a:spLocks noChangeAspect="1"/>
          </p:cNvSpPr>
          <p:nvPr>
            <p:custDataLst>
              <p:tags r:id="rId77"/>
            </p:custDataLst>
          </p:nvPr>
        </p:nvSpPr>
        <p:spPr bwMode="gray">
          <a:xfrm rot="120000">
            <a:off x="4265280" y="2070175"/>
            <a:ext cx="11373" cy="10043"/>
          </a:xfrm>
          <a:custGeom>
            <a:avLst/>
            <a:gdLst>
              <a:gd name="T0" fmla="*/ 0 w 67"/>
              <a:gd name="T1" fmla="*/ 0 h 72"/>
              <a:gd name="T2" fmla="*/ 0 w 67"/>
              <a:gd name="T3" fmla="*/ 0 h 72"/>
              <a:gd name="T4" fmla="*/ 0 w 67"/>
              <a:gd name="T5" fmla="*/ 0 h 72"/>
              <a:gd name="T6" fmla="*/ 0 w 67"/>
              <a:gd name="T7" fmla="*/ 0 h 72"/>
              <a:gd name="T8" fmla="*/ 0 w 67"/>
              <a:gd name="T9" fmla="*/ 0 h 72"/>
              <a:gd name="T10" fmla="*/ 0 w 67"/>
              <a:gd name="T11" fmla="*/ 0 h 72"/>
              <a:gd name="T12" fmla="*/ 0 w 67"/>
              <a:gd name="T13" fmla="*/ 0 h 72"/>
              <a:gd name="T14" fmla="*/ 0 w 67"/>
              <a:gd name="T15" fmla="*/ 0 h 72"/>
              <a:gd name="T16" fmla="*/ 0 w 67"/>
              <a:gd name="T17" fmla="*/ 0 h 72"/>
              <a:gd name="T18" fmla="*/ 0 w 67"/>
              <a:gd name="T19" fmla="*/ 0 h 72"/>
              <a:gd name="T20" fmla="*/ 0 w 67"/>
              <a:gd name="T21" fmla="*/ 0 h 72"/>
              <a:gd name="T22" fmla="*/ 0 w 67"/>
              <a:gd name="T23" fmla="*/ 0 h 72"/>
              <a:gd name="T24" fmla="*/ 0 w 67"/>
              <a:gd name="T25" fmla="*/ 0 h 72"/>
              <a:gd name="T26" fmla="*/ 0 w 67"/>
              <a:gd name="T27" fmla="*/ 0 h 72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w 67"/>
              <a:gd name="T43" fmla="*/ 0 h 72"/>
              <a:gd name="T44" fmla="*/ 67 w 67"/>
              <a:gd name="T45" fmla="*/ 72 h 72"/>
            </a:gdLst>
            <a:ahLst/>
            <a:cxnLst>
              <a:cxn ang="T28">
                <a:pos x="T0" y="T1"/>
              </a:cxn>
              <a:cxn ang="T29">
                <a:pos x="T2" y="T3"/>
              </a:cxn>
              <a:cxn ang="T30">
                <a:pos x="T4" y="T5"/>
              </a:cxn>
              <a:cxn ang="T31">
                <a:pos x="T6" y="T7"/>
              </a:cxn>
              <a:cxn ang="T32">
                <a:pos x="T8" y="T9"/>
              </a:cxn>
              <a:cxn ang="T33">
                <a:pos x="T10" y="T11"/>
              </a:cxn>
              <a:cxn ang="T34">
                <a:pos x="T12" y="T13"/>
              </a:cxn>
              <a:cxn ang="T35">
                <a:pos x="T14" y="T15"/>
              </a:cxn>
              <a:cxn ang="T36">
                <a:pos x="T16" y="T17"/>
              </a:cxn>
              <a:cxn ang="T37">
                <a:pos x="T18" y="T19"/>
              </a:cxn>
              <a:cxn ang="T38">
                <a:pos x="T20" y="T21"/>
              </a:cxn>
              <a:cxn ang="T39">
                <a:pos x="T22" y="T23"/>
              </a:cxn>
              <a:cxn ang="T40">
                <a:pos x="T24" y="T25"/>
              </a:cxn>
              <a:cxn ang="T41">
                <a:pos x="T26" y="T27"/>
              </a:cxn>
            </a:cxnLst>
            <a:rect l="T42" t="T43" r="T44" b="T45"/>
            <a:pathLst>
              <a:path w="67" h="72">
                <a:moveTo>
                  <a:pt x="67" y="64"/>
                </a:moveTo>
                <a:lnTo>
                  <a:pt x="66" y="39"/>
                </a:lnTo>
                <a:lnTo>
                  <a:pt x="54" y="27"/>
                </a:lnTo>
                <a:lnTo>
                  <a:pt x="54" y="12"/>
                </a:lnTo>
                <a:lnTo>
                  <a:pt x="40" y="4"/>
                </a:lnTo>
                <a:lnTo>
                  <a:pt x="25" y="0"/>
                </a:lnTo>
                <a:lnTo>
                  <a:pt x="7" y="1"/>
                </a:lnTo>
                <a:lnTo>
                  <a:pt x="0" y="13"/>
                </a:lnTo>
                <a:lnTo>
                  <a:pt x="12" y="33"/>
                </a:lnTo>
                <a:lnTo>
                  <a:pt x="21" y="40"/>
                </a:lnTo>
                <a:lnTo>
                  <a:pt x="15" y="58"/>
                </a:lnTo>
                <a:lnTo>
                  <a:pt x="31" y="61"/>
                </a:lnTo>
                <a:lnTo>
                  <a:pt x="43" y="72"/>
                </a:lnTo>
                <a:lnTo>
                  <a:pt x="67" y="64"/>
                </a:lnTo>
                <a:close/>
              </a:path>
            </a:pathLst>
          </a:custGeom>
          <a:solidFill>
            <a:srgbClr val="70B0DF"/>
          </a:solidFill>
          <a:ln w="9525">
            <a:noFill/>
            <a:round/>
            <a:headEnd/>
            <a:tailEnd/>
          </a:ln>
        </p:spPr>
        <p:txBody>
          <a:bodyPr wrap="none" lIns="32632" tIns="32632" rIns="32632" bIns="32632" anchor="ctr"/>
          <a:lstStyle/>
          <a:p>
            <a:pPr defTabSz="891045"/>
            <a:endParaRPr lang="en-US" sz="1700" dirty="0">
              <a:solidFill>
                <a:srgbClr val="003149"/>
              </a:solidFill>
              <a:cs typeface="Arial" panose="020B0604020202020204" pitchFamily="34" charset="0"/>
            </a:endParaRPr>
          </a:p>
        </p:txBody>
      </p:sp>
      <p:sp>
        <p:nvSpPr>
          <p:cNvPr id="107" name="Freeform 170"/>
          <p:cNvSpPr>
            <a:spLocks noChangeAspect="1"/>
          </p:cNvSpPr>
          <p:nvPr>
            <p:custDataLst>
              <p:tags r:id="rId78"/>
            </p:custDataLst>
          </p:nvPr>
        </p:nvSpPr>
        <p:spPr bwMode="gray">
          <a:xfrm rot="120000">
            <a:off x="4266663" y="2034296"/>
            <a:ext cx="27012" cy="45914"/>
          </a:xfrm>
          <a:custGeom>
            <a:avLst/>
            <a:gdLst>
              <a:gd name="T0" fmla="*/ 0 w 131"/>
              <a:gd name="T1" fmla="*/ 0 h 246"/>
              <a:gd name="T2" fmla="*/ 0 w 131"/>
              <a:gd name="T3" fmla="*/ 0 h 246"/>
              <a:gd name="T4" fmla="*/ 0 w 131"/>
              <a:gd name="T5" fmla="*/ 0 h 246"/>
              <a:gd name="T6" fmla="*/ 0 w 131"/>
              <a:gd name="T7" fmla="*/ 0 h 246"/>
              <a:gd name="T8" fmla="*/ 0 w 131"/>
              <a:gd name="T9" fmla="*/ 0 h 246"/>
              <a:gd name="T10" fmla="*/ 0 w 131"/>
              <a:gd name="T11" fmla="*/ 0 h 246"/>
              <a:gd name="T12" fmla="*/ 0 w 131"/>
              <a:gd name="T13" fmla="*/ 0 h 246"/>
              <a:gd name="T14" fmla="*/ 0 w 131"/>
              <a:gd name="T15" fmla="*/ 0 h 246"/>
              <a:gd name="T16" fmla="*/ 0 w 131"/>
              <a:gd name="T17" fmla="*/ 0 h 246"/>
              <a:gd name="T18" fmla="*/ 0 w 131"/>
              <a:gd name="T19" fmla="*/ 0 h 246"/>
              <a:gd name="T20" fmla="*/ 0 w 131"/>
              <a:gd name="T21" fmla="*/ 0 h 246"/>
              <a:gd name="T22" fmla="*/ 0 w 131"/>
              <a:gd name="T23" fmla="*/ 0 h 246"/>
              <a:gd name="T24" fmla="*/ 0 w 131"/>
              <a:gd name="T25" fmla="*/ 0 h 246"/>
              <a:gd name="T26" fmla="*/ 0 w 131"/>
              <a:gd name="T27" fmla="*/ 0 h 246"/>
              <a:gd name="T28" fmla="*/ 0 w 131"/>
              <a:gd name="T29" fmla="*/ 0 h 246"/>
              <a:gd name="T30" fmla="*/ 0 w 131"/>
              <a:gd name="T31" fmla="*/ 0 h 246"/>
              <a:gd name="T32" fmla="*/ 0 w 131"/>
              <a:gd name="T33" fmla="*/ 0 h 246"/>
              <a:gd name="T34" fmla="*/ 0 w 131"/>
              <a:gd name="T35" fmla="*/ 0 h 246"/>
              <a:gd name="T36" fmla="*/ 0 w 131"/>
              <a:gd name="T37" fmla="*/ 0 h 246"/>
              <a:gd name="T38" fmla="*/ 0 w 131"/>
              <a:gd name="T39" fmla="*/ 0 h 246"/>
              <a:gd name="T40" fmla="*/ 0 w 131"/>
              <a:gd name="T41" fmla="*/ 0 h 246"/>
              <a:gd name="T42" fmla="*/ 0 w 131"/>
              <a:gd name="T43" fmla="*/ 0 h 246"/>
              <a:gd name="T44" fmla="*/ 0 w 131"/>
              <a:gd name="T45" fmla="*/ 0 h 246"/>
              <a:gd name="T46" fmla="*/ 0 w 131"/>
              <a:gd name="T47" fmla="*/ 0 h 246"/>
              <a:gd name="T48" fmla="*/ 0 w 131"/>
              <a:gd name="T49" fmla="*/ 0 h 246"/>
              <a:gd name="T50" fmla="*/ 0 w 131"/>
              <a:gd name="T51" fmla="*/ 0 h 246"/>
              <a:gd name="T52" fmla="*/ 0 w 131"/>
              <a:gd name="T53" fmla="*/ 0 h 246"/>
              <a:gd name="T54" fmla="*/ 0 w 131"/>
              <a:gd name="T55" fmla="*/ 0 h 246"/>
              <a:gd name="T56" fmla="*/ 0 w 131"/>
              <a:gd name="T57" fmla="*/ 0 h 246"/>
              <a:gd name="T58" fmla="*/ 0 w 131"/>
              <a:gd name="T59" fmla="*/ 0 h 246"/>
              <a:gd name="T60" fmla="*/ 0 w 131"/>
              <a:gd name="T61" fmla="*/ 0 h 246"/>
              <a:gd name="T62" fmla="*/ 0 w 131"/>
              <a:gd name="T63" fmla="*/ 0 h 246"/>
              <a:gd name="T64" fmla="*/ 0 w 131"/>
              <a:gd name="T65" fmla="*/ 0 h 24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w 131"/>
              <a:gd name="T100" fmla="*/ 0 h 246"/>
              <a:gd name="T101" fmla="*/ 131 w 131"/>
              <a:gd name="T102" fmla="*/ 246 h 246"/>
            </a:gdLst>
            <a:ahLst/>
            <a:cxnLst>
              <a:cxn ang="T66">
                <a:pos x="T0" y="T1"/>
              </a:cxn>
              <a:cxn ang="T67">
                <a:pos x="T2" y="T3"/>
              </a:cxn>
              <a:cxn ang="T68">
                <a:pos x="T4" y="T5"/>
              </a:cxn>
              <a:cxn ang="T69">
                <a:pos x="T6" y="T7"/>
              </a:cxn>
              <a:cxn ang="T70">
                <a:pos x="T8" y="T9"/>
              </a:cxn>
              <a:cxn ang="T71">
                <a:pos x="T10" y="T11"/>
              </a:cxn>
              <a:cxn ang="T72">
                <a:pos x="T12" y="T13"/>
              </a:cxn>
              <a:cxn ang="T73">
                <a:pos x="T14" y="T15"/>
              </a:cxn>
              <a:cxn ang="T74">
                <a:pos x="T16" y="T17"/>
              </a:cxn>
              <a:cxn ang="T75">
                <a:pos x="T18" y="T19"/>
              </a:cxn>
              <a:cxn ang="T76">
                <a:pos x="T20" y="T21"/>
              </a:cxn>
              <a:cxn ang="T77">
                <a:pos x="T22" y="T23"/>
              </a:cxn>
              <a:cxn ang="T78">
                <a:pos x="T24" y="T25"/>
              </a:cxn>
              <a:cxn ang="T79">
                <a:pos x="T26" y="T27"/>
              </a:cxn>
              <a:cxn ang="T80">
                <a:pos x="T28" y="T29"/>
              </a:cxn>
              <a:cxn ang="T81">
                <a:pos x="T30" y="T31"/>
              </a:cxn>
              <a:cxn ang="T82">
                <a:pos x="T32" y="T33"/>
              </a:cxn>
              <a:cxn ang="T83">
                <a:pos x="T34" y="T35"/>
              </a:cxn>
              <a:cxn ang="T84">
                <a:pos x="T36" y="T37"/>
              </a:cxn>
              <a:cxn ang="T85">
                <a:pos x="T38" y="T39"/>
              </a:cxn>
              <a:cxn ang="T86">
                <a:pos x="T40" y="T41"/>
              </a:cxn>
              <a:cxn ang="T87">
                <a:pos x="T42" y="T43"/>
              </a:cxn>
              <a:cxn ang="T88">
                <a:pos x="T44" y="T45"/>
              </a:cxn>
              <a:cxn ang="T89">
                <a:pos x="T46" y="T47"/>
              </a:cxn>
              <a:cxn ang="T90">
                <a:pos x="T48" y="T49"/>
              </a:cxn>
              <a:cxn ang="T91">
                <a:pos x="T50" y="T51"/>
              </a:cxn>
              <a:cxn ang="T92">
                <a:pos x="T52" y="T53"/>
              </a:cxn>
              <a:cxn ang="T93">
                <a:pos x="T54" y="T55"/>
              </a:cxn>
              <a:cxn ang="T94">
                <a:pos x="T56" y="T57"/>
              </a:cxn>
              <a:cxn ang="T95">
                <a:pos x="T58" y="T59"/>
              </a:cxn>
              <a:cxn ang="T96">
                <a:pos x="T60" y="T61"/>
              </a:cxn>
              <a:cxn ang="T97">
                <a:pos x="T62" y="T63"/>
              </a:cxn>
              <a:cxn ang="T98">
                <a:pos x="T64" y="T65"/>
              </a:cxn>
            </a:cxnLst>
            <a:rect l="T99" t="T100" r="T101" b="T102"/>
            <a:pathLst>
              <a:path w="131" h="246">
                <a:moveTo>
                  <a:pt x="123" y="241"/>
                </a:moveTo>
                <a:lnTo>
                  <a:pt x="129" y="217"/>
                </a:lnTo>
                <a:lnTo>
                  <a:pt x="131" y="198"/>
                </a:lnTo>
                <a:lnTo>
                  <a:pt x="119" y="187"/>
                </a:lnTo>
                <a:lnTo>
                  <a:pt x="120" y="172"/>
                </a:lnTo>
                <a:lnTo>
                  <a:pt x="126" y="162"/>
                </a:lnTo>
                <a:lnTo>
                  <a:pt x="117" y="150"/>
                </a:lnTo>
                <a:lnTo>
                  <a:pt x="116" y="135"/>
                </a:lnTo>
                <a:lnTo>
                  <a:pt x="110" y="121"/>
                </a:lnTo>
                <a:lnTo>
                  <a:pt x="99" y="106"/>
                </a:lnTo>
                <a:lnTo>
                  <a:pt x="95" y="94"/>
                </a:lnTo>
                <a:lnTo>
                  <a:pt x="83" y="87"/>
                </a:lnTo>
                <a:lnTo>
                  <a:pt x="83" y="66"/>
                </a:lnTo>
                <a:lnTo>
                  <a:pt x="72" y="37"/>
                </a:lnTo>
                <a:lnTo>
                  <a:pt x="66" y="28"/>
                </a:lnTo>
                <a:lnTo>
                  <a:pt x="66" y="13"/>
                </a:lnTo>
                <a:lnTo>
                  <a:pt x="47" y="0"/>
                </a:lnTo>
                <a:lnTo>
                  <a:pt x="33" y="1"/>
                </a:lnTo>
                <a:lnTo>
                  <a:pt x="23" y="9"/>
                </a:lnTo>
                <a:lnTo>
                  <a:pt x="8" y="13"/>
                </a:lnTo>
                <a:lnTo>
                  <a:pt x="0" y="33"/>
                </a:lnTo>
                <a:lnTo>
                  <a:pt x="20" y="63"/>
                </a:lnTo>
                <a:lnTo>
                  <a:pt x="41" y="78"/>
                </a:lnTo>
                <a:lnTo>
                  <a:pt x="50" y="100"/>
                </a:lnTo>
                <a:lnTo>
                  <a:pt x="53" y="126"/>
                </a:lnTo>
                <a:lnTo>
                  <a:pt x="53" y="154"/>
                </a:lnTo>
                <a:lnTo>
                  <a:pt x="63" y="172"/>
                </a:lnTo>
                <a:lnTo>
                  <a:pt x="63" y="192"/>
                </a:lnTo>
                <a:lnTo>
                  <a:pt x="77" y="204"/>
                </a:lnTo>
                <a:lnTo>
                  <a:pt x="89" y="219"/>
                </a:lnTo>
                <a:lnTo>
                  <a:pt x="90" y="238"/>
                </a:lnTo>
                <a:lnTo>
                  <a:pt x="105" y="246"/>
                </a:lnTo>
                <a:lnTo>
                  <a:pt x="123" y="241"/>
                </a:lnTo>
                <a:close/>
              </a:path>
            </a:pathLst>
          </a:custGeom>
          <a:solidFill>
            <a:srgbClr val="70B0DF"/>
          </a:solidFill>
          <a:ln w="9525">
            <a:noFill/>
            <a:round/>
            <a:headEnd/>
            <a:tailEnd/>
          </a:ln>
        </p:spPr>
        <p:txBody>
          <a:bodyPr wrap="none" lIns="32632" tIns="32632" rIns="32632" bIns="32632" anchor="ctr"/>
          <a:lstStyle/>
          <a:p>
            <a:pPr defTabSz="891045"/>
            <a:endParaRPr lang="en-US" sz="1700" dirty="0">
              <a:solidFill>
                <a:srgbClr val="003149"/>
              </a:solidFill>
              <a:cs typeface="Arial" panose="020B0604020202020204" pitchFamily="34" charset="0"/>
            </a:endParaRPr>
          </a:p>
        </p:txBody>
      </p:sp>
      <p:sp>
        <p:nvSpPr>
          <p:cNvPr id="108" name="Freeform 171"/>
          <p:cNvSpPr>
            <a:spLocks noChangeAspect="1"/>
          </p:cNvSpPr>
          <p:nvPr>
            <p:custDataLst>
              <p:tags r:id="rId79"/>
            </p:custDataLst>
          </p:nvPr>
        </p:nvSpPr>
        <p:spPr bwMode="gray">
          <a:xfrm rot="120000">
            <a:off x="4245355" y="2084526"/>
            <a:ext cx="7109" cy="7174"/>
          </a:xfrm>
          <a:custGeom>
            <a:avLst/>
            <a:gdLst>
              <a:gd name="T0" fmla="*/ 0 w 34"/>
              <a:gd name="T1" fmla="*/ 0 h 37"/>
              <a:gd name="T2" fmla="*/ 0 w 34"/>
              <a:gd name="T3" fmla="*/ 0 h 37"/>
              <a:gd name="T4" fmla="*/ 0 w 34"/>
              <a:gd name="T5" fmla="*/ 0 h 37"/>
              <a:gd name="T6" fmla="*/ 0 w 34"/>
              <a:gd name="T7" fmla="*/ 0 h 37"/>
              <a:gd name="T8" fmla="*/ 0 w 34"/>
              <a:gd name="T9" fmla="*/ 0 h 37"/>
              <a:gd name="T10" fmla="*/ 0 w 34"/>
              <a:gd name="T11" fmla="*/ 0 h 37"/>
              <a:gd name="T12" fmla="*/ 0 w 34"/>
              <a:gd name="T13" fmla="*/ 0 h 37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34"/>
              <a:gd name="T22" fmla="*/ 0 h 37"/>
              <a:gd name="T23" fmla="*/ 34 w 34"/>
              <a:gd name="T24" fmla="*/ 37 h 37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34" h="37">
                <a:moveTo>
                  <a:pt x="34" y="28"/>
                </a:moveTo>
                <a:lnTo>
                  <a:pt x="31" y="7"/>
                </a:lnTo>
                <a:lnTo>
                  <a:pt x="18" y="0"/>
                </a:lnTo>
                <a:lnTo>
                  <a:pt x="1" y="7"/>
                </a:lnTo>
                <a:lnTo>
                  <a:pt x="0" y="22"/>
                </a:lnTo>
                <a:lnTo>
                  <a:pt x="19" y="37"/>
                </a:lnTo>
                <a:lnTo>
                  <a:pt x="34" y="28"/>
                </a:lnTo>
                <a:close/>
              </a:path>
            </a:pathLst>
          </a:custGeom>
          <a:solidFill>
            <a:srgbClr val="70B0DF"/>
          </a:solidFill>
          <a:ln w="9525">
            <a:noFill/>
            <a:round/>
            <a:headEnd/>
            <a:tailEnd/>
          </a:ln>
        </p:spPr>
        <p:txBody>
          <a:bodyPr wrap="none" lIns="32632" tIns="32632" rIns="32632" bIns="32632" anchor="ctr"/>
          <a:lstStyle/>
          <a:p>
            <a:pPr defTabSz="891045"/>
            <a:endParaRPr lang="en-US" sz="1700" dirty="0">
              <a:solidFill>
                <a:srgbClr val="003149"/>
              </a:solidFill>
              <a:cs typeface="Arial" panose="020B0604020202020204" pitchFamily="34" charset="0"/>
            </a:endParaRPr>
          </a:p>
        </p:txBody>
      </p:sp>
      <p:sp>
        <p:nvSpPr>
          <p:cNvPr id="109" name="Freeform 172"/>
          <p:cNvSpPr>
            <a:spLocks noChangeAspect="1"/>
          </p:cNvSpPr>
          <p:nvPr>
            <p:custDataLst>
              <p:tags r:id="rId80"/>
            </p:custDataLst>
          </p:nvPr>
        </p:nvSpPr>
        <p:spPr bwMode="gray">
          <a:xfrm rot="120000">
            <a:off x="4249603" y="2067308"/>
            <a:ext cx="8530" cy="8610"/>
          </a:xfrm>
          <a:custGeom>
            <a:avLst/>
            <a:gdLst>
              <a:gd name="T0" fmla="*/ 0 w 40"/>
              <a:gd name="T1" fmla="*/ 0 h 51"/>
              <a:gd name="T2" fmla="*/ 0 w 40"/>
              <a:gd name="T3" fmla="*/ 0 h 51"/>
              <a:gd name="T4" fmla="*/ 0 w 40"/>
              <a:gd name="T5" fmla="*/ 0 h 51"/>
              <a:gd name="T6" fmla="*/ 0 w 40"/>
              <a:gd name="T7" fmla="*/ 0 h 51"/>
              <a:gd name="T8" fmla="*/ 0 w 40"/>
              <a:gd name="T9" fmla="*/ 0 h 51"/>
              <a:gd name="T10" fmla="*/ 0 w 40"/>
              <a:gd name="T11" fmla="*/ 0 h 51"/>
              <a:gd name="T12" fmla="*/ 0 w 40"/>
              <a:gd name="T13" fmla="*/ 0 h 51"/>
              <a:gd name="T14" fmla="*/ 0 w 40"/>
              <a:gd name="T15" fmla="*/ 0 h 51"/>
              <a:gd name="T16" fmla="*/ 0 w 40"/>
              <a:gd name="T17" fmla="*/ 0 h 51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40"/>
              <a:gd name="T28" fmla="*/ 0 h 51"/>
              <a:gd name="T29" fmla="*/ 40 w 40"/>
              <a:gd name="T30" fmla="*/ 51 h 51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40" h="51">
                <a:moveTo>
                  <a:pt x="40" y="40"/>
                </a:moveTo>
                <a:lnTo>
                  <a:pt x="40" y="15"/>
                </a:lnTo>
                <a:lnTo>
                  <a:pt x="19" y="0"/>
                </a:lnTo>
                <a:lnTo>
                  <a:pt x="4" y="10"/>
                </a:lnTo>
                <a:lnTo>
                  <a:pt x="0" y="24"/>
                </a:lnTo>
                <a:lnTo>
                  <a:pt x="1" y="39"/>
                </a:lnTo>
                <a:lnTo>
                  <a:pt x="13" y="51"/>
                </a:lnTo>
                <a:lnTo>
                  <a:pt x="27" y="51"/>
                </a:lnTo>
                <a:lnTo>
                  <a:pt x="40" y="40"/>
                </a:lnTo>
                <a:close/>
              </a:path>
            </a:pathLst>
          </a:custGeom>
          <a:solidFill>
            <a:srgbClr val="70B0DF"/>
          </a:solidFill>
          <a:ln w="9525">
            <a:noFill/>
            <a:round/>
            <a:headEnd/>
            <a:tailEnd/>
          </a:ln>
        </p:spPr>
        <p:txBody>
          <a:bodyPr wrap="none" lIns="32632" tIns="32632" rIns="32632" bIns="32632" anchor="ctr"/>
          <a:lstStyle/>
          <a:p>
            <a:pPr defTabSz="891045"/>
            <a:endParaRPr lang="en-US" sz="1700" dirty="0">
              <a:solidFill>
                <a:srgbClr val="003149"/>
              </a:solidFill>
              <a:cs typeface="Arial" panose="020B0604020202020204" pitchFamily="34" charset="0"/>
            </a:endParaRPr>
          </a:p>
        </p:txBody>
      </p:sp>
      <p:sp>
        <p:nvSpPr>
          <p:cNvPr id="110" name="Freeform 173"/>
          <p:cNvSpPr>
            <a:spLocks noChangeAspect="1"/>
          </p:cNvSpPr>
          <p:nvPr>
            <p:custDataLst>
              <p:tags r:id="rId81"/>
            </p:custDataLst>
          </p:nvPr>
        </p:nvSpPr>
        <p:spPr bwMode="gray">
          <a:xfrm rot="120000">
            <a:off x="4289437" y="2051526"/>
            <a:ext cx="12795" cy="27262"/>
          </a:xfrm>
          <a:custGeom>
            <a:avLst/>
            <a:gdLst>
              <a:gd name="T0" fmla="*/ 0 w 63"/>
              <a:gd name="T1" fmla="*/ 0 h 133"/>
              <a:gd name="T2" fmla="*/ 0 w 63"/>
              <a:gd name="T3" fmla="*/ 0 h 133"/>
              <a:gd name="T4" fmla="*/ 0 w 63"/>
              <a:gd name="T5" fmla="*/ 0 h 133"/>
              <a:gd name="T6" fmla="*/ 0 w 63"/>
              <a:gd name="T7" fmla="*/ 0 h 133"/>
              <a:gd name="T8" fmla="*/ 0 w 63"/>
              <a:gd name="T9" fmla="*/ 0 h 133"/>
              <a:gd name="T10" fmla="*/ 0 w 63"/>
              <a:gd name="T11" fmla="*/ 0 h 133"/>
              <a:gd name="T12" fmla="*/ 0 w 63"/>
              <a:gd name="T13" fmla="*/ 0 h 133"/>
              <a:gd name="T14" fmla="*/ 0 w 63"/>
              <a:gd name="T15" fmla="*/ 0 h 133"/>
              <a:gd name="T16" fmla="*/ 0 w 63"/>
              <a:gd name="T17" fmla="*/ 0 h 133"/>
              <a:gd name="T18" fmla="*/ 0 w 63"/>
              <a:gd name="T19" fmla="*/ 0 h 133"/>
              <a:gd name="T20" fmla="*/ 0 w 63"/>
              <a:gd name="T21" fmla="*/ 0 h 133"/>
              <a:gd name="T22" fmla="*/ 0 w 63"/>
              <a:gd name="T23" fmla="*/ 0 h 133"/>
              <a:gd name="T24" fmla="*/ 0 w 63"/>
              <a:gd name="T25" fmla="*/ 0 h 133"/>
              <a:gd name="T26" fmla="*/ 0 w 63"/>
              <a:gd name="T27" fmla="*/ 0 h 133"/>
              <a:gd name="T28" fmla="*/ 0 w 63"/>
              <a:gd name="T29" fmla="*/ 0 h 133"/>
              <a:gd name="T30" fmla="*/ 0 w 63"/>
              <a:gd name="T31" fmla="*/ 0 h 133"/>
              <a:gd name="T32" fmla="*/ 0 w 63"/>
              <a:gd name="T33" fmla="*/ 0 h 133"/>
              <a:gd name="T34" fmla="*/ 0 w 63"/>
              <a:gd name="T35" fmla="*/ 0 h 133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w 63"/>
              <a:gd name="T55" fmla="*/ 0 h 133"/>
              <a:gd name="T56" fmla="*/ 63 w 63"/>
              <a:gd name="T57" fmla="*/ 133 h 133"/>
            </a:gdLst>
            <a:ahLst/>
            <a:cxnLst>
              <a:cxn ang="T36">
                <a:pos x="T0" y="T1"/>
              </a:cxn>
              <a:cxn ang="T37">
                <a:pos x="T2" y="T3"/>
              </a:cxn>
              <a:cxn ang="T38">
                <a:pos x="T4" y="T5"/>
              </a:cxn>
              <a:cxn ang="T39">
                <a:pos x="T6" y="T7"/>
              </a:cxn>
              <a:cxn ang="T40">
                <a:pos x="T8" y="T9"/>
              </a:cxn>
              <a:cxn ang="T41">
                <a:pos x="T10" y="T11"/>
              </a:cxn>
              <a:cxn ang="T42">
                <a:pos x="T12" y="T13"/>
              </a:cxn>
              <a:cxn ang="T43">
                <a:pos x="T14" y="T15"/>
              </a:cxn>
              <a:cxn ang="T44">
                <a:pos x="T16" y="T17"/>
              </a:cxn>
              <a:cxn ang="T45">
                <a:pos x="T18" y="T19"/>
              </a:cxn>
              <a:cxn ang="T46">
                <a:pos x="T20" y="T21"/>
              </a:cxn>
              <a:cxn ang="T47">
                <a:pos x="T22" y="T23"/>
              </a:cxn>
              <a:cxn ang="T48">
                <a:pos x="T24" y="T25"/>
              </a:cxn>
              <a:cxn ang="T49">
                <a:pos x="T26" y="T27"/>
              </a:cxn>
              <a:cxn ang="T50">
                <a:pos x="T28" y="T29"/>
              </a:cxn>
              <a:cxn ang="T51">
                <a:pos x="T30" y="T31"/>
              </a:cxn>
              <a:cxn ang="T52">
                <a:pos x="T32" y="T33"/>
              </a:cxn>
              <a:cxn ang="T53">
                <a:pos x="T34" y="T35"/>
              </a:cxn>
            </a:cxnLst>
            <a:rect l="T54" t="T55" r="T56" b="T57"/>
            <a:pathLst>
              <a:path w="63" h="133">
                <a:moveTo>
                  <a:pt x="63" y="130"/>
                </a:moveTo>
                <a:lnTo>
                  <a:pt x="57" y="103"/>
                </a:lnTo>
                <a:lnTo>
                  <a:pt x="60" y="85"/>
                </a:lnTo>
                <a:lnTo>
                  <a:pt x="48" y="72"/>
                </a:lnTo>
                <a:lnTo>
                  <a:pt x="48" y="60"/>
                </a:lnTo>
                <a:lnTo>
                  <a:pt x="45" y="46"/>
                </a:lnTo>
                <a:lnTo>
                  <a:pt x="29" y="34"/>
                </a:lnTo>
                <a:lnTo>
                  <a:pt x="18" y="18"/>
                </a:lnTo>
                <a:lnTo>
                  <a:pt x="18" y="4"/>
                </a:lnTo>
                <a:lnTo>
                  <a:pt x="3" y="0"/>
                </a:lnTo>
                <a:lnTo>
                  <a:pt x="0" y="25"/>
                </a:lnTo>
                <a:lnTo>
                  <a:pt x="5" y="54"/>
                </a:lnTo>
                <a:lnTo>
                  <a:pt x="12" y="75"/>
                </a:lnTo>
                <a:lnTo>
                  <a:pt x="24" y="96"/>
                </a:lnTo>
                <a:lnTo>
                  <a:pt x="30" y="108"/>
                </a:lnTo>
                <a:lnTo>
                  <a:pt x="30" y="129"/>
                </a:lnTo>
                <a:lnTo>
                  <a:pt x="44" y="133"/>
                </a:lnTo>
                <a:lnTo>
                  <a:pt x="63" y="130"/>
                </a:lnTo>
                <a:close/>
              </a:path>
            </a:pathLst>
          </a:custGeom>
          <a:solidFill>
            <a:srgbClr val="70B0DF"/>
          </a:solidFill>
          <a:ln w="9525">
            <a:noFill/>
            <a:round/>
            <a:headEnd/>
            <a:tailEnd/>
          </a:ln>
        </p:spPr>
        <p:txBody>
          <a:bodyPr wrap="none" lIns="32632" tIns="32632" rIns="32632" bIns="32632" anchor="ctr"/>
          <a:lstStyle/>
          <a:p>
            <a:pPr defTabSz="891045"/>
            <a:endParaRPr lang="en-US" sz="1700" dirty="0">
              <a:solidFill>
                <a:srgbClr val="003149"/>
              </a:solidFill>
              <a:cs typeface="Arial" panose="020B0604020202020204" pitchFamily="34" charset="0"/>
            </a:endParaRPr>
          </a:p>
        </p:txBody>
      </p:sp>
      <p:sp>
        <p:nvSpPr>
          <p:cNvPr id="111" name="Freeform 174"/>
          <p:cNvSpPr>
            <a:spLocks noChangeAspect="1"/>
          </p:cNvSpPr>
          <p:nvPr>
            <p:custDataLst>
              <p:tags r:id="rId82"/>
            </p:custDataLst>
          </p:nvPr>
        </p:nvSpPr>
        <p:spPr bwMode="gray">
          <a:xfrm rot="120000">
            <a:off x="4312195" y="2029999"/>
            <a:ext cx="11373" cy="17217"/>
          </a:xfrm>
          <a:custGeom>
            <a:avLst/>
            <a:gdLst>
              <a:gd name="T0" fmla="*/ 0 w 72"/>
              <a:gd name="T1" fmla="*/ 0 h 87"/>
              <a:gd name="T2" fmla="*/ 0 w 72"/>
              <a:gd name="T3" fmla="*/ 0 h 87"/>
              <a:gd name="T4" fmla="*/ 0 w 72"/>
              <a:gd name="T5" fmla="*/ 0 h 87"/>
              <a:gd name="T6" fmla="*/ 0 w 72"/>
              <a:gd name="T7" fmla="*/ 0 h 87"/>
              <a:gd name="T8" fmla="*/ 0 w 72"/>
              <a:gd name="T9" fmla="*/ 0 h 87"/>
              <a:gd name="T10" fmla="*/ 0 w 72"/>
              <a:gd name="T11" fmla="*/ 0 h 87"/>
              <a:gd name="T12" fmla="*/ 0 w 72"/>
              <a:gd name="T13" fmla="*/ 0 h 87"/>
              <a:gd name="T14" fmla="*/ 0 w 72"/>
              <a:gd name="T15" fmla="*/ 0 h 87"/>
              <a:gd name="T16" fmla="*/ 0 w 72"/>
              <a:gd name="T17" fmla="*/ 0 h 87"/>
              <a:gd name="T18" fmla="*/ 0 w 72"/>
              <a:gd name="T19" fmla="*/ 0 h 87"/>
              <a:gd name="T20" fmla="*/ 0 w 72"/>
              <a:gd name="T21" fmla="*/ 0 h 87"/>
              <a:gd name="T22" fmla="*/ 0 w 72"/>
              <a:gd name="T23" fmla="*/ 0 h 87"/>
              <a:gd name="T24" fmla="*/ 0 w 72"/>
              <a:gd name="T25" fmla="*/ 0 h 87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w 72"/>
              <a:gd name="T40" fmla="*/ 0 h 87"/>
              <a:gd name="T41" fmla="*/ 72 w 72"/>
              <a:gd name="T42" fmla="*/ 87 h 87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T39" t="T40" r="T41" b="T42"/>
            <a:pathLst>
              <a:path w="72" h="87">
                <a:moveTo>
                  <a:pt x="72" y="68"/>
                </a:moveTo>
                <a:lnTo>
                  <a:pt x="72" y="41"/>
                </a:lnTo>
                <a:lnTo>
                  <a:pt x="69" y="29"/>
                </a:lnTo>
                <a:lnTo>
                  <a:pt x="52" y="17"/>
                </a:lnTo>
                <a:lnTo>
                  <a:pt x="40" y="8"/>
                </a:lnTo>
                <a:lnTo>
                  <a:pt x="22" y="0"/>
                </a:lnTo>
                <a:lnTo>
                  <a:pt x="0" y="5"/>
                </a:lnTo>
                <a:lnTo>
                  <a:pt x="4" y="33"/>
                </a:lnTo>
                <a:lnTo>
                  <a:pt x="16" y="59"/>
                </a:lnTo>
                <a:lnTo>
                  <a:pt x="36" y="75"/>
                </a:lnTo>
                <a:lnTo>
                  <a:pt x="46" y="86"/>
                </a:lnTo>
                <a:lnTo>
                  <a:pt x="63" y="87"/>
                </a:lnTo>
                <a:lnTo>
                  <a:pt x="72" y="68"/>
                </a:lnTo>
                <a:close/>
              </a:path>
            </a:pathLst>
          </a:custGeom>
          <a:solidFill>
            <a:srgbClr val="70B0DF"/>
          </a:solidFill>
          <a:ln w="9525">
            <a:noFill/>
            <a:round/>
            <a:headEnd/>
            <a:tailEnd/>
          </a:ln>
        </p:spPr>
        <p:txBody>
          <a:bodyPr wrap="none" lIns="32632" tIns="32632" rIns="32632" bIns="32632" anchor="ctr"/>
          <a:lstStyle/>
          <a:p>
            <a:pPr defTabSz="891045"/>
            <a:endParaRPr lang="en-US" sz="1700" dirty="0">
              <a:solidFill>
                <a:srgbClr val="003149"/>
              </a:solidFill>
              <a:cs typeface="Arial" panose="020B0604020202020204" pitchFamily="34" charset="0"/>
            </a:endParaRPr>
          </a:p>
        </p:txBody>
      </p:sp>
      <p:sp>
        <p:nvSpPr>
          <p:cNvPr id="112" name="Freeform 175"/>
          <p:cNvSpPr>
            <a:spLocks noChangeAspect="1"/>
          </p:cNvSpPr>
          <p:nvPr>
            <p:custDataLst>
              <p:tags r:id="rId83"/>
            </p:custDataLst>
          </p:nvPr>
        </p:nvSpPr>
        <p:spPr bwMode="gray">
          <a:xfrm rot="120000">
            <a:off x="4285184" y="2032869"/>
            <a:ext cx="29855" cy="18653"/>
          </a:xfrm>
          <a:custGeom>
            <a:avLst/>
            <a:gdLst>
              <a:gd name="T0" fmla="*/ 0 w 150"/>
              <a:gd name="T1" fmla="*/ 0 h 95"/>
              <a:gd name="T2" fmla="*/ 0 w 150"/>
              <a:gd name="T3" fmla="*/ 0 h 95"/>
              <a:gd name="T4" fmla="*/ 0 w 150"/>
              <a:gd name="T5" fmla="*/ 0 h 95"/>
              <a:gd name="T6" fmla="*/ 0 w 150"/>
              <a:gd name="T7" fmla="*/ 0 h 95"/>
              <a:gd name="T8" fmla="*/ 0 w 150"/>
              <a:gd name="T9" fmla="*/ 0 h 95"/>
              <a:gd name="T10" fmla="*/ 0 w 150"/>
              <a:gd name="T11" fmla="*/ 0 h 95"/>
              <a:gd name="T12" fmla="*/ 0 w 150"/>
              <a:gd name="T13" fmla="*/ 0 h 95"/>
              <a:gd name="T14" fmla="*/ 0 w 150"/>
              <a:gd name="T15" fmla="*/ 0 h 95"/>
              <a:gd name="T16" fmla="*/ 0 w 150"/>
              <a:gd name="T17" fmla="*/ 0 h 95"/>
              <a:gd name="T18" fmla="*/ 0 w 150"/>
              <a:gd name="T19" fmla="*/ 0 h 95"/>
              <a:gd name="T20" fmla="*/ 0 w 150"/>
              <a:gd name="T21" fmla="*/ 0 h 95"/>
              <a:gd name="T22" fmla="*/ 0 w 150"/>
              <a:gd name="T23" fmla="*/ 0 h 95"/>
              <a:gd name="T24" fmla="*/ 0 w 150"/>
              <a:gd name="T25" fmla="*/ 0 h 95"/>
              <a:gd name="T26" fmla="*/ 0 w 150"/>
              <a:gd name="T27" fmla="*/ 0 h 95"/>
              <a:gd name="T28" fmla="*/ 0 w 150"/>
              <a:gd name="T29" fmla="*/ 0 h 95"/>
              <a:gd name="T30" fmla="*/ 0 w 150"/>
              <a:gd name="T31" fmla="*/ 0 h 95"/>
              <a:gd name="T32" fmla="*/ 0 w 150"/>
              <a:gd name="T33" fmla="*/ 0 h 95"/>
              <a:gd name="T34" fmla="*/ 0 w 150"/>
              <a:gd name="T35" fmla="*/ 0 h 95"/>
              <a:gd name="T36" fmla="*/ 0 w 150"/>
              <a:gd name="T37" fmla="*/ 0 h 95"/>
              <a:gd name="T38" fmla="*/ 0 w 150"/>
              <a:gd name="T39" fmla="*/ 0 h 95"/>
              <a:gd name="T40" fmla="*/ 0 w 150"/>
              <a:gd name="T41" fmla="*/ 0 h 95"/>
              <a:gd name="T42" fmla="*/ 0 w 150"/>
              <a:gd name="T43" fmla="*/ 0 h 95"/>
              <a:gd name="T44" fmla="*/ 0 w 150"/>
              <a:gd name="T45" fmla="*/ 0 h 95"/>
              <a:gd name="T46" fmla="*/ 0 w 150"/>
              <a:gd name="T47" fmla="*/ 0 h 95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w 150"/>
              <a:gd name="T73" fmla="*/ 0 h 95"/>
              <a:gd name="T74" fmla="*/ 150 w 150"/>
              <a:gd name="T75" fmla="*/ 95 h 95"/>
            </a:gdLst>
            <a:ahLst/>
            <a:cxnLst>
              <a:cxn ang="T48">
                <a:pos x="T0" y="T1"/>
              </a:cxn>
              <a:cxn ang="T49">
                <a:pos x="T2" y="T3"/>
              </a:cxn>
              <a:cxn ang="T50">
                <a:pos x="T4" y="T5"/>
              </a:cxn>
              <a:cxn ang="T51">
                <a:pos x="T6" y="T7"/>
              </a:cxn>
              <a:cxn ang="T52">
                <a:pos x="T8" y="T9"/>
              </a:cxn>
              <a:cxn ang="T53">
                <a:pos x="T10" y="T11"/>
              </a:cxn>
              <a:cxn ang="T54">
                <a:pos x="T12" y="T13"/>
              </a:cxn>
              <a:cxn ang="T55">
                <a:pos x="T14" y="T15"/>
              </a:cxn>
              <a:cxn ang="T56">
                <a:pos x="T16" y="T17"/>
              </a:cxn>
              <a:cxn ang="T57">
                <a:pos x="T18" y="T19"/>
              </a:cxn>
              <a:cxn ang="T58">
                <a:pos x="T20" y="T21"/>
              </a:cxn>
              <a:cxn ang="T59">
                <a:pos x="T22" y="T23"/>
              </a:cxn>
              <a:cxn ang="T60">
                <a:pos x="T24" y="T25"/>
              </a:cxn>
              <a:cxn ang="T61">
                <a:pos x="T26" y="T27"/>
              </a:cxn>
              <a:cxn ang="T62">
                <a:pos x="T28" y="T29"/>
              </a:cxn>
              <a:cxn ang="T63">
                <a:pos x="T30" y="T31"/>
              </a:cxn>
              <a:cxn ang="T64">
                <a:pos x="T32" y="T33"/>
              </a:cxn>
              <a:cxn ang="T65">
                <a:pos x="T34" y="T35"/>
              </a:cxn>
              <a:cxn ang="T66">
                <a:pos x="T36" y="T37"/>
              </a:cxn>
              <a:cxn ang="T67">
                <a:pos x="T38" y="T39"/>
              </a:cxn>
              <a:cxn ang="T68">
                <a:pos x="T40" y="T41"/>
              </a:cxn>
              <a:cxn ang="T69">
                <a:pos x="T42" y="T43"/>
              </a:cxn>
              <a:cxn ang="T70">
                <a:pos x="T44" y="T45"/>
              </a:cxn>
              <a:cxn ang="T71">
                <a:pos x="T46" y="T47"/>
              </a:cxn>
            </a:cxnLst>
            <a:rect l="T72" t="T73" r="T74" b="T75"/>
            <a:pathLst>
              <a:path w="150" h="95">
                <a:moveTo>
                  <a:pt x="141" y="86"/>
                </a:moveTo>
                <a:lnTo>
                  <a:pt x="150" y="74"/>
                </a:lnTo>
                <a:lnTo>
                  <a:pt x="135" y="51"/>
                </a:lnTo>
                <a:lnTo>
                  <a:pt x="135" y="33"/>
                </a:lnTo>
                <a:lnTo>
                  <a:pt x="126" y="20"/>
                </a:lnTo>
                <a:lnTo>
                  <a:pt x="111" y="6"/>
                </a:lnTo>
                <a:lnTo>
                  <a:pt x="93" y="2"/>
                </a:lnTo>
                <a:lnTo>
                  <a:pt x="82" y="14"/>
                </a:lnTo>
                <a:lnTo>
                  <a:pt x="78" y="24"/>
                </a:lnTo>
                <a:lnTo>
                  <a:pt x="67" y="26"/>
                </a:lnTo>
                <a:lnTo>
                  <a:pt x="55" y="21"/>
                </a:lnTo>
                <a:lnTo>
                  <a:pt x="55" y="11"/>
                </a:lnTo>
                <a:lnTo>
                  <a:pt x="33" y="0"/>
                </a:lnTo>
                <a:lnTo>
                  <a:pt x="13" y="0"/>
                </a:lnTo>
                <a:lnTo>
                  <a:pt x="0" y="24"/>
                </a:lnTo>
                <a:lnTo>
                  <a:pt x="19" y="59"/>
                </a:lnTo>
                <a:lnTo>
                  <a:pt x="39" y="62"/>
                </a:lnTo>
                <a:lnTo>
                  <a:pt x="67" y="74"/>
                </a:lnTo>
                <a:lnTo>
                  <a:pt x="87" y="74"/>
                </a:lnTo>
                <a:lnTo>
                  <a:pt x="100" y="72"/>
                </a:lnTo>
                <a:lnTo>
                  <a:pt x="114" y="81"/>
                </a:lnTo>
                <a:lnTo>
                  <a:pt x="120" y="92"/>
                </a:lnTo>
                <a:lnTo>
                  <a:pt x="133" y="95"/>
                </a:lnTo>
                <a:lnTo>
                  <a:pt x="141" y="86"/>
                </a:lnTo>
                <a:close/>
              </a:path>
            </a:pathLst>
          </a:custGeom>
          <a:solidFill>
            <a:srgbClr val="70B0DF"/>
          </a:solidFill>
          <a:ln w="9525">
            <a:noFill/>
            <a:round/>
            <a:headEnd/>
            <a:tailEnd/>
          </a:ln>
        </p:spPr>
        <p:txBody>
          <a:bodyPr wrap="none" lIns="32632" tIns="32632" rIns="32632" bIns="32632" anchor="ctr"/>
          <a:lstStyle/>
          <a:p>
            <a:pPr defTabSz="891045"/>
            <a:endParaRPr lang="en-US" sz="1700" dirty="0">
              <a:solidFill>
                <a:srgbClr val="003149"/>
              </a:solidFill>
              <a:cs typeface="Arial" panose="020B0604020202020204" pitchFamily="34" charset="0"/>
            </a:endParaRPr>
          </a:p>
        </p:txBody>
      </p:sp>
      <p:sp>
        <p:nvSpPr>
          <p:cNvPr id="113" name="Freeform 176"/>
          <p:cNvSpPr>
            <a:spLocks noChangeAspect="1"/>
          </p:cNvSpPr>
          <p:nvPr>
            <p:custDataLst>
              <p:tags r:id="rId84"/>
            </p:custDataLst>
          </p:nvPr>
        </p:nvSpPr>
        <p:spPr bwMode="gray">
          <a:xfrm rot="120000">
            <a:off x="4258157" y="2042900"/>
            <a:ext cx="18481" cy="22958"/>
          </a:xfrm>
          <a:custGeom>
            <a:avLst/>
            <a:gdLst>
              <a:gd name="T0" fmla="*/ 0 w 95"/>
              <a:gd name="T1" fmla="*/ 0 h 108"/>
              <a:gd name="T2" fmla="*/ 0 w 95"/>
              <a:gd name="T3" fmla="*/ 0 h 108"/>
              <a:gd name="T4" fmla="*/ 0 w 95"/>
              <a:gd name="T5" fmla="*/ 0 h 108"/>
              <a:gd name="T6" fmla="*/ 0 w 95"/>
              <a:gd name="T7" fmla="*/ 0 h 108"/>
              <a:gd name="T8" fmla="*/ 0 w 95"/>
              <a:gd name="T9" fmla="*/ 0 h 108"/>
              <a:gd name="T10" fmla="*/ 0 w 95"/>
              <a:gd name="T11" fmla="*/ 0 h 108"/>
              <a:gd name="T12" fmla="*/ 0 w 95"/>
              <a:gd name="T13" fmla="*/ 0 h 108"/>
              <a:gd name="T14" fmla="*/ 0 w 95"/>
              <a:gd name="T15" fmla="*/ 0 h 108"/>
              <a:gd name="T16" fmla="*/ 0 w 95"/>
              <a:gd name="T17" fmla="*/ 0 h 108"/>
              <a:gd name="T18" fmla="*/ 0 w 95"/>
              <a:gd name="T19" fmla="*/ 0 h 108"/>
              <a:gd name="T20" fmla="*/ 0 w 95"/>
              <a:gd name="T21" fmla="*/ 0 h 108"/>
              <a:gd name="T22" fmla="*/ 0 w 95"/>
              <a:gd name="T23" fmla="*/ 0 h 108"/>
              <a:gd name="T24" fmla="*/ 0 w 95"/>
              <a:gd name="T25" fmla="*/ 0 h 108"/>
              <a:gd name="T26" fmla="*/ 0 w 95"/>
              <a:gd name="T27" fmla="*/ 0 h 108"/>
              <a:gd name="T28" fmla="*/ 0 w 95"/>
              <a:gd name="T29" fmla="*/ 0 h 108"/>
              <a:gd name="T30" fmla="*/ 0 w 95"/>
              <a:gd name="T31" fmla="*/ 0 h 108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w 95"/>
              <a:gd name="T49" fmla="*/ 0 h 108"/>
              <a:gd name="T50" fmla="*/ 95 w 95"/>
              <a:gd name="T51" fmla="*/ 108 h 108"/>
            </a:gdLst>
            <a:ahLst/>
            <a:cxnLst>
              <a:cxn ang="T32">
                <a:pos x="T0" y="T1"/>
              </a:cxn>
              <a:cxn ang="T33">
                <a:pos x="T2" y="T3"/>
              </a:cxn>
              <a:cxn ang="T34">
                <a:pos x="T4" y="T5"/>
              </a:cxn>
              <a:cxn ang="T35">
                <a:pos x="T6" y="T7"/>
              </a:cxn>
              <a:cxn ang="T36">
                <a:pos x="T8" y="T9"/>
              </a:cxn>
              <a:cxn ang="T37">
                <a:pos x="T10" y="T11"/>
              </a:cxn>
              <a:cxn ang="T38">
                <a:pos x="T12" y="T13"/>
              </a:cxn>
              <a:cxn ang="T39">
                <a:pos x="T14" y="T15"/>
              </a:cxn>
              <a:cxn ang="T40">
                <a:pos x="T16" y="T17"/>
              </a:cxn>
              <a:cxn ang="T41">
                <a:pos x="T18" y="T19"/>
              </a:cxn>
              <a:cxn ang="T42">
                <a:pos x="T20" y="T21"/>
              </a:cxn>
              <a:cxn ang="T43">
                <a:pos x="T22" y="T23"/>
              </a:cxn>
              <a:cxn ang="T44">
                <a:pos x="T24" y="T25"/>
              </a:cxn>
              <a:cxn ang="T45">
                <a:pos x="T26" y="T27"/>
              </a:cxn>
              <a:cxn ang="T46">
                <a:pos x="T28" y="T29"/>
              </a:cxn>
              <a:cxn ang="T47">
                <a:pos x="T30" y="T31"/>
              </a:cxn>
            </a:cxnLst>
            <a:rect l="T48" t="T49" r="T50" b="T51"/>
            <a:pathLst>
              <a:path w="95" h="108">
                <a:moveTo>
                  <a:pt x="93" y="96"/>
                </a:moveTo>
                <a:lnTo>
                  <a:pt x="95" y="74"/>
                </a:lnTo>
                <a:lnTo>
                  <a:pt x="78" y="59"/>
                </a:lnTo>
                <a:lnTo>
                  <a:pt x="66" y="44"/>
                </a:lnTo>
                <a:lnTo>
                  <a:pt x="51" y="27"/>
                </a:lnTo>
                <a:lnTo>
                  <a:pt x="42" y="12"/>
                </a:lnTo>
                <a:lnTo>
                  <a:pt x="32" y="0"/>
                </a:lnTo>
                <a:lnTo>
                  <a:pt x="12" y="2"/>
                </a:lnTo>
                <a:lnTo>
                  <a:pt x="0" y="20"/>
                </a:lnTo>
                <a:lnTo>
                  <a:pt x="3" y="42"/>
                </a:lnTo>
                <a:lnTo>
                  <a:pt x="18" y="60"/>
                </a:lnTo>
                <a:lnTo>
                  <a:pt x="35" y="81"/>
                </a:lnTo>
                <a:lnTo>
                  <a:pt x="47" y="93"/>
                </a:lnTo>
                <a:lnTo>
                  <a:pt x="65" y="108"/>
                </a:lnTo>
                <a:lnTo>
                  <a:pt x="81" y="108"/>
                </a:lnTo>
                <a:lnTo>
                  <a:pt x="93" y="96"/>
                </a:lnTo>
                <a:close/>
              </a:path>
            </a:pathLst>
          </a:custGeom>
          <a:solidFill>
            <a:srgbClr val="70B0DF"/>
          </a:solidFill>
          <a:ln w="9525">
            <a:noFill/>
            <a:round/>
            <a:headEnd/>
            <a:tailEnd/>
          </a:ln>
        </p:spPr>
        <p:txBody>
          <a:bodyPr wrap="none" lIns="32632" tIns="32632" rIns="32632" bIns="32632" anchor="ctr"/>
          <a:lstStyle/>
          <a:p>
            <a:pPr defTabSz="891045"/>
            <a:endParaRPr lang="en-US" sz="1700" dirty="0">
              <a:solidFill>
                <a:srgbClr val="003149"/>
              </a:solidFill>
              <a:cs typeface="Arial" panose="020B0604020202020204" pitchFamily="34" charset="0"/>
            </a:endParaRPr>
          </a:p>
        </p:txBody>
      </p:sp>
      <p:sp>
        <p:nvSpPr>
          <p:cNvPr id="114" name="Freeform 177"/>
          <p:cNvSpPr>
            <a:spLocks noChangeAspect="1"/>
          </p:cNvSpPr>
          <p:nvPr>
            <p:custDataLst>
              <p:tags r:id="rId85"/>
            </p:custDataLst>
          </p:nvPr>
        </p:nvSpPr>
        <p:spPr bwMode="gray">
          <a:xfrm rot="120000">
            <a:off x="4239651" y="2058695"/>
            <a:ext cx="9952" cy="11479"/>
          </a:xfrm>
          <a:custGeom>
            <a:avLst/>
            <a:gdLst>
              <a:gd name="T0" fmla="*/ 0 w 53"/>
              <a:gd name="T1" fmla="*/ 0 h 65"/>
              <a:gd name="T2" fmla="*/ 0 w 53"/>
              <a:gd name="T3" fmla="*/ 0 h 65"/>
              <a:gd name="T4" fmla="*/ 0 w 53"/>
              <a:gd name="T5" fmla="*/ 0 h 65"/>
              <a:gd name="T6" fmla="*/ 0 w 53"/>
              <a:gd name="T7" fmla="*/ 0 h 65"/>
              <a:gd name="T8" fmla="*/ 0 w 53"/>
              <a:gd name="T9" fmla="*/ 0 h 65"/>
              <a:gd name="T10" fmla="*/ 0 w 53"/>
              <a:gd name="T11" fmla="*/ 0 h 65"/>
              <a:gd name="T12" fmla="*/ 0 w 53"/>
              <a:gd name="T13" fmla="*/ 0 h 65"/>
              <a:gd name="T14" fmla="*/ 0 w 53"/>
              <a:gd name="T15" fmla="*/ 0 h 65"/>
              <a:gd name="T16" fmla="*/ 0 w 53"/>
              <a:gd name="T17" fmla="*/ 0 h 65"/>
              <a:gd name="T18" fmla="*/ 0 w 53"/>
              <a:gd name="T19" fmla="*/ 0 h 65"/>
              <a:gd name="T20" fmla="*/ 0 w 53"/>
              <a:gd name="T21" fmla="*/ 0 h 65"/>
              <a:gd name="T22" fmla="*/ 0 w 53"/>
              <a:gd name="T23" fmla="*/ 0 h 65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w 53"/>
              <a:gd name="T37" fmla="*/ 0 h 65"/>
              <a:gd name="T38" fmla="*/ 53 w 53"/>
              <a:gd name="T39" fmla="*/ 65 h 65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T36" t="T37" r="T38" b="T39"/>
            <a:pathLst>
              <a:path w="53" h="65">
                <a:moveTo>
                  <a:pt x="11" y="65"/>
                </a:moveTo>
                <a:lnTo>
                  <a:pt x="38" y="63"/>
                </a:lnTo>
                <a:lnTo>
                  <a:pt x="51" y="51"/>
                </a:lnTo>
                <a:lnTo>
                  <a:pt x="53" y="29"/>
                </a:lnTo>
                <a:lnTo>
                  <a:pt x="53" y="11"/>
                </a:lnTo>
                <a:lnTo>
                  <a:pt x="44" y="0"/>
                </a:lnTo>
                <a:lnTo>
                  <a:pt x="29" y="2"/>
                </a:lnTo>
                <a:lnTo>
                  <a:pt x="21" y="14"/>
                </a:lnTo>
                <a:lnTo>
                  <a:pt x="8" y="14"/>
                </a:lnTo>
                <a:lnTo>
                  <a:pt x="0" y="33"/>
                </a:lnTo>
                <a:lnTo>
                  <a:pt x="0" y="56"/>
                </a:lnTo>
                <a:lnTo>
                  <a:pt x="11" y="65"/>
                </a:lnTo>
                <a:close/>
              </a:path>
            </a:pathLst>
          </a:custGeom>
          <a:solidFill>
            <a:srgbClr val="70B0DF"/>
          </a:solidFill>
          <a:ln w="9525">
            <a:noFill/>
            <a:round/>
            <a:headEnd/>
            <a:tailEnd/>
          </a:ln>
        </p:spPr>
        <p:txBody>
          <a:bodyPr wrap="none" lIns="32632" tIns="32632" rIns="32632" bIns="32632" anchor="ctr"/>
          <a:lstStyle/>
          <a:p>
            <a:pPr defTabSz="891045"/>
            <a:endParaRPr lang="en-US" sz="1700" dirty="0">
              <a:solidFill>
                <a:srgbClr val="003149"/>
              </a:solidFill>
              <a:cs typeface="Arial" panose="020B0604020202020204" pitchFamily="34" charset="0"/>
            </a:endParaRPr>
          </a:p>
        </p:txBody>
      </p:sp>
      <p:sp>
        <p:nvSpPr>
          <p:cNvPr id="115" name="Freeform 178"/>
          <p:cNvSpPr>
            <a:spLocks noChangeAspect="1"/>
          </p:cNvSpPr>
          <p:nvPr>
            <p:custDataLst>
              <p:tags r:id="rId86"/>
            </p:custDataLst>
          </p:nvPr>
        </p:nvSpPr>
        <p:spPr bwMode="gray">
          <a:xfrm rot="120000">
            <a:off x="4214064" y="2058708"/>
            <a:ext cx="22746" cy="21523"/>
          </a:xfrm>
          <a:custGeom>
            <a:avLst/>
            <a:gdLst>
              <a:gd name="T0" fmla="*/ 0 w 127"/>
              <a:gd name="T1" fmla="*/ 0 h 110"/>
              <a:gd name="T2" fmla="*/ 0 w 127"/>
              <a:gd name="T3" fmla="*/ 0 h 110"/>
              <a:gd name="T4" fmla="*/ 0 w 127"/>
              <a:gd name="T5" fmla="*/ 0 h 110"/>
              <a:gd name="T6" fmla="*/ 0 w 127"/>
              <a:gd name="T7" fmla="*/ 0 h 110"/>
              <a:gd name="T8" fmla="*/ 0 w 127"/>
              <a:gd name="T9" fmla="*/ 0 h 110"/>
              <a:gd name="T10" fmla="*/ 0 w 127"/>
              <a:gd name="T11" fmla="*/ 0 h 110"/>
              <a:gd name="T12" fmla="*/ 0 w 127"/>
              <a:gd name="T13" fmla="*/ 0 h 110"/>
              <a:gd name="T14" fmla="*/ 0 w 127"/>
              <a:gd name="T15" fmla="*/ 0 h 110"/>
              <a:gd name="T16" fmla="*/ 0 w 127"/>
              <a:gd name="T17" fmla="*/ 0 h 110"/>
              <a:gd name="T18" fmla="*/ 0 w 127"/>
              <a:gd name="T19" fmla="*/ 0 h 110"/>
              <a:gd name="T20" fmla="*/ 0 w 127"/>
              <a:gd name="T21" fmla="*/ 0 h 110"/>
              <a:gd name="T22" fmla="*/ 0 w 127"/>
              <a:gd name="T23" fmla="*/ 0 h 110"/>
              <a:gd name="T24" fmla="*/ 0 w 127"/>
              <a:gd name="T25" fmla="*/ 0 h 110"/>
              <a:gd name="T26" fmla="*/ 0 w 127"/>
              <a:gd name="T27" fmla="*/ 0 h 110"/>
              <a:gd name="T28" fmla="*/ 0 w 127"/>
              <a:gd name="T29" fmla="*/ 0 h 110"/>
              <a:gd name="T30" fmla="*/ 0 w 127"/>
              <a:gd name="T31" fmla="*/ 0 h 110"/>
              <a:gd name="T32" fmla="*/ 0 w 127"/>
              <a:gd name="T33" fmla="*/ 0 h 110"/>
              <a:gd name="T34" fmla="*/ 0 w 127"/>
              <a:gd name="T35" fmla="*/ 0 h 110"/>
              <a:gd name="T36" fmla="*/ 0 w 127"/>
              <a:gd name="T37" fmla="*/ 0 h 110"/>
              <a:gd name="T38" fmla="*/ 0 w 127"/>
              <a:gd name="T39" fmla="*/ 0 h 110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w 127"/>
              <a:gd name="T61" fmla="*/ 0 h 110"/>
              <a:gd name="T62" fmla="*/ 127 w 127"/>
              <a:gd name="T63" fmla="*/ 110 h 110"/>
            </a:gdLst>
            <a:ahLst/>
            <a:cxnLst>
              <a:cxn ang="T40">
                <a:pos x="T0" y="T1"/>
              </a:cxn>
              <a:cxn ang="T41">
                <a:pos x="T2" y="T3"/>
              </a:cxn>
              <a:cxn ang="T42">
                <a:pos x="T4" y="T5"/>
              </a:cxn>
              <a:cxn ang="T43">
                <a:pos x="T6" y="T7"/>
              </a:cxn>
              <a:cxn ang="T44">
                <a:pos x="T8" y="T9"/>
              </a:cxn>
              <a:cxn ang="T45">
                <a:pos x="T10" y="T11"/>
              </a:cxn>
              <a:cxn ang="T46">
                <a:pos x="T12" y="T13"/>
              </a:cxn>
              <a:cxn ang="T47">
                <a:pos x="T14" y="T15"/>
              </a:cxn>
              <a:cxn ang="T48">
                <a:pos x="T16" y="T17"/>
              </a:cxn>
              <a:cxn ang="T49">
                <a:pos x="T18" y="T19"/>
              </a:cxn>
              <a:cxn ang="T50">
                <a:pos x="T20" y="T21"/>
              </a:cxn>
              <a:cxn ang="T51">
                <a:pos x="T22" y="T23"/>
              </a:cxn>
              <a:cxn ang="T52">
                <a:pos x="T24" y="T25"/>
              </a:cxn>
              <a:cxn ang="T53">
                <a:pos x="T26" y="T27"/>
              </a:cxn>
              <a:cxn ang="T54">
                <a:pos x="T28" y="T29"/>
              </a:cxn>
              <a:cxn ang="T55">
                <a:pos x="T30" y="T31"/>
              </a:cxn>
              <a:cxn ang="T56">
                <a:pos x="T32" y="T33"/>
              </a:cxn>
              <a:cxn ang="T57">
                <a:pos x="T34" y="T35"/>
              </a:cxn>
              <a:cxn ang="T58">
                <a:pos x="T36" y="T37"/>
              </a:cxn>
              <a:cxn ang="T59">
                <a:pos x="T38" y="T39"/>
              </a:cxn>
            </a:cxnLst>
            <a:rect l="T60" t="T61" r="T62" b="T63"/>
            <a:pathLst>
              <a:path w="127" h="110">
                <a:moveTo>
                  <a:pt x="76" y="110"/>
                </a:moveTo>
                <a:lnTo>
                  <a:pt x="105" y="66"/>
                </a:lnTo>
                <a:lnTo>
                  <a:pt x="114" y="53"/>
                </a:lnTo>
                <a:lnTo>
                  <a:pt x="127" y="36"/>
                </a:lnTo>
                <a:lnTo>
                  <a:pt x="127" y="23"/>
                </a:lnTo>
                <a:lnTo>
                  <a:pt x="121" y="11"/>
                </a:lnTo>
                <a:lnTo>
                  <a:pt x="108" y="0"/>
                </a:lnTo>
                <a:lnTo>
                  <a:pt x="90" y="2"/>
                </a:lnTo>
                <a:lnTo>
                  <a:pt x="72" y="8"/>
                </a:lnTo>
                <a:lnTo>
                  <a:pt x="60" y="9"/>
                </a:lnTo>
                <a:lnTo>
                  <a:pt x="43" y="3"/>
                </a:lnTo>
                <a:lnTo>
                  <a:pt x="25" y="0"/>
                </a:lnTo>
                <a:lnTo>
                  <a:pt x="12" y="6"/>
                </a:lnTo>
                <a:lnTo>
                  <a:pt x="3" y="23"/>
                </a:lnTo>
                <a:lnTo>
                  <a:pt x="0" y="44"/>
                </a:lnTo>
                <a:lnTo>
                  <a:pt x="6" y="68"/>
                </a:lnTo>
                <a:lnTo>
                  <a:pt x="24" y="80"/>
                </a:lnTo>
                <a:lnTo>
                  <a:pt x="42" y="90"/>
                </a:lnTo>
                <a:lnTo>
                  <a:pt x="55" y="105"/>
                </a:lnTo>
                <a:lnTo>
                  <a:pt x="76" y="110"/>
                </a:lnTo>
                <a:close/>
              </a:path>
            </a:pathLst>
          </a:custGeom>
          <a:solidFill>
            <a:srgbClr val="70B0DF"/>
          </a:solidFill>
          <a:ln w="9525">
            <a:noFill/>
            <a:round/>
            <a:headEnd/>
            <a:tailEnd/>
          </a:ln>
        </p:spPr>
        <p:txBody>
          <a:bodyPr wrap="none" lIns="32632" tIns="32632" rIns="32632" bIns="32632" anchor="ctr"/>
          <a:lstStyle/>
          <a:p>
            <a:pPr defTabSz="891045"/>
            <a:endParaRPr lang="en-US" sz="1700" dirty="0">
              <a:solidFill>
                <a:srgbClr val="003149"/>
              </a:solidFill>
              <a:cs typeface="Arial" panose="020B0604020202020204" pitchFamily="34" charset="0"/>
            </a:endParaRPr>
          </a:p>
        </p:txBody>
      </p:sp>
      <p:sp>
        <p:nvSpPr>
          <p:cNvPr id="116" name="Freeform 179"/>
          <p:cNvSpPr>
            <a:spLocks noChangeAspect="1"/>
          </p:cNvSpPr>
          <p:nvPr>
            <p:custDataLst>
              <p:tags r:id="rId87"/>
            </p:custDataLst>
          </p:nvPr>
        </p:nvSpPr>
        <p:spPr bwMode="gray">
          <a:xfrm rot="120000">
            <a:off x="4182784" y="2054380"/>
            <a:ext cx="17060" cy="20088"/>
          </a:xfrm>
          <a:custGeom>
            <a:avLst/>
            <a:gdLst>
              <a:gd name="T0" fmla="*/ 0 w 101"/>
              <a:gd name="T1" fmla="*/ 0 h 92"/>
              <a:gd name="T2" fmla="*/ 0 w 101"/>
              <a:gd name="T3" fmla="*/ 0 h 92"/>
              <a:gd name="T4" fmla="*/ 0 w 101"/>
              <a:gd name="T5" fmla="*/ 0 h 92"/>
              <a:gd name="T6" fmla="*/ 0 w 101"/>
              <a:gd name="T7" fmla="*/ 0 h 92"/>
              <a:gd name="T8" fmla="*/ 0 w 101"/>
              <a:gd name="T9" fmla="*/ 0 h 92"/>
              <a:gd name="T10" fmla="*/ 0 w 101"/>
              <a:gd name="T11" fmla="*/ 0 h 92"/>
              <a:gd name="T12" fmla="*/ 0 w 101"/>
              <a:gd name="T13" fmla="*/ 0 h 92"/>
              <a:gd name="T14" fmla="*/ 0 w 101"/>
              <a:gd name="T15" fmla="*/ 0 h 92"/>
              <a:gd name="T16" fmla="*/ 0 w 101"/>
              <a:gd name="T17" fmla="*/ 0 h 92"/>
              <a:gd name="T18" fmla="*/ 0 w 101"/>
              <a:gd name="T19" fmla="*/ 0 h 92"/>
              <a:gd name="T20" fmla="*/ 0 w 101"/>
              <a:gd name="T21" fmla="*/ 0 h 92"/>
              <a:gd name="T22" fmla="*/ 0 w 101"/>
              <a:gd name="T23" fmla="*/ 0 h 92"/>
              <a:gd name="T24" fmla="*/ 0 w 101"/>
              <a:gd name="T25" fmla="*/ 0 h 92"/>
              <a:gd name="T26" fmla="*/ 0 w 101"/>
              <a:gd name="T27" fmla="*/ 0 h 92"/>
              <a:gd name="T28" fmla="*/ 0 w 101"/>
              <a:gd name="T29" fmla="*/ 0 h 92"/>
              <a:gd name="T30" fmla="*/ 0 w 101"/>
              <a:gd name="T31" fmla="*/ 0 h 92"/>
              <a:gd name="T32" fmla="*/ 0 w 101"/>
              <a:gd name="T33" fmla="*/ 0 h 92"/>
              <a:gd name="T34" fmla="*/ 0 w 101"/>
              <a:gd name="T35" fmla="*/ 0 h 92"/>
              <a:gd name="T36" fmla="*/ 0 w 101"/>
              <a:gd name="T37" fmla="*/ 0 h 92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w 101"/>
              <a:gd name="T58" fmla="*/ 0 h 92"/>
              <a:gd name="T59" fmla="*/ 101 w 101"/>
              <a:gd name="T60" fmla="*/ 92 h 92"/>
            </a:gdLst>
            <a:ahLst/>
            <a:cxnLst>
              <a:cxn ang="T38">
                <a:pos x="T0" y="T1"/>
              </a:cxn>
              <a:cxn ang="T39">
                <a:pos x="T2" y="T3"/>
              </a:cxn>
              <a:cxn ang="T40">
                <a:pos x="T4" y="T5"/>
              </a:cxn>
              <a:cxn ang="T41">
                <a:pos x="T6" y="T7"/>
              </a:cxn>
              <a:cxn ang="T42">
                <a:pos x="T8" y="T9"/>
              </a:cxn>
              <a:cxn ang="T43">
                <a:pos x="T10" y="T11"/>
              </a:cxn>
              <a:cxn ang="T44">
                <a:pos x="T12" y="T13"/>
              </a:cxn>
              <a:cxn ang="T45">
                <a:pos x="T14" y="T15"/>
              </a:cxn>
              <a:cxn ang="T46">
                <a:pos x="T16" y="T17"/>
              </a:cxn>
              <a:cxn ang="T47">
                <a:pos x="T18" y="T19"/>
              </a:cxn>
              <a:cxn ang="T48">
                <a:pos x="T20" y="T21"/>
              </a:cxn>
              <a:cxn ang="T49">
                <a:pos x="T22" y="T23"/>
              </a:cxn>
              <a:cxn ang="T50">
                <a:pos x="T24" y="T25"/>
              </a:cxn>
              <a:cxn ang="T51">
                <a:pos x="T26" y="T27"/>
              </a:cxn>
              <a:cxn ang="T52">
                <a:pos x="T28" y="T29"/>
              </a:cxn>
              <a:cxn ang="T53">
                <a:pos x="T30" y="T31"/>
              </a:cxn>
              <a:cxn ang="T54">
                <a:pos x="T32" y="T33"/>
              </a:cxn>
              <a:cxn ang="T55">
                <a:pos x="T34" y="T35"/>
              </a:cxn>
              <a:cxn ang="T56">
                <a:pos x="T36" y="T37"/>
              </a:cxn>
            </a:cxnLst>
            <a:rect l="T57" t="T58" r="T59" b="T60"/>
            <a:pathLst>
              <a:path w="101" h="92">
                <a:moveTo>
                  <a:pt x="77" y="83"/>
                </a:moveTo>
                <a:lnTo>
                  <a:pt x="90" y="65"/>
                </a:lnTo>
                <a:lnTo>
                  <a:pt x="90" y="51"/>
                </a:lnTo>
                <a:lnTo>
                  <a:pt x="90" y="39"/>
                </a:lnTo>
                <a:lnTo>
                  <a:pt x="101" y="30"/>
                </a:lnTo>
                <a:lnTo>
                  <a:pt x="96" y="12"/>
                </a:lnTo>
                <a:lnTo>
                  <a:pt x="86" y="9"/>
                </a:lnTo>
                <a:lnTo>
                  <a:pt x="62" y="9"/>
                </a:lnTo>
                <a:lnTo>
                  <a:pt x="48" y="12"/>
                </a:lnTo>
                <a:lnTo>
                  <a:pt x="35" y="8"/>
                </a:lnTo>
                <a:lnTo>
                  <a:pt x="15" y="0"/>
                </a:lnTo>
                <a:lnTo>
                  <a:pt x="0" y="15"/>
                </a:lnTo>
                <a:lnTo>
                  <a:pt x="14" y="27"/>
                </a:lnTo>
                <a:lnTo>
                  <a:pt x="15" y="47"/>
                </a:lnTo>
                <a:lnTo>
                  <a:pt x="26" y="53"/>
                </a:lnTo>
                <a:lnTo>
                  <a:pt x="32" y="72"/>
                </a:lnTo>
                <a:lnTo>
                  <a:pt x="50" y="92"/>
                </a:lnTo>
                <a:lnTo>
                  <a:pt x="69" y="92"/>
                </a:lnTo>
                <a:lnTo>
                  <a:pt x="77" y="83"/>
                </a:lnTo>
                <a:close/>
              </a:path>
            </a:pathLst>
          </a:custGeom>
          <a:solidFill>
            <a:srgbClr val="70B0DF"/>
          </a:solidFill>
          <a:ln w="9525">
            <a:noFill/>
            <a:round/>
            <a:headEnd/>
            <a:tailEnd/>
          </a:ln>
        </p:spPr>
        <p:txBody>
          <a:bodyPr wrap="none" lIns="32632" tIns="32632" rIns="32632" bIns="32632" anchor="ctr"/>
          <a:lstStyle/>
          <a:p>
            <a:pPr defTabSz="891045"/>
            <a:endParaRPr lang="en-US" sz="1700" dirty="0">
              <a:solidFill>
                <a:srgbClr val="003149"/>
              </a:solidFill>
              <a:cs typeface="Arial" panose="020B0604020202020204" pitchFamily="34" charset="0"/>
            </a:endParaRPr>
          </a:p>
        </p:txBody>
      </p:sp>
      <p:sp>
        <p:nvSpPr>
          <p:cNvPr id="117" name="Freeform 180"/>
          <p:cNvSpPr>
            <a:spLocks noChangeAspect="1"/>
          </p:cNvSpPr>
          <p:nvPr>
            <p:custDataLst>
              <p:tags r:id="rId88"/>
            </p:custDataLst>
          </p:nvPr>
        </p:nvSpPr>
        <p:spPr bwMode="gray">
          <a:xfrm rot="120000">
            <a:off x="4236847" y="1998437"/>
            <a:ext cx="11373" cy="8610"/>
          </a:xfrm>
          <a:custGeom>
            <a:avLst/>
            <a:gdLst>
              <a:gd name="T0" fmla="*/ 0 w 67"/>
              <a:gd name="T1" fmla="*/ 0 h 50"/>
              <a:gd name="T2" fmla="*/ 0 w 67"/>
              <a:gd name="T3" fmla="*/ 0 h 50"/>
              <a:gd name="T4" fmla="*/ 0 w 67"/>
              <a:gd name="T5" fmla="*/ 0 h 50"/>
              <a:gd name="T6" fmla="*/ 0 w 67"/>
              <a:gd name="T7" fmla="*/ 0 h 50"/>
              <a:gd name="T8" fmla="*/ 0 w 67"/>
              <a:gd name="T9" fmla="*/ 0 h 50"/>
              <a:gd name="T10" fmla="*/ 0 w 67"/>
              <a:gd name="T11" fmla="*/ 0 h 50"/>
              <a:gd name="T12" fmla="*/ 0 w 67"/>
              <a:gd name="T13" fmla="*/ 0 h 50"/>
              <a:gd name="T14" fmla="*/ 0 w 67"/>
              <a:gd name="T15" fmla="*/ 0 h 50"/>
              <a:gd name="T16" fmla="*/ 0 w 67"/>
              <a:gd name="T17" fmla="*/ 0 h 50"/>
              <a:gd name="T18" fmla="*/ 0 w 67"/>
              <a:gd name="T19" fmla="*/ 0 h 50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w 67"/>
              <a:gd name="T31" fmla="*/ 0 h 50"/>
              <a:gd name="T32" fmla="*/ 67 w 67"/>
              <a:gd name="T33" fmla="*/ 50 h 50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T30" t="T31" r="T32" b="T33"/>
            <a:pathLst>
              <a:path w="67" h="50">
                <a:moveTo>
                  <a:pt x="31" y="48"/>
                </a:moveTo>
                <a:lnTo>
                  <a:pt x="63" y="41"/>
                </a:lnTo>
                <a:lnTo>
                  <a:pt x="67" y="24"/>
                </a:lnTo>
                <a:lnTo>
                  <a:pt x="63" y="8"/>
                </a:lnTo>
                <a:lnTo>
                  <a:pt x="43" y="0"/>
                </a:lnTo>
                <a:lnTo>
                  <a:pt x="19" y="8"/>
                </a:lnTo>
                <a:lnTo>
                  <a:pt x="9" y="17"/>
                </a:lnTo>
                <a:lnTo>
                  <a:pt x="0" y="30"/>
                </a:lnTo>
                <a:lnTo>
                  <a:pt x="13" y="50"/>
                </a:lnTo>
                <a:lnTo>
                  <a:pt x="31" y="48"/>
                </a:lnTo>
                <a:close/>
              </a:path>
            </a:pathLst>
          </a:custGeom>
          <a:solidFill>
            <a:srgbClr val="70B0DF"/>
          </a:solidFill>
          <a:ln w="9525">
            <a:noFill/>
            <a:round/>
            <a:headEnd/>
            <a:tailEnd/>
          </a:ln>
        </p:spPr>
        <p:txBody>
          <a:bodyPr wrap="none" lIns="32632" tIns="32632" rIns="32632" bIns="32632" anchor="ctr"/>
          <a:lstStyle/>
          <a:p>
            <a:pPr defTabSz="891045"/>
            <a:endParaRPr lang="en-US" sz="1700" dirty="0">
              <a:solidFill>
                <a:srgbClr val="003149"/>
              </a:solidFill>
              <a:cs typeface="Arial" panose="020B0604020202020204" pitchFamily="34" charset="0"/>
            </a:endParaRPr>
          </a:p>
        </p:txBody>
      </p:sp>
      <p:sp>
        <p:nvSpPr>
          <p:cNvPr id="118" name="Freeform 181"/>
          <p:cNvSpPr>
            <a:spLocks noChangeAspect="1"/>
          </p:cNvSpPr>
          <p:nvPr>
            <p:custDataLst>
              <p:tags r:id="rId89"/>
            </p:custDataLst>
          </p:nvPr>
        </p:nvSpPr>
        <p:spPr bwMode="gray">
          <a:xfrm rot="120000">
            <a:off x="4189919" y="2037187"/>
            <a:ext cx="5687" cy="5739"/>
          </a:xfrm>
          <a:custGeom>
            <a:avLst/>
            <a:gdLst>
              <a:gd name="T0" fmla="*/ 0 w 36"/>
              <a:gd name="T1" fmla="*/ 0 h 33"/>
              <a:gd name="T2" fmla="*/ 0 w 36"/>
              <a:gd name="T3" fmla="*/ 0 h 33"/>
              <a:gd name="T4" fmla="*/ 0 w 36"/>
              <a:gd name="T5" fmla="*/ 0 h 33"/>
              <a:gd name="T6" fmla="*/ 0 w 36"/>
              <a:gd name="T7" fmla="*/ 0 h 33"/>
              <a:gd name="T8" fmla="*/ 0 w 36"/>
              <a:gd name="T9" fmla="*/ 0 h 33"/>
              <a:gd name="T10" fmla="*/ 0 w 36"/>
              <a:gd name="T11" fmla="*/ 0 h 33"/>
              <a:gd name="T12" fmla="*/ 0 w 36"/>
              <a:gd name="T13" fmla="*/ 0 h 33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36"/>
              <a:gd name="T22" fmla="*/ 0 h 33"/>
              <a:gd name="T23" fmla="*/ 36 w 36"/>
              <a:gd name="T24" fmla="*/ 33 h 33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36" h="33">
                <a:moveTo>
                  <a:pt x="36" y="29"/>
                </a:moveTo>
                <a:lnTo>
                  <a:pt x="28" y="6"/>
                </a:lnTo>
                <a:lnTo>
                  <a:pt x="13" y="0"/>
                </a:lnTo>
                <a:lnTo>
                  <a:pt x="0" y="6"/>
                </a:lnTo>
                <a:lnTo>
                  <a:pt x="1" y="24"/>
                </a:lnTo>
                <a:lnTo>
                  <a:pt x="21" y="33"/>
                </a:lnTo>
                <a:lnTo>
                  <a:pt x="36" y="29"/>
                </a:lnTo>
                <a:close/>
              </a:path>
            </a:pathLst>
          </a:custGeom>
          <a:solidFill>
            <a:srgbClr val="70B0DF"/>
          </a:solidFill>
          <a:ln w="9525">
            <a:noFill/>
            <a:round/>
            <a:headEnd/>
            <a:tailEnd/>
          </a:ln>
        </p:spPr>
        <p:txBody>
          <a:bodyPr wrap="none" lIns="32632" tIns="32632" rIns="32632" bIns="32632" anchor="ctr"/>
          <a:lstStyle/>
          <a:p>
            <a:pPr defTabSz="891045"/>
            <a:endParaRPr lang="en-US" sz="1700" dirty="0">
              <a:solidFill>
                <a:srgbClr val="003149"/>
              </a:solidFill>
              <a:cs typeface="Arial" panose="020B0604020202020204" pitchFamily="34" charset="0"/>
            </a:endParaRPr>
          </a:p>
        </p:txBody>
      </p:sp>
      <p:sp>
        <p:nvSpPr>
          <p:cNvPr id="119" name="Freeform 182"/>
          <p:cNvSpPr>
            <a:spLocks noChangeAspect="1"/>
          </p:cNvSpPr>
          <p:nvPr>
            <p:custDataLst>
              <p:tags r:id="rId90"/>
            </p:custDataLst>
          </p:nvPr>
        </p:nvSpPr>
        <p:spPr bwMode="gray">
          <a:xfrm rot="120000">
            <a:off x="4160038" y="1998436"/>
            <a:ext cx="76770" cy="38740"/>
          </a:xfrm>
          <a:custGeom>
            <a:avLst/>
            <a:gdLst>
              <a:gd name="T0" fmla="*/ 0 w 429"/>
              <a:gd name="T1" fmla="*/ 0 h 192"/>
              <a:gd name="T2" fmla="*/ 0 w 429"/>
              <a:gd name="T3" fmla="*/ 0 h 192"/>
              <a:gd name="T4" fmla="*/ 0 w 429"/>
              <a:gd name="T5" fmla="*/ 0 h 192"/>
              <a:gd name="T6" fmla="*/ 0 w 429"/>
              <a:gd name="T7" fmla="*/ 0 h 192"/>
              <a:gd name="T8" fmla="*/ 0 w 429"/>
              <a:gd name="T9" fmla="*/ 0 h 192"/>
              <a:gd name="T10" fmla="*/ 0 w 429"/>
              <a:gd name="T11" fmla="*/ 0 h 192"/>
              <a:gd name="T12" fmla="*/ 0 w 429"/>
              <a:gd name="T13" fmla="*/ 0 h 192"/>
              <a:gd name="T14" fmla="*/ 0 w 429"/>
              <a:gd name="T15" fmla="*/ 0 h 192"/>
              <a:gd name="T16" fmla="*/ 0 w 429"/>
              <a:gd name="T17" fmla="*/ 0 h 192"/>
              <a:gd name="T18" fmla="*/ 0 w 429"/>
              <a:gd name="T19" fmla="*/ 0 h 192"/>
              <a:gd name="T20" fmla="*/ 0 w 429"/>
              <a:gd name="T21" fmla="*/ 0 h 192"/>
              <a:gd name="T22" fmla="*/ 0 w 429"/>
              <a:gd name="T23" fmla="*/ 0 h 192"/>
              <a:gd name="T24" fmla="*/ 0 w 429"/>
              <a:gd name="T25" fmla="*/ 0 h 192"/>
              <a:gd name="T26" fmla="*/ 0 w 429"/>
              <a:gd name="T27" fmla="*/ 0 h 192"/>
              <a:gd name="T28" fmla="*/ 0 w 429"/>
              <a:gd name="T29" fmla="*/ 0 h 192"/>
              <a:gd name="T30" fmla="*/ 0 w 429"/>
              <a:gd name="T31" fmla="*/ 0 h 192"/>
              <a:gd name="T32" fmla="*/ 0 w 429"/>
              <a:gd name="T33" fmla="*/ 0 h 192"/>
              <a:gd name="T34" fmla="*/ 0 w 429"/>
              <a:gd name="T35" fmla="*/ 0 h 192"/>
              <a:gd name="T36" fmla="*/ 0 w 429"/>
              <a:gd name="T37" fmla="*/ 0 h 192"/>
              <a:gd name="T38" fmla="*/ 0 w 429"/>
              <a:gd name="T39" fmla="*/ 0 h 192"/>
              <a:gd name="T40" fmla="*/ 0 w 429"/>
              <a:gd name="T41" fmla="*/ 0 h 192"/>
              <a:gd name="T42" fmla="*/ 0 w 429"/>
              <a:gd name="T43" fmla="*/ 0 h 192"/>
              <a:gd name="T44" fmla="*/ 0 w 429"/>
              <a:gd name="T45" fmla="*/ 0 h 192"/>
              <a:gd name="T46" fmla="*/ 0 w 429"/>
              <a:gd name="T47" fmla="*/ 0 h 192"/>
              <a:gd name="T48" fmla="*/ 0 w 429"/>
              <a:gd name="T49" fmla="*/ 0 h 192"/>
              <a:gd name="T50" fmla="*/ 0 w 429"/>
              <a:gd name="T51" fmla="*/ 0 h 192"/>
              <a:gd name="T52" fmla="*/ 0 w 429"/>
              <a:gd name="T53" fmla="*/ 0 h 192"/>
              <a:gd name="T54" fmla="*/ 0 w 429"/>
              <a:gd name="T55" fmla="*/ 0 h 192"/>
              <a:gd name="T56" fmla="*/ 0 w 429"/>
              <a:gd name="T57" fmla="*/ 0 h 192"/>
              <a:gd name="T58" fmla="*/ 0 w 429"/>
              <a:gd name="T59" fmla="*/ 0 h 192"/>
              <a:gd name="T60" fmla="*/ 0 w 429"/>
              <a:gd name="T61" fmla="*/ 0 h 192"/>
              <a:gd name="T62" fmla="*/ 0 w 429"/>
              <a:gd name="T63" fmla="*/ 0 h 192"/>
              <a:gd name="T64" fmla="*/ 0 w 429"/>
              <a:gd name="T65" fmla="*/ 0 h 192"/>
              <a:gd name="T66" fmla="*/ 0 w 429"/>
              <a:gd name="T67" fmla="*/ 0 h 192"/>
              <a:gd name="T68" fmla="*/ 0 w 429"/>
              <a:gd name="T69" fmla="*/ 0 h 192"/>
              <a:gd name="T70" fmla="*/ 0 w 429"/>
              <a:gd name="T71" fmla="*/ 0 h 192"/>
              <a:gd name="T72" fmla="*/ 0 w 429"/>
              <a:gd name="T73" fmla="*/ 0 h 192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w 429"/>
              <a:gd name="T112" fmla="*/ 0 h 192"/>
              <a:gd name="T113" fmla="*/ 429 w 429"/>
              <a:gd name="T114" fmla="*/ 192 h 192"/>
            </a:gdLst>
            <a:ahLst/>
            <a:cxnLst>
              <a:cxn ang="T74">
                <a:pos x="T0" y="T1"/>
              </a:cxn>
              <a:cxn ang="T75">
                <a:pos x="T2" y="T3"/>
              </a:cxn>
              <a:cxn ang="T76">
                <a:pos x="T4" y="T5"/>
              </a:cxn>
              <a:cxn ang="T77">
                <a:pos x="T6" y="T7"/>
              </a:cxn>
              <a:cxn ang="T78">
                <a:pos x="T8" y="T9"/>
              </a:cxn>
              <a:cxn ang="T79">
                <a:pos x="T10" y="T11"/>
              </a:cxn>
              <a:cxn ang="T80">
                <a:pos x="T12" y="T13"/>
              </a:cxn>
              <a:cxn ang="T81">
                <a:pos x="T14" y="T15"/>
              </a:cxn>
              <a:cxn ang="T82">
                <a:pos x="T16" y="T17"/>
              </a:cxn>
              <a:cxn ang="T83">
                <a:pos x="T18" y="T19"/>
              </a:cxn>
              <a:cxn ang="T84">
                <a:pos x="T20" y="T21"/>
              </a:cxn>
              <a:cxn ang="T85">
                <a:pos x="T22" y="T23"/>
              </a:cxn>
              <a:cxn ang="T86">
                <a:pos x="T24" y="T25"/>
              </a:cxn>
              <a:cxn ang="T87">
                <a:pos x="T26" y="T27"/>
              </a:cxn>
              <a:cxn ang="T88">
                <a:pos x="T28" y="T29"/>
              </a:cxn>
              <a:cxn ang="T89">
                <a:pos x="T30" y="T31"/>
              </a:cxn>
              <a:cxn ang="T90">
                <a:pos x="T32" y="T33"/>
              </a:cxn>
              <a:cxn ang="T91">
                <a:pos x="T34" y="T35"/>
              </a:cxn>
              <a:cxn ang="T92">
                <a:pos x="T36" y="T37"/>
              </a:cxn>
              <a:cxn ang="T93">
                <a:pos x="T38" y="T39"/>
              </a:cxn>
              <a:cxn ang="T94">
                <a:pos x="T40" y="T41"/>
              </a:cxn>
              <a:cxn ang="T95">
                <a:pos x="T42" y="T43"/>
              </a:cxn>
              <a:cxn ang="T96">
                <a:pos x="T44" y="T45"/>
              </a:cxn>
              <a:cxn ang="T97">
                <a:pos x="T46" y="T47"/>
              </a:cxn>
              <a:cxn ang="T98">
                <a:pos x="T48" y="T49"/>
              </a:cxn>
              <a:cxn ang="T99">
                <a:pos x="T50" y="T51"/>
              </a:cxn>
              <a:cxn ang="T100">
                <a:pos x="T52" y="T53"/>
              </a:cxn>
              <a:cxn ang="T101">
                <a:pos x="T54" y="T55"/>
              </a:cxn>
              <a:cxn ang="T102">
                <a:pos x="T56" y="T57"/>
              </a:cxn>
              <a:cxn ang="T103">
                <a:pos x="T58" y="T59"/>
              </a:cxn>
              <a:cxn ang="T104">
                <a:pos x="T60" y="T61"/>
              </a:cxn>
              <a:cxn ang="T105">
                <a:pos x="T62" y="T63"/>
              </a:cxn>
              <a:cxn ang="T106">
                <a:pos x="T64" y="T65"/>
              </a:cxn>
              <a:cxn ang="T107">
                <a:pos x="T66" y="T67"/>
              </a:cxn>
              <a:cxn ang="T108">
                <a:pos x="T68" y="T69"/>
              </a:cxn>
              <a:cxn ang="T109">
                <a:pos x="T70" y="T71"/>
              </a:cxn>
              <a:cxn ang="T110">
                <a:pos x="T72" y="T73"/>
              </a:cxn>
            </a:cxnLst>
            <a:rect l="T111" t="T112" r="T113" b="T114"/>
            <a:pathLst>
              <a:path w="429" h="192">
                <a:moveTo>
                  <a:pt x="348" y="167"/>
                </a:moveTo>
                <a:lnTo>
                  <a:pt x="364" y="183"/>
                </a:lnTo>
                <a:lnTo>
                  <a:pt x="378" y="167"/>
                </a:lnTo>
                <a:lnTo>
                  <a:pt x="397" y="173"/>
                </a:lnTo>
                <a:lnTo>
                  <a:pt x="426" y="165"/>
                </a:lnTo>
                <a:lnTo>
                  <a:pt x="429" y="140"/>
                </a:lnTo>
                <a:lnTo>
                  <a:pt x="415" y="119"/>
                </a:lnTo>
                <a:lnTo>
                  <a:pt x="385" y="116"/>
                </a:lnTo>
                <a:lnTo>
                  <a:pt x="369" y="108"/>
                </a:lnTo>
                <a:lnTo>
                  <a:pt x="366" y="92"/>
                </a:lnTo>
                <a:lnTo>
                  <a:pt x="381" y="77"/>
                </a:lnTo>
                <a:lnTo>
                  <a:pt x="417" y="75"/>
                </a:lnTo>
                <a:lnTo>
                  <a:pt x="421" y="63"/>
                </a:lnTo>
                <a:lnTo>
                  <a:pt x="405" y="53"/>
                </a:lnTo>
                <a:lnTo>
                  <a:pt x="399" y="33"/>
                </a:lnTo>
                <a:lnTo>
                  <a:pt x="382" y="18"/>
                </a:lnTo>
                <a:lnTo>
                  <a:pt x="360" y="0"/>
                </a:lnTo>
                <a:lnTo>
                  <a:pt x="342" y="18"/>
                </a:lnTo>
                <a:lnTo>
                  <a:pt x="324" y="6"/>
                </a:lnTo>
                <a:lnTo>
                  <a:pt x="297" y="11"/>
                </a:lnTo>
                <a:lnTo>
                  <a:pt x="292" y="27"/>
                </a:lnTo>
                <a:lnTo>
                  <a:pt x="301" y="50"/>
                </a:lnTo>
                <a:lnTo>
                  <a:pt x="309" y="57"/>
                </a:lnTo>
                <a:lnTo>
                  <a:pt x="292" y="65"/>
                </a:lnTo>
                <a:lnTo>
                  <a:pt x="267" y="77"/>
                </a:lnTo>
                <a:lnTo>
                  <a:pt x="249" y="84"/>
                </a:lnTo>
                <a:lnTo>
                  <a:pt x="232" y="92"/>
                </a:lnTo>
                <a:lnTo>
                  <a:pt x="213" y="90"/>
                </a:lnTo>
                <a:lnTo>
                  <a:pt x="201" y="71"/>
                </a:lnTo>
                <a:lnTo>
                  <a:pt x="198" y="59"/>
                </a:lnTo>
                <a:lnTo>
                  <a:pt x="195" y="42"/>
                </a:lnTo>
                <a:lnTo>
                  <a:pt x="162" y="33"/>
                </a:lnTo>
                <a:lnTo>
                  <a:pt x="144" y="42"/>
                </a:lnTo>
                <a:lnTo>
                  <a:pt x="145" y="60"/>
                </a:lnTo>
                <a:lnTo>
                  <a:pt x="138" y="74"/>
                </a:lnTo>
                <a:lnTo>
                  <a:pt x="138" y="98"/>
                </a:lnTo>
                <a:lnTo>
                  <a:pt x="120" y="101"/>
                </a:lnTo>
                <a:lnTo>
                  <a:pt x="103" y="84"/>
                </a:lnTo>
                <a:lnTo>
                  <a:pt x="99" y="57"/>
                </a:lnTo>
                <a:lnTo>
                  <a:pt x="99" y="42"/>
                </a:lnTo>
                <a:lnTo>
                  <a:pt x="54" y="35"/>
                </a:lnTo>
                <a:lnTo>
                  <a:pt x="45" y="42"/>
                </a:lnTo>
                <a:lnTo>
                  <a:pt x="42" y="59"/>
                </a:lnTo>
                <a:lnTo>
                  <a:pt x="34" y="65"/>
                </a:lnTo>
                <a:lnTo>
                  <a:pt x="21" y="65"/>
                </a:lnTo>
                <a:lnTo>
                  <a:pt x="4" y="69"/>
                </a:lnTo>
                <a:lnTo>
                  <a:pt x="0" y="90"/>
                </a:lnTo>
                <a:lnTo>
                  <a:pt x="30" y="98"/>
                </a:lnTo>
                <a:lnTo>
                  <a:pt x="46" y="98"/>
                </a:lnTo>
                <a:lnTo>
                  <a:pt x="61" y="104"/>
                </a:lnTo>
                <a:lnTo>
                  <a:pt x="75" y="122"/>
                </a:lnTo>
                <a:lnTo>
                  <a:pt x="63" y="134"/>
                </a:lnTo>
                <a:lnTo>
                  <a:pt x="51" y="129"/>
                </a:lnTo>
                <a:lnTo>
                  <a:pt x="39" y="120"/>
                </a:lnTo>
                <a:lnTo>
                  <a:pt x="19" y="122"/>
                </a:lnTo>
                <a:lnTo>
                  <a:pt x="19" y="140"/>
                </a:lnTo>
                <a:lnTo>
                  <a:pt x="34" y="156"/>
                </a:lnTo>
                <a:lnTo>
                  <a:pt x="69" y="176"/>
                </a:lnTo>
                <a:lnTo>
                  <a:pt x="79" y="180"/>
                </a:lnTo>
                <a:lnTo>
                  <a:pt x="93" y="186"/>
                </a:lnTo>
                <a:lnTo>
                  <a:pt x="120" y="192"/>
                </a:lnTo>
                <a:lnTo>
                  <a:pt x="153" y="189"/>
                </a:lnTo>
                <a:lnTo>
                  <a:pt x="159" y="173"/>
                </a:lnTo>
                <a:lnTo>
                  <a:pt x="154" y="155"/>
                </a:lnTo>
                <a:lnTo>
                  <a:pt x="148" y="141"/>
                </a:lnTo>
                <a:lnTo>
                  <a:pt x="154" y="126"/>
                </a:lnTo>
                <a:lnTo>
                  <a:pt x="169" y="123"/>
                </a:lnTo>
                <a:lnTo>
                  <a:pt x="190" y="131"/>
                </a:lnTo>
                <a:lnTo>
                  <a:pt x="205" y="155"/>
                </a:lnTo>
                <a:lnTo>
                  <a:pt x="232" y="161"/>
                </a:lnTo>
                <a:lnTo>
                  <a:pt x="261" y="159"/>
                </a:lnTo>
                <a:lnTo>
                  <a:pt x="301" y="161"/>
                </a:lnTo>
                <a:lnTo>
                  <a:pt x="322" y="171"/>
                </a:lnTo>
                <a:lnTo>
                  <a:pt x="348" y="167"/>
                </a:lnTo>
                <a:close/>
              </a:path>
            </a:pathLst>
          </a:custGeom>
          <a:solidFill>
            <a:srgbClr val="70B0DF"/>
          </a:solidFill>
          <a:ln w="9525">
            <a:noFill/>
            <a:round/>
            <a:headEnd/>
            <a:tailEnd/>
          </a:ln>
        </p:spPr>
        <p:txBody>
          <a:bodyPr wrap="none" lIns="32632" tIns="32632" rIns="32632" bIns="32632" anchor="ctr"/>
          <a:lstStyle/>
          <a:p>
            <a:pPr defTabSz="891045"/>
            <a:endParaRPr lang="en-US" sz="1700" dirty="0">
              <a:solidFill>
                <a:srgbClr val="003149"/>
              </a:solidFill>
              <a:cs typeface="Arial" panose="020B0604020202020204" pitchFamily="34" charset="0"/>
            </a:endParaRPr>
          </a:p>
        </p:txBody>
      </p:sp>
      <p:sp>
        <p:nvSpPr>
          <p:cNvPr id="121" name="Freeform 183"/>
          <p:cNvSpPr>
            <a:spLocks noChangeAspect="1"/>
          </p:cNvSpPr>
          <p:nvPr>
            <p:custDataLst>
              <p:tags r:id="rId91"/>
            </p:custDataLst>
          </p:nvPr>
        </p:nvSpPr>
        <p:spPr bwMode="gray">
          <a:xfrm rot="120000">
            <a:off x="4165740" y="1966854"/>
            <a:ext cx="44071" cy="41611"/>
          </a:xfrm>
          <a:custGeom>
            <a:avLst/>
            <a:gdLst>
              <a:gd name="T0" fmla="*/ 0 w 243"/>
              <a:gd name="T1" fmla="*/ 0 h 204"/>
              <a:gd name="T2" fmla="*/ 0 w 243"/>
              <a:gd name="T3" fmla="*/ 0 h 204"/>
              <a:gd name="T4" fmla="*/ 0 w 243"/>
              <a:gd name="T5" fmla="*/ 0 h 204"/>
              <a:gd name="T6" fmla="*/ 0 w 243"/>
              <a:gd name="T7" fmla="*/ 0 h 204"/>
              <a:gd name="T8" fmla="*/ 0 w 243"/>
              <a:gd name="T9" fmla="*/ 0 h 204"/>
              <a:gd name="T10" fmla="*/ 0 w 243"/>
              <a:gd name="T11" fmla="*/ 0 h 204"/>
              <a:gd name="T12" fmla="*/ 0 w 243"/>
              <a:gd name="T13" fmla="*/ 0 h 204"/>
              <a:gd name="T14" fmla="*/ 0 w 243"/>
              <a:gd name="T15" fmla="*/ 0 h 204"/>
              <a:gd name="T16" fmla="*/ 0 w 243"/>
              <a:gd name="T17" fmla="*/ 0 h 204"/>
              <a:gd name="T18" fmla="*/ 0 w 243"/>
              <a:gd name="T19" fmla="*/ 0 h 204"/>
              <a:gd name="T20" fmla="*/ 0 w 243"/>
              <a:gd name="T21" fmla="*/ 0 h 204"/>
              <a:gd name="T22" fmla="*/ 0 w 243"/>
              <a:gd name="T23" fmla="*/ 0 h 204"/>
              <a:gd name="T24" fmla="*/ 0 w 243"/>
              <a:gd name="T25" fmla="*/ 0 h 204"/>
              <a:gd name="T26" fmla="*/ 0 w 243"/>
              <a:gd name="T27" fmla="*/ 0 h 204"/>
              <a:gd name="T28" fmla="*/ 0 w 243"/>
              <a:gd name="T29" fmla="*/ 0 h 204"/>
              <a:gd name="T30" fmla="*/ 0 w 243"/>
              <a:gd name="T31" fmla="*/ 0 h 204"/>
              <a:gd name="T32" fmla="*/ 0 w 243"/>
              <a:gd name="T33" fmla="*/ 0 h 204"/>
              <a:gd name="T34" fmla="*/ 0 w 243"/>
              <a:gd name="T35" fmla="*/ 0 h 204"/>
              <a:gd name="T36" fmla="*/ 0 w 243"/>
              <a:gd name="T37" fmla="*/ 0 h 204"/>
              <a:gd name="T38" fmla="*/ 0 w 243"/>
              <a:gd name="T39" fmla="*/ 0 h 204"/>
              <a:gd name="T40" fmla="*/ 0 w 243"/>
              <a:gd name="T41" fmla="*/ 0 h 204"/>
              <a:gd name="T42" fmla="*/ 0 w 243"/>
              <a:gd name="T43" fmla="*/ 0 h 204"/>
              <a:gd name="T44" fmla="*/ 0 w 243"/>
              <a:gd name="T45" fmla="*/ 0 h 204"/>
              <a:gd name="T46" fmla="*/ 0 w 243"/>
              <a:gd name="T47" fmla="*/ 0 h 204"/>
              <a:gd name="T48" fmla="*/ 0 w 243"/>
              <a:gd name="T49" fmla="*/ 0 h 204"/>
              <a:gd name="T50" fmla="*/ 0 w 243"/>
              <a:gd name="T51" fmla="*/ 0 h 204"/>
              <a:gd name="T52" fmla="*/ 0 w 243"/>
              <a:gd name="T53" fmla="*/ 0 h 204"/>
              <a:gd name="T54" fmla="*/ 0 w 243"/>
              <a:gd name="T55" fmla="*/ 0 h 204"/>
              <a:gd name="T56" fmla="*/ 0 w 243"/>
              <a:gd name="T57" fmla="*/ 0 h 204"/>
              <a:gd name="T58" fmla="*/ 0 w 243"/>
              <a:gd name="T59" fmla="*/ 0 h 204"/>
              <a:gd name="T60" fmla="*/ 0 w 243"/>
              <a:gd name="T61" fmla="*/ 0 h 204"/>
              <a:gd name="T62" fmla="*/ 0 w 243"/>
              <a:gd name="T63" fmla="*/ 0 h 204"/>
              <a:gd name="T64" fmla="*/ 0 w 243"/>
              <a:gd name="T65" fmla="*/ 0 h 204"/>
              <a:gd name="T66" fmla="*/ 0 w 243"/>
              <a:gd name="T67" fmla="*/ 0 h 204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w 243"/>
              <a:gd name="T103" fmla="*/ 0 h 204"/>
              <a:gd name="T104" fmla="*/ 243 w 243"/>
              <a:gd name="T105" fmla="*/ 204 h 204"/>
            </a:gdLst>
            <a:ahLst/>
            <a:cxnLst>
              <a:cxn ang="T68">
                <a:pos x="T0" y="T1"/>
              </a:cxn>
              <a:cxn ang="T69">
                <a:pos x="T2" y="T3"/>
              </a:cxn>
              <a:cxn ang="T70">
                <a:pos x="T4" y="T5"/>
              </a:cxn>
              <a:cxn ang="T71">
                <a:pos x="T6" y="T7"/>
              </a:cxn>
              <a:cxn ang="T72">
                <a:pos x="T8" y="T9"/>
              </a:cxn>
              <a:cxn ang="T73">
                <a:pos x="T10" y="T11"/>
              </a:cxn>
              <a:cxn ang="T74">
                <a:pos x="T12" y="T13"/>
              </a:cxn>
              <a:cxn ang="T75">
                <a:pos x="T14" y="T15"/>
              </a:cxn>
              <a:cxn ang="T76">
                <a:pos x="T16" y="T17"/>
              </a:cxn>
              <a:cxn ang="T77">
                <a:pos x="T18" y="T19"/>
              </a:cxn>
              <a:cxn ang="T78">
                <a:pos x="T20" y="T21"/>
              </a:cxn>
              <a:cxn ang="T79">
                <a:pos x="T22" y="T23"/>
              </a:cxn>
              <a:cxn ang="T80">
                <a:pos x="T24" y="T25"/>
              </a:cxn>
              <a:cxn ang="T81">
                <a:pos x="T26" y="T27"/>
              </a:cxn>
              <a:cxn ang="T82">
                <a:pos x="T28" y="T29"/>
              </a:cxn>
              <a:cxn ang="T83">
                <a:pos x="T30" y="T31"/>
              </a:cxn>
              <a:cxn ang="T84">
                <a:pos x="T32" y="T33"/>
              </a:cxn>
              <a:cxn ang="T85">
                <a:pos x="T34" y="T35"/>
              </a:cxn>
              <a:cxn ang="T86">
                <a:pos x="T36" y="T37"/>
              </a:cxn>
              <a:cxn ang="T87">
                <a:pos x="T38" y="T39"/>
              </a:cxn>
              <a:cxn ang="T88">
                <a:pos x="T40" y="T41"/>
              </a:cxn>
              <a:cxn ang="T89">
                <a:pos x="T42" y="T43"/>
              </a:cxn>
              <a:cxn ang="T90">
                <a:pos x="T44" y="T45"/>
              </a:cxn>
              <a:cxn ang="T91">
                <a:pos x="T46" y="T47"/>
              </a:cxn>
              <a:cxn ang="T92">
                <a:pos x="T48" y="T49"/>
              </a:cxn>
              <a:cxn ang="T93">
                <a:pos x="T50" y="T51"/>
              </a:cxn>
              <a:cxn ang="T94">
                <a:pos x="T52" y="T53"/>
              </a:cxn>
              <a:cxn ang="T95">
                <a:pos x="T54" y="T55"/>
              </a:cxn>
              <a:cxn ang="T96">
                <a:pos x="T56" y="T57"/>
              </a:cxn>
              <a:cxn ang="T97">
                <a:pos x="T58" y="T59"/>
              </a:cxn>
              <a:cxn ang="T98">
                <a:pos x="T60" y="T61"/>
              </a:cxn>
              <a:cxn ang="T99">
                <a:pos x="T62" y="T63"/>
              </a:cxn>
              <a:cxn ang="T100">
                <a:pos x="T64" y="T65"/>
              </a:cxn>
              <a:cxn ang="T101">
                <a:pos x="T66" y="T67"/>
              </a:cxn>
            </a:cxnLst>
            <a:rect l="T102" t="T103" r="T104" b="T105"/>
            <a:pathLst>
              <a:path w="243" h="204">
                <a:moveTo>
                  <a:pt x="210" y="204"/>
                </a:moveTo>
                <a:lnTo>
                  <a:pt x="237" y="189"/>
                </a:lnTo>
                <a:lnTo>
                  <a:pt x="234" y="173"/>
                </a:lnTo>
                <a:lnTo>
                  <a:pt x="243" y="147"/>
                </a:lnTo>
                <a:lnTo>
                  <a:pt x="241" y="126"/>
                </a:lnTo>
                <a:lnTo>
                  <a:pt x="226" y="98"/>
                </a:lnTo>
                <a:lnTo>
                  <a:pt x="208" y="77"/>
                </a:lnTo>
                <a:lnTo>
                  <a:pt x="186" y="77"/>
                </a:lnTo>
                <a:lnTo>
                  <a:pt x="171" y="66"/>
                </a:lnTo>
                <a:lnTo>
                  <a:pt x="159" y="60"/>
                </a:lnTo>
                <a:lnTo>
                  <a:pt x="138" y="63"/>
                </a:lnTo>
                <a:lnTo>
                  <a:pt x="132" y="72"/>
                </a:lnTo>
                <a:lnTo>
                  <a:pt x="115" y="63"/>
                </a:lnTo>
                <a:lnTo>
                  <a:pt x="103" y="51"/>
                </a:lnTo>
                <a:lnTo>
                  <a:pt x="97" y="39"/>
                </a:lnTo>
                <a:lnTo>
                  <a:pt x="81" y="33"/>
                </a:lnTo>
                <a:lnTo>
                  <a:pt x="60" y="23"/>
                </a:lnTo>
                <a:lnTo>
                  <a:pt x="43" y="11"/>
                </a:lnTo>
                <a:lnTo>
                  <a:pt x="30" y="5"/>
                </a:lnTo>
                <a:lnTo>
                  <a:pt x="18" y="0"/>
                </a:lnTo>
                <a:lnTo>
                  <a:pt x="7" y="8"/>
                </a:lnTo>
                <a:lnTo>
                  <a:pt x="0" y="23"/>
                </a:lnTo>
                <a:lnTo>
                  <a:pt x="7" y="62"/>
                </a:lnTo>
                <a:lnTo>
                  <a:pt x="16" y="75"/>
                </a:lnTo>
                <a:lnTo>
                  <a:pt x="37" y="96"/>
                </a:lnTo>
                <a:lnTo>
                  <a:pt x="21" y="113"/>
                </a:lnTo>
                <a:lnTo>
                  <a:pt x="37" y="126"/>
                </a:lnTo>
                <a:lnTo>
                  <a:pt x="79" y="129"/>
                </a:lnTo>
                <a:lnTo>
                  <a:pt x="136" y="131"/>
                </a:lnTo>
                <a:lnTo>
                  <a:pt x="160" y="126"/>
                </a:lnTo>
                <a:lnTo>
                  <a:pt x="187" y="143"/>
                </a:lnTo>
                <a:lnTo>
                  <a:pt x="187" y="164"/>
                </a:lnTo>
                <a:lnTo>
                  <a:pt x="193" y="191"/>
                </a:lnTo>
                <a:lnTo>
                  <a:pt x="210" y="204"/>
                </a:lnTo>
                <a:close/>
              </a:path>
            </a:pathLst>
          </a:custGeom>
          <a:solidFill>
            <a:srgbClr val="70B0DF"/>
          </a:solidFill>
          <a:ln w="9525">
            <a:noFill/>
            <a:round/>
            <a:headEnd/>
            <a:tailEnd/>
          </a:ln>
        </p:spPr>
        <p:txBody>
          <a:bodyPr wrap="none" lIns="32632" tIns="32632" rIns="32632" bIns="32632" anchor="ctr"/>
          <a:lstStyle/>
          <a:p>
            <a:pPr defTabSz="891045"/>
            <a:endParaRPr lang="en-US" sz="1700" dirty="0">
              <a:solidFill>
                <a:srgbClr val="003149"/>
              </a:solidFill>
              <a:cs typeface="Arial" panose="020B0604020202020204" pitchFamily="34" charset="0"/>
            </a:endParaRPr>
          </a:p>
        </p:txBody>
      </p:sp>
      <p:sp>
        <p:nvSpPr>
          <p:cNvPr id="122" name="Freeform 184"/>
          <p:cNvSpPr>
            <a:spLocks noChangeAspect="1"/>
          </p:cNvSpPr>
          <p:nvPr>
            <p:custDataLst>
              <p:tags r:id="rId92"/>
            </p:custDataLst>
          </p:nvPr>
        </p:nvSpPr>
        <p:spPr bwMode="gray">
          <a:xfrm rot="120000">
            <a:off x="4269521" y="2134746"/>
            <a:ext cx="15638" cy="12913"/>
          </a:xfrm>
          <a:custGeom>
            <a:avLst/>
            <a:gdLst>
              <a:gd name="T0" fmla="*/ 0 w 75"/>
              <a:gd name="T1" fmla="*/ 0 h 82"/>
              <a:gd name="T2" fmla="*/ 0 w 75"/>
              <a:gd name="T3" fmla="*/ 0 h 82"/>
              <a:gd name="T4" fmla="*/ 0 w 75"/>
              <a:gd name="T5" fmla="*/ 0 h 82"/>
              <a:gd name="T6" fmla="*/ 0 w 75"/>
              <a:gd name="T7" fmla="*/ 0 h 82"/>
              <a:gd name="T8" fmla="*/ 0 w 75"/>
              <a:gd name="T9" fmla="*/ 0 h 82"/>
              <a:gd name="T10" fmla="*/ 0 w 75"/>
              <a:gd name="T11" fmla="*/ 0 h 82"/>
              <a:gd name="T12" fmla="*/ 0 w 75"/>
              <a:gd name="T13" fmla="*/ 0 h 82"/>
              <a:gd name="T14" fmla="*/ 0 w 75"/>
              <a:gd name="T15" fmla="*/ 0 h 82"/>
              <a:gd name="T16" fmla="*/ 0 w 75"/>
              <a:gd name="T17" fmla="*/ 0 h 82"/>
              <a:gd name="T18" fmla="*/ 0 w 75"/>
              <a:gd name="T19" fmla="*/ 0 h 82"/>
              <a:gd name="T20" fmla="*/ 0 w 75"/>
              <a:gd name="T21" fmla="*/ 0 h 82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75"/>
              <a:gd name="T34" fmla="*/ 0 h 82"/>
              <a:gd name="T35" fmla="*/ 75 w 75"/>
              <a:gd name="T36" fmla="*/ 82 h 82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75" h="82">
                <a:moveTo>
                  <a:pt x="51" y="70"/>
                </a:moveTo>
                <a:lnTo>
                  <a:pt x="75" y="47"/>
                </a:lnTo>
                <a:lnTo>
                  <a:pt x="65" y="24"/>
                </a:lnTo>
                <a:lnTo>
                  <a:pt x="51" y="11"/>
                </a:lnTo>
                <a:lnTo>
                  <a:pt x="24" y="0"/>
                </a:lnTo>
                <a:lnTo>
                  <a:pt x="9" y="9"/>
                </a:lnTo>
                <a:lnTo>
                  <a:pt x="0" y="26"/>
                </a:lnTo>
                <a:lnTo>
                  <a:pt x="3" y="53"/>
                </a:lnTo>
                <a:lnTo>
                  <a:pt x="8" y="74"/>
                </a:lnTo>
                <a:lnTo>
                  <a:pt x="29" y="82"/>
                </a:lnTo>
                <a:lnTo>
                  <a:pt x="51" y="70"/>
                </a:lnTo>
                <a:close/>
              </a:path>
            </a:pathLst>
          </a:custGeom>
          <a:solidFill>
            <a:srgbClr val="70B0DF"/>
          </a:solidFill>
          <a:ln w="9525">
            <a:noFill/>
            <a:round/>
            <a:headEnd/>
            <a:tailEnd/>
          </a:ln>
        </p:spPr>
        <p:txBody>
          <a:bodyPr wrap="none" lIns="32632" tIns="32632" rIns="32632" bIns="32632" anchor="ctr"/>
          <a:lstStyle/>
          <a:p>
            <a:pPr defTabSz="891045"/>
            <a:endParaRPr lang="en-US" sz="1700" dirty="0">
              <a:solidFill>
                <a:srgbClr val="003149"/>
              </a:solidFill>
              <a:cs typeface="Arial" panose="020B0604020202020204" pitchFamily="34" charset="0"/>
            </a:endParaRPr>
          </a:p>
        </p:txBody>
      </p:sp>
      <p:sp>
        <p:nvSpPr>
          <p:cNvPr id="123" name="Freeform 185"/>
          <p:cNvSpPr>
            <a:spLocks noChangeAspect="1"/>
          </p:cNvSpPr>
          <p:nvPr>
            <p:custDataLst>
              <p:tags r:id="rId93"/>
            </p:custDataLst>
          </p:nvPr>
        </p:nvSpPr>
        <p:spPr bwMode="gray">
          <a:xfrm rot="120000">
            <a:off x="4262399" y="2093125"/>
            <a:ext cx="27012" cy="33001"/>
          </a:xfrm>
          <a:custGeom>
            <a:avLst/>
            <a:gdLst>
              <a:gd name="T0" fmla="*/ 0 w 144"/>
              <a:gd name="T1" fmla="*/ 0 h 169"/>
              <a:gd name="T2" fmla="*/ 0 w 144"/>
              <a:gd name="T3" fmla="*/ 0 h 169"/>
              <a:gd name="T4" fmla="*/ 0 w 144"/>
              <a:gd name="T5" fmla="*/ 0 h 169"/>
              <a:gd name="T6" fmla="*/ 0 w 144"/>
              <a:gd name="T7" fmla="*/ 0 h 169"/>
              <a:gd name="T8" fmla="*/ 0 w 144"/>
              <a:gd name="T9" fmla="*/ 0 h 169"/>
              <a:gd name="T10" fmla="*/ 0 w 144"/>
              <a:gd name="T11" fmla="*/ 0 h 169"/>
              <a:gd name="T12" fmla="*/ 0 w 144"/>
              <a:gd name="T13" fmla="*/ 0 h 169"/>
              <a:gd name="T14" fmla="*/ 0 w 144"/>
              <a:gd name="T15" fmla="*/ 0 h 169"/>
              <a:gd name="T16" fmla="*/ 0 w 144"/>
              <a:gd name="T17" fmla="*/ 0 h 169"/>
              <a:gd name="T18" fmla="*/ 0 w 144"/>
              <a:gd name="T19" fmla="*/ 0 h 169"/>
              <a:gd name="T20" fmla="*/ 0 w 144"/>
              <a:gd name="T21" fmla="*/ 0 h 169"/>
              <a:gd name="T22" fmla="*/ 0 w 144"/>
              <a:gd name="T23" fmla="*/ 0 h 169"/>
              <a:gd name="T24" fmla="*/ 0 w 144"/>
              <a:gd name="T25" fmla="*/ 0 h 169"/>
              <a:gd name="T26" fmla="*/ 0 w 144"/>
              <a:gd name="T27" fmla="*/ 0 h 169"/>
              <a:gd name="T28" fmla="*/ 0 w 144"/>
              <a:gd name="T29" fmla="*/ 0 h 169"/>
              <a:gd name="T30" fmla="*/ 0 w 144"/>
              <a:gd name="T31" fmla="*/ 0 h 169"/>
              <a:gd name="T32" fmla="*/ 0 w 144"/>
              <a:gd name="T33" fmla="*/ 0 h 169"/>
              <a:gd name="T34" fmla="*/ 0 w 144"/>
              <a:gd name="T35" fmla="*/ 0 h 169"/>
              <a:gd name="T36" fmla="*/ 0 w 144"/>
              <a:gd name="T37" fmla="*/ 0 h 169"/>
              <a:gd name="T38" fmla="*/ 0 w 144"/>
              <a:gd name="T39" fmla="*/ 0 h 169"/>
              <a:gd name="T40" fmla="*/ 0 w 144"/>
              <a:gd name="T41" fmla="*/ 0 h 169"/>
              <a:gd name="T42" fmla="*/ 0 w 144"/>
              <a:gd name="T43" fmla="*/ 0 h 169"/>
              <a:gd name="T44" fmla="*/ 0 w 144"/>
              <a:gd name="T45" fmla="*/ 0 h 169"/>
              <a:gd name="T46" fmla="*/ 0 w 144"/>
              <a:gd name="T47" fmla="*/ 0 h 169"/>
              <a:gd name="T48" fmla="*/ 0 w 144"/>
              <a:gd name="T49" fmla="*/ 0 h 169"/>
              <a:gd name="T50" fmla="*/ 0 w 144"/>
              <a:gd name="T51" fmla="*/ 0 h 169"/>
              <a:gd name="T52" fmla="*/ 0 w 144"/>
              <a:gd name="T53" fmla="*/ 0 h 169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w 144"/>
              <a:gd name="T82" fmla="*/ 0 h 169"/>
              <a:gd name="T83" fmla="*/ 144 w 144"/>
              <a:gd name="T84" fmla="*/ 169 h 169"/>
            </a:gdLst>
            <a:ahLst/>
            <a:cxnLst>
              <a:cxn ang="T54">
                <a:pos x="T0" y="T1"/>
              </a:cxn>
              <a:cxn ang="T55">
                <a:pos x="T2" y="T3"/>
              </a:cxn>
              <a:cxn ang="T56">
                <a:pos x="T4" y="T5"/>
              </a:cxn>
              <a:cxn ang="T57">
                <a:pos x="T6" y="T7"/>
              </a:cxn>
              <a:cxn ang="T58">
                <a:pos x="T8" y="T9"/>
              </a:cxn>
              <a:cxn ang="T59">
                <a:pos x="T10" y="T11"/>
              </a:cxn>
              <a:cxn ang="T60">
                <a:pos x="T12" y="T13"/>
              </a:cxn>
              <a:cxn ang="T61">
                <a:pos x="T14" y="T15"/>
              </a:cxn>
              <a:cxn ang="T62">
                <a:pos x="T16" y="T17"/>
              </a:cxn>
              <a:cxn ang="T63">
                <a:pos x="T18" y="T19"/>
              </a:cxn>
              <a:cxn ang="T64">
                <a:pos x="T20" y="T21"/>
              </a:cxn>
              <a:cxn ang="T65">
                <a:pos x="T22" y="T23"/>
              </a:cxn>
              <a:cxn ang="T66">
                <a:pos x="T24" y="T25"/>
              </a:cxn>
              <a:cxn ang="T67">
                <a:pos x="T26" y="T27"/>
              </a:cxn>
              <a:cxn ang="T68">
                <a:pos x="T28" y="T29"/>
              </a:cxn>
              <a:cxn ang="T69">
                <a:pos x="T30" y="T31"/>
              </a:cxn>
              <a:cxn ang="T70">
                <a:pos x="T32" y="T33"/>
              </a:cxn>
              <a:cxn ang="T71">
                <a:pos x="T34" y="T35"/>
              </a:cxn>
              <a:cxn ang="T72">
                <a:pos x="T36" y="T37"/>
              </a:cxn>
              <a:cxn ang="T73">
                <a:pos x="T38" y="T39"/>
              </a:cxn>
              <a:cxn ang="T74">
                <a:pos x="T40" y="T41"/>
              </a:cxn>
              <a:cxn ang="T75">
                <a:pos x="T42" y="T43"/>
              </a:cxn>
              <a:cxn ang="T76">
                <a:pos x="T44" y="T45"/>
              </a:cxn>
              <a:cxn ang="T77">
                <a:pos x="T46" y="T47"/>
              </a:cxn>
              <a:cxn ang="T78">
                <a:pos x="T48" y="T49"/>
              </a:cxn>
              <a:cxn ang="T79">
                <a:pos x="T50" y="T51"/>
              </a:cxn>
              <a:cxn ang="T80">
                <a:pos x="T52" y="T53"/>
              </a:cxn>
            </a:cxnLst>
            <a:rect l="T81" t="T82" r="T83" b="T84"/>
            <a:pathLst>
              <a:path w="144" h="169">
                <a:moveTo>
                  <a:pt x="83" y="115"/>
                </a:moveTo>
                <a:lnTo>
                  <a:pt x="110" y="123"/>
                </a:lnTo>
                <a:lnTo>
                  <a:pt x="134" y="129"/>
                </a:lnTo>
                <a:lnTo>
                  <a:pt x="144" y="124"/>
                </a:lnTo>
                <a:lnTo>
                  <a:pt x="144" y="100"/>
                </a:lnTo>
                <a:lnTo>
                  <a:pt x="131" y="73"/>
                </a:lnTo>
                <a:lnTo>
                  <a:pt x="117" y="52"/>
                </a:lnTo>
                <a:lnTo>
                  <a:pt x="99" y="37"/>
                </a:lnTo>
                <a:lnTo>
                  <a:pt x="83" y="18"/>
                </a:lnTo>
                <a:lnTo>
                  <a:pt x="77" y="10"/>
                </a:lnTo>
                <a:lnTo>
                  <a:pt x="59" y="0"/>
                </a:lnTo>
                <a:lnTo>
                  <a:pt x="44" y="1"/>
                </a:lnTo>
                <a:lnTo>
                  <a:pt x="30" y="19"/>
                </a:lnTo>
                <a:lnTo>
                  <a:pt x="23" y="39"/>
                </a:lnTo>
                <a:lnTo>
                  <a:pt x="27" y="58"/>
                </a:lnTo>
                <a:lnTo>
                  <a:pt x="8" y="73"/>
                </a:lnTo>
                <a:lnTo>
                  <a:pt x="0" y="87"/>
                </a:lnTo>
                <a:lnTo>
                  <a:pt x="2" y="118"/>
                </a:lnTo>
                <a:lnTo>
                  <a:pt x="0" y="147"/>
                </a:lnTo>
                <a:lnTo>
                  <a:pt x="15" y="154"/>
                </a:lnTo>
                <a:lnTo>
                  <a:pt x="18" y="166"/>
                </a:lnTo>
                <a:lnTo>
                  <a:pt x="41" y="169"/>
                </a:lnTo>
                <a:lnTo>
                  <a:pt x="68" y="165"/>
                </a:lnTo>
                <a:lnTo>
                  <a:pt x="71" y="145"/>
                </a:lnTo>
                <a:lnTo>
                  <a:pt x="71" y="132"/>
                </a:lnTo>
                <a:lnTo>
                  <a:pt x="74" y="120"/>
                </a:lnTo>
                <a:lnTo>
                  <a:pt x="83" y="115"/>
                </a:lnTo>
                <a:close/>
              </a:path>
            </a:pathLst>
          </a:custGeom>
          <a:solidFill>
            <a:srgbClr val="70B0DF"/>
          </a:solidFill>
          <a:ln w="9525">
            <a:noFill/>
            <a:round/>
            <a:headEnd/>
            <a:tailEnd/>
          </a:ln>
        </p:spPr>
        <p:txBody>
          <a:bodyPr wrap="none" lIns="32632" tIns="32632" rIns="32632" bIns="32632" anchor="ctr"/>
          <a:lstStyle/>
          <a:p>
            <a:pPr defTabSz="891045"/>
            <a:endParaRPr lang="en-US" sz="1700" dirty="0">
              <a:solidFill>
                <a:srgbClr val="003149"/>
              </a:solidFill>
              <a:cs typeface="Arial" panose="020B0604020202020204" pitchFamily="34" charset="0"/>
            </a:endParaRPr>
          </a:p>
        </p:txBody>
      </p:sp>
      <p:sp>
        <p:nvSpPr>
          <p:cNvPr id="124" name="Freeform 186"/>
          <p:cNvSpPr>
            <a:spLocks noChangeAspect="1"/>
          </p:cNvSpPr>
          <p:nvPr>
            <p:custDataLst>
              <p:tags r:id="rId94"/>
            </p:custDataLst>
          </p:nvPr>
        </p:nvSpPr>
        <p:spPr bwMode="gray">
          <a:xfrm rot="120000">
            <a:off x="4243941" y="2093120"/>
            <a:ext cx="21325" cy="20088"/>
          </a:xfrm>
          <a:custGeom>
            <a:avLst/>
            <a:gdLst>
              <a:gd name="T0" fmla="*/ 0 w 118"/>
              <a:gd name="T1" fmla="*/ 0 h 104"/>
              <a:gd name="T2" fmla="*/ 0 w 118"/>
              <a:gd name="T3" fmla="*/ 0 h 104"/>
              <a:gd name="T4" fmla="*/ 0 w 118"/>
              <a:gd name="T5" fmla="*/ 0 h 104"/>
              <a:gd name="T6" fmla="*/ 0 w 118"/>
              <a:gd name="T7" fmla="*/ 0 h 104"/>
              <a:gd name="T8" fmla="*/ 0 w 118"/>
              <a:gd name="T9" fmla="*/ 0 h 104"/>
              <a:gd name="T10" fmla="*/ 0 w 118"/>
              <a:gd name="T11" fmla="*/ 0 h 104"/>
              <a:gd name="T12" fmla="*/ 0 w 118"/>
              <a:gd name="T13" fmla="*/ 0 h 104"/>
              <a:gd name="T14" fmla="*/ 0 w 118"/>
              <a:gd name="T15" fmla="*/ 0 h 104"/>
              <a:gd name="T16" fmla="*/ 0 w 118"/>
              <a:gd name="T17" fmla="*/ 0 h 104"/>
              <a:gd name="T18" fmla="*/ 0 w 118"/>
              <a:gd name="T19" fmla="*/ 0 h 104"/>
              <a:gd name="T20" fmla="*/ 0 w 118"/>
              <a:gd name="T21" fmla="*/ 0 h 104"/>
              <a:gd name="T22" fmla="*/ 0 w 118"/>
              <a:gd name="T23" fmla="*/ 0 h 104"/>
              <a:gd name="T24" fmla="*/ 0 w 118"/>
              <a:gd name="T25" fmla="*/ 0 h 104"/>
              <a:gd name="T26" fmla="*/ 0 w 118"/>
              <a:gd name="T27" fmla="*/ 0 h 104"/>
              <a:gd name="T28" fmla="*/ 0 w 118"/>
              <a:gd name="T29" fmla="*/ 0 h 104"/>
              <a:gd name="T30" fmla="*/ 0 w 118"/>
              <a:gd name="T31" fmla="*/ 0 h 104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w 118"/>
              <a:gd name="T49" fmla="*/ 0 h 104"/>
              <a:gd name="T50" fmla="*/ 118 w 118"/>
              <a:gd name="T51" fmla="*/ 104 h 104"/>
            </a:gdLst>
            <a:ahLst/>
            <a:cxnLst>
              <a:cxn ang="T32">
                <a:pos x="T0" y="T1"/>
              </a:cxn>
              <a:cxn ang="T33">
                <a:pos x="T2" y="T3"/>
              </a:cxn>
              <a:cxn ang="T34">
                <a:pos x="T4" y="T5"/>
              </a:cxn>
              <a:cxn ang="T35">
                <a:pos x="T6" y="T7"/>
              </a:cxn>
              <a:cxn ang="T36">
                <a:pos x="T8" y="T9"/>
              </a:cxn>
              <a:cxn ang="T37">
                <a:pos x="T10" y="T11"/>
              </a:cxn>
              <a:cxn ang="T38">
                <a:pos x="T12" y="T13"/>
              </a:cxn>
              <a:cxn ang="T39">
                <a:pos x="T14" y="T15"/>
              </a:cxn>
              <a:cxn ang="T40">
                <a:pos x="T16" y="T17"/>
              </a:cxn>
              <a:cxn ang="T41">
                <a:pos x="T18" y="T19"/>
              </a:cxn>
              <a:cxn ang="T42">
                <a:pos x="T20" y="T21"/>
              </a:cxn>
              <a:cxn ang="T43">
                <a:pos x="T22" y="T23"/>
              </a:cxn>
              <a:cxn ang="T44">
                <a:pos x="T24" y="T25"/>
              </a:cxn>
              <a:cxn ang="T45">
                <a:pos x="T26" y="T27"/>
              </a:cxn>
              <a:cxn ang="T46">
                <a:pos x="T28" y="T29"/>
              </a:cxn>
              <a:cxn ang="T47">
                <a:pos x="T30" y="T31"/>
              </a:cxn>
            </a:cxnLst>
            <a:rect l="T48" t="T49" r="T50" b="T51"/>
            <a:pathLst>
              <a:path w="118" h="104">
                <a:moveTo>
                  <a:pt x="60" y="101"/>
                </a:moveTo>
                <a:lnTo>
                  <a:pt x="91" y="87"/>
                </a:lnTo>
                <a:lnTo>
                  <a:pt x="90" y="65"/>
                </a:lnTo>
                <a:lnTo>
                  <a:pt x="108" y="56"/>
                </a:lnTo>
                <a:lnTo>
                  <a:pt x="118" y="35"/>
                </a:lnTo>
                <a:lnTo>
                  <a:pt x="112" y="17"/>
                </a:lnTo>
                <a:lnTo>
                  <a:pt x="88" y="6"/>
                </a:lnTo>
                <a:lnTo>
                  <a:pt x="70" y="0"/>
                </a:lnTo>
                <a:lnTo>
                  <a:pt x="48" y="17"/>
                </a:lnTo>
                <a:lnTo>
                  <a:pt x="31" y="33"/>
                </a:lnTo>
                <a:lnTo>
                  <a:pt x="16" y="44"/>
                </a:lnTo>
                <a:lnTo>
                  <a:pt x="0" y="65"/>
                </a:lnTo>
                <a:lnTo>
                  <a:pt x="6" y="83"/>
                </a:lnTo>
                <a:lnTo>
                  <a:pt x="22" y="90"/>
                </a:lnTo>
                <a:lnTo>
                  <a:pt x="42" y="104"/>
                </a:lnTo>
                <a:lnTo>
                  <a:pt x="60" y="101"/>
                </a:lnTo>
                <a:close/>
              </a:path>
            </a:pathLst>
          </a:custGeom>
          <a:solidFill>
            <a:srgbClr val="70B0DF"/>
          </a:solidFill>
          <a:ln w="9525">
            <a:noFill/>
            <a:round/>
            <a:headEnd/>
            <a:tailEnd/>
          </a:ln>
        </p:spPr>
        <p:txBody>
          <a:bodyPr wrap="none" lIns="32632" tIns="32632" rIns="32632" bIns="32632" anchor="ctr"/>
          <a:lstStyle/>
          <a:p>
            <a:pPr defTabSz="891045"/>
            <a:endParaRPr lang="en-US" sz="1700" dirty="0">
              <a:solidFill>
                <a:srgbClr val="003149"/>
              </a:solidFill>
              <a:cs typeface="Arial" panose="020B0604020202020204" pitchFamily="34" charset="0"/>
            </a:endParaRPr>
          </a:p>
        </p:txBody>
      </p:sp>
      <p:sp>
        <p:nvSpPr>
          <p:cNvPr id="125" name="Freeform 187"/>
          <p:cNvSpPr>
            <a:spLocks noChangeAspect="1"/>
          </p:cNvSpPr>
          <p:nvPr>
            <p:custDataLst>
              <p:tags r:id="rId95"/>
            </p:custDataLst>
          </p:nvPr>
        </p:nvSpPr>
        <p:spPr bwMode="gray">
          <a:xfrm rot="120000">
            <a:off x="4236807" y="2050090"/>
            <a:ext cx="8530" cy="8610"/>
          </a:xfrm>
          <a:custGeom>
            <a:avLst/>
            <a:gdLst>
              <a:gd name="T0" fmla="*/ 0 w 54"/>
              <a:gd name="T1" fmla="*/ 0 h 54"/>
              <a:gd name="T2" fmla="*/ 0 w 54"/>
              <a:gd name="T3" fmla="*/ 0 h 54"/>
              <a:gd name="T4" fmla="*/ 0 w 54"/>
              <a:gd name="T5" fmla="*/ 0 h 54"/>
              <a:gd name="T6" fmla="*/ 0 w 54"/>
              <a:gd name="T7" fmla="*/ 0 h 54"/>
              <a:gd name="T8" fmla="*/ 0 w 54"/>
              <a:gd name="T9" fmla="*/ 0 h 54"/>
              <a:gd name="T10" fmla="*/ 0 w 54"/>
              <a:gd name="T11" fmla="*/ 0 h 54"/>
              <a:gd name="T12" fmla="*/ 0 w 54"/>
              <a:gd name="T13" fmla="*/ 0 h 54"/>
              <a:gd name="T14" fmla="*/ 0 w 54"/>
              <a:gd name="T15" fmla="*/ 0 h 54"/>
              <a:gd name="T16" fmla="*/ 0 w 54"/>
              <a:gd name="T17" fmla="*/ 0 h 54"/>
              <a:gd name="T18" fmla="*/ 0 w 54"/>
              <a:gd name="T19" fmla="*/ 0 h 54"/>
              <a:gd name="T20" fmla="*/ 0 w 54"/>
              <a:gd name="T21" fmla="*/ 0 h 54"/>
              <a:gd name="T22" fmla="*/ 0 w 54"/>
              <a:gd name="T23" fmla="*/ 0 h 54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w 54"/>
              <a:gd name="T37" fmla="*/ 0 h 54"/>
              <a:gd name="T38" fmla="*/ 54 w 54"/>
              <a:gd name="T39" fmla="*/ 54 h 54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T36" t="T37" r="T38" b="T39"/>
            <a:pathLst>
              <a:path w="54" h="54">
                <a:moveTo>
                  <a:pt x="9" y="51"/>
                </a:moveTo>
                <a:lnTo>
                  <a:pt x="0" y="39"/>
                </a:lnTo>
                <a:lnTo>
                  <a:pt x="2" y="22"/>
                </a:lnTo>
                <a:lnTo>
                  <a:pt x="12" y="18"/>
                </a:lnTo>
                <a:lnTo>
                  <a:pt x="15" y="6"/>
                </a:lnTo>
                <a:lnTo>
                  <a:pt x="35" y="0"/>
                </a:lnTo>
                <a:lnTo>
                  <a:pt x="54" y="10"/>
                </a:lnTo>
                <a:lnTo>
                  <a:pt x="50" y="27"/>
                </a:lnTo>
                <a:lnTo>
                  <a:pt x="38" y="37"/>
                </a:lnTo>
                <a:lnTo>
                  <a:pt x="27" y="46"/>
                </a:lnTo>
                <a:lnTo>
                  <a:pt x="20" y="54"/>
                </a:lnTo>
                <a:lnTo>
                  <a:pt x="9" y="51"/>
                </a:lnTo>
                <a:close/>
              </a:path>
            </a:pathLst>
          </a:custGeom>
          <a:solidFill>
            <a:srgbClr val="70B0DF"/>
          </a:solidFill>
          <a:ln w="9525">
            <a:noFill/>
            <a:round/>
            <a:headEnd/>
            <a:tailEnd/>
          </a:ln>
        </p:spPr>
        <p:txBody>
          <a:bodyPr wrap="none" lIns="32632" tIns="32632" rIns="32632" bIns="32632" anchor="ctr"/>
          <a:lstStyle/>
          <a:p>
            <a:pPr defTabSz="891045"/>
            <a:endParaRPr lang="en-US" sz="1700" dirty="0">
              <a:solidFill>
                <a:srgbClr val="003149"/>
              </a:solidFill>
              <a:cs typeface="Arial" panose="020B0604020202020204" pitchFamily="34" charset="0"/>
            </a:endParaRPr>
          </a:p>
        </p:txBody>
      </p:sp>
      <p:sp>
        <p:nvSpPr>
          <p:cNvPr id="126" name="Freeform 311"/>
          <p:cNvSpPr>
            <a:spLocks noChangeAspect="1"/>
          </p:cNvSpPr>
          <p:nvPr/>
        </p:nvSpPr>
        <p:spPr bwMode="gray">
          <a:xfrm>
            <a:off x="5062813" y="2612555"/>
            <a:ext cx="41229" cy="35871"/>
          </a:xfrm>
          <a:custGeom>
            <a:avLst/>
            <a:gdLst>
              <a:gd name="T0" fmla="*/ 616603882 w 101"/>
              <a:gd name="T1" fmla="*/ 745653551 h 72"/>
              <a:gd name="T2" fmla="*/ 616603882 w 101"/>
              <a:gd name="T3" fmla="*/ 745653551 h 72"/>
              <a:gd name="T4" fmla="*/ 616603882 w 101"/>
              <a:gd name="T5" fmla="*/ 745653551 h 72"/>
              <a:gd name="T6" fmla="*/ 616603882 w 101"/>
              <a:gd name="T7" fmla="*/ 745653551 h 72"/>
              <a:gd name="T8" fmla="*/ 616603882 w 101"/>
              <a:gd name="T9" fmla="*/ 745653551 h 72"/>
              <a:gd name="T10" fmla="*/ 616603882 w 101"/>
              <a:gd name="T11" fmla="*/ 745653551 h 72"/>
              <a:gd name="T12" fmla="*/ 616603882 w 101"/>
              <a:gd name="T13" fmla="*/ 745653551 h 72"/>
              <a:gd name="T14" fmla="*/ 616603882 w 101"/>
              <a:gd name="T15" fmla="*/ 0 h 72"/>
              <a:gd name="T16" fmla="*/ 616603882 w 101"/>
              <a:gd name="T17" fmla="*/ 0 h 72"/>
              <a:gd name="T18" fmla="*/ 616603882 w 101"/>
              <a:gd name="T19" fmla="*/ 0 h 72"/>
              <a:gd name="T20" fmla="*/ 616603882 w 101"/>
              <a:gd name="T21" fmla="*/ 0 h 72"/>
              <a:gd name="T22" fmla="*/ 0 w 101"/>
              <a:gd name="T23" fmla="*/ 0 h 72"/>
              <a:gd name="T24" fmla="*/ 0 w 101"/>
              <a:gd name="T25" fmla="*/ 0 h 72"/>
              <a:gd name="T26" fmla="*/ 0 w 101"/>
              <a:gd name="T27" fmla="*/ 745653551 h 72"/>
              <a:gd name="T28" fmla="*/ 0 w 101"/>
              <a:gd name="T29" fmla="*/ 745653551 h 72"/>
              <a:gd name="T30" fmla="*/ 0 w 101"/>
              <a:gd name="T31" fmla="*/ 745653551 h 72"/>
              <a:gd name="T32" fmla="*/ 0 w 101"/>
              <a:gd name="T33" fmla="*/ 745653551 h 72"/>
              <a:gd name="T34" fmla="*/ 0 w 101"/>
              <a:gd name="T35" fmla="*/ 745653551 h 72"/>
              <a:gd name="T36" fmla="*/ 0 w 101"/>
              <a:gd name="T37" fmla="*/ 745653551 h 72"/>
              <a:gd name="T38" fmla="*/ 0 w 101"/>
              <a:gd name="T39" fmla="*/ 745653551 h 72"/>
              <a:gd name="T40" fmla="*/ 616603882 w 101"/>
              <a:gd name="T41" fmla="*/ 745653551 h 72"/>
              <a:gd name="T42" fmla="*/ 616603882 w 101"/>
              <a:gd name="T43" fmla="*/ 745653551 h 72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w 101"/>
              <a:gd name="T67" fmla="*/ 0 h 72"/>
              <a:gd name="T68" fmla="*/ 101 w 101"/>
              <a:gd name="T69" fmla="*/ 72 h 72"/>
            </a:gdLst>
            <a:ahLst/>
            <a:cxnLst>
              <a:cxn ang="T44">
                <a:pos x="T0" y="T1"/>
              </a:cxn>
              <a:cxn ang="T45">
                <a:pos x="T2" y="T3"/>
              </a:cxn>
              <a:cxn ang="T46">
                <a:pos x="T4" y="T5"/>
              </a:cxn>
              <a:cxn ang="T47">
                <a:pos x="T6" y="T7"/>
              </a:cxn>
              <a:cxn ang="T48">
                <a:pos x="T8" y="T9"/>
              </a:cxn>
              <a:cxn ang="T49">
                <a:pos x="T10" y="T11"/>
              </a:cxn>
              <a:cxn ang="T50">
                <a:pos x="T12" y="T13"/>
              </a:cxn>
              <a:cxn ang="T51">
                <a:pos x="T14" y="T15"/>
              </a:cxn>
              <a:cxn ang="T52">
                <a:pos x="T16" y="T17"/>
              </a:cxn>
              <a:cxn ang="T53">
                <a:pos x="T18" y="T19"/>
              </a:cxn>
              <a:cxn ang="T54">
                <a:pos x="T20" y="T21"/>
              </a:cxn>
              <a:cxn ang="T55">
                <a:pos x="T22" y="T23"/>
              </a:cxn>
              <a:cxn ang="T56">
                <a:pos x="T24" y="T25"/>
              </a:cxn>
              <a:cxn ang="T57">
                <a:pos x="T26" y="T27"/>
              </a:cxn>
              <a:cxn ang="T58">
                <a:pos x="T28" y="T29"/>
              </a:cxn>
              <a:cxn ang="T59">
                <a:pos x="T30" y="T31"/>
              </a:cxn>
              <a:cxn ang="T60">
                <a:pos x="T32" y="T33"/>
              </a:cxn>
              <a:cxn ang="T61">
                <a:pos x="T34" y="T35"/>
              </a:cxn>
              <a:cxn ang="T62">
                <a:pos x="T36" y="T37"/>
              </a:cxn>
              <a:cxn ang="T63">
                <a:pos x="T38" y="T39"/>
              </a:cxn>
              <a:cxn ang="T64">
                <a:pos x="T40" y="T41"/>
              </a:cxn>
              <a:cxn ang="T65">
                <a:pos x="T42" y="T43"/>
              </a:cxn>
            </a:cxnLst>
            <a:rect l="T66" t="T67" r="T68" b="T69"/>
            <a:pathLst>
              <a:path w="101" h="72">
                <a:moveTo>
                  <a:pt x="47" y="71"/>
                </a:moveTo>
                <a:lnTo>
                  <a:pt x="78" y="72"/>
                </a:lnTo>
                <a:lnTo>
                  <a:pt x="83" y="61"/>
                </a:lnTo>
                <a:lnTo>
                  <a:pt x="84" y="51"/>
                </a:lnTo>
                <a:lnTo>
                  <a:pt x="97" y="37"/>
                </a:lnTo>
                <a:lnTo>
                  <a:pt x="97" y="23"/>
                </a:lnTo>
                <a:lnTo>
                  <a:pt x="101" y="13"/>
                </a:lnTo>
                <a:lnTo>
                  <a:pt x="90" y="3"/>
                </a:lnTo>
                <a:lnTo>
                  <a:pt x="71" y="0"/>
                </a:lnTo>
                <a:lnTo>
                  <a:pt x="53" y="3"/>
                </a:lnTo>
                <a:lnTo>
                  <a:pt x="35" y="4"/>
                </a:lnTo>
                <a:lnTo>
                  <a:pt x="28" y="0"/>
                </a:lnTo>
                <a:lnTo>
                  <a:pt x="20" y="3"/>
                </a:lnTo>
                <a:lnTo>
                  <a:pt x="21" y="13"/>
                </a:lnTo>
                <a:lnTo>
                  <a:pt x="23" y="25"/>
                </a:lnTo>
                <a:lnTo>
                  <a:pt x="23" y="34"/>
                </a:lnTo>
                <a:lnTo>
                  <a:pt x="11" y="33"/>
                </a:lnTo>
                <a:lnTo>
                  <a:pt x="0" y="36"/>
                </a:lnTo>
                <a:lnTo>
                  <a:pt x="4" y="50"/>
                </a:lnTo>
                <a:lnTo>
                  <a:pt x="23" y="57"/>
                </a:lnTo>
                <a:lnTo>
                  <a:pt x="33" y="68"/>
                </a:lnTo>
                <a:lnTo>
                  <a:pt x="47" y="71"/>
                </a:lnTo>
                <a:close/>
              </a:path>
            </a:pathLst>
          </a:custGeom>
          <a:solidFill>
            <a:srgbClr val="70B0DF"/>
          </a:solidFill>
          <a:ln w="9525">
            <a:noFill/>
            <a:round/>
            <a:headEnd/>
            <a:tailEnd/>
          </a:ln>
        </p:spPr>
        <p:txBody>
          <a:bodyPr wrap="none" lIns="82878" tIns="41438" rIns="82878" bIns="41438"/>
          <a:lstStyle/>
          <a:p>
            <a:pPr defTabSz="891045"/>
            <a:endParaRPr lang="en-US" sz="1700" dirty="0">
              <a:solidFill>
                <a:srgbClr val="003149"/>
              </a:solidFill>
              <a:cs typeface="Arial" panose="020B0604020202020204" pitchFamily="34" charset="0"/>
            </a:endParaRPr>
          </a:p>
        </p:txBody>
      </p:sp>
      <p:sp>
        <p:nvSpPr>
          <p:cNvPr id="127" name="Freeform 312"/>
          <p:cNvSpPr>
            <a:spLocks noChangeAspect="1"/>
          </p:cNvSpPr>
          <p:nvPr/>
        </p:nvSpPr>
        <p:spPr bwMode="gray">
          <a:xfrm>
            <a:off x="5605876" y="2243794"/>
            <a:ext cx="89565" cy="60264"/>
          </a:xfrm>
          <a:custGeom>
            <a:avLst/>
            <a:gdLst>
              <a:gd name="T0" fmla="*/ 620602751 w 218"/>
              <a:gd name="T1" fmla="*/ 688505723 h 131"/>
              <a:gd name="T2" fmla="*/ 620602751 w 218"/>
              <a:gd name="T3" fmla="*/ 688505723 h 131"/>
              <a:gd name="T4" fmla="*/ 620602751 w 218"/>
              <a:gd name="T5" fmla="*/ 688505723 h 131"/>
              <a:gd name="T6" fmla="*/ 620602751 w 218"/>
              <a:gd name="T7" fmla="*/ 688505723 h 131"/>
              <a:gd name="T8" fmla="*/ 620602751 w 218"/>
              <a:gd name="T9" fmla="*/ 688505723 h 131"/>
              <a:gd name="T10" fmla="*/ 620602751 w 218"/>
              <a:gd name="T11" fmla="*/ 688505723 h 131"/>
              <a:gd name="T12" fmla="*/ 620602751 w 218"/>
              <a:gd name="T13" fmla="*/ 0 h 131"/>
              <a:gd name="T14" fmla="*/ 620602751 w 218"/>
              <a:gd name="T15" fmla="*/ 0 h 131"/>
              <a:gd name="T16" fmla="*/ 620602751 w 218"/>
              <a:gd name="T17" fmla="*/ 688505723 h 131"/>
              <a:gd name="T18" fmla="*/ 620602751 w 218"/>
              <a:gd name="T19" fmla="*/ 688505723 h 131"/>
              <a:gd name="T20" fmla="*/ 620602751 w 218"/>
              <a:gd name="T21" fmla="*/ 688505723 h 131"/>
              <a:gd name="T22" fmla="*/ 620602751 w 218"/>
              <a:gd name="T23" fmla="*/ 688505723 h 131"/>
              <a:gd name="T24" fmla="*/ 620602751 w 218"/>
              <a:gd name="T25" fmla="*/ 688505723 h 131"/>
              <a:gd name="T26" fmla="*/ 620602751 w 218"/>
              <a:gd name="T27" fmla="*/ 688505723 h 131"/>
              <a:gd name="T28" fmla="*/ 620602751 w 218"/>
              <a:gd name="T29" fmla="*/ 688505723 h 131"/>
              <a:gd name="T30" fmla="*/ 620602751 w 218"/>
              <a:gd name="T31" fmla="*/ 688505723 h 131"/>
              <a:gd name="T32" fmla="*/ 620602751 w 218"/>
              <a:gd name="T33" fmla="*/ 688505723 h 131"/>
              <a:gd name="T34" fmla="*/ 620602751 w 218"/>
              <a:gd name="T35" fmla="*/ 688505723 h 131"/>
              <a:gd name="T36" fmla="*/ 620602751 w 218"/>
              <a:gd name="T37" fmla="*/ 688505723 h 131"/>
              <a:gd name="T38" fmla="*/ 620602751 w 218"/>
              <a:gd name="T39" fmla="*/ 688505723 h 131"/>
              <a:gd name="T40" fmla="*/ 620602751 w 218"/>
              <a:gd name="T41" fmla="*/ 688505723 h 131"/>
              <a:gd name="T42" fmla="*/ 620602751 w 218"/>
              <a:gd name="T43" fmla="*/ 688505723 h 131"/>
              <a:gd name="T44" fmla="*/ 620602751 w 218"/>
              <a:gd name="T45" fmla="*/ 688505723 h 131"/>
              <a:gd name="T46" fmla="*/ 620602751 w 218"/>
              <a:gd name="T47" fmla="*/ 688505723 h 131"/>
              <a:gd name="T48" fmla="*/ 0 w 218"/>
              <a:gd name="T49" fmla="*/ 688505723 h 131"/>
              <a:gd name="T50" fmla="*/ 0 w 218"/>
              <a:gd name="T51" fmla="*/ 688505723 h 131"/>
              <a:gd name="T52" fmla="*/ 0 w 218"/>
              <a:gd name="T53" fmla="*/ 688505723 h 131"/>
              <a:gd name="T54" fmla="*/ 0 w 218"/>
              <a:gd name="T55" fmla="*/ 688505723 h 131"/>
              <a:gd name="T56" fmla="*/ 0 w 218"/>
              <a:gd name="T57" fmla="*/ 688505723 h 131"/>
              <a:gd name="T58" fmla="*/ 620602751 w 218"/>
              <a:gd name="T59" fmla="*/ 688505723 h 131"/>
              <a:gd name="T60" fmla="*/ 620602751 w 218"/>
              <a:gd name="T61" fmla="*/ 688505723 h 131"/>
              <a:gd name="T62" fmla="*/ 620602751 w 218"/>
              <a:gd name="T63" fmla="*/ 688505723 h 131"/>
              <a:gd name="T64" fmla="*/ 620602751 w 218"/>
              <a:gd name="T65" fmla="*/ 688505723 h 131"/>
              <a:gd name="T66" fmla="*/ 620602751 w 218"/>
              <a:gd name="T67" fmla="*/ 688505723 h 131"/>
              <a:gd name="T68" fmla="*/ 620602751 w 218"/>
              <a:gd name="T69" fmla="*/ 688505723 h 131"/>
              <a:gd name="T70" fmla="*/ 620602751 w 218"/>
              <a:gd name="T71" fmla="*/ 688505723 h 131"/>
              <a:gd name="T72" fmla="*/ 620602751 w 218"/>
              <a:gd name="T73" fmla="*/ 688505723 h 131"/>
              <a:gd name="T74" fmla="*/ 620602751 w 218"/>
              <a:gd name="T75" fmla="*/ 688505723 h 131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w 218"/>
              <a:gd name="T115" fmla="*/ 0 h 131"/>
              <a:gd name="T116" fmla="*/ 218 w 218"/>
              <a:gd name="T117" fmla="*/ 131 h 131"/>
            </a:gdLst>
            <a:ahLst/>
            <a:cxnLst>
              <a:cxn ang="T76">
                <a:pos x="T0" y="T1"/>
              </a:cxn>
              <a:cxn ang="T77">
                <a:pos x="T2" y="T3"/>
              </a:cxn>
              <a:cxn ang="T78">
                <a:pos x="T4" y="T5"/>
              </a:cxn>
              <a:cxn ang="T79">
                <a:pos x="T6" y="T7"/>
              </a:cxn>
              <a:cxn ang="T80">
                <a:pos x="T8" y="T9"/>
              </a:cxn>
              <a:cxn ang="T81">
                <a:pos x="T10" y="T11"/>
              </a:cxn>
              <a:cxn ang="T82">
                <a:pos x="T12" y="T13"/>
              </a:cxn>
              <a:cxn ang="T83">
                <a:pos x="T14" y="T15"/>
              </a:cxn>
              <a:cxn ang="T84">
                <a:pos x="T16" y="T17"/>
              </a:cxn>
              <a:cxn ang="T85">
                <a:pos x="T18" y="T19"/>
              </a:cxn>
              <a:cxn ang="T86">
                <a:pos x="T20" y="T21"/>
              </a:cxn>
              <a:cxn ang="T87">
                <a:pos x="T22" y="T23"/>
              </a:cxn>
              <a:cxn ang="T88">
                <a:pos x="T24" y="T25"/>
              </a:cxn>
              <a:cxn ang="T89">
                <a:pos x="T26" y="T27"/>
              </a:cxn>
              <a:cxn ang="T90">
                <a:pos x="T28" y="T29"/>
              </a:cxn>
              <a:cxn ang="T91">
                <a:pos x="T30" y="T31"/>
              </a:cxn>
              <a:cxn ang="T92">
                <a:pos x="T32" y="T33"/>
              </a:cxn>
              <a:cxn ang="T93">
                <a:pos x="T34" y="T35"/>
              </a:cxn>
              <a:cxn ang="T94">
                <a:pos x="T36" y="T37"/>
              </a:cxn>
              <a:cxn ang="T95">
                <a:pos x="T38" y="T39"/>
              </a:cxn>
              <a:cxn ang="T96">
                <a:pos x="T40" y="T41"/>
              </a:cxn>
              <a:cxn ang="T97">
                <a:pos x="T42" y="T43"/>
              </a:cxn>
              <a:cxn ang="T98">
                <a:pos x="T44" y="T45"/>
              </a:cxn>
              <a:cxn ang="T99">
                <a:pos x="T46" y="T47"/>
              </a:cxn>
              <a:cxn ang="T100">
                <a:pos x="T48" y="T49"/>
              </a:cxn>
              <a:cxn ang="T101">
                <a:pos x="T50" y="T51"/>
              </a:cxn>
              <a:cxn ang="T102">
                <a:pos x="T52" y="T53"/>
              </a:cxn>
              <a:cxn ang="T103">
                <a:pos x="T54" y="T55"/>
              </a:cxn>
              <a:cxn ang="T104">
                <a:pos x="T56" y="T57"/>
              </a:cxn>
              <a:cxn ang="T105">
                <a:pos x="T58" y="T59"/>
              </a:cxn>
              <a:cxn ang="T106">
                <a:pos x="T60" y="T61"/>
              </a:cxn>
              <a:cxn ang="T107">
                <a:pos x="T62" y="T63"/>
              </a:cxn>
              <a:cxn ang="T108">
                <a:pos x="T64" y="T65"/>
              </a:cxn>
              <a:cxn ang="T109">
                <a:pos x="T66" y="T67"/>
              </a:cxn>
              <a:cxn ang="T110">
                <a:pos x="T68" y="T69"/>
              </a:cxn>
              <a:cxn ang="T111">
                <a:pos x="T70" y="T71"/>
              </a:cxn>
              <a:cxn ang="T112">
                <a:pos x="T72" y="T73"/>
              </a:cxn>
              <a:cxn ang="T113">
                <a:pos x="T74" y="T75"/>
              </a:cxn>
            </a:cxnLst>
            <a:rect l="T114" t="T115" r="T116" b="T117"/>
            <a:pathLst>
              <a:path w="218" h="131">
                <a:moveTo>
                  <a:pt x="200" y="90"/>
                </a:moveTo>
                <a:lnTo>
                  <a:pt x="198" y="66"/>
                </a:lnTo>
                <a:lnTo>
                  <a:pt x="215" y="48"/>
                </a:lnTo>
                <a:lnTo>
                  <a:pt x="218" y="33"/>
                </a:lnTo>
                <a:lnTo>
                  <a:pt x="203" y="20"/>
                </a:lnTo>
                <a:lnTo>
                  <a:pt x="200" y="9"/>
                </a:lnTo>
                <a:lnTo>
                  <a:pt x="194" y="0"/>
                </a:lnTo>
                <a:lnTo>
                  <a:pt x="183" y="5"/>
                </a:lnTo>
                <a:lnTo>
                  <a:pt x="179" y="17"/>
                </a:lnTo>
                <a:lnTo>
                  <a:pt x="165" y="17"/>
                </a:lnTo>
                <a:lnTo>
                  <a:pt x="150" y="26"/>
                </a:lnTo>
                <a:lnTo>
                  <a:pt x="137" y="30"/>
                </a:lnTo>
                <a:lnTo>
                  <a:pt x="125" y="39"/>
                </a:lnTo>
                <a:lnTo>
                  <a:pt x="123" y="50"/>
                </a:lnTo>
                <a:lnTo>
                  <a:pt x="111" y="57"/>
                </a:lnTo>
                <a:lnTo>
                  <a:pt x="96" y="44"/>
                </a:lnTo>
                <a:lnTo>
                  <a:pt x="83" y="45"/>
                </a:lnTo>
                <a:lnTo>
                  <a:pt x="69" y="57"/>
                </a:lnTo>
                <a:lnTo>
                  <a:pt x="53" y="63"/>
                </a:lnTo>
                <a:lnTo>
                  <a:pt x="53" y="74"/>
                </a:lnTo>
                <a:lnTo>
                  <a:pt x="63" y="78"/>
                </a:lnTo>
                <a:lnTo>
                  <a:pt x="48" y="93"/>
                </a:lnTo>
                <a:lnTo>
                  <a:pt x="38" y="93"/>
                </a:lnTo>
                <a:lnTo>
                  <a:pt x="27" y="84"/>
                </a:lnTo>
                <a:lnTo>
                  <a:pt x="15" y="74"/>
                </a:lnTo>
                <a:lnTo>
                  <a:pt x="0" y="71"/>
                </a:lnTo>
                <a:lnTo>
                  <a:pt x="2" y="83"/>
                </a:lnTo>
                <a:lnTo>
                  <a:pt x="12" y="92"/>
                </a:lnTo>
                <a:lnTo>
                  <a:pt x="18" y="111"/>
                </a:lnTo>
                <a:lnTo>
                  <a:pt x="27" y="123"/>
                </a:lnTo>
                <a:lnTo>
                  <a:pt x="41" y="131"/>
                </a:lnTo>
                <a:lnTo>
                  <a:pt x="71" y="125"/>
                </a:lnTo>
                <a:lnTo>
                  <a:pt x="95" y="125"/>
                </a:lnTo>
                <a:lnTo>
                  <a:pt x="111" y="117"/>
                </a:lnTo>
                <a:lnTo>
                  <a:pt x="135" y="120"/>
                </a:lnTo>
                <a:lnTo>
                  <a:pt x="155" y="116"/>
                </a:lnTo>
                <a:lnTo>
                  <a:pt x="177" y="105"/>
                </a:lnTo>
                <a:lnTo>
                  <a:pt x="200" y="90"/>
                </a:lnTo>
                <a:close/>
              </a:path>
            </a:pathLst>
          </a:custGeom>
          <a:solidFill>
            <a:srgbClr val="70B0DF"/>
          </a:solidFill>
          <a:ln w="9525">
            <a:noFill/>
            <a:round/>
            <a:headEnd/>
            <a:tailEnd/>
          </a:ln>
        </p:spPr>
        <p:txBody>
          <a:bodyPr wrap="none" lIns="82878" tIns="41438" rIns="82878" bIns="41438"/>
          <a:lstStyle/>
          <a:p>
            <a:pPr defTabSz="891045"/>
            <a:endParaRPr lang="en-US" sz="1700" dirty="0">
              <a:solidFill>
                <a:srgbClr val="003149"/>
              </a:solidFill>
              <a:cs typeface="Arial" panose="020B0604020202020204" pitchFamily="34" charset="0"/>
            </a:endParaRPr>
          </a:p>
        </p:txBody>
      </p:sp>
      <p:sp>
        <p:nvSpPr>
          <p:cNvPr id="128" name="Freeform 313"/>
          <p:cNvSpPr>
            <a:spLocks noChangeAspect="1"/>
          </p:cNvSpPr>
          <p:nvPr/>
        </p:nvSpPr>
        <p:spPr bwMode="gray">
          <a:xfrm>
            <a:off x="5590263" y="2421698"/>
            <a:ext cx="75349" cy="58828"/>
          </a:xfrm>
          <a:custGeom>
            <a:avLst/>
            <a:gdLst>
              <a:gd name="T0" fmla="*/ 0 w 182"/>
              <a:gd name="T1" fmla="*/ 698784026 h 126"/>
              <a:gd name="T2" fmla="*/ 625365758 w 182"/>
              <a:gd name="T3" fmla="*/ 698784026 h 126"/>
              <a:gd name="T4" fmla="*/ 625365758 w 182"/>
              <a:gd name="T5" fmla="*/ 698784026 h 126"/>
              <a:gd name="T6" fmla="*/ 625365758 w 182"/>
              <a:gd name="T7" fmla="*/ 698784026 h 126"/>
              <a:gd name="T8" fmla="*/ 625365758 w 182"/>
              <a:gd name="T9" fmla="*/ 698784026 h 126"/>
              <a:gd name="T10" fmla="*/ 625365758 w 182"/>
              <a:gd name="T11" fmla="*/ 698784026 h 126"/>
              <a:gd name="T12" fmla="*/ 625365758 w 182"/>
              <a:gd name="T13" fmla="*/ 698784026 h 126"/>
              <a:gd name="T14" fmla="*/ 625365758 w 182"/>
              <a:gd name="T15" fmla="*/ 698784026 h 126"/>
              <a:gd name="T16" fmla="*/ 625365758 w 182"/>
              <a:gd name="T17" fmla="*/ 698784026 h 126"/>
              <a:gd name="T18" fmla="*/ 625365758 w 182"/>
              <a:gd name="T19" fmla="*/ 698784026 h 126"/>
              <a:gd name="T20" fmla="*/ 625365758 w 182"/>
              <a:gd name="T21" fmla="*/ 698784026 h 126"/>
              <a:gd name="T22" fmla="*/ 625365758 w 182"/>
              <a:gd name="T23" fmla="*/ 698784026 h 126"/>
              <a:gd name="T24" fmla="*/ 625365758 w 182"/>
              <a:gd name="T25" fmla="*/ 698784026 h 126"/>
              <a:gd name="T26" fmla="*/ 625365758 w 182"/>
              <a:gd name="T27" fmla="*/ 698784026 h 126"/>
              <a:gd name="T28" fmla="*/ 625365758 w 182"/>
              <a:gd name="T29" fmla="*/ 0 h 126"/>
              <a:gd name="T30" fmla="*/ 625365758 w 182"/>
              <a:gd name="T31" fmla="*/ 0 h 126"/>
              <a:gd name="T32" fmla="*/ 625365758 w 182"/>
              <a:gd name="T33" fmla="*/ 0 h 126"/>
              <a:gd name="T34" fmla="*/ 625365758 w 182"/>
              <a:gd name="T35" fmla="*/ 0 h 126"/>
              <a:gd name="T36" fmla="*/ 625365758 w 182"/>
              <a:gd name="T37" fmla="*/ 698784026 h 126"/>
              <a:gd name="T38" fmla="*/ 0 w 182"/>
              <a:gd name="T39" fmla="*/ 698784026 h 126"/>
              <a:gd name="T40" fmla="*/ 0 w 182"/>
              <a:gd name="T41" fmla="*/ 698784026 h 126"/>
              <a:gd name="T42" fmla="*/ 625365758 w 182"/>
              <a:gd name="T43" fmla="*/ 698784026 h 126"/>
              <a:gd name="T44" fmla="*/ 625365758 w 182"/>
              <a:gd name="T45" fmla="*/ 698784026 h 126"/>
              <a:gd name="T46" fmla="*/ 625365758 w 182"/>
              <a:gd name="T47" fmla="*/ 698784026 h 126"/>
              <a:gd name="T48" fmla="*/ 0 w 182"/>
              <a:gd name="T49" fmla="*/ 698784026 h 126"/>
              <a:gd name="T50" fmla="*/ 0 w 182"/>
              <a:gd name="T51" fmla="*/ 698784026 h 126"/>
              <a:gd name="T52" fmla="*/ 0 w 182"/>
              <a:gd name="T53" fmla="*/ 698784026 h 12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w 182"/>
              <a:gd name="T82" fmla="*/ 0 h 126"/>
              <a:gd name="T83" fmla="*/ 182 w 182"/>
              <a:gd name="T84" fmla="*/ 126 h 126"/>
            </a:gdLst>
            <a:ahLst/>
            <a:cxnLst>
              <a:cxn ang="T54">
                <a:pos x="T0" y="T1"/>
              </a:cxn>
              <a:cxn ang="T55">
                <a:pos x="T2" y="T3"/>
              </a:cxn>
              <a:cxn ang="T56">
                <a:pos x="T4" y="T5"/>
              </a:cxn>
              <a:cxn ang="T57">
                <a:pos x="T6" y="T7"/>
              </a:cxn>
              <a:cxn ang="T58">
                <a:pos x="T8" y="T9"/>
              </a:cxn>
              <a:cxn ang="T59">
                <a:pos x="T10" y="T11"/>
              </a:cxn>
              <a:cxn ang="T60">
                <a:pos x="T12" y="T13"/>
              </a:cxn>
              <a:cxn ang="T61">
                <a:pos x="T14" y="T15"/>
              </a:cxn>
              <a:cxn ang="T62">
                <a:pos x="T16" y="T17"/>
              </a:cxn>
              <a:cxn ang="T63">
                <a:pos x="T18" y="T19"/>
              </a:cxn>
              <a:cxn ang="T64">
                <a:pos x="T20" y="T21"/>
              </a:cxn>
              <a:cxn ang="T65">
                <a:pos x="T22" y="T23"/>
              </a:cxn>
              <a:cxn ang="T66">
                <a:pos x="T24" y="T25"/>
              </a:cxn>
              <a:cxn ang="T67">
                <a:pos x="T26" y="T27"/>
              </a:cxn>
              <a:cxn ang="T68">
                <a:pos x="T28" y="T29"/>
              </a:cxn>
              <a:cxn ang="T69">
                <a:pos x="T30" y="T31"/>
              </a:cxn>
              <a:cxn ang="T70">
                <a:pos x="T32" y="T33"/>
              </a:cxn>
              <a:cxn ang="T71">
                <a:pos x="T34" y="T35"/>
              </a:cxn>
              <a:cxn ang="T72">
                <a:pos x="T36" y="T37"/>
              </a:cxn>
              <a:cxn ang="T73">
                <a:pos x="T38" y="T39"/>
              </a:cxn>
              <a:cxn ang="T74">
                <a:pos x="T40" y="T41"/>
              </a:cxn>
              <a:cxn ang="T75">
                <a:pos x="T42" y="T43"/>
              </a:cxn>
              <a:cxn ang="T76">
                <a:pos x="T44" y="T45"/>
              </a:cxn>
              <a:cxn ang="T77">
                <a:pos x="T46" y="T47"/>
              </a:cxn>
              <a:cxn ang="T78">
                <a:pos x="T48" y="T49"/>
              </a:cxn>
              <a:cxn ang="T79">
                <a:pos x="T50" y="T51"/>
              </a:cxn>
              <a:cxn ang="T80">
                <a:pos x="T52" y="T53"/>
              </a:cxn>
            </a:cxnLst>
            <a:rect l="T81" t="T82" r="T83" b="T84"/>
            <a:pathLst>
              <a:path w="182" h="126">
                <a:moveTo>
                  <a:pt x="18" y="126"/>
                </a:moveTo>
                <a:lnTo>
                  <a:pt x="38" y="113"/>
                </a:lnTo>
                <a:lnTo>
                  <a:pt x="41" y="98"/>
                </a:lnTo>
                <a:lnTo>
                  <a:pt x="53" y="93"/>
                </a:lnTo>
                <a:lnTo>
                  <a:pt x="92" y="90"/>
                </a:lnTo>
                <a:lnTo>
                  <a:pt x="107" y="78"/>
                </a:lnTo>
                <a:lnTo>
                  <a:pt x="128" y="75"/>
                </a:lnTo>
                <a:lnTo>
                  <a:pt x="141" y="68"/>
                </a:lnTo>
                <a:lnTo>
                  <a:pt x="156" y="65"/>
                </a:lnTo>
                <a:lnTo>
                  <a:pt x="173" y="54"/>
                </a:lnTo>
                <a:lnTo>
                  <a:pt x="182" y="44"/>
                </a:lnTo>
                <a:lnTo>
                  <a:pt x="171" y="41"/>
                </a:lnTo>
                <a:lnTo>
                  <a:pt x="164" y="33"/>
                </a:lnTo>
                <a:lnTo>
                  <a:pt x="155" y="12"/>
                </a:lnTo>
                <a:lnTo>
                  <a:pt x="134" y="6"/>
                </a:lnTo>
                <a:lnTo>
                  <a:pt x="108" y="2"/>
                </a:lnTo>
                <a:lnTo>
                  <a:pt x="75" y="0"/>
                </a:lnTo>
                <a:lnTo>
                  <a:pt x="50" y="0"/>
                </a:lnTo>
                <a:lnTo>
                  <a:pt x="30" y="20"/>
                </a:lnTo>
                <a:lnTo>
                  <a:pt x="20" y="26"/>
                </a:lnTo>
                <a:lnTo>
                  <a:pt x="15" y="48"/>
                </a:lnTo>
                <a:lnTo>
                  <a:pt x="27" y="69"/>
                </a:lnTo>
                <a:lnTo>
                  <a:pt x="27" y="83"/>
                </a:lnTo>
                <a:lnTo>
                  <a:pt x="24" y="99"/>
                </a:lnTo>
                <a:lnTo>
                  <a:pt x="9" y="101"/>
                </a:lnTo>
                <a:lnTo>
                  <a:pt x="0" y="113"/>
                </a:lnTo>
                <a:lnTo>
                  <a:pt x="18" y="126"/>
                </a:lnTo>
                <a:close/>
              </a:path>
            </a:pathLst>
          </a:custGeom>
          <a:solidFill>
            <a:srgbClr val="70B0DF"/>
          </a:solidFill>
          <a:ln w="9525">
            <a:noFill/>
            <a:round/>
            <a:headEnd/>
            <a:tailEnd/>
          </a:ln>
        </p:spPr>
        <p:txBody>
          <a:bodyPr wrap="none" lIns="82878" tIns="41438" rIns="82878" bIns="41438"/>
          <a:lstStyle/>
          <a:p>
            <a:pPr defTabSz="891045"/>
            <a:endParaRPr lang="en-US" sz="1700" dirty="0">
              <a:solidFill>
                <a:srgbClr val="003149"/>
              </a:solidFill>
              <a:cs typeface="Arial" panose="020B0604020202020204" pitchFamily="34" charset="0"/>
            </a:endParaRPr>
          </a:p>
        </p:txBody>
      </p:sp>
      <p:sp>
        <p:nvSpPr>
          <p:cNvPr id="129" name="Freeform 314"/>
          <p:cNvSpPr>
            <a:spLocks noChangeAspect="1"/>
          </p:cNvSpPr>
          <p:nvPr/>
        </p:nvSpPr>
        <p:spPr bwMode="gray">
          <a:xfrm>
            <a:off x="5567492" y="2417392"/>
            <a:ext cx="22746" cy="25827"/>
          </a:xfrm>
          <a:custGeom>
            <a:avLst/>
            <a:gdLst>
              <a:gd name="T0" fmla="*/ 572662024 w 60"/>
              <a:gd name="T1" fmla="*/ 702812468 h 55"/>
              <a:gd name="T2" fmla="*/ 572662024 w 60"/>
              <a:gd name="T3" fmla="*/ 702812468 h 55"/>
              <a:gd name="T4" fmla="*/ 572662024 w 60"/>
              <a:gd name="T5" fmla="*/ 702812468 h 55"/>
              <a:gd name="T6" fmla="*/ 0 w 60"/>
              <a:gd name="T7" fmla="*/ 702812468 h 55"/>
              <a:gd name="T8" fmla="*/ 0 w 60"/>
              <a:gd name="T9" fmla="*/ 702812468 h 55"/>
              <a:gd name="T10" fmla="*/ 0 w 60"/>
              <a:gd name="T11" fmla="*/ 702812468 h 55"/>
              <a:gd name="T12" fmla="*/ 0 w 60"/>
              <a:gd name="T13" fmla="*/ 0 h 55"/>
              <a:gd name="T14" fmla="*/ 572662024 w 60"/>
              <a:gd name="T15" fmla="*/ 0 h 55"/>
              <a:gd name="T16" fmla="*/ 572662024 w 60"/>
              <a:gd name="T17" fmla="*/ 702812468 h 55"/>
              <a:gd name="T18" fmla="*/ 572662024 w 60"/>
              <a:gd name="T19" fmla="*/ 702812468 h 55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w 60"/>
              <a:gd name="T31" fmla="*/ 0 h 55"/>
              <a:gd name="T32" fmla="*/ 60 w 60"/>
              <a:gd name="T33" fmla="*/ 55 h 55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T30" t="T31" r="T32" b="T33"/>
            <a:pathLst>
              <a:path w="60" h="55">
                <a:moveTo>
                  <a:pt x="60" y="31"/>
                </a:moveTo>
                <a:lnTo>
                  <a:pt x="53" y="46"/>
                </a:lnTo>
                <a:lnTo>
                  <a:pt x="48" y="55"/>
                </a:lnTo>
                <a:lnTo>
                  <a:pt x="17" y="51"/>
                </a:lnTo>
                <a:lnTo>
                  <a:pt x="0" y="30"/>
                </a:lnTo>
                <a:lnTo>
                  <a:pt x="2" y="10"/>
                </a:lnTo>
                <a:lnTo>
                  <a:pt x="17" y="0"/>
                </a:lnTo>
                <a:lnTo>
                  <a:pt x="44" y="0"/>
                </a:lnTo>
                <a:lnTo>
                  <a:pt x="57" y="13"/>
                </a:lnTo>
                <a:lnTo>
                  <a:pt x="60" y="31"/>
                </a:lnTo>
                <a:close/>
              </a:path>
            </a:pathLst>
          </a:custGeom>
          <a:solidFill>
            <a:srgbClr val="70B0DF"/>
          </a:solidFill>
          <a:ln w="9525">
            <a:noFill/>
            <a:round/>
            <a:headEnd/>
            <a:tailEnd/>
          </a:ln>
        </p:spPr>
        <p:txBody>
          <a:bodyPr wrap="none" lIns="82878" tIns="41438" rIns="82878" bIns="41438"/>
          <a:lstStyle/>
          <a:p>
            <a:pPr defTabSz="891045"/>
            <a:endParaRPr lang="en-US" sz="1700" dirty="0">
              <a:solidFill>
                <a:srgbClr val="003149"/>
              </a:solidFill>
              <a:cs typeface="Arial" panose="020B0604020202020204" pitchFamily="34" charset="0"/>
            </a:endParaRPr>
          </a:p>
        </p:txBody>
      </p:sp>
      <p:sp>
        <p:nvSpPr>
          <p:cNvPr id="130" name="Freeform 315"/>
          <p:cNvSpPr>
            <a:spLocks noChangeAspect="1"/>
          </p:cNvSpPr>
          <p:nvPr/>
        </p:nvSpPr>
        <p:spPr bwMode="gray">
          <a:xfrm>
            <a:off x="5460866" y="2291142"/>
            <a:ext cx="142168" cy="126266"/>
          </a:xfrm>
          <a:custGeom>
            <a:avLst/>
            <a:gdLst>
              <a:gd name="T0" fmla="*/ 627918821 w 342"/>
              <a:gd name="T1" fmla="*/ 702522045 h 269"/>
              <a:gd name="T2" fmla="*/ 627918821 w 342"/>
              <a:gd name="T3" fmla="*/ 702522045 h 269"/>
              <a:gd name="T4" fmla="*/ 627918821 w 342"/>
              <a:gd name="T5" fmla="*/ 702522045 h 269"/>
              <a:gd name="T6" fmla="*/ 627918821 w 342"/>
              <a:gd name="T7" fmla="*/ 702522045 h 269"/>
              <a:gd name="T8" fmla="*/ 627918821 w 342"/>
              <a:gd name="T9" fmla="*/ 702522045 h 269"/>
              <a:gd name="T10" fmla="*/ 627918821 w 342"/>
              <a:gd name="T11" fmla="*/ 702522045 h 269"/>
              <a:gd name="T12" fmla="*/ 627918821 w 342"/>
              <a:gd name="T13" fmla="*/ 0 h 269"/>
              <a:gd name="T14" fmla="*/ 627918821 w 342"/>
              <a:gd name="T15" fmla="*/ 702522045 h 269"/>
              <a:gd name="T16" fmla="*/ 627918821 w 342"/>
              <a:gd name="T17" fmla="*/ 702522045 h 269"/>
              <a:gd name="T18" fmla="*/ 627918821 w 342"/>
              <a:gd name="T19" fmla="*/ 702522045 h 269"/>
              <a:gd name="T20" fmla="*/ 627918821 w 342"/>
              <a:gd name="T21" fmla="*/ 702522045 h 269"/>
              <a:gd name="T22" fmla="*/ 627918821 w 342"/>
              <a:gd name="T23" fmla="*/ 702522045 h 269"/>
              <a:gd name="T24" fmla="*/ 627918821 w 342"/>
              <a:gd name="T25" fmla="*/ 702522045 h 269"/>
              <a:gd name="T26" fmla="*/ 627918821 w 342"/>
              <a:gd name="T27" fmla="*/ 702522045 h 269"/>
              <a:gd name="T28" fmla="*/ 627918821 w 342"/>
              <a:gd name="T29" fmla="*/ 702522045 h 269"/>
              <a:gd name="T30" fmla="*/ 627918821 w 342"/>
              <a:gd name="T31" fmla="*/ 702522045 h 269"/>
              <a:gd name="T32" fmla="*/ 627918821 w 342"/>
              <a:gd name="T33" fmla="*/ 702522045 h 269"/>
              <a:gd name="T34" fmla="*/ 627918821 w 342"/>
              <a:gd name="T35" fmla="*/ 702522045 h 269"/>
              <a:gd name="T36" fmla="*/ 627918821 w 342"/>
              <a:gd name="T37" fmla="*/ 702522045 h 269"/>
              <a:gd name="T38" fmla="*/ 627918821 w 342"/>
              <a:gd name="T39" fmla="*/ 702522045 h 269"/>
              <a:gd name="T40" fmla="*/ 627918821 w 342"/>
              <a:gd name="T41" fmla="*/ 702522045 h 269"/>
              <a:gd name="T42" fmla="*/ 627918821 w 342"/>
              <a:gd name="T43" fmla="*/ 702522045 h 269"/>
              <a:gd name="T44" fmla="*/ 627918821 w 342"/>
              <a:gd name="T45" fmla="*/ 702522045 h 269"/>
              <a:gd name="T46" fmla="*/ 627918821 w 342"/>
              <a:gd name="T47" fmla="*/ 702522045 h 269"/>
              <a:gd name="T48" fmla="*/ 0 w 342"/>
              <a:gd name="T49" fmla="*/ 702522045 h 269"/>
              <a:gd name="T50" fmla="*/ 627918821 w 342"/>
              <a:gd name="T51" fmla="*/ 702522045 h 269"/>
              <a:gd name="T52" fmla="*/ 627918821 w 342"/>
              <a:gd name="T53" fmla="*/ 702522045 h 269"/>
              <a:gd name="T54" fmla="*/ 627918821 w 342"/>
              <a:gd name="T55" fmla="*/ 702522045 h 269"/>
              <a:gd name="T56" fmla="*/ 627918821 w 342"/>
              <a:gd name="T57" fmla="*/ 702522045 h 269"/>
              <a:gd name="T58" fmla="*/ 627918821 w 342"/>
              <a:gd name="T59" fmla="*/ 702522045 h 269"/>
              <a:gd name="T60" fmla="*/ 627918821 w 342"/>
              <a:gd name="T61" fmla="*/ 702522045 h 269"/>
              <a:gd name="T62" fmla="*/ 627918821 w 342"/>
              <a:gd name="T63" fmla="*/ 702522045 h 269"/>
              <a:gd name="T64" fmla="*/ 627918821 w 342"/>
              <a:gd name="T65" fmla="*/ 702522045 h 269"/>
              <a:gd name="T66" fmla="*/ 627918821 w 342"/>
              <a:gd name="T67" fmla="*/ 702522045 h 269"/>
              <a:gd name="T68" fmla="*/ 627918821 w 342"/>
              <a:gd name="T69" fmla="*/ 702522045 h 269"/>
              <a:gd name="T70" fmla="*/ 627918821 w 342"/>
              <a:gd name="T71" fmla="*/ 702522045 h 269"/>
              <a:gd name="T72" fmla="*/ 627918821 w 342"/>
              <a:gd name="T73" fmla="*/ 702522045 h 269"/>
              <a:gd name="T74" fmla="*/ 627918821 w 342"/>
              <a:gd name="T75" fmla="*/ 702522045 h 269"/>
              <a:gd name="T76" fmla="*/ 627918821 w 342"/>
              <a:gd name="T77" fmla="*/ 702522045 h 269"/>
              <a:gd name="T78" fmla="*/ 627918821 w 342"/>
              <a:gd name="T79" fmla="*/ 702522045 h 269"/>
              <a:gd name="T80" fmla="*/ 627918821 w 342"/>
              <a:gd name="T81" fmla="*/ 702522045 h 269"/>
              <a:gd name="T82" fmla="*/ 627918821 w 342"/>
              <a:gd name="T83" fmla="*/ 702522045 h 269"/>
              <a:gd name="T84" fmla="*/ 627918821 w 342"/>
              <a:gd name="T85" fmla="*/ 702522045 h 269"/>
              <a:gd name="T86" fmla="*/ 627918821 w 342"/>
              <a:gd name="T87" fmla="*/ 702522045 h 269"/>
              <a:gd name="T88" fmla="*/ 627918821 w 342"/>
              <a:gd name="T89" fmla="*/ 702522045 h 269"/>
              <a:gd name="T90" fmla="*/ 627918821 w 342"/>
              <a:gd name="T91" fmla="*/ 702522045 h 269"/>
              <a:gd name="T92" fmla="*/ 627918821 w 342"/>
              <a:gd name="T93" fmla="*/ 702522045 h 269"/>
              <a:gd name="T94" fmla="*/ 627918821 w 342"/>
              <a:gd name="T95" fmla="*/ 702522045 h 269"/>
              <a:gd name="T96" fmla="*/ 627918821 w 342"/>
              <a:gd name="T97" fmla="*/ 702522045 h 269"/>
              <a:gd name="T98" fmla="*/ 627918821 w 342"/>
              <a:gd name="T99" fmla="*/ 702522045 h 269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w 342"/>
              <a:gd name="T151" fmla="*/ 0 h 269"/>
              <a:gd name="T152" fmla="*/ 342 w 342"/>
              <a:gd name="T153" fmla="*/ 269 h 269"/>
            </a:gdLst>
            <a:ahLst/>
            <a:cxnLst>
              <a:cxn ang="T100">
                <a:pos x="T0" y="T1"/>
              </a:cxn>
              <a:cxn ang="T101">
                <a:pos x="T2" y="T3"/>
              </a:cxn>
              <a:cxn ang="T102">
                <a:pos x="T4" y="T5"/>
              </a:cxn>
              <a:cxn ang="T103">
                <a:pos x="T6" y="T7"/>
              </a:cxn>
              <a:cxn ang="T104">
                <a:pos x="T8" y="T9"/>
              </a:cxn>
              <a:cxn ang="T105">
                <a:pos x="T10" y="T11"/>
              </a:cxn>
              <a:cxn ang="T106">
                <a:pos x="T12" y="T13"/>
              </a:cxn>
              <a:cxn ang="T107">
                <a:pos x="T14" y="T15"/>
              </a:cxn>
              <a:cxn ang="T108">
                <a:pos x="T16" y="T17"/>
              </a:cxn>
              <a:cxn ang="T109">
                <a:pos x="T18" y="T19"/>
              </a:cxn>
              <a:cxn ang="T110">
                <a:pos x="T20" y="T21"/>
              </a:cxn>
              <a:cxn ang="T111">
                <a:pos x="T22" y="T23"/>
              </a:cxn>
              <a:cxn ang="T112">
                <a:pos x="T24" y="T25"/>
              </a:cxn>
              <a:cxn ang="T113">
                <a:pos x="T26" y="T27"/>
              </a:cxn>
              <a:cxn ang="T114">
                <a:pos x="T28" y="T29"/>
              </a:cxn>
              <a:cxn ang="T115">
                <a:pos x="T30" y="T31"/>
              </a:cxn>
              <a:cxn ang="T116">
                <a:pos x="T32" y="T33"/>
              </a:cxn>
              <a:cxn ang="T117">
                <a:pos x="T34" y="T35"/>
              </a:cxn>
              <a:cxn ang="T118">
                <a:pos x="T36" y="T37"/>
              </a:cxn>
              <a:cxn ang="T119">
                <a:pos x="T38" y="T39"/>
              </a:cxn>
              <a:cxn ang="T120">
                <a:pos x="T40" y="T41"/>
              </a:cxn>
              <a:cxn ang="T121">
                <a:pos x="T42" y="T43"/>
              </a:cxn>
              <a:cxn ang="T122">
                <a:pos x="T44" y="T45"/>
              </a:cxn>
              <a:cxn ang="T123">
                <a:pos x="T46" y="T47"/>
              </a:cxn>
              <a:cxn ang="T124">
                <a:pos x="T48" y="T49"/>
              </a:cxn>
              <a:cxn ang="T125">
                <a:pos x="T50" y="T51"/>
              </a:cxn>
              <a:cxn ang="T126">
                <a:pos x="T52" y="T53"/>
              </a:cxn>
              <a:cxn ang="T127">
                <a:pos x="T54" y="T55"/>
              </a:cxn>
              <a:cxn ang="T128">
                <a:pos x="T56" y="T57"/>
              </a:cxn>
              <a:cxn ang="T129">
                <a:pos x="T58" y="T59"/>
              </a:cxn>
              <a:cxn ang="T130">
                <a:pos x="T60" y="T61"/>
              </a:cxn>
              <a:cxn ang="T131">
                <a:pos x="T62" y="T63"/>
              </a:cxn>
              <a:cxn ang="T132">
                <a:pos x="T64" y="T65"/>
              </a:cxn>
              <a:cxn ang="T133">
                <a:pos x="T66" y="T67"/>
              </a:cxn>
              <a:cxn ang="T134">
                <a:pos x="T68" y="T69"/>
              </a:cxn>
              <a:cxn ang="T135">
                <a:pos x="T70" y="T71"/>
              </a:cxn>
              <a:cxn ang="T136">
                <a:pos x="T72" y="T73"/>
              </a:cxn>
              <a:cxn ang="T137">
                <a:pos x="T74" y="T75"/>
              </a:cxn>
              <a:cxn ang="T138">
                <a:pos x="T76" y="T77"/>
              </a:cxn>
              <a:cxn ang="T139">
                <a:pos x="T78" y="T79"/>
              </a:cxn>
              <a:cxn ang="T140">
                <a:pos x="T80" y="T81"/>
              </a:cxn>
              <a:cxn ang="T141">
                <a:pos x="T82" y="T83"/>
              </a:cxn>
              <a:cxn ang="T142">
                <a:pos x="T84" y="T85"/>
              </a:cxn>
              <a:cxn ang="T143">
                <a:pos x="T86" y="T87"/>
              </a:cxn>
              <a:cxn ang="T144">
                <a:pos x="T88" y="T89"/>
              </a:cxn>
              <a:cxn ang="T145">
                <a:pos x="T90" y="T91"/>
              </a:cxn>
              <a:cxn ang="T146">
                <a:pos x="T92" y="T93"/>
              </a:cxn>
              <a:cxn ang="T147">
                <a:pos x="T94" y="T95"/>
              </a:cxn>
              <a:cxn ang="T148">
                <a:pos x="T96" y="T97"/>
              </a:cxn>
              <a:cxn ang="T149">
                <a:pos x="T98" y="T99"/>
              </a:cxn>
            </a:cxnLst>
            <a:rect l="T150" t="T151" r="T152" b="T153"/>
            <a:pathLst>
              <a:path w="342" h="269">
                <a:moveTo>
                  <a:pt x="231" y="56"/>
                </a:moveTo>
                <a:lnTo>
                  <a:pt x="229" y="75"/>
                </a:lnTo>
                <a:lnTo>
                  <a:pt x="240" y="93"/>
                </a:lnTo>
                <a:lnTo>
                  <a:pt x="264" y="104"/>
                </a:lnTo>
                <a:lnTo>
                  <a:pt x="298" y="107"/>
                </a:lnTo>
                <a:lnTo>
                  <a:pt x="322" y="101"/>
                </a:lnTo>
                <a:lnTo>
                  <a:pt x="342" y="84"/>
                </a:lnTo>
                <a:lnTo>
                  <a:pt x="337" y="57"/>
                </a:lnTo>
                <a:lnTo>
                  <a:pt x="333" y="44"/>
                </a:lnTo>
                <a:lnTo>
                  <a:pt x="321" y="39"/>
                </a:lnTo>
                <a:lnTo>
                  <a:pt x="313" y="32"/>
                </a:lnTo>
                <a:lnTo>
                  <a:pt x="319" y="23"/>
                </a:lnTo>
                <a:lnTo>
                  <a:pt x="321" y="12"/>
                </a:lnTo>
                <a:lnTo>
                  <a:pt x="318" y="0"/>
                </a:lnTo>
                <a:lnTo>
                  <a:pt x="298" y="3"/>
                </a:lnTo>
                <a:lnTo>
                  <a:pt x="274" y="3"/>
                </a:lnTo>
                <a:lnTo>
                  <a:pt x="253" y="5"/>
                </a:lnTo>
                <a:lnTo>
                  <a:pt x="232" y="5"/>
                </a:lnTo>
                <a:lnTo>
                  <a:pt x="222" y="6"/>
                </a:lnTo>
                <a:lnTo>
                  <a:pt x="220" y="20"/>
                </a:lnTo>
                <a:lnTo>
                  <a:pt x="210" y="26"/>
                </a:lnTo>
                <a:lnTo>
                  <a:pt x="183" y="27"/>
                </a:lnTo>
                <a:lnTo>
                  <a:pt x="168" y="23"/>
                </a:lnTo>
                <a:lnTo>
                  <a:pt x="151" y="21"/>
                </a:lnTo>
                <a:lnTo>
                  <a:pt x="136" y="18"/>
                </a:lnTo>
                <a:lnTo>
                  <a:pt x="118" y="18"/>
                </a:lnTo>
                <a:lnTo>
                  <a:pt x="130" y="26"/>
                </a:lnTo>
                <a:lnTo>
                  <a:pt x="145" y="29"/>
                </a:lnTo>
                <a:lnTo>
                  <a:pt x="123" y="39"/>
                </a:lnTo>
                <a:lnTo>
                  <a:pt x="118" y="50"/>
                </a:lnTo>
                <a:lnTo>
                  <a:pt x="139" y="66"/>
                </a:lnTo>
                <a:lnTo>
                  <a:pt x="153" y="81"/>
                </a:lnTo>
                <a:lnTo>
                  <a:pt x="163" y="95"/>
                </a:lnTo>
                <a:lnTo>
                  <a:pt x="147" y="98"/>
                </a:lnTo>
                <a:lnTo>
                  <a:pt x="133" y="99"/>
                </a:lnTo>
                <a:lnTo>
                  <a:pt x="132" y="89"/>
                </a:lnTo>
                <a:lnTo>
                  <a:pt x="121" y="83"/>
                </a:lnTo>
                <a:lnTo>
                  <a:pt x="105" y="83"/>
                </a:lnTo>
                <a:lnTo>
                  <a:pt x="97" y="89"/>
                </a:lnTo>
                <a:lnTo>
                  <a:pt x="93" y="75"/>
                </a:lnTo>
                <a:lnTo>
                  <a:pt x="70" y="75"/>
                </a:lnTo>
                <a:lnTo>
                  <a:pt x="52" y="75"/>
                </a:lnTo>
                <a:lnTo>
                  <a:pt x="39" y="65"/>
                </a:lnTo>
                <a:lnTo>
                  <a:pt x="27" y="68"/>
                </a:lnTo>
                <a:lnTo>
                  <a:pt x="15" y="83"/>
                </a:lnTo>
                <a:lnTo>
                  <a:pt x="9" y="96"/>
                </a:lnTo>
                <a:lnTo>
                  <a:pt x="25" y="107"/>
                </a:lnTo>
                <a:lnTo>
                  <a:pt x="12" y="111"/>
                </a:lnTo>
                <a:lnTo>
                  <a:pt x="3" y="119"/>
                </a:lnTo>
                <a:lnTo>
                  <a:pt x="0" y="134"/>
                </a:lnTo>
                <a:lnTo>
                  <a:pt x="12" y="141"/>
                </a:lnTo>
                <a:lnTo>
                  <a:pt x="30" y="144"/>
                </a:lnTo>
                <a:lnTo>
                  <a:pt x="16" y="153"/>
                </a:lnTo>
                <a:lnTo>
                  <a:pt x="7" y="162"/>
                </a:lnTo>
                <a:lnTo>
                  <a:pt x="12" y="173"/>
                </a:lnTo>
                <a:lnTo>
                  <a:pt x="30" y="174"/>
                </a:lnTo>
                <a:lnTo>
                  <a:pt x="36" y="197"/>
                </a:lnTo>
                <a:lnTo>
                  <a:pt x="39" y="207"/>
                </a:lnTo>
                <a:lnTo>
                  <a:pt x="52" y="206"/>
                </a:lnTo>
                <a:lnTo>
                  <a:pt x="39" y="215"/>
                </a:lnTo>
                <a:lnTo>
                  <a:pt x="43" y="234"/>
                </a:lnTo>
                <a:lnTo>
                  <a:pt x="69" y="245"/>
                </a:lnTo>
                <a:lnTo>
                  <a:pt x="106" y="257"/>
                </a:lnTo>
                <a:lnTo>
                  <a:pt x="129" y="269"/>
                </a:lnTo>
                <a:lnTo>
                  <a:pt x="147" y="269"/>
                </a:lnTo>
                <a:lnTo>
                  <a:pt x="172" y="263"/>
                </a:lnTo>
                <a:lnTo>
                  <a:pt x="193" y="263"/>
                </a:lnTo>
                <a:lnTo>
                  <a:pt x="193" y="248"/>
                </a:lnTo>
                <a:lnTo>
                  <a:pt x="187" y="227"/>
                </a:lnTo>
                <a:lnTo>
                  <a:pt x="178" y="218"/>
                </a:lnTo>
                <a:lnTo>
                  <a:pt x="168" y="213"/>
                </a:lnTo>
                <a:lnTo>
                  <a:pt x="169" y="201"/>
                </a:lnTo>
                <a:lnTo>
                  <a:pt x="181" y="201"/>
                </a:lnTo>
                <a:lnTo>
                  <a:pt x="190" y="212"/>
                </a:lnTo>
                <a:lnTo>
                  <a:pt x="198" y="228"/>
                </a:lnTo>
                <a:lnTo>
                  <a:pt x="211" y="219"/>
                </a:lnTo>
                <a:lnTo>
                  <a:pt x="217" y="207"/>
                </a:lnTo>
                <a:lnTo>
                  <a:pt x="235" y="183"/>
                </a:lnTo>
                <a:lnTo>
                  <a:pt x="247" y="167"/>
                </a:lnTo>
                <a:lnTo>
                  <a:pt x="250" y="156"/>
                </a:lnTo>
                <a:lnTo>
                  <a:pt x="261" y="147"/>
                </a:lnTo>
                <a:lnTo>
                  <a:pt x="261" y="159"/>
                </a:lnTo>
                <a:lnTo>
                  <a:pt x="289" y="167"/>
                </a:lnTo>
                <a:lnTo>
                  <a:pt x="300" y="159"/>
                </a:lnTo>
                <a:lnTo>
                  <a:pt x="303" y="149"/>
                </a:lnTo>
                <a:lnTo>
                  <a:pt x="310" y="134"/>
                </a:lnTo>
                <a:lnTo>
                  <a:pt x="322" y="123"/>
                </a:lnTo>
                <a:lnTo>
                  <a:pt x="322" y="108"/>
                </a:lnTo>
                <a:lnTo>
                  <a:pt x="304" y="113"/>
                </a:lnTo>
                <a:lnTo>
                  <a:pt x="288" y="114"/>
                </a:lnTo>
                <a:lnTo>
                  <a:pt x="271" y="117"/>
                </a:lnTo>
                <a:lnTo>
                  <a:pt x="252" y="113"/>
                </a:lnTo>
                <a:lnTo>
                  <a:pt x="237" y="104"/>
                </a:lnTo>
                <a:lnTo>
                  <a:pt x="223" y="93"/>
                </a:lnTo>
                <a:lnTo>
                  <a:pt x="211" y="80"/>
                </a:lnTo>
                <a:lnTo>
                  <a:pt x="199" y="71"/>
                </a:lnTo>
                <a:lnTo>
                  <a:pt x="205" y="57"/>
                </a:lnTo>
                <a:lnTo>
                  <a:pt x="208" y="47"/>
                </a:lnTo>
                <a:lnTo>
                  <a:pt x="225" y="42"/>
                </a:lnTo>
                <a:lnTo>
                  <a:pt x="231" y="56"/>
                </a:lnTo>
                <a:close/>
              </a:path>
            </a:pathLst>
          </a:custGeom>
          <a:solidFill>
            <a:srgbClr val="70B0DF"/>
          </a:solidFill>
          <a:ln w="9525">
            <a:noFill/>
            <a:round/>
            <a:headEnd/>
            <a:tailEnd/>
          </a:ln>
        </p:spPr>
        <p:txBody>
          <a:bodyPr wrap="none" lIns="82878" tIns="41438" rIns="82878" bIns="41438"/>
          <a:lstStyle/>
          <a:p>
            <a:pPr defTabSz="891045"/>
            <a:endParaRPr lang="en-US" sz="1700" dirty="0">
              <a:solidFill>
                <a:srgbClr val="003149"/>
              </a:solidFill>
              <a:cs typeface="Arial" panose="020B0604020202020204" pitchFamily="34" charset="0"/>
            </a:endParaRPr>
          </a:p>
        </p:txBody>
      </p:sp>
      <p:sp>
        <p:nvSpPr>
          <p:cNvPr id="131" name="Freeform 316"/>
          <p:cNvSpPr>
            <a:spLocks noChangeAspect="1"/>
          </p:cNvSpPr>
          <p:nvPr/>
        </p:nvSpPr>
        <p:spPr bwMode="gray">
          <a:xfrm>
            <a:off x="5435301" y="2370068"/>
            <a:ext cx="24169" cy="35871"/>
          </a:xfrm>
          <a:custGeom>
            <a:avLst/>
            <a:gdLst>
              <a:gd name="T0" fmla="*/ 640477255 w 57"/>
              <a:gd name="T1" fmla="*/ 706408643 h 76"/>
              <a:gd name="T2" fmla="*/ 640477255 w 57"/>
              <a:gd name="T3" fmla="*/ 706408643 h 76"/>
              <a:gd name="T4" fmla="*/ 640477255 w 57"/>
              <a:gd name="T5" fmla="*/ 706408643 h 76"/>
              <a:gd name="T6" fmla="*/ 640477255 w 57"/>
              <a:gd name="T7" fmla="*/ 706408643 h 76"/>
              <a:gd name="T8" fmla="*/ 640477255 w 57"/>
              <a:gd name="T9" fmla="*/ 706408643 h 76"/>
              <a:gd name="T10" fmla="*/ 640477255 w 57"/>
              <a:gd name="T11" fmla="*/ 706408643 h 76"/>
              <a:gd name="T12" fmla="*/ 0 w 57"/>
              <a:gd name="T13" fmla="*/ 706408643 h 76"/>
              <a:gd name="T14" fmla="*/ 0 w 57"/>
              <a:gd name="T15" fmla="*/ 0 h 76"/>
              <a:gd name="T16" fmla="*/ 0 w 57"/>
              <a:gd name="T17" fmla="*/ 0 h 76"/>
              <a:gd name="T18" fmla="*/ 0 w 57"/>
              <a:gd name="T19" fmla="*/ 706408643 h 76"/>
              <a:gd name="T20" fmla="*/ 0 w 57"/>
              <a:gd name="T21" fmla="*/ 706408643 h 76"/>
              <a:gd name="T22" fmla="*/ 640477255 w 57"/>
              <a:gd name="T23" fmla="*/ 706408643 h 76"/>
              <a:gd name="T24" fmla="*/ 640477255 w 57"/>
              <a:gd name="T25" fmla="*/ 706408643 h 76"/>
              <a:gd name="T26" fmla="*/ 640477255 w 57"/>
              <a:gd name="T27" fmla="*/ 706408643 h 76"/>
              <a:gd name="T28" fmla="*/ 640477255 w 57"/>
              <a:gd name="T29" fmla="*/ 706408643 h 7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w 57"/>
              <a:gd name="T46" fmla="*/ 0 h 76"/>
              <a:gd name="T47" fmla="*/ 57 w 57"/>
              <a:gd name="T48" fmla="*/ 76 h 7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T45" t="T46" r="T47" b="T48"/>
            <a:pathLst>
              <a:path w="57" h="76">
                <a:moveTo>
                  <a:pt x="50" y="76"/>
                </a:moveTo>
                <a:lnTo>
                  <a:pt x="57" y="61"/>
                </a:lnTo>
                <a:lnTo>
                  <a:pt x="50" y="52"/>
                </a:lnTo>
                <a:lnTo>
                  <a:pt x="47" y="34"/>
                </a:lnTo>
                <a:lnTo>
                  <a:pt x="30" y="27"/>
                </a:lnTo>
                <a:lnTo>
                  <a:pt x="20" y="19"/>
                </a:lnTo>
                <a:lnTo>
                  <a:pt x="11" y="9"/>
                </a:lnTo>
                <a:lnTo>
                  <a:pt x="5" y="0"/>
                </a:lnTo>
                <a:lnTo>
                  <a:pt x="0" y="3"/>
                </a:lnTo>
                <a:lnTo>
                  <a:pt x="5" y="27"/>
                </a:lnTo>
                <a:lnTo>
                  <a:pt x="9" y="39"/>
                </a:lnTo>
                <a:lnTo>
                  <a:pt x="24" y="49"/>
                </a:lnTo>
                <a:lnTo>
                  <a:pt x="26" y="63"/>
                </a:lnTo>
                <a:lnTo>
                  <a:pt x="39" y="76"/>
                </a:lnTo>
                <a:lnTo>
                  <a:pt x="50" y="76"/>
                </a:lnTo>
                <a:close/>
              </a:path>
            </a:pathLst>
          </a:custGeom>
          <a:solidFill>
            <a:srgbClr val="70B0DF"/>
          </a:solidFill>
          <a:ln w="9525">
            <a:noFill/>
            <a:round/>
            <a:headEnd/>
            <a:tailEnd/>
          </a:ln>
        </p:spPr>
        <p:txBody>
          <a:bodyPr wrap="none" lIns="82878" tIns="41438" rIns="82878" bIns="41438"/>
          <a:lstStyle/>
          <a:p>
            <a:pPr defTabSz="891045"/>
            <a:endParaRPr lang="en-US" sz="1700" dirty="0">
              <a:solidFill>
                <a:srgbClr val="003149"/>
              </a:solidFill>
              <a:cs typeface="Arial" panose="020B0604020202020204" pitchFamily="34" charset="0"/>
            </a:endParaRPr>
          </a:p>
        </p:txBody>
      </p:sp>
      <p:sp>
        <p:nvSpPr>
          <p:cNvPr id="132" name="Freeform 317"/>
          <p:cNvSpPr>
            <a:spLocks noChangeAspect="1"/>
          </p:cNvSpPr>
          <p:nvPr/>
        </p:nvSpPr>
        <p:spPr bwMode="gray">
          <a:xfrm>
            <a:off x="6211510" y="1836291"/>
            <a:ext cx="51180" cy="96134"/>
          </a:xfrm>
          <a:custGeom>
            <a:avLst/>
            <a:gdLst>
              <a:gd name="T0" fmla="*/ 0 w 280"/>
              <a:gd name="T1" fmla="*/ 0 h 459"/>
              <a:gd name="T2" fmla="*/ 0 w 280"/>
              <a:gd name="T3" fmla="*/ 0 h 459"/>
              <a:gd name="T4" fmla="*/ 0 w 280"/>
              <a:gd name="T5" fmla="*/ 0 h 459"/>
              <a:gd name="T6" fmla="*/ 0 w 280"/>
              <a:gd name="T7" fmla="*/ 0 h 459"/>
              <a:gd name="T8" fmla="*/ 0 w 280"/>
              <a:gd name="T9" fmla="*/ 0 h 459"/>
              <a:gd name="T10" fmla="*/ 0 w 280"/>
              <a:gd name="T11" fmla="*/ 0 h 459"/>
              <a:gd name="T12" fmla="*/ 0 w 280"/>
              <a:gd name="T13" fmla="*/ 0 h 459"/>
              <a:gd name="T14" fmla="*/ 0 w 280"/>
              <a:gd name="T15" fmla="*/ 0 h 459"/>
              <a:gd name="T16" fmla="*/ 0 w 280"/>
              <a:gd name="T17" fmla="*/ 0 h 459"/>
              <a:gd name="T18" fmla="*/ 0 w 280"/>
              <a:gd name="T19" fmla="*/ 0 h 459"/>
              <a:gd name="T20" fmla="*/ 0 w 280"/>
              <a:gd name="T21" fmla="*/ 0 h 459"/>
              <a:gd name="T22" fmla="*/ 0 w 280"/>
              <a:gd name="T23" fmla="*/ 0 h 459"/>
              <a:gd name="T24" fmla="*/ 0 w 280"/>
              <a:gd name="T25" fmla="*/ 0 h 459"/>
              <a:gd name="T26" fmla="*/ 0 w 280"/>
              <a:gd name="T27" fmla="*/ 0 h 459"/>
              <a:gd name="T28" fmla="*/ 0 w 280"/>
              <a:gd name="T29" fmla="*/ 0 h 459"/>
              <a:gd name="T30" fmla="*/ 0 w 280"/>
              <a:gd name="T31" fmla="*/ 0 h 459"/>
              <a:gd name="T32" fmla="*/ 0 w 280"/>
              <a:gd name="T33" fmla="*/ 0 h 459"/>
              <a:gd name="T34" fmla="*/ 0 w 280"/>
              <a:gd name="T35" fmla="*/ 0 h 459"/>
              <a:gd name="T36" fmla="*/ 0 w 280"/>
              <a:gd name="T37" fmla="*/ 0 h 459"/>
              <a:gd name="T38" fmla="*/ 0 w 280"/>
              <a:gd name="T39" fmla="*/ 0 h 459"/>
              <a:gd name="T40" fmla="*/ 0 w 280"/>
              <a:gd name="T41" fmla="*/ 0 h 459"/>
              <a:gd name="T42" fmla="*/ 0 w 280"/>
              <a:gd name="T43" fmla="*/ 0 h 459"/>
              <a:gd name="T44" fmla="*/ 0 w 280"/>
              <a:gd name="T45" fmla="*/ 0 h 459"/>
              <a:gd name="T46" fmla="*/ 0 w 280"/>
              <a:gd name="T47" fmla="*/ 0 h 459"/>
              <a:gd name="T48" fmla="*/ 0 w 280"/>
              <a:gd name="T49" fmla="*/ 0 h 459"/>
              <a:gd name="T50" fmla="*/ 0 w 280"/>
              <a:gd name="T51" fmla="*/ 0 h 459"/>
              <a:gd name="T52" fmla="*/ 0 w 280"/>
              <a:gd name="T53" fmla="*/ 0 h 459"/>
              <a:gd name="T54" fmla="*/ 0 w 280"/>
              <a:gd name="T55" fmla="*/ 0 h 459"/>
              <a:gd name="T56" fmla="*/ 0 w 280"/>
              <a:gd name="T57" fmla="*/ 0 h 459"/>
              <a:gd name="T58" fmla="*/ 0 w 280"/>
              <a:gd name="T59" fmla="*/ 0 h 459"/>
              <a:gd name="T60" fmla="*/ 0 w 280"/>
              <a:gd name="T61" fmla="*/ 0 h 459"/>
              <a:gd name="T62" fmla="*/ 0 w 280"/>
              <a:gd name="T63" fmla="*/ 0 h 459"/>
              <a:gd name="T64" fmla="*/ 0 w 280"/>
              <a:gd name="T65" fmla="*/ 0 h 459"/>
              <a:gd name="T66" fmla="*/ 0 w 280"/>
              <a:gd name="T67" fmla="*/ 0 h 459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w 280"/>
              <a:gd name="T103" fmla="*/ 0 h 459"/>
              <a:gd name="T104" fmla="*/ 280 w 280"/>
              <a:gd name="T105" fmla="*/ 459 h 459"/>
            </a:gdLst>
            <a:ahLst/>
            <a:cxnLst>
              <a:cxn ang="T68">
                <a:pos x="T0" y="T1"/>
              </a:cxn>
              <a:cxn ang="T69">
                <a:pos x="T2" y="T3"/>
              </a:cxn>
              <a:cxn ang="T70">
                <a:pos x="T4" y="T5"/>
              </a:cxn>
              <a:cxn ang="T71">
                <a:pos x="T6" y="T7"/>
              </a:cxn>
              <a:cxn ang="T72">
                <a:pos x="T8" y="T9"/>
              </a:cxn>
              <a:cxn ang="T73">
                <a:pos x="T10" y="T11"/>
              </a:cxn>
              <a:cxn ang="T74">
                <a:pos x="T12" y="T13"/>
              </a:cxn>
              <a:cxn ang="T75">
                <a:pos x="T14" y="T15"/>
              </a:cxn>
              <a:cxn ang="T76">
                <a:pos x="T16" y="T17"/>
              </a:cxn>
              <a:cxn ang="T77">
                <a:pos x="T18" y="T19"/>
              </a:cxn>
              <a:cxn ang="T78">
                <a:pos x="T20" y="T21"/>
              </a:cxn>
              <a:cxn ang="T79">
                <a:pos x="T22" y="T23"/>
              </a:cxn>
              <a:cxn ang="T80">
                <a:pos x="T24" y="T25"/>
              </a:cxn>
              <a:cxn ang="T81">
                <a:pos x="T26" y="T27"/>
              </a:cxn>
              <a:cxn ang="T82">
                <a:pos x="T28" y="T29"/>
              </a:cxn>
              <a:cxn ang="T83">
                <a:pos x="T30" y="T31"/>
              </a:cxn>
              <a:cxn ang="T84">
                <a:pos x="T32" y="T33"/>
              </a:cxn>
              <a:cxn ang="T85">
                <a:pos x="T34" y="T35"/>
              </a:cxn>
              <a:cxn ang="T86">
                <a:pos x="T36" y="T37"/>
              </a:cxn>
              <a:cxn ang="T87">
                <a:pos x="T38" y="T39"/>
              </a:cxn>
              <a:cxn ang="T88">
                <a:pos x="T40" y="T41"/>
              </a:cxn>
              <a:cxn ang="T89">
                <a:pos x="T42" y="T43"/>
              </a:cxn>
              <a:cxn ang="T90">
                <a:pos x="T44" y="T45"/>
              </a:cxn>
              <a:cxn ang="T91">
                <a:pos x="T46" y="T47"/>
              </a:cxn>
              <a:cxn ang="T92">
                <a:pos x="T48" y="T49"/>
              </a:cxn>
              <a:cxn ang="T93">
                <a:pos x="T50" y="T51"/>
              </a:cxn>
              <a:cxn ang="T94">
                <a:pos x="T52" y="T53"/>
              </a:cxn>
              <a:cxn ang="T95">
                <a:pos x="T54" y="T55"/>
              </a:cxn>
              <a:cxn ang="T96">
                <a:pos x="T56" y="T57"/>
              </a:cxn>
              <a:cxn ang="T97">
                <a:pos x="T58" y="T59"/>
              </a:cxn>
              <a:cxn ang="T98">
                <a:pos x="T60" y="T61"/>
              </a:cxn>
              <a:cxn ang="T99">
                <a:pos x="T62" y="T63"/>
              </a:cxn>
              <a:cxn ang="T100">
                <a:pos x="T64" y="T65"/>
              </a:cxn>
              <a:cxn ang="T101">
                <a:pos x="T66" y="T67"/>
              </a:cxn>
            </a:cxnLst>
            <a:rect l="T102" t="T103" r="T104" b="T105"/>
            <a:pathLst>
              <a:path w="280" h="459">
                <a:moveTo>
                  <a:pt x="207" y="459"/>
                </a:moveTo>
                <a:lnTo>
                  <a:pt x="210" y="440"/>
                </a:lnTo>
                <a:lnTo>
                  <a:pt x="201" y="435"/>
                </a:lnTo>
                <a:lnTo>
                  <a:pt x="205" y="422"/>
                </a:lnTo>
                <a:lnTo>
                  <a:pt x="207" y="405"/>
                </a:lnTo>
                <a:lnTo>
                  <a:pt x="216" y="392"/>
                </a:lnTo>
                <a:lnTo>
                  <a:pt x="216" y="362"/>
                </a:lnTo>
                <a:lnTo>
                  <a:pt x="205" y="318"/>
                </a:lnTo>
                <a:lnTo>
                  <a:pt x="210" y="293"/>
                </a:lnTo>
                <a:lnTo>
                  <a:pt x="247" y="269"/>
                </a:lnTo>
                <a:lnTo>
                  <a:pt x="265" y="264"/>
                </a:lnTo>
                <a:lnTo>
                  <a:pt x="271" y="246"/>
                </a:lnTo>
                <a:lnTo>
                  <a:pt x="268" y="221"/>
                </a:lnTo>
                <a:lnTo>
                  <a:pt x="264" y="201"/>
                </a:lnTo>
                <a:lnTo>
                  <a:pt x="267" y="176"/>
                </a:lnTo>
                <a:lnTo>
                  <a:pt x="277" y="168"/>
                </a:lnTo>
                <a:lnTo>
                  <a:pt x="280" y="144"/>
                </a:lnTo>
                <a:lnTo>
                  <a:pt x="274" y="119"/>
                </a:lnTo>
                <a:lnTo>
                  <a:pt x="279" y="89"/>
                </a:lnTo>
                <a:lnTo>
                  <a:pt x="279" y="71"/>
                </a:lnTo>
                <a:lnTo>
                  <a:pt x="273" y="56"/>
                </a:lnTo>
                <a:lnTo>
                  <a:pt x="262" y="45"/>
                </a:lnTo>
                <a:lnTo>
                  <a:pt x="262" y="30"/>
                </a:lnTo>
                <a:lnTo>
                  <a:pt x="250" y="17"/>
                </a:lnTo>
                <a:lnTo>
                  <a:pt x="240" y="17"/>
                </a:lnTo>
                <a:lnTo>
                  <a:pt x="226" y="8"/>
                </a:lnTo>
                <a:lnTo>
                  <a:pt x="210" y="0"/>
                </a:lnTo>
                <a:lnTo>
                  <a:pt x="196" y="6"/>
                </a:lnTo>
                <a:lnTo>
                  <a:pt x="193" y="17"/>
                </a:lnTo>
                <a:lnTo>
                  <a:pt x="189" y="26"/>
                </a:lnTo>
                <a:lnTo>
                  <a:pt x="180" y="21"/>
                </a:lnTo>
                <a:lnTo>
                  <a:pt x="174" y="29"/>
                </a:lnTo>
                <a:lnTo>
                  <a:pt x="160" y="21"/>
                </a:lnTo>
                <a:lnTo>
                  <a:pt x="136" y="36"/>
                </a:lnTo>
                <a:lnTo>
                  <a:pt x="136" y="48"/>
                </a:lnTo>
                <a:lnTo>
                  <a:pt x="124" y="41"/>
                </a:lnTo>
                <a:lnTo>
                  <a:pt x="117" y="51"/>
                </a:lnTo>
                <a:lnTo>
                  <a:pt x="103" y="41"/>
                </a:lnTo>
                <a:lnTo>
                  <a:pt x="105" y="57"/>
                </a:lnTo>
                <a:lnTo>
                  <a:pt x="88" y="65"/>
                </a:lnTo>
                <a:lnTo>
                  <a:pt x="67" y="84"/>
                </a:lnTo>
                <a:lnTo>
                  <a:pt x="61" y="95"/>
                </a:lnTo>
                <a:lnTo>
                  <a:pt x="55" y="113"/>
                </a:lnTo>
                <a:lnTo>
                  <a:pt x="49" y="126"/>
                </a:lnTo>
                <a:lnTo>
                  <a:pt x="34" y="123"/>
                </a:lnTo>
                <a:lnTo>
                  <a:pt x="24" y="132"/>
                </a:lnTo>
                <a:lnTo>
                  <a:pt x="19" y="149"/>
                </a:lnTo>
                <a:lnTo>
                  <a:pt x="27" y="171"/>
                </a:lnTo>
                <a:lnTo>
                  <a:pt x="24" y="188"/>
                </a:lnTo>
                <a:lnTo>
                  <a:pt x="7" y="197"/>
                </a:lnTo>
                <a:lnTo>
                  <a:pt x="0" y="210"/>
                </a:lnTo>
                <a:lnTo>
                  <a:pt x="0" y="236"/>
                </a:lnTo>
                <a:lnTo>
                  <a:pt x="7" y="248"/>
                </a:lnTo>
                <a:lnTo>
                  <a:pt x="0" y="261"/>
                </a:lnTo>
                <a:lnTo>
                  <a:pt x="12" y="281"/>
                </a:lnTo>
                <a:lnTo>
                  <a:pt x="22" y="297"/>
                </a:lnTo>
                <a:lnTo>
                  <a:pt x="34" y="317"/>
                </a:lnTo>
                <a:lnTo>
                  <a:pt x="34" y="336"/>
                </a:lnTo>
                <a:lnTo>
                  <a:pt x="39" y="353"/>
                </a:lnTo>
                <a:lnTo>
                  <a:pt x="57" y="359"/>
                </a:lnTo>
                <a:lnTo>
                  <a:pt x="64" y="387"/>
                </a:lnTo>
                <a:lnTo>
                  <a:pt x="79" y="402"/>
                </a:lnTo>
                <a:lnTo>
                  <a:pt x="82" y="422"/>
                </a:lnTo>
                <a:lnTo>
                  <a:pt x="99" y="432"/>
                </a:lnTo>
                <a:lnTo>
                  <a:pt x="108" y="450"/>
                </a:lnTo>
                <a:lnTo>
                  <a:pt x="142" y="455"/>
                </a:lnTo>
                <a:lnTo>
                  <a:pt x="172" y="452"/>
                </a:lnTo>
                <a:lnTo>
                  <a:pt x="189" y="450"/>
                </a:lnTo>
                <a:lnTo>
                  <a:pt x="207" y="459"/>
                </a:lnTo>
                <a:close/>
              </a:path>
            </a:pathLst>
          </a:custGeom>
          <a:solidFill>
            <a:srgbClr val="70B0DF"/>
          </a:solidFill>
          <a:ln w="9525">
            <a:noFill/>
            <a:round/>
            <a:headEnd/>
            <a:tailEnd/>
          </a:ln>
        </p:spPr>
        <p:txBody>
          <a:bodyPr wrap="none" lIns="82878" tIns="41438" rIns="82878" bIns="41438"/>
          <a:lstStyle/>
          <a:p>
            <a:pPr defTabSz="891045"/>
            <a:endParaRPr lang="en-US" sz="1700" dirty="0">
              <a:solidFill>
                <a:srgbClr val="003149"/>
              </a:solidFill>
              <a:cs typeface="Arial" panose="020B0604020202020204" pitchFamily="34" charset="0"/>
            </a:endParaRPr>
          </a:p>
        </p:txBody>
      </p:sp>
      <p:sp>
        <p:nvSpPr>
          <p:cNvPr id="133" name="Freeform 318"/>
          <p:cNvSpPr>
            <a:spLocks noChangeAspect="1"/>
          </p:cNvSpPr>
          <p:nvPr/>
        </p:nvSpPr>
        <p:spPr bwMode="gray">
          <a:xfrm>
            <a:off x="6554149" y="4000240"/>
            <a:ext cx="238841" cy="278358"/>
          </a:xfrm>
          <a:custGeom>
            <a:avLst/>
            <a:gdLst>
              <a:gd name="T0" fmla="*/ 0 w 1298"/>
              <a:gd name="T1" fmla="*/ 0 h 1339"/>
              <a:gd name="T2" fmla="*/ 0 w 1298"/>
              <a:gd name="T3" fmla="*/ 0 h 1339"/>
              <a:gd name="T4" fmla="*/ 0 w 1298"/>
              <a:gd name="T5" fmla="*/ 0 h 1339"/>
              <a:gd name="T6" fmla="*/ 0 w 1298"/>
              <a:gd name="T7" fmla="*/ 0 h 1339"/>
              <a:gd name="T8" fmla="*/ 0 w 1298"/>
              <a:gd name="T9" fmla="*/ 0 h 1339"/>
              <a:gd name="T10" fmla="*/ 0 w 1298"/>
              <a:gd name="T11" fmla="*/ 0 h 1339"/>
              <a:gd name="T12" fmla="*/ 0 w 1298"/>
              <a:gd name="T13" fmla="*/ 0 h 1339"/>
              <a:gd name="T14" fmla="*/ 0 w 1298"/>
              <a:gd name="T15" fmla="*/ 0 h 1339"/>
              <a:gd name="T16" fmla="*/ 0 w 1298"/>
              <a:gd name="T17" fmla="*/ 0 h 1339"/>
              <a:gd name="T18" fmla="*/ 0 w 1298"/>
              <a:gd name="T19" fmla="*/ 0 h 1339"/>
              <a:gd name="T20" fmla="*/ 0 w 1298"/>
              <a:gd name="T21" fmla="*/ 0 h 1339"/>
              <a:gd name="T22" fmla="*/ 0 w 1298"/>
              <a:gd name="T23" fmla="*/ 0 h 1339"/>
              <a:gd name="T24" fmla="*/ 0 w 1298"/>
              <a:gd name="T25" fmla="*/ 0 h 1339"/>
              <a:gd name="T26" fmla="*/ 0 w 1298"/>
              <a:gd name="T27" fmla="*/ 0 h 1339"/>
              <a:gd name="T28" fmla="*/ 0 w 1298"/>
              <a:gd name="T29" fmla="*/ 0 h 1339"/>
              <a:gd name="T30" fmla="*/ 0 w 1298"/>
              <a:gd name="T31" fmla="*/ 0 h 1339"/>
              <a:gd name="T32" fmla="*/ 0 w 1298"/>
              <a:gd name="T33" fmla="*/ 0 h 1339"/>
              <a:gd name="T34" fmla="*/ 0 w 1298"/>
              <a:gd name="T35" fmla="*/ 0 h 1339"/>
              <a:gd name="T36" fmla="*/ 0 w 1298"/>
              <a:gd name="T37" fmla="*/ 0 h 1339"/>
              <a:gd name="T38" fmla="*/ 0 w 1298"/>
              <a:gd name="T39" fmla="*/ 0 h 1339"/>
              <a:gd name="T40" fmla="*/ 0 w 1298"/>
              <a:gd name="T41" fmla="*/ 0 h 1339"/>
              <a:gd name="T42" fmla="*/ 0 w 1298"/>
              <a:gd name="T43" fmla="*/ 0 h 1339"/>
              <a:gd name="T44" fmla="*/ 0 w 1298"/>
              <a:gd name="T45" fmla="*/ 0 h 1339"/>
              <a:gd name="T46" fmla="*/ 0 w 1298"/>
              <a:gd name="T47" fmla="*/ 0 h 1339"/>
              <a:gd name="T48" fmla="*/ 0 w 1298"/>
              <a:gd name="T49" fmla="*/ 0 h 1339"/>
              <a:gd name="T50" fmla="*/ 0 w 1298"/>
              <a:gd name="T51" fmla="*/ 0 h 1339"/>
              <a:gd name="T52" fmla="*/ 0 w 1298"/>
              <a:gd name="T53" fmla="*/ 0 h 1339"/>
              <a:gd name="T54" fmla="*/ 0 w 1298"/>
              <a:gd name="T55" fmla="*/ 0 h 1339"/>
              <a:gd name="T56" fmla="*/ 0 w 1298"/>
              <a:gd name="T57" fmla="*/ 0 h 1339"/>
              <a:gd name="T58" fmla="*/ 0 w 1298"/>
              <a:gd name="T59" fmla="*/ 0 h 1339"/>
              <a:gd name="T60" fmla="*/ 0 w 1298"/>
              <a:gd name="T61" fmla="*/ 0 h 1339"/>
              <a:gd name="T62" fmla="*/ 0 w 1298"/>
              <a:gd name="T63" fmla="*/ 0 h 1339"/>
              <a:gd name="T64" fmla="*/ 0 w 1298"/>
              <a:gd name="T65" fmla="*/ 0 h 1339"/>
              <a:gd name="T66" fmla="*/ 0 w 1298"/>
              <a:gd name="T67" fmla="*/ 0 h 1339"/>
              <a:gd name="T68" fmla="*/ 0 w 1298"/>
              <a:gd name="T69" fmla="*/ 0 h 1339"/>
              <a:gd name="T70" fmla="*/ 0 w 1298"/>
              <a:gd name="T71" fmla="*/ 0 h 1339"/>
              <a:gd name="T72" fmla="*/ 0 w 1298"/>
              <a:gd name="T73" fmla="*/ 0 h 1339"/>
              <a:gd name="T74" fmla="*/ 0 w 1298"/>
              <a:gd name="T75" fmla="*/ 0 h 1339"/>
              <a:gd name="T76" fmla="*/ 0 w 1298"/>
              <a:gd name="T77" fmla="*/ 0 h 1339"/>
              <a:gd name="T78" fmla="*/ 0 w 1298"/>
              <a:gd name="T79" fmla="*/ 0 h 1339"/>
              <a:gd name="T80" fmla="*/ 0 w 1298"/>
              <a:gd name="T81" fmla="*/ 0 h 1339"/>
              <a:gd name="T82" fmla="*/ 0 w 1298"/>
              <a:gd name="T83" fmla="*/ 0 h 1339"/>
              <a:gd name="T84" fmla="*/ 0 w 1298"/>
              <a:gd name="T85" fmla="*/ 0 h 1339"/>
              <a:gd name="T86" fmla="*/ 0 w 1298"/>
              <a:gd name="T87" fmla="*/ 0 h 1339"/>
              <a:gd name="T88" fmla="*/ 0 w 1298"/>
              <a:gd name="T89" fmla="*/ 0 h 1339"/>
              <a:gd name="T90" fmla="*/ 0 w 1298"/>
              <a:gd name="T91" fmla="*/ 0 h 1339"/>
              <a:gd name="T92" fmla="*/ 0 w 1298"/>
              <a:gd name="T93" fmla="*/ 0 h 1339"/>
              <a:gd name="T94" fmla="*/ 0 w 1298"/>
              <a:gd name="T95" fmla="*/ 0 h 1339"/>
              <a:gd name="T96" fmla="*/ 0 w 1298"/>
              <a:gd name="T97" fmla="*/ 0 h 1339"/>
              <a:gd name="T98" fmla="*/ 0 w 1298"/>
              <a:gd name="T99" fmla="*/ 0 h 1339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w 1298"/>
              <a:gd name="T151" fmla="*/ 0 h 1339"/>
              <a:gd name="T152" fmla="*/ 1298 w 1298"/>
              <a:gd name="T153" fmla="*/ 1339 h 1339"/>
            </a:gdLst>
            <a:ahLst/>
            <a:cxnLst>
              <a:cxn ang="T100">
                <a:pos x="T0" y="T1"/>
              </a:cxn>
              <a:cxn ang="T101">
                <a:pos x="T2" y="T3"/>
              </a:cxn>
              <a:cxn ang="T102">
                <a:pos x="T4" y="T5"/>
              </a:cxn>
              <a:cxn ang="T103">
                <a:pos x="T6" y="T7"/>
              </a:cxn>
              <a:cxn ang="T104">
                <a:pos x="T8" y="T9"/>
              </a:cxn>
              <a:cxn ang="T105">
                <a:pos x="T10" y="T11"/>
              </a:cxn>
              <a:cxn ang="T106">
                <a:pos x="T12" y="T13"/>
              </a:cxn>
              <a:cxn ang="T107">
                <a:pos x="T14" y="T15"/>
              </a:cxn>
              <a:cxn ang="T108">
                <a:pos x="T16" y="T17"/>
              </a:cxn>
              <a:cxn ang="T109">
                <a:pos x="T18" y="T19"/>
              </a:cxn>
              <a:cxn ang="T110">
                <a:pos x="T20" y="T21"/>
              </a:cxn>
              <a:cxn ang="T111">
                <a:pos x="T22" y="T23"/>
              </a:cxn>
              <a:cxn ang="T112">
                <a:pos x="T24" y="T25"/>
              </a:cxn>
              <a:cxn ang="T113">
                <a:pos x="T26" y="T27"/>
              </a:cxn>
              <a:cxn ang="T114">
                <a:pos x="T28" y="T29"/>
              </a:cxn>
              <a:cxn ang="T115">
                <a:pos x="T30" y="T31"/>
              </a:cxn>
              <a:cxn ang="T116">
                <a:pos x="T32" y="T33"/>
              </a:cxn>
              <a:cxn ang="T117">
                <a:pos x="T34" y="T35"/>
              </a:cxn>
              <a:cxn ang="T118">
                <a:pos x="T36" y="T37"/>
              </a:cxn>
              <a:cxn ang="T119">
                <a:pos x="T38" y="T39"/>
              </a:cxn>
              <a:cxn ang="T120">
                <a:pos x="T40" y="T41"/>
              </a:cxn>
              <a:cxn ang="T121">
                <a:pos x="T42" y="T43"/>
              </a:cxn>
              <a:cxn ang="T122">
                <a:pos x="T44" y="T45"/>
              </a:cxn>
              <a:cxn ang="T123">
                <a:pos x="T46" y="T47"/>
              </a:cxn>
              <a:cxn ang="T124">
                <a:pos x="T48" y="T49"/>
              </a:cxn>
              <a:cxn ang="T125">
                <a:pos x="T50" y="T51"/>
              </a:cxn>
              <a:cxn ang="T126">
                <a:pos x="T52" y="T53"/>
              </a:cxn>
              <a:cxn ang="T127">
                <a:pos x="T54" y="T55"/>
              </a:cxn>
              <a:cxn ang="T128">
                <a:pos x="T56" y="T57"/>
              </a:cxn>
              <a:cxn ang="T129">
                <a:pos x="T58" y="T59"/>
              </a:cxn>
              <a:cxn ang="T130">
                <a:pos x="T60" y="T61"/>
              </a:cxn>
              <a:cxn ang="T131">
                <a:pos x="T62" y="T63"/>
              </a:cxn>
              <a:cxn ang="T132">
                <a:pos x="T64" y="T65"/>
              </a:cxn>
              <a:cxn ang="T133">
                <a:pos x="T66" y="T67"/>
              </a:cxn>
              <a:cxn ang="T134">
                <a:pos x="T68" y="T69"/>
              </a:cxn>
              <a:cxn ang="T135">
                <a:pos x="T70" y="T71"/>
              </a:cxn>
              <a:cxn ang="T136">
                <a:pos x="T72" y="T73"/>
              </a:cxn>
              <a:cxn ang="T137">
                <a:pos x="T74" y="T75"/>
              </a:cxn>
              <a:cxn ang="T138">
                <a:pos x="T76" y="T77"/>
              </a:cxn>
              <a:cxn ang="T139">
                <a:pos x="T78" y="T79"/>
              </a:cxn>
              <a:cxn ang="T140">
                <a:pos x="T80" y="T81"/>
              </a:cxn>
              <a:cxn ang="T141">
                <a:pos x="T82" y="T83"/>
              </a:cxn>
              <a:cxn ang="T142">
                <a:pos x="T84" y="T85"/>
              </a:cxn>
              <a:cxn ang="T143">
                <a:pos x="T86" y="T87"/>
              </a:cxn>
              <a:cxn ang="T144">
                <a:pos x="T88" y="T89"/>
              </a:cxn>
              <a:cxn ang="T145">
                <a:pos x="T90" y="T91"/>
              </a:cxn>
              <a:cxn ang="T146">
                <a:pos x="T92" y="T93"/>
              </a:cxn>
              <a:cxn ang="T147">
                <a:pos x="T94" y="T95"/>
              </a:cxn>
              <a:cxn ang="T148">
                <a:pos x="T96" y="T97"/>
              </a:cxn>
              <a:cxn ang="T149">
                <a:pos x="T98" y="T99"/>
              </a:cxn>
            </a:cxnLst>
            <a:rect l="T150" t="T151" r="T152" b="T153"/>
            <a:pathLst>
              <a:path w="1298" h="1339">
                <a:moveTo>
                  <a:pt x="468" y="82"/>
                </a:moveTo>
                <a:lnTo>
                  <a:pt x="585" y="0"/>
                </a:lnTo>
                <a:lnTo>
                  <a:pt x="608" y="30"/>
                </a:lnTo>
                <a:lnTo>
                  <a:pt x="635" y="45"/>
                </a:lnTo>
                <a:lnTo>
                  <a:pt x="665" y="52"/>
                </a:lnTo>
                <a:lnTo>
                  <a:pt x="707" y="96"/>
                </a:lnTo>
                <a:lnTo>
                  <a:pt x="758" y="120"/>
                </a:lnTo>
                <a:lnTo>
                  <a:pt x="789" y="147"/>
                </a:lnTo>
                <a:lnTo>
                  <a:pt x="810" y="156"/>
                </a:lnTo>
                <a:lnTo>
                  <a:pt x="855" y="153"/>
                </a:lnTo>
                <a:lnTo>
                  <a:pt x="894" y="165"/>
                </a:lnTo>
                <a:lnTo>
                  <a:pt x="924" y="186"/>
                </a:lnTo>
                <a:lnTo>
                  <a:pt x="966" y="210"/>
                </a:lnTo>
                <a:lnTo>
                  <a:pt x="953" y="219"/>
                </a:lnTo>
                <a:lnTo>
                  <a:pt x="938" y="219"/>
                </a:lnTo>
                <a:lnTo>
                  <a:pt x="920" y="220"/>
                </a:lnTo>
                <a:lnTo>
                  <a:pt x="900" y="204"/>
                </a:lnTo>
                <a:lnTo>
                  <a:pt x="882" y="187"/>
                </a:lnTo>
                <a:lnTo>
                  <a:pt x="866" y="183"/>
                </a:lnTo>
                <a:lnTo>
                  <a:pt x="837" y="175"/>
                </a:lnTo>
                <a:lnTo>
                  <a:pt x="813" y="175"/>
                </a:lnTo>
                <a:lnTo>
                  <a:pt x="789" y="172"/>
                </a:lnTo>
                <a:lnTo>
                  <a:pt x="764" y="163"/>
                </a:lnTo>
                <a:lnTo>
                  <a:pt x="735" y="156"/>
                </a:lnTo>
                <a:lnTo>
                  <a:pt x="710" y="150"/>
                </a:lnTo>
                <a:lnTo>
                  <a:pt x="665" y="151"/>
                </a:lnTo>
                <a:lnTo>
                  <a:pt x="635" y="163"/>
                </a:lnTo>
                <a:lnTo>
                  <a:pt x="627" y="178"/>
                </a:lnTo>
                <a:lnTo>
                  <a:pt x="600" y="178"/>
                </a:lnTo>
                <a:lnTo>
                  <a:pt x="579" y="189"/>
                </a:lnTo>
                <a:lnTo>
                  <a:pt x="567" y="199"/>
                </a:lnTo>
                <a:lnTo>
                  <a:pt x="555" y="210"/>
                </a:lnTo>
                <a:lnTo>
                  <a:pt x="558" y="231"/>
                </a:lnTo>
                <a:lnTo>
                  <a:pt x="542" y="238"/>
                </a:lnTo>
                <a:lnTo>
                  <a:pt x="542" y="259"/>
                </a:lnTo>
                <a:lnTo>
                  <a:pt x="534" y="273"/>
                </a:lnTo>
                <a:lnTo>
                  <a:pt x="521" y="273"/>
                </a:lnTo>
                <a:lnTo>
                  <a:pt x="521" y="309"/>
                </a:lnTo>
                <a:lnTo>
                  <a:pt x="509" y="310"/>
                </a:lnTo>
                <a:lnTo>
                  <a:pt x="515" y="337"/>
                </a:lnTo>
                <a:lnTo>
                  <a:pt x="521" y="364"/>
                </a:lnTo>
                <a:lnTo>
                  <a:pt x="543" y="373"/>
                </a:lnTo>
                <a:lnTo>
                  <a:pt x="564" y="399"/>
                </a:lnTo>
                <a:lnTo>
                  <a:pt x="567" y="438"/>
                </a:lnTo>
                <a:lnTo>
                  <a:pt x="576" y="466"/>
                </a:lnTo>
                <a:lnTo>
                  <a:pt x="590" y="484"/>
                </a:lnTo>
                <a:lnTo>
                  <a:pt x="590" y="513"/>
                </a:lnTo>
                <a:lnTo>
                  <a:pt x="603" y="538"/>
                </a:lnTo>
                <a:lnTo>
                  <a:pt x="630" y="574"/>
                </a:lnTo>
                <a:lnTo>
                  <a:pt x="645" y="624"/>
                </a:lnTo>
                <a:lnTo>
                  <a:pt x="669" y="678"/>
                </a:lnTo>
                <a:lnTo>
                  <a:pt x="704" y="735"/>
                </a:lnTo>
                <a:lnTo>
                  <a:pt x="735" y="772"/>
                </a:lnTo>
                <a:lnTo>
                  <a:pt x="785" y="801"/>
                </a:lnTo>
                <a:lnTo>
                  <a:pt x="821" y="816"/>
                </a:lnTo>
                <a:lnTo>
                  <a:pt x="879" y="819"/>
                </a:lnTo>
                <a:lnTo>
                  <a:pt x="939" y="832"/>
                </a:lnTo>
                <a:lnTo>
                  <a:pt x="971" y="867"/>
                </a:lnTo>
                <a:lnTo>
                  <a:pt x="996" y="886"/>
                </a:lnTo>
                <a:lnTo>
                  <a:pt x="1022" y="901"/>
                </a:lnTo>
                <a:lnTo>
                  <a:pt x="1037" y="919"/>
                </a:lnTo>
                <a:lnTo>
                  <a:pt x="1077" y="915"/>
                </a:lnTo>
                <a:lnTo>
                  <a:pt x="1106" y="916"/>
                </a:lnTo>
                <a:lnTo>
                  <a:pt x="1116" y="907"/>
                </a:lnTo>
                <a:lnTo>
                  <a:pt x="1118" y="895"/>
                </a:lnTo>
                <a:lnTo>
                  <a:pt x="1116" y="880"/>
                </a:lnTo>
                <a:lnTo>
                  <a:pt x="1140" y="888"/>
                </a:lnTo>
                <a:lnTo>
                  <a:pt x="1160" y="915"/>
                </a:lnTo>
                <a:lnTo>
                  <a:pt x="1176" y="934"/>
                </a:lnTo>
                <a:lnTo>
                  <a:pt x="1193" y="952"/>
                </a:lnTo>
                <a:lnTo>
                  <a:pt x="1212" y="961"/>
                </a:lnTo>
                <a:lnTo>
                  <a:pt x="1235" y="984"/>
                </a:lnTo>
                <a:lnTo>
                  <a:pt x="1251" y="984"/>
                </a:lnTo>
                <a:lnTo>
                  <a:pt x="1257" y="996"/>
                </a:lnTo>
                <a:lnTo>
                  <a:pt x="1263" y="1005"/>
                </a:lnTo>
                <a:lnTo>
                  <a:pt x="1265" y="1026"/>
                </a:lnTo>
                <a:lnTo>
                  <a:pt x="1262" y="1048"/>
                </a:lnTo>
                <a:lnTo>
                  <a:pt x="1277" y="1053"/>
                </a:lnTo>
                <a:lnTo>
                  <a:pt x="1286" y="1077"/>
                </a:lnTo>
                <a:lnTo>
                  <a:pt x="1289" y="1087"/>
                </a:lnTo>
                <a:lnTo>
                  <a:pt x="1298" y="1116"/>
                </a:lnTo>
                <a:lnTo>
                  <a:pt x="1284" y="1120"/>
                </a:lnTo>
                <a:lnTo>
                  <a:pt x="1266" y="1098"/>
                </a:lnTo>
                <a:lnTo>
                  <a:pt x="1256" y="1081"/>
                </a:lnTo>
                <a:lnTo>
                  <a:pt x="1238" y="1060"/>
                </a:lnTo>
                <a:lnTo>
                  <a:pt x="1209" y="1047"/>
                </a:lnTo>
                <a:lnTo>
                  <a:pt x="1196" y="1038"/>
                </a:lnTo>
                <a:lnTo>
                  <a:pt x="1178" y="1024"/>
                </a:lnTo>
                <a:lnTo>
                  <a:pt x="1170" y="1002"/>
                </a:lnTo>
                <a:lnTo>
                  <a:pt x="1167" y="979"/>
                </a:lnTo>
                <a:lnTo>
                  <a:pt x="1158" y="973"/>
                </a:lnTo>
                <a:lnTo>
                  <a:pt x="1151" y="985"/>
                </a:lnTo>
                <a:lnTo>
                  <a:pt x="1139" y="1000"/>
                </a:lnTo>
                <a:lnTo>
                  <a:pt x="1122" y="1000"/>
                </a:lnTo>
                <a:lnTo>
                  <a:pt x="1103" y="1000"/>
                </a:lnTo>
                <a:lnTo>
                  <a:pt x="1098" y="1021"/>
                </a:lnTo>
                <a:lnTo>
                  <a:pt x="1080" y="1021"/>
                </a:lnTo>
                <a:lnTo>
                  <a:pt x="1056" y="1026"/>
                </a:lnTo>
                <a:lnTo>
                  <a:pt x="1046" y="1036"/>
                </a:lnTo>
                <a:lnTo>
                  <a:pt x="1041" y="1053"/>
                </a:lnTo>
                <a:lnTo>
                  <a:pt x="1013" y="1053"/>
                </a:lnTo>
                <a:lnTo>
                  <a:pt x="990" y="1036"/>
                </a:lnTo>
                <a:lnTo>
                  <a:pt x="972" y="1026"/>
                </a:lnTo>
                <a:lnTo>
                  <a:pt x="969" y="1044"/>
                </a:lnTo>
                <a:lnTo>
                  <a:pt x="951" y="1048"/>
                </a:lnTo>
                <a:lnTo>
                  <a:pt x="956" y="1078"/>
                </a:lnTo>
                <a:lnTo>
                  <a:pt x="962" y="1111"/>
                </a:lnTo>
                <a:lnTo>
                  <a:pt x="965" y="1137"/>
                </a:lnTo>
                <a:lnTo>
                  <a:pt x="984" y="1170"/>
                </a:lnTo>
                <a:lnTo>
                  <a:pt x="995" y="1201"/>
                </a:lnTo>
                <a:lnTo>
                  <a:pt x="1001" y="1215"/>
                </a:lnTo>
                <a:lnTo>
                  <a:pt x="1017" y="1237"/>
                </a:lnTo>
                <a:lnTo>
                  <a:pt x="1025" y="1258"/>
                </a:lnTo>
                <a:lnTo>
                  <a:pt x="1032" y="1275"/>
                </a:lnTo>
                <a:lnTo>
                  <a:pt x="1046" y="1285"/>
                </a:lnTo>
                <a:lnTo>
                  <a:pt x="1028" y="1299"/>
                </a:lnTo>
                <a:lnTo>
                  <a:pt x="1034" y="1317"/>
                </a:lnTo>
                <a:lnTo>
                  <a:pt x="1055" y="1326"/>
                </a:lnTo>
                <a:lnTo>
                  <a:pt x="1053" y="1339"/>
                </a:lnTo>
                <a:lnTo>
                  <a:pt x="1023" y="1338"/>
                </a:lnTo>
                <a:lnTo>
                  <a:pt x="1002" y="1318"/>
                </a:lnTo>
                <a:lnTo>
                  <a:pt x="978" y="1318"/>
                </a:lnTo>
                <a:lnTo>
                  <a:pt x="968" y="1317"/>
                </a:lnTo>
                <a:lnTo>
                  <a:pt x="962" y="1290"/>
                </a:lnTo>
                <a:lnTo>
                  <a:pt x="938" y="1281"/>
                </a:lnTo>
                <a:lnTo>
                  <a:pt x="921" y="1264"/>
                </a:lnTo>
                <a:lnTo>
                  <a:pt x="908" y="1255"/>
                </a:lnTo>
                <a:lnTo>
                  <a:pt x="899" y="1240"/>
                </a:lnTo>
                <a:lnTo>
                  <a:pt x="884" y="1237"/>
                </a:lnTo>
                <a:lnTo>
                  <a:pt x="864" y="1231"/>
                </a:lnTo>
                <a:lnTo>
                  <a:pt x="857" y="1222"/>
                </a:lnTo>
                <a:lnTo>
                  <a:pt x="845" y="1210"/>
                </a:lnTo>
                <a:lnTo>
                  <a:pt x="831" y="1194"/>
                </a:lnTo>
                <a:lnTo>
                  <a:pt x="816" y="1185"/>
                </a:lnTo>
                <a:lnTo>
                  <a:pt x="813" y="1164"/>
                </a:lnTo>
                <a:lnTo>
                  <a:pt x="798" y="1155"/>
                </a:lnTo>
                <a:lnTo>
                  <a:pt x="798" y="1134"/>
                </a:lnTo>
                <a:lnTo>
                  <a:pt x="794" y="1099"/>
                </a:lnTo>
                <a:lnTo>
                  <a:pt x="785" y="1072"/>
                </a:lnTo>
                <a:lnTo>
                  <a:pt x="774" y="1045"/>
                </a:lnTo>
                <a:lnTo>
                  <a:pt x="770" y="1030"/>
                </a:lnTo>
                <a:lnTo>
                  <a:pt x="770" y="1015"/>
                </a:lnTo>
                <a:lnTo>
                  <a:pt x="761" y="1005"/>
                </a:lnTo>
                <a:lnTo>
                  <a:pt x="741" y="988"/>
                </a:lnTo>
                <a:lnTo>
                  <a:pt x="722" y="979"/>
                </a:lnTo>
                <a:lnTo>
                  <a:pt x="699" y="963"/>
                </a:lnTo>
                <a:lnTo>
                  <a:pt x="687" y="951"/>
                </a:lnTo>
                <a:lnTo>
                  <a:pt x="663" y="937"/>
                </a:lnTo>
                <a:lnTo>
                  <a:pt x="645" y="907"/>
                </a:lnTo>
                <a:lnTo>
                  <a:pt x="635" y="868"/>
                </a:lnTo>
                <a:lnTo>
                  <a:pt x="627" y="828"/>
                </a:lnTo>
                <a:lnTo>
                  <a:pt x="618" y="793"/>
                </a:lnTo>
                <a:lnTo>
                  <a:pt x="611" y="766"/>
                </a:lnTo>
                <a:lnTo>
                  <a:pt x="602" y="747"/>
                </a:lnTo>
                <a:lnTo>
                  <a:pt x="584" y="730"/>
                </a:lnTo>
                <a:lnTo>
                  <a:pt x="569" y="712"/>
                </a:lnTo>
                <a:lnTo>
                  <a:pt x="561" y="705"/>
                </a:lnTo>
                <a:lnTo>
                  <a:pt x="551" y="687"/>
                </a:lnTo>
                <a:lnTo>
                  <a:pt x="531" y="667"/>
                </a:lnTo>
                <a:lnTo>
                  <a:pt x="509" y="655"/>
                </a:lnTo>
                <a:lnTo>
                  <a:pt x="483" y="643"/>
                </a:lnTo>
                <a:lnTo>
                  <a:pt x="456" y="637"/>
                </a:lnTo>
                <a:lnTo>
                  <a:pt x="434" y="630"/>
                </a:lnTo>
                <a:lnTo>
                  <a:pt x="417" y="627"/>
                </a:lnTo>
                <a:lnTo>
                  <a:pt x="405" y="606"/>
                </a:lnTo>
                <a:lnTo>
                  <a:pt x="384" y="592"/>
                </a:lnTo>
                <a:lnTo>
                  <a:pt x="365" y="591"/>
                </a:lnTo>
                <a:lnTo>
                  <a:pt x="359" y="574"/>
                </a:lnTo>
                <a:lnTo>
                  <a:pt x="359" y="550"/>
                </a:lnTo>
                <a:lnTo>
                  <a:pt x="366" y="541"/>
                </a:lnTo>
                <a:lnTo>
                  <a:pt x="360" y="523"/>
                </a:lnTo>
                <a:lnTo>
                  <a:pt x="341" y="504"/>
                </a:lnTo>
                <a:lnTo>
                  <a:pt x="329" y="484"/>
                </a:lnTo>
                <a:lnTo>
                  <a:pt x="323" y="460"/>
                </a:lnTo>
                <a:lnTo>
                  <a:pt x="317" y="430"/>
                </a:lnTo>
                <a:lnTo>
                  <a:pt x="294" y="415"/>
                </a:lnTo>
                <a:lnTo>
                  <a:pt x="288" y="405"/>
                </a:lnTo>
                <a:lnTo>
                  <a:pt x="275" y="390"/>
                </a:lnTo>
                <a:lnTo>
                  <a:pt x="266" y="363"/>
                </a:lnTo>
                <a:lnTo>
                  <a:pt x="263" y="348"/>
                </a:lnTo>
                <a:lnTo>
                  <a:pt x="248" y="343"/>
                </a:lnTo>
                <a:lnTo>
                  <a:pt x="237" y="330"/>
                </a:lnTo>
                <a:lnTo>
                  <a:pt x="237" y="315"/>
                </a:lnTo>
                <a:lnTo>
                  <a:pt x="222" y="306"/>
                </a:lnTo>
                <a:lnTo>
                  <a:pt x="222" y="292"/>
                </a:lnTo>
                <a:lnTo>
                  <a:pt x="210" y="285"/>
                </a:lnTo>
                <a:lnTo>
                  <a:pt x="189" y="276"/>
                </a:lnTo>
                <a:lnTo>
                  <a:pt x="189" y="255"/>
                </a:lnTo>
                <a:lnTo>
                  <a:pt x="173" y="243"/>
                </a:lnTo>
                <a:lnTo>
                  <a:pt x="164" y="219"/>
                </a:lnTo>
                <a:lnTo>
                  <a:pt x="146" y="202"/>
                </a:lnTo>
                <a:lnTo>
                  <a:pt x="147" y="189"/>
                </a:lnTo>
                <a:lnTo>
                  <a:pt x="134" y="178"/>
                </a:lnTo>
                <a:lnTo>
                  <a:pt x="126" y="163"/>
                </a:lnTo>
                <a:lnTo>
                  <a:pt x="119" y="139"/>
                </a:lnTo>
                <a:lnTo>
                  <a:pt x="110" y="129"/>
                </a:lnTo>
                <a:lnTo>
                  <a:pt x="95" y="127"/>
                </a:lnTo>
                <a:lnTo>
                  <a:pt x="75" y="120"/>
                </a:lnTo>
                <a:lnTo>
                  <a:pt x="71" y="102"/>
                </a:lnTo>
                <a:lnTo>
                  <a:pt x="47" y="87"/>
                </a:lnTo>
                <a:lnTo>
                  <a:pt x="21" y="69"/>
                </a:lnTo>
                <a:lnTo>
                  <a:pt x="0" y="48"/>
                </a:lnTo>
                <a:lnTo>
                  <a:pt x="156" y="6"/>
                </a:lnTo>
              </a:path>
            </a:pathLst>
          </a:custGeom>
          <a:solidFill>
            <a:srgbClr val="70B0DF"/>
          </a:solidFill>
          <a:ln w="9525">
            <a:noFill/>
            <a:round/>
            <a:headEnd/>
            <a:tailEnd/>
          </a:ln>
        </p:spPr>
        <p:txBody>
          <a:bodyPr wrap="none" lIns="82878" tIns="41438" rIns="82878" bIns="41438"/>
          <a:lstStyle/>
          <a:p>
            <a:pPr defTabSz="891045"/>
            <a:endParaRPr lang="en-US" sz="1700" dirty="0">
              <a:solidFill>
                <a:srgbClr val="003149"/>
              </a:solidFill>
              <a:cs typeface="Arial" panose="020B0604020202020204" pitchFamily="34" charset="0"/>
            </a:endParaRPr>
          </a:p>
        </p:txBody>
      </p:sp>
      <p:sp>
        <p:nvSpPr>
          <p:cNvPr id="134" name="Freeform 319"/>
          <p:cNvSpPr>
            <a:spLocks noChangeAspect="1"/>
          </p:cNvSpPr>
          <p:nvPr/>
        </p:nvSpPr>
        <p:spPr bwMode="gray">
          <a:xfrm>
            <a:off x="6409136" y="3513606"/>
            <a:ext cx="253058" cy="248226"/>
          </a:xfrm>
          <a:custGeom>
            <a:avLst/>
            <a:gdLst>
              <a:gd name="T0" fmla="*/ 0 w 1374"/>
              <a:gd name="T1" fmla="*/ 0 h 1195"/>
              <a:gd name="T2" fmla="*/ 0 w 1374"/>
              <a:gd name="T3" fmla="*/ 0 h 1195"/>
              <a:gd name="T4" fmla="*/ 0 w 1374"/>
              <a:gd name="T5" fmla="*/ 0 h 1195"/>
              <a:gd name="T6" fmla="*/ 0 w 1374"/>
              <a:gd name="T7" fmla="*/ 0 h 1195"/>
              <a:gd name="T8" fmla="*/ 0 w 1374"/>
              <a:gd name="T9" fmla="*/ 0 h 1195"/>
              <a:gd name="T10" fmla="*/ 0 w 1374"/>
              <a:gd name="T11" fmla="*/ 0 h 1195"/>
              <a:gd name="T12" fmla="*/ 0 w 1374"/>
              <a:gd name="T13" fmla="*/ 0 h 1195"/>
              <a:gd name="T14" fmla="*/ 0 w 1374"/>
              <a:gd name="T15" fmla="*/ 0 h 1195"/>
              <a:gd name="T16" fmla="*/ 0 w 1374"/>
              <a:gd name="T17" fmla="*/ 0 h 1195"/>
              <a:gd name="T18" fmla="*/ 0 w 1374"/>
              <a:gd name="T19" fmla="*/ 0 h 1195"/>
              <a:gd name="T20" fmla="*/ 0 w 1374"/>
              <a:gd name="T21" fmla="*/ 0 h 1195"/>
              <a:gd name="T22" fmla="*/ 0 w 1374"/>
              <a:gd name="T23" fmla="*/ 0 h 1195"/>
              <a:gd name="T24" fmla="*/ 0 w 1374"/>
              <a:gd name="T25" fmla="*/ 0 h 1195"/>
              <a:gd name="T26" fmla="*/ 0 w 1374"/>
              <a:gd name="T27" fmla="*/ 0 h 1195"/>
              <a:gd name="T28" fmla="*/ 0 w 1374"/>
              <a:gd name="T29" fmla="*/ 0 h 1195"/>
              <a:gd name="T30" fmla="*/ 0 w 1374"/>
              <a:gd name="T31" fmla="*/ 0 h 1195"/>
              <a:gd name="T32" fmla="*/ 0 w 1374"/>
              <a:gd name="T33" fmla="*/ 0 h 1195"/>
              <a:gd name="T34" fmla="*/ 0 w 1374"/>
              <a:gd name="T35" fmla="*/ 0 h 1195"/>
              <a:gd name="T36" fmla="*/ 0 w 1374"/>
              <a:gd name="T37" fmla="*/ 0 h 1195"/>
              <a:gd name="T38" fmla="*/ 0 w 1374"/>
              <a:gd name="T39" fmla="*/ 0 h 1195"/>
              <a:gd name="T40" fmla="*/ 0 w 1374"/>
              <a:gd name="T41" fmla="*/ 0 h 1195"/>
              <a:gd name="T42" fmla="*/ 0 w 1374"/>
              <a:gd name="T43" fmla="*/ 0 h 1195"/>
              <a:gd name="T44" fmla="*/ 0 w 1374"/>
              <a:gd name="T45" fmla="*/ 0 h 1195"/>
              <a:gd name="T46" fmla="*/ 0 w 1374"/>
              <a:gd name="T47" fmla="*/ 0 h 1195"/>
              <a:gd name="T48" fmla="*/ 0 w 1374"/>
              <a:gd name="T49" fmla="*/ 0 h 1195"/>
              <a:gd name="T50" fmla="*/ 0 w 1374"/>
              <a:gd name="T51" fmla="*/ 0 h 1195"/>
              <a:gd name="T52" fmla="*/ 0 w 1374"/>
              <a:gd name="T53" fmla="*/ 0 h 1195"/>
              <a:gd name="T54" fmla="*/ 0 w 1374"/>
              <a:gd name="T55" fmla="*/ 0 h 1195"/>
              <a:gd name="T56" fmla="*/ 0 w 1374"/>
              <a:gd name="T57" fmla="*/ 0 h 1195"/>
              <a:gd name="T58" fmla="*/ 0 w 1374"/>
              <a:gd name="T59" fmla="*/ 0 h 1195"/>
              <a:gd name="T60" fmla="*/ 0 w 1374"/>
              <a:gd name="T61" fmla="*/ 0 h 1195"/>
              <a:gd name="T62" fmla="*/ 0 w 1374"/>
              <a:gd name="T63" fmla="*/ 0 h 1195"/>
              <a:gd name="T64" fmla="*/ 0 w 1374"/>
              <a:gd name="T65" fmla="*/ 0 h 1195"/>
              <a:gd name="T66" fmla="*/ 0 w 1374"/>
              <a:gd name="T67" fmla="*/ 0 h 1195"/>
              <a:gd name="T68" fmla="*/ 0 w 1374"/>
              <a:gd name="T69" fmla="*/ 0 h 1195"/>
              <a:gd name="T70" fmla="*/ 0 w 1374"/>
              <a:gd name="T71" fmla="*/ 0 h 1195"/>
              <a:gd name="T72" fmla="*/ 0 w 1374"/>
              <a:gd name="T73" fmla="*/ 0 h 1195"/>
              <a:gd name="T74" fmla="*/ 0 w 1374"/>
              <a:gd name="T75" fmla="*/ 0 h 1195"/>
              <a:gd name="T76" fmla="*/ 0 w 1374"/>
              <a:gd name="T77" fmla="*/ 0 h 1195"/>
              <a:gd name="T78" fmla="*/ 0 w 1374"/>
              <a:gd name="T79" fmla="*/ 0 h 1195"/>
              <a:gd name="T80" fmla="*/ 0 w 1374"/>
              <a:gd name="T81" fmla="*/ 0 h 1195"/>
              <a:gd name="T82" fmla="*/ 0 w 1374"/>
              <a:gd name="T83" fmla="*/ 0 h 1195"/>
              <a:gd name="T84" fmla="*/ 0 w 1374"/>
              <a:gd name="T85" fmla="*/ 0 h 1195"/>
              <a:gd name="T86" fmla="*/ 0 w 1374"/>
              <a:gd name="T87" fmla="*/ 0 h 1195"/>
              <a:gd name="T88" fmla="*/ 0 w 1374"/>
              <a:gd name="T89" fmla="*/ 0 h 1195"/>
              <a:gd name="T90" fmla="*/ 0 w 1374"/>
              <a:gd name="T91" fmla="*/ 0 h 1195"/>
              <a:gd name="T92" fmla="*/ 0 w 1374"/>
              <a:gd name="T93" fmla="*/ 0 h 1195"/>
              <a:gd name="T94" fmla="*/ 0 w 1374"/>
              <a:gd name="T95" fmla="*/ 0 h 1195"/>
              <a:gd name="T96" fmla="*/ 0 w 1374"/>
              <a:gd name="T97" fmla="*/ 0 h 1195"/>
              <a:gd name="T98" fmla="*/ 0 w 1374"/>
              <a:gd name="T99" fmla="*/ 0 h 1195"/>
              <a:gd name="T100" fmla="*/ 0 w 1374"/>
              <a:gd name="T101" fmla="*/ 0 h 1195"/>
              <a:gd name="T102" fmla="*/ 0 w 1374"/>
              <a:gd name="T103" fmla="*/ 0 h 1195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w 1374"/>
              <a:gd name="T157" fmla="*/ 0 h 1195"/>
              <a:gd name="T158" fmla="*/ 1374 w 1374"/>
              <a:gd name="T159" fmla="*/ 1195 h 1195"/>
            </a:gdLst>
            <a:ahLst/>
            <a:cxnLst>
              <a:cxn ang="T104">
                <a:pos x="T0" y="T1"/>
              </a:cxn>
              <a:cxn ang="T105">
                <a:pos x="T2" y="T3"/>
              </a:cxn>
              <a:cxn ang="T106">
                <a:pos x="T4" y="T5"/>
              </a:cxn>
              <a:cxn ang="T107">
                <a:pos x="T6" y="T7"/>
              </a:cxn>
              <a:cxn ang="T108">
                <a:pos x="T8" y="T9"/>
              </a:cxn>
              <a:cxn ang="T109">
                <a:pos x="T10" y="T11"/>
              </a:cxn>
              <a:cxn ang="T110">
                <a:pos x="T12" y="T13"/>
              </a:cxn>
              <a:cxn ang="T111">
                <a:pos x="T14" y="T15"/>
              </a:cxn>
              <a:cxn ang="T112">
                <a:pos x="T16" y="T17"/>
              </a:cxn>
              <a:cxn ang="T113">
                <a:pos x="T18" y="T19"/>
              </a:cxn>
              <a:cxn ang="T114">
                <a:pos x="T20" y="T21"/>
              </a:cxn>
              <a:cxn ang="T115">
                <a:pos x="T22" y="T23"/>
              </a:cxn>
              <a:cxn ang="T116">
                <a:pos x="T24" y="T25"/>
              </a:cxn>
              <a:cxn ang="T117">
                <a:pos x="T26" y="T27"/>
              </a:cxn>
              <a:cxn ang="T118">
                <a:pos x="T28" y="T29"/>
              </a:cxn>
              <a:cxn ang="T119">
                <a:pos x="T30" y="T31"/>
              </a:cxn>
              <a:cxn ang="T120">
                <a:pos x="T32" y="T33"/>
              </a:cxn>
              <a:cxn ang="T121">
                <a:pos x="T34" y="T35"/>
              </a:cxn>
              <a:cxn ang="T122">
                <a:pos x="T36" y="T37"/>
              </a:cxn>
              <a:cxn ang="T123">
                <a:pos x="T38" y="T39"/>
              </a:cxn>
              <a:cxn ang="T124">
                <a:pos x="T40" y="T41"/>
              </a:cxn>
              <a:cxn ang="T125">
                <a:pos x="T42" y="T43"/>
              </a:cxn>
              <a:cxn ang="T126">
                <a:pos x="T44" y="T45"/>
              </a:cxn>
              <a:cxn ang="T127">
                <a:pos x="T46" y="T47"/>
              </a:cxn>
              <a:cxn ang="T128">
                <a:pos x="T48" y="T49"/>
              </a:cxn>
              <a:cxn ang="T129">
                <a:pos x="T50" y="T51"/>
              </a:cxn>
              <a:cxn ang="T130">
                <a:pos x="T52" y="T53"/>
              </a:cxn>
              <a:cxn ang="T131">
                <a:pos x="T54" y="T55"/>
              </a:cxn>
              <a:cxn ang="T132">
                <a:pos x="T56" y="T57"/>
              </a:cxn>
              <a:cxn ang="T133">
                <a:pos x="T58" y="T59"/>
              </a:cxn>
              <a:cxn ang="T134">
                <a:pos x="T60" y="T61"/>
              </a:cxn>
              <a:cxn ang="T135">
                <a:pos x="T62" y="T63"/>
              </a:cxn>
              <a:cxn ang="T136">
                <a:pos x="T64" y="T65"/>
              </a:cxn>
              <a:cxn ang="T137">
                <a:pos x="T66" y="T67"/>
              </a:cxn>
              <a:cxn ang="T138">
                <a:pos x="T68" y="T69"/>
              </a:cxn>
              <a:cxn ang="T139">
                <a:pos x="T70" y="T71"/>
              </a:cxn>
              <a:cxn ang="T140">
                <a:pos x="T72" y="T73"/>
              </a:cxn>
              <a:cxn ang="T141">
                <a:pos x="T74" y="T75"/>
              </a:cxn>
              <a:cxn ang="T142">
                <a:pos x="T76" y="T77"/>
              </a:cxn>
              <a:cxn ang="T143">
                <a:pos x="T78" y="T79"/>
              </a:cxn>
              <a:cxn ang="T144">
                <a:pos x="T80" y="T81"/>
              </a:cxn>
              <a:cxn ang="T145">
                <a:pos x="T82" y="T83"/>
              </a:cxn>
              <a:cxn ang="T146">
                <a:pos x="T84" y="T85"/>
              </a:cxn>
              <a:cxn ang="T147">
                <a:pos x="T86" y="T87"/>
              </a:cxn>
              <a:cxn ang="T148">
                <a:pos x="T88" y="T89"/>
              </a:cxn>
              <a:cxn ang="T149">
                <a:pos x="T90" y="T91"/>
              </a:cxn>
              <a:cxn ang="T150">
                <a:pos x="T92" y="T93"/>
              </a:cxn>
              <a:cxn ang="T151">
                <a:pos x="T94" y="T95"/>
              </a:cxn>
              <a:cxn ang="T152">
                <a:pos x="T96" y="T97"/>
              </a:cxn>
              <a:cxn ang="T153">
                <a:pos x="T98" y="T99"/>
              </a:cxn>
              <a:cxn ang="T154">
                <a:pos x="T100" y="T101"/>
              </a:cxn>
              <a:cxn ang="T155">
                <a:pos x="T102" y="T103"/>
              </a:cxn>
            </a:cxnLst>
            <a:rect l="T156" t="T157" r="T158" b="T159"/>
            <a:pathLst>
              <a:path w="1374" h="1195">
                <a:moveTo>
                  <a:pt x="1371" y="1195"/>
                </a:moveTo>
                <a:lnTo>
                  <a:pt x="1374" y="1101"/>
                </a:lnTo>
                <a:lnTo>
                  <a:pt x="1332" y="1083"/>
                </a:lnTo>
                <a:lnTo>
                  <a:pt x="1263" y="1056"/>
                </a:lnTo>
                <a:lnTo>
                  <a:pt x="1220" y="1027"/>
                </a:lnTo>
                <a:lnTo>
                  <a:pt x="1161" y="985"/>
                </a:lnTo>
                <a:lnTo>
                  <a:pt x="1089" y="928"/>
                </a:lnTo>
                <a:lnTo>
                  <a:pt x="1025" y="874"/>
                </a:lnTo>
                <a:lnTo>
                  <a:pt x="978" y="840"/>
                </a:lnTo>
                <a:lnTo>
                  <a:pt x="962" y="831"/>
                </a:lnTo>
                <a:lnTo>
                  <a:pt x="947" y="813"/>
                </a:lnTo>
                <a:lnTo>
                  <a:pt x="945" y="826"/>
                </a:lnTo>
                <a:lnTo>
                  <a:pt x="936" y="813"/>
                </a:lnTo>
                <a:lnTo>
                  <a:pt x="933" y="793"/>
                </a:lnTo>
                <a:lnTo>
                  <a:pt x="921" y="798"/>
                </a:lnTo>
                <a:lnTo>
                  <a:pt x="909" y="801"/>
                </a:lnTo>
                <a:lnTo>
                  <a:pt x="897" y="798"/>
                </a:lnTo>
                <a:lnTo>
                  <a:pt x="890" y="786"/>
                </a:lnTo>
                <a:lnTo>
                  <a:pt x="896" y="774"/>
                </a:lnTo>
                <a:lnTo>
                  <a:pt x="893" y="757"/>
                </a:lnTo>
                <a:lnTo>
                  <a:pt x="887" y="745"/>
                </a:lnTo>
                <a:lnTo>
                  <a:pt x="872" y="744"/>
                </a:lnTo>
                <a:lnTo>
                  <a:pt x="864" y="733"/>
                </a:lnTo>
                <a:lnTo>
                  <a:pt x="851" y="729"/>
                </a:lnTo>
                <a:lnTo>
                  <a:pt x="840" y="720"/>
                </a:lnTo>
                <a:lnTo>
                  <a:pt x="822" y="708"/>
                </a:lnTo>
                <a:lnTo>
                  <a:pt x="813" y="718"/>
                </a:lnTo>
                <a:lnTo>
                  <a:pt x="822" y="730"/>
                </a:lnTo>
                <a:lnTo>
                  <a:pt x="819" y="748"/>
                </a:lnTo>
                <a:lnTo>
                  <a:pt x="801" y="739"/>
                </a:lnTo>
                <a:lnTo>
                  <a:pt x="792" y="717"/>
                </a:lnTo>
                <a:lnTo>
                  <a:pt x="789" y="690"/>
                </a:lnTo>
                <a:lnTo>
                  <a:pt x="782" y="673"/>
                </a:lnTo>
                <a:lnTo>
                  <a:pt x="765" y="664"/>
                </a:lnTo>
                <a:lnTo>
                  <a:pt x="752" y="669"/>
                </a:lnTo>
                <a:lnTo>
                  <a:pt x="744" y="657"/>
                </a:lnTo>
                <a:lnTo>
                  <a:pt x="729" y="660"/>
                </a:lnTo>
                <a:lnTo>
                  <a:pt x="720" y="655"/>
                </a:lnTo>
                <a:lnTo>
                  <a:pt x="707" y="655"/>
                </a:lnTo>
                <a:lnTo>
                  <a:pt x="704" y="637"/>
                </a:lnTo>
                <a:lnTo>
                  <a:pt x="689" y="621"/>
                </a:lnTo>
                <a:lnTo>
                  <a:pt x="672" y="610"/>
                </a:lnTo>
                <a:lnTo>
                  <a:pt x="656" y="601"/>
                </a:lnTo>
                <a:lnTo>
                  <a:pt x="644" y="597"/>
                </a:lnTo>
                <a:lnTo>
                  <a:pt x="645" y="573"/>
                </a:lnTo>
                <a:lnTo>
                  <a:pt x="639" y="556"/>
                </a:lnTo>
                <a:lnTo>
                  <a:pt x="629" y="549"/>
                </a:lnTo>
                <a:lnTo>
                  <a:pt x="618" y="537"/>
                </a:lnTo>
                <a:lnTo>
                  <a:pt x="615" y="507"/>
                </a:lnTo>
                <a:lnTo>
                  <a:pt x="620" y="516"/>
                </a:lnTo>
                <a:lnTo>
                  <a:pt x="633" y="516"/>
                </a:lnTo>
                <a:lnTo>
                  <a:pt x="626" y="493"/>
                </a:lnTo>
                <a:lnTo>
                  <a:pt x="615" y="480"/>
                </a:lnTo>
                <a:lnTo>
                  <a:pt x="608" y="453"/>
                </a:lnTo>
                <a:lnTo>
                  <a:pt x="602" y="433"/>
                </a:lnTo>
                <a:lnTo>
                  <a:pt x="596" y="421"/>
                </a:lnTo>
                <a:lnTo>
                  <a:pt x="582" y="412"/>
                </a:lnTo>
                <a:lnTo>
                  <a:pt x="579" y="400"/>
                </a:lnTo>
                <a:lnTo>
                  <a:pt x="567" y="390"/>
                </a:lnTo>
                <a:lnTo>
                  <a:pt x="560" y="376"/>
                </a:lnTo>
                <a:lnTo>
                  <a:pt x="548" y="367"/>
                </a:lnTo>
                <a:lnTo>
                  <a:pt x="536" y="361"/>
                </a:lnTo>
                <a:lnTo>
                  <a:pt x="525" y="355"/>
                </a:lnTo>
                <a:lnTo>
                  <a:pt x="512" y="348"/>
                </a:lnTo>
                <a:lnTo>
                  <a:pt x="497" y="348"/>
                </a:lnTo>
                <a:lnTo>
                  <a:pt x="500" y="361"/>
                </a:lnTo>
                <a:lnTo>
                  <a:pt x="488" y="360"/>
                </a:lnTo>
                <a:lnTo>
                  <a:pt x="479" y="345"/>
                </a:lnTo>
                <a:lnTo>
                  <a:pt x="458" y="333"/>
                </a:lnTo>
                <a:lnTo>
                  <a:pt x="446" y="325"/>
                </a:lnTo>
                <a:lnTo>
                  <a:pt x="435" y="318"/>
                </a:lnTo>
                <a:lnTo>
                  <a:pt x="425" y="313"/>
                </a:lnTo>
                <a:lnTo>
                  <a:pt x="413" y="312"/>
                </a:lnTo>
                <a:lnTo>
                  <a:pt x="410" y="298"/>
                </a:lnTo>
                <a:lnTo>
                  <a:pt x="420" y="297"/>
                </a:lnTo>
                <a:lnTo>
                  <a:pt x="429" y="303"/>
                </a:lnTo>
                <a:lnTo>
                  <a:pt x="443" y="303"/>
                </a:lnTo>
                <a:lnTo>
                  <a:pt x="444" y="285"/>
                </a:lnTo>
                <a:lnTo>
                  <a:pt x="434" y="264"/>
                </a:lnTo>
                <a:lnTo>
                  <a:pt x="420" y="259"/>
                </a:lnTo>
                <a:lnTo>
                  <a:pt x="404" y="252"/>
                </a:lnTo>
                <a:lnTo>
                  <a:pt x="387" y="246"/>
                </a:lnTo>
                <a:lnTo>
                  <a:pt x="375" y="244"/>
                </a:lnTo>
                <a:lnTo>
                  <a:pt x="360" y="240"/>
                </a:lnTo>
                <a:lnTo>
                  <a:pt x="354" y="252"/>
                </a:lnTo>
                <a:lnTo>
                  <a:pt x="348" y="238"/>
                </a:lnTo>
                <a:lnTo>
                  <a:pt x="335" y="235"/>
                </a:lnTo>
                <a:lnTo>
                  <a:pt x="327" y="226"/>
                </a:lnTo>
                <a:lnTo>
                  <a:pt x="312" y="219"/>
                </a:lnTo>
                <a:lnTo>
                  <a:pt x="300" y="217"/>
                </a:lnTo>
                <a:lnTo>
                  <a:pt x="291" y="199"/>
                </a:lnTo>
                <a:lnTo>
                  <a:pt x="279" y="202"/>
                </a:lnTo>
                <a:lnTo>
                  <a:pt x="272" y="184"/>
                </a:lnTo>
                <a:lnTo>
                  <a:pt x="258" y="186"/>
                </a:lnTo>
                <a:lnTo>
                  <a:pt x="252" y="178"/>
                </a:lnTo>
                <a:lnTo>
                  <a:pt x="243" y="166"/>
                </a:lnTo>
                <a:lnTo>
                  <a:pt x="231" y="157"/>
                </a:lnTo>
                <a:lnTo>
                  <a:pt x="224" y="147"/>
                </a:lnTo>
                <a:lnTo>
                  <a:pt x="216" y="133"/>
                </a:lnTo>
                <a:lnTo>
                  <a:pt x="210" y="124"/>
                </a:lnTo>
                <a:lnTo>
                  <a:pt x="204" y="103"/>
                </a:lnTo>
                <a:lnTo>
                  <a:pt x="198" y="90"/>
                </a:lnTo>
                <a:lnTo>
                  <a:pt x="198" y="73"/>
                </a:lnTo>
                <a:lnTo>
                  <a:pt x="185" y="64"/>
                </a:lnTo>
                <a:lnTo>
                  <a:pt x="171" y="49"/>
                </a:lnTo>
                <a:lnTo>
                  <a:pt x="152" y="39"/>
                </a:lnTo>
                <a:lnTo>
                  <a:pt x="141" y="39"/>
                </a:lnTo>
                <a:lnTo>
                  <a:pt x="123" y="36"/>
                </a:lnTo>
                <a:lnTo>
                  <a:pt x="114" y="30"/>
                </a:lnTo>
                <a:lnTo>
                  <a:pt x="102" y="21"/>
                </a:lnTo>
                <a:lnTo>
                  <a:pt x="92" y="15"/>
                </a:lnTo>
                <a:lnTo>
                  <a:pt x="78" y="9"/>
                </a:lnTo>
                <a:lnTo>
                  <a:pt x="66" y="1"/>
                </a:lnTo>
                <a:lnTo>
                  <a:pt x="51" y="0"/>
                </a:lnTo>
                <a:lnTo>
                  <a:pt x="51" y="21"/>
                </a:lnTo>
                <a:lnTo>
                  <a:pt x="62" y="39"/>
                </a:lnTo>
                <a:lnTo>
                  <a:pt x="80" y="45"/>
                </a:lnTo>
                <a:lnTo>
                  <a:pt x="75" y="60"/>
                </a:lnTo>
                <a:lnTo>
                  <a:pt x="74" y="75"/>
                </a:lnTo>
                <a:lnTo>
                  <a:pt x="56" y="69"/>
                </a:lnTo>
                <a:lnTo>
                  <a:pt x="38" y="69"/>
                </a:lnTo>
                <a:lnTo>
                  <a:pt x="27" y="78"/>
                </a:lnTo>
                <a:lnTo>
                  <a:pt x="11" y="84"/>
                </a:lnTo>
                <a:lnTo>
                  <a:pt x="0" y="97"/>
                </a:lnTo>
                <a:lnTo>
                  <a:pt x="51" y="115"/>
                </a:lnTo>
                <a:lnTo>
                  <a:pt x="92" y="127"/>
                </a:lnTo>
                <a:lnTo>
                  <a:pt x="131" y="144"/>
                </a:lnTo>
                <a:lnTo>
                  <a:pt x="162" y="159"/>
                </a:lnTo>
                <a:lnTo>
                  <a:pt x="173" y="186"/>
                </a:lnTo>
                <a:lnTo>
                  <a:pt x="186" y="199"/>
                </a:lnTo>
                <a:lnTo>
                  <a:pt x="207" y="180"/>
                </a:lnTo>
                <a:lnTo>
                  <a:pt x="216" y="193"/>
                </a:lnTo>
                <a:lnTo>
                  <a:pt x="230" y="205"/>
                </a:lnTo>
                <a:lnTo>
                  <a:pt x="224" y="219"/>
                </a:lnTo>
                <a:lnTo>
                  <a:pt x="228" y="234"/>
                </a:lnTo>
                <a:lnTo>
                  <a:pt x="210" y="234"/>
                </a:lnTo>
                <a:lnTo>
                  <a:pt x="191" y="237"/>
                </a:lnTo>
                <a:lnTo>
                  <a:pt x="179" y="249"/>
                </a:lnTo>
                <a:lnTo>
                  <a:pt x="182" y="261"/>
                </a:lnTo>
                <a:lnTo>
                  <a:pt x="200" y="262"/>
                </a:lnTo>
                <a:lnTo>
                  <a:pt x="204" y="276"/>
                </a:lnTo>
                <a:lnTo>
                  <a:pt x="219" y="268"/>
                </a:lnTo>
                <a:lnTo>
                  <a:pt x="231" y="253"/>
                </a:lnTo>
                <a:lnTo>
                  <a:pt x="240" y="265"/>
                </a:lnTo>
                <a:lnTo>
                  <a:pt x="234" y="282"/>
                </a:lnTo>
                <a:lnTo>
                  <a:pt x="222" y="286"/>
                </a:lnTo>
                <a:lnTo>
                  <a:pt x="233" y="307"/>
                </a:lnTo>
                <a:lnTo>
                  <a:pt x="243" y="318"/>
                </a:lnTo>
                <a:lnTo>
                  <a:pt x="225" y="325"/>
                </a:lnTo>
                <a:lnTo>
                  <a:pt x="215" y="333"/>
                </a:lnTo>
                <a:lnTo>
                  <a:pt x="194" y="328"/>
                </a:lnTo>
                <a:lnTo>
                  <a:pt x="180" y="327"/>
                </a:lnTo>
                <a:lnTo>
                  <a:pt x="167" y="321"/>
                </a:lnTo>
                <a:lnTo>
                  <a:pt x="155" y="315"/>
                </a:lnTo>
                <a:lnTo>
                  <a:pt x="146" y="322"/>
                </a:lnTo>
                <a:lnTo>
                  <a:pt x="146" y="334"/>
                </a:lnTo>
                <a:lnTo>
                  <a:pt x="135" y="336"/>
                </a:lnTo>
                <a:lnTo>
                  <a:pt x="131" y="354"/>
                </a:lnTo>
                <a:lnTo>
                  <a:pt x="120" y="364"/>
                </a:lnTo>
                <a:lnTo>
                  <a:pt x="117" y="379"/>
                </a:lnTo>
                <a:lnTo>
                  <a:pt x="108" y="385"/>
                </a:lnTo>
                <a:lnTo>
                  <a:pt x="105" y="396"/>
                </a:lnTo>
                <a:lnTo>
                  <a:pt x="131" y="421"/>
                </a:lnTo>
                <a:lnTo>
                  <a:pt x="162" y="450"/>
                </a:lnTo>
                <a:lnTo>
                  <a:pt x="198" y="462"/>
                </a:lnTo>
                <a:lnTo>
                  <a:pt x="228" y="487"/>
                </a:lnTo>
                <a:lnTo>
                  <a:pt x="237" y="522"/>
                </a:lnTo>
                <a:lnTo>
                  <a:pt x="246" y="550"/>
                </a:lnTo>
                <a:lnTo>
                  <a:pt x="270" y="565"/>
                </a:lnTo>
                <a:lnTo>
                  <a:pt x="263" y="580"/>
                </a:lnTo>
                <a:lnTo>
                  <a:pt x="287" y="586"/>
                </a:lnTo>
                <a:lnTo>
                  <a:pt x="297" y="607"/>
                </a:lnTo>
                <a:lnTo>
                  <a:pt x="311" y="619"/>
                </a:lnTo>
                <a:lnTo>
                  <a:pt x="324" y="625"/>
                </a:lnTo>
                <a:lnTo>
                  <a:pt x="321" y="646"/>
                </a:lnTo>
                <a:lnTo>
                  <a:pt x="315" y="655"/>
                </a:lnTo>
                <a:lnTo>
                  <a:pt x="315" y="678"/>
                </a:lnTo>
                <a:lnTo>
                  <a:pt x="315" y="702"/>
                </a:lnTo>
                <a:lnTo>
                  <a:pt x="332" y="717"/>
                </a:lnTo>
                <a:lnTo>
                  <a:pt x="350" y="724"/>
                </a:lnTo>
                <a:lnTo>
                  <a:pt x="365" y="747"/>
                </a:lnTo>
                <a:lnTo>
                  <a:pt x="378" y="762"/>
                </a:lnTo>
                <a:lnTo>
                  <a:pt x="390" y="790"/>
                </a:lnTo>
                <a:lnTo>
                  <a:pt x="408" y="814"/>
                </a:lnTo>
                <a:lnTo>
                  <a:pt x="413" y="828"/>
                </a:lnTo>
                <a:lnTo>
                  <a:pt x="432" y="850"/>
                </a:lnTo>
                <a:lnTo>
                  <a:pt x="461" y="846"/>
                </a:lnTo>
                <a:lnTo>
                  <a:pt x="482" y="843"/>
                </a:lnTo>
                <a:lnTo>
                  <a:pt x="498" y="850"/>
                </a:lnTo>
                <a:lnTo>
                  <a:pt x="483" y="867"/>
                </a:lnTo>
                <a:lnTo>
                  <a:pt x="498" y="879"/>
                </a:lnTo>
                <a:lnTo>
                  <a:pt x="534" y="879"/>
                </a:lnTo>
                <a:lnTo>
                  <a:pt x="563" y="886"/>
                </a:lnTo>
                <a:lnTo>
                  <a:pt x="584" y="900"/>
                </a:lnTo>
                <a:lnTo>
                  <a:pt x="605" y="909"/>
                </a:lnTo>
                <a:lnTo>
                  <a:pt x="621" y="927"/>
                </a:lnTo>
                <a:lnTo>
                  <a:pt x="650" y="940"/>
                </a:lnTo>
                <a:lnTo>
                  <a:pt x="684" y="954"/>
                </a:lnTo>
                <a:lnTo>
                  <a:pt x="696" y="984"/>
                </a:lnTo>
                <a:lnTo>
                  <a:pt x="717" y="990"/>
                </a:lnTo>
                <a:lnTo>
                  <a:pt x="729" y="996"/>
                </a:lnTo>
                <a:lnTo>
                  <a:pt x="743" y="1009"/>
                </a:lnTo>
                <a:lnTo>
                  <a:pt x="755" y="1039"/>
                </a:lnTo>
                <a:lnTo>
                  <a:pt x="762" y="1077"/>
                </a:lnTo>
                <a:lnTo>
                  <a:pt x="779" y="1117"/>
                </a:lnTo>
                <a:lnTo>
                  <a:pt x="791" y="1146"/>
                </a:lnTo>
                <a:lnTo>
                  <a:pt x="801" y="1153"/>
                </a:lnTo>
                <a:lnTo>
                  <a:pt x="977" y="1155"/>
                </a:lnTo>
              </a:path>
            </a:pathLst>
          </a:custGeom>
          <a:solidFill>
            <a:srgbClr val="70B0DF"/>
          </a:solidFill>
          <a:ln w="9525">
            <a:noFill/>
            <a:round/>
            <a:headEnd/>
            <a:tailEnd/>
          </a:ln>
        </p:spPr>
        <p:txBody>
          <a:bodyPr wrap="none" lIns="82878" tIns="41438" rIns="82878" bIns="41438"/>
          <a:lstStyle/>
          <a:p>
            <a:pPr defTabSz="891045"/>
            <a:endParaRPr lang="en-US" sz="1700" dirty="0">
              <a:solidFill>
                <a:srgbClr val="003149"/>
              </a:solidFill>
              <a:cs typeface="Arial" panose="020B0604020202020204" pitchFamily="34" charset="0"/>
            </a:endParaRPr>
          </a:p>
        </p:txBody>
      </p:sp>
      <p:sp>
        <p:nvSpPr>
          <p:cNvPr id="135" name="Freeform 374"/>
          <p:cNvSpPr>
            <a:spLocks noChangeAspect="1"/>
          </p:cNvSpPr>
          <p:nvPr/>
        </p:nvSpPr>
        <p:spPr bwMode="gray">
          <a:xfrm>
            <a:off x="3922618" y="2631188"/>
            <a:ext cx="32699" cy="63133"/>
          </a:xfrm>
          <a:custGeom>
            <a:avLst/>
            <a:gdLst>
              <a:gd name="T0" fmla="*/ 949848031 w 52"/>
              <a:gd name="T1" fmla="*/ 1027056811 h 92"/>
              <a:gd name="T2" fmla="*/ 949848031 w 52"/>
              <a:gd name="T3" fmla="*/ 1027056811 h 92"/>
              <a:gd name="T4" fmla="*/ 949848031 w 52"/>
              <a:gd name="T5" fmla="*/ 1027056811 h 92"/>
              <a:gd name="T6" fmla="*/ 949848031 w 52"/>
              <a:gd name="T7" fmla="*/ 1027056811 h 92"/>
              <a:gd name="T8" fmla="*/ 949848031 w 52"/>
              <a:gd name="T9" fmla="*/ 1027056811 h 92"/>
              <a:gd name="T10" fmla="*/ 949848031 w 52"/>
              <a:gd name="T11" fmla="*/ 1027056811 h 92"/>
              <a:gd name="T12" fmla="*/ 949848031 w 52"/>
              <a:gd name="T13" fmla="*/ 0 h 92"/>
              <a:gd name="T14" fmla="*/ 949848031 w 52"/>
              <a:gd name="T15" fmla="*/ 1027056811 h 92"/>
              <a:gd name="T16" fmla="*/ 949848031 w 52"/>
              <a:gd name="T17" fmla="*/ 1027056811 h 92"/>
              <a:gd name="T18" fmla="*/ 949848031 w 52"/>
              <a:gd name="T19" fmla="*/ 1027056811 h 92"/>
              <a:gd name="T20" fmla="*/ 949848031 w 52"/>
              <a:gd name="T21" fmla="*/ 1027056811 h 92"/>
              <a:gd name="T22" fmla="*/ 0 w 52"/>
              <a:gd name="T23" fmla="*/ 1027056811 h 92"/>
              <a:gd name="T24" fmla="*/ 949848031 w 52"/>
              <a:gd name="T25" fmla="*/ 1027056811 h 92"/>
              <a:gd name="T26" fmla="*/ 949848031 w 52"/>
              <a:gd name="T27" fmla="*/ 1027056811 h 92"/>
              <a:gd name="T28" fmla="*/ 949848031 w 52"/>
              <a:gd name="T29" fmla="*/ 1027056811 h 92"/>
              <a:gd name="T30" fmla="*/ 949848031 w 52"/>
              <a:gd name="T31" fmla="*/ 1027056811 h 92"/>
              <a:gd name="T32" fmla="*/ 949848031 w 52"/>
              <a:gd name="T33" fmla="*/ 1027056811 h 92"/>
              <a:gd name="T34" fmla="*/ 949848031 w 52"/>
              <a:gd name="T35" fmla="*/ 1027056811 h 92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w 52"/>
              <a:gd name="T55" fmla="*/ 0 h 92"/>
              <a:gd name="T56" fmla="*/ 52 w 52"/>
              <a:gd name="T57" fmla="*/ 92 h 92"/>
            </a:gdLst>
            <a:ahLst/>
            <a:cxnLst>
              <a:cxn ang="T36">
                <a:pos x="T0" y="T1"/>
              </a:cxn>
              <a:cxn ang="T37">
                <a:pos x="T2" y="T3"/>
              </a:cxn>
              <a:cxn ang="T38">
                <a:pos x="T4" y="T5"/>
              </a:cxn>
              <a:cxn ang="T39">
                <a:pos x="T6" y="T7"/>
              </a:cxn>
              <a:cxn ang="T40">
                <a:pos x="T8" y="T9"/>
              </a:cxn>
              <a:cxn ang="T41">
                <a:pos x="T10" y="T11"/>
              </a:cxn>
              <a:cxn ang="T42">
                <a:pos x="T12" y="T13"/>
              </a:cxn>
              <a:cxn ang="T43">
                <a:pos x="T14" y="T15"/>
              </a:cxn>
              <a:cxn ang="T44">
                <a:pos x="T16" y="T17"/>
              </a:cxn>
              <a:cxn ang="T45">
                <a:pos x="T18" y="T19"/>
              </a:cxn>
              <a:cxn ang="T46">
                <a:pos x="T20" y="T21"/>
              </a:cxn>
              <a:cxn ang="T47">
                <a:pos x="T22" y="T23"/>
              </a:cxn>
              <a:cxn ang="T48">
                <a:pos x="T24" y="T25"/>
              </a:cxn>
              <a:cxn ang="T49">
                <a:pos x="T26" y="T27"/>
              </a:cxn>
              <a:cxn ang="T50">
                <a:pos x="T28" y="T29"/>
              </a:cxn>
              <a:cxn ang="T51">
                <a:pos x="T30" y="T31"/>
              </a:cxn>
              <a:cxn ang="T52">
                <a:pos x="T32" y="T33"/>
              </a:cxn>
              <a:cxn ang="T53">
                <a:pos x="T34" y="T35"/>
              </a:cxn>
            </a:cxnLst>
            <a:rect l="T54" t="T55" r="T56" b="T57"/>
            <a:pathLst>
              <a:path w="52" h="92">
                <a:moveTo>
                  <a:pt x="46" y="92"/>
                </a:moveTo>
                <a:lnTo>
                  <a:pt x="52" y="80"/>
                </a:lnTo>
                <a:lnTo>
                  <a:pt x="50" y="62"/>
                </a:lnTo>
                <a:lnTo>
                  <a:pt x="48" y="44"/>
                </a:lnTo>
                <a:lnTo>
                  <a:pt x="44" y="20"/>
                </a:lnTo>
                <a:lnTo>
                  <a:pt x="48" y="4"/>
                </a:lnTo>
                <a:lnTo>
                  <a:pt x="36" y="0"/>
                </a:lnTo>
                <a:lnTo>
                  <a:pt x="24" y="4"/>
                </a:lnTo>
                <a:lnTo>
                  <a:pt x="4" y="8"/>
                </a:lnTo>
                <a:lnTo>
                  <a:pt x="8" y="22"/>
                </a:lnTo>
                <a:lnTo>
                  <a:pt x="2" y="32"/>
                </a:lnTo>
                <a:lnTo>
                  <a:pt x="0" y="44"/>
                </a:lnTo>
                <a:lnTo>
                  <a:pt x="4" y="52"/>
                </a:lnTo>
                <a:lnTo>
                  <a:pt x="8" y="56"/>
                </a:lnTo>
                <a:lnTo>
                  <a:pt x="20" y="64"/>
                </a:lnTo>
                <a:lnTo>
                  <a:pt x="14" y="74"/>
                </a:lnTo>
                <a:lnTo>
                  <a:pt x="18" y="88"/>
                </a:lnTo>
                <a:lnTo>
                  <a:pt x="46" y="92"/>
                </a:lnTo>
                <a:close/>
              </a:path>
            </a:pathLst>
          </a:custGeom>
          <a:solidFill>
            <a:srgbClr val="70B0DF"/>
          </a:solidFill>
          <a:ln w="9525">
            <a:noFill/>
            <a:round/>
            <a:headEnd/>
            <a:tailEnd/>
          </a:ln>
        </p:spPr>
        <p:txBody>
          <a:bodyPr wrap="none" lIns="32632" tIns="32632" rIns="32632" bIns="32632" anchor="ctr"/>
          <a:lstStyle/>
          <a:p>
            <a:pPr defTabSz="891045"/>
            <a:endParaRPr lang="en-US" sz="1700" dirty="0">
              <a:solidFill>
                <a:srgbClr val="003149"/>
              </a:solidFill>
              <a:cs typeface="Arial" panose="020B0604020202020204" pitchFamily="34" charset="0"/>
            </a:endParaRPr>
          </a:p>
        </p:txBody>
      </p:sp>
      <p:sp>
        <p:nvSpPr>
          <p:cNvPr id="136" name="Freeform 376"/>
          <p:cNvSpPr>
            <a:spLocks noChangeAspect="1"/>
          </p:cNvSpPr>
          <p:nvPr/>
        </p:nvSpPr>
        <p:spPr bwMode="gray">
          <a:xfrm>
            <a:off x="4061957" y="2324130"/>
            <a:ext cx="275804" cy="100439"/>
          </a:xfrm>
          <a:custGeom>
            <a:avLst/>
            <a:gdLst>
              <a:gd name="T0" fmla="*/ 0 w 1791"/>
              <a:gd name="T1" fmla="*/ 0 h 564"/>
              <a:gd name="T2" fmla="*/ 0 w 1791"/>
              <a:gd name="T3" fmla="*/ 0 h 564"/>
              <a:gd name="T4" fmla="*/ 0 w 1791"/>
              <a:gd name="T5" fmla="*/ 0 h 564"/>
              <a:gd name="T6" fmla="*/ 0 w 1791"/>
              <a:gd name="T7" fmla="*/ 0 h 564"/>
              <a:gd name="T8" fmla="*/ 0 w 1791"/>
              <a:gd name="T9" fmla="*/ 0 h 564"/>
              <a:gd name="T10" fmla="*/ 0 w 1791"/>
              <a:gd name="T11" fmla="*/ 0 h 564"/>
              <a:gd name="T12" fmla="*/ 0 w 1791"/>
              <a:gd name="T13" fmla="*/ 0 h 564"/>
              <a:gd name="T14" fmla="*/ 0 w 1791"/>
              <a:gd name="T15" fmla="*/ 0 h 564"/>
              <a:gd name="T16" fmla="*/ 0 w 1791"/>
              <a:gd name="T17" fmla="*/ 0 h 564"/>
              <a:gd name="T18" fmla="*/ 0 w 1791"/>
              <a:gd name="T19" fmla="*/ 0 h 564"/>
              <a:gd name="T20" fmla="*/ 0 w 1791"/>
              <a:gd name="T21" fmla="*/ 0 h 564"/>
              <a:gd name="T22" fmla="*/ 0 w 1791"/>
              <a:gd name="T23" fmla="*/ 0 h 564"/>
              <a:gd name="T24" fmla="*/ 0 w 1791"/>
              <a:gd name="T25" fmla="*/ 0 h 564"/>
              <a:gd name="T26" fmla="*/ 0 w 1791"/>
              <a:gd name="T27" fmla="*/ 0 h 564"/>
              <a:gd name="T28" fmla="*/ 0 w 1791"/>
              <a:gd name="T29" fmla="*/ 0 h 564"/>
              <a:gd name="T30" fmla="*/ 0 w 1791"/>
              <a:gd name="T31" fmla="*/ 0 h 564"/>
              <a:gd name="T32" fmla="*/ 0 w 1791"/>
              <a:gd name="T33" fmla="*/ 0 h 564"/>
              <a:gd name="T34" fmla="*/ 0 w 1791"/>
              <a:gd name="T35" fmla="*/ 0 h 564"/>
              <a:gd name="T36" fmla="*/ 0 w 1791"/>
              <a:gd name="T37" fmla="*/ 0 h 564"/>
              <a:gd name="T38" fmla="*/ 0 w 1791"/>
              <a:gd name="T39" fmla="*/ 0 h 564"/>
              <a:gd name="T40" fmla="*/ 0 w 1791"/>
              <a:gd name="T41" fmla="*/ 0 h 564"/>
              <a:gd name="T42" fmla="*/ 0 w 1791"/>
              <a:gd name="T43" fmla="*/ 0 h 564"/>
              <a:gd name="T44" fmla="*/ 0 w 1791"/>
              <a:gd name="T45" fmla="*/ 0 h 564"/>
              <a:gd name="T46" fmla="*/ 0 w 1791"/>
              <a:gd name="T47" fmla="*/ 0 h 564"/>
              <a:gd name="T48" fmla="*/ 0 w 1791"/>
              <a:gd name="T49" fmla="*/ 0 h 564"/>
              <a:gd name="T50" fmla="*/ 0 w 1791"/>
              <a:gd name="T51" fmla="*/ 0 h 564"/>
              <a:gd name="T52" fmla="*/ 0 w 1791"/>
              <a:gd name="T53" fmla="*/ 0 h 564"/>
              <a:gd name="T54" fmla="*/ 0 w 1791"/>
              <a:gd name="T55" fmla="*/ 0 h 564"/>
              <a:gd name="T56" fmla="*/ 0 w 1791"/>
              <a:gd name="T57" fmla="*/ 0 h 564"/>
              <a:gd name="T58" fmla="*/ 0 w 1791"/>
              <a:gd name="T59" fmla="*/ 0 h 564"/>
              <a:gd name="T60" fmla="*/ 0 w 1791"/>
              <a:gd name="T61" fmla="*/ 0 h 564"/>
              <a:gd name="T62" fmla="*/ 0 w 1791"/>
              <a:gd name="T63" fmla="*/ 0 h 564"/>
              <a:gd name="T64" fmla="*/ 0 w 1791"/>
              <a:gd name="T65" fmla="*/ 0 h 564"/>
              <a:gd name="T66" fmla="*/ 0 w 1791"/>
              <a:gd name="T67" fmla="*/ 0 h 564"/>
              <a:gd name="T68" fmla="*/ 0 w 1791"/>
              <a:gd name="T69" fmla="*/ 0 h 564"/>
              <a:gd name="T70" fmla="*/ 0 w 1791"/>
              <a:gd name="T71" fmla="*/ 0 h 564"/>
              <a:gd name="T72" fmla="*/ 0 w 1791"/>
              <a:gd name="T73" fmla="*/ 0 h 564"/>
              <a:gd name="T74" fmla="*/ 0 w 1791"/>
              <a:gd name="T75" fmla="*/ 0 h 564"/>
              <a:gd name="T76" fmla="*/ 0 w 1791"/>
              <a:gd name="T77" fmla="*/ 0 h 564"/>
              <a:gd name="T78" fmla="*/ 0 w 1791"/>
              <a:gd name="T79" fmla="*/ 0 h 564"/>
              <a:gd name="T80" fmla="*/ 0 w 1791"/>
              <a:gd name="T81" fmla="*/ 0 h 564"/>
              <a:gd name="T82" fmla="*/ 0 w 1791"/>
              <a:gd name="T83" fmla="*/ 0 h 564"/>
              <a:gd name="T84" fmla="*/ 0 w 1791"/>
              <a:gd name="T85" fmla="*/ 0 h 564"/>
              <a:gd name="T86" fmla="*/ 0 w 1791"/>
              <a:gd name="T87" fmla="*/ 0 h 564"/>
              <a:gd name="T88" fmla="*/ 0 w 1791"/>
              <a:gd name="T89" fmla="*/ 0 h 564"/>
              <a:gd name="T90" fmla="*/ 0 w 1791"/>
              <a:gd name="T91" fmla="*/ 0 h 564"/>
              <a:gd name="T92" fmla="*/ 0 w 1791"/>
              <a:gd name="T93" fmla="*/ 0 h 564"/>
              <a:gd name="T94" fmla="*/ 0 w 1791"/>
              <a:gd name="T95" fmla="*/ 0 h 564"/>
              <a:gd name="T96" fmla="*/ 0 w 1791"/>
              <a:gd name="T97" fmla="*/ 0 h 564"/>
              <a:gd name="T98" fmla="*/ 0 w 1791"/>
              <a:gd name="T99" fmla="*/ 0 h 564"/>
              <a:gd name="T100" fmla="*/ 0 w 1791"/>
              <a:gd name="T101" fmla="*/ 0 h 564"/>
              <a:gd name="T102" fmla="*/ 0 w 1791"/>
              <a:gd name="T103" fmla="*/ 0 h 564"/>
              <a:gd name="T104" fmla="*/ 0 w 1791"/>
              <a:gd name="T105" fmla="*/ 0 h 564"/>
              <a:gd name="T106" fmla="*/ 0 w 1791"/>
              <a:gd name="T107" fmla="*/ 0 h 564"/>
              <a:gd name="T108" fmla="*/ 0 w 1791"/>
              <a:gd name="T109" fmla="*/ 0 h 564"/>
              <a:gd name="T110" fmla="*/ 0 w 1791"/>
              <a:gd name="T111" fmla="*/ 0 h 564"/>
              <a:gd name="T112" fmla="*/ 0 w 1791"/>
              <a:gd name="T113" fmla="*/ 0 h 564"/>
              <a:gd name="T114" fmla="*/ 0 w 1791"/>
              <a:gd name="T115" fmla="*/ 0 h 564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w 1791"/>
              <a:gd name="T175" fmla="*/ 0 h 564"/>
              <a:gd name="T176" fmla="*/ 1791 w 1791"/>
              <a:gd name="T177" fmla="*/ 564 h 564"/>
            </a:gdLst>
            <a:ahLst/>
            <a:cxnLst>
              <a:cxn ang="T116">
                <a:pos x="T0" y="T1"/>
              </a:cxn>
              <a:cxn ang="T117">
                <a:pos x="T2" y="T3"/>
              </a:cxn>
              <a:cxn ang="T118">
                <a:pos x="T4" y="T5"/>
              </a:cxn>
              <a:cxn ang="T119">
                <a:pos x="T6" y="T7"/>
              </a:cxn>
              <a:cxn ang="T120">
                <a:pos x="T8" y="T9"/>
              </a:cxn>
              <a:cxn ang="T121">
                <a:pos x="T10" y="T11"/>
              </a:cxn>
              <a:cxn ang="T122">
                <a:pos x="T12" y="T13"/>
              </a:cxn>
              <a:cxn ang="T123">
                <a:pos x="T14" y="T15"/>
              </a:cxn>
              <a:cxn ang="T124">
                <a:pos x="T16" y="T17"/>
              </a:cxn>
              <a:cxn ang="T125">
                <a:pos x="T18" y="T19"/>
              </a:cxn>
              <a:cxn ang="T126">
                <a:pos x="T20" y="T21"/>
              </a:cxn>
              <a:cxn ang="T127">
                <a:pos x="T22" y="T23"/>
              </a:cxn>
              <a:cxn ang="T128">
                <a:pos x="T24" y="T25"/>
              </a:cxn>
              <a:cxn ang="T129">
                <a:pos x="T26" y="T27"/>
              </a:cxn>
              <a:cxn ang="T130">
                <a:pos x="T28" y="T29"/>
              </a:cxn>
              <a:cxn ang="T131">
                <a:pos x="T30" y="T31"/>
              </a:cxn>
              <a:cxn ang="T132">
                <a:pos x="T32" y="T33"/>
              </a:cxn>
              <a:cxn ang="T133">
                <a:pos x="T34" y="T35"/>
              </a:cxn>
              <a:cxn ang="T134">
                <a:pos x="T36" y="T37"/>
              </a:cxn>
              <a:cxn ang="T135">
                <a:pos x="T38" y="T39"/>
              </a:cxn>
              <a:cxn ang="T136">
                <a:pos x="T40" y="T41"/>
              </a:cxn>
              <a:cxn ang="T137">
                <a:pos x="T42" y="T43"/>
              </a:cxn>
              <a:cxn ang="T138">
                <a:pos x="T44" y="T45"/>
              </a:cxn>
              <a:cxn ang="T139">
                <a:pos x="T46" y="T47"/>
              </a:cxn>
              <a:cxn ang="T140">
                <a:pos x="T48" y="T49"/>
              </a:cxn>
              <a:cxn ang="T141">
                <a:pos x="T50" y="T51"/>
              </a:cxn>
              <a:cxn ang="T142">
                <a:pos x="T52" y="T53"/>
              </a:cxn>
              <a:cxn ang="T143">
                <a:pos x="T54" y="T55"/>
              </a:cxn>
              <a:cxn ang="T144">
                <a:pos x="T56" y="T57"/>
              </a:cxn>
              <a:cxn ang="T145">
                <a:pos x="T58" y="T59"/>
              </a:cxn>
              <a:cxn ang="T146">
                <a:pos x="T60" y="T61"/>
              </a:cxn>
              <a:cxn ang="T147">
                <a:pos x="T62" y="T63"/>
              </a:cxn>
              <a:cxn ang="T148">
                <a:pos x="T64" y="T65"/>
              </a:cxn>
              <a:cxn ang="T149">
                <a:pos x="T66" y="T67"/>
              </a:cxn>
              <a:cxn ang="T150">
                <a:pos x="T68" y="T69"/>
              </a:cxn>
              <a:cxn ang="T151">
                <a:pos x="T70" y="T71"/>
              </a:cxn>
              <a:cxn ang="T152">
                <a:pos x="T72" y="T73"/>
              </a:cxn>
              <a:cxn ang="T153">
                <a:pos x="T74" y="T75"/>
              </a:cxn>
              <a:cxn ang="T154">
                <a:pos x="T76" y="T77"/>
              </a:cxn>
              <a:cxn ang="T155">
                <a:pos x="T78" y="T79"/>
              </a:cxn>
              <a:cxn ang="T156">
                <a:pos x="T80" y="T81"/>
              </a:cxn>
              <a:cxn ang="T157">
                <a:pos x="T82" y="T83"/>
              </a:cxn>
              <a:cxn ang="T158">
                <a:pos x="T84" y="T85"/>
              </a:cxn>
              <a:cxn ang="T159">
                <a:pos x="T86" y="T87"/>
              </a:cxn>
              <a:cxn ang="T160">
                <a:pos x="T88" y="T89"/>
              </a:cxn>
              <a:cxn ang="T161">
                <a:pos x="T90" y="T91"/>
              </a:cxn>
              <a:cxn ang="T162">
                <a:pos x="T92" y="T93"/>
              </a:cxn>
              <a:cxn ang="T163">
                <a:pos x="T94" y="T95"/>
              </a:cxn>
              <a:cxn ang="T164">
                <a:pos x="T96" y="T97"/>
              </a:cxn>
              <a:cxn ang="T165">
                <a:pos x="T98" y="T99"/>
              </a:cxn>
              <a:cxn ang="T166">
                <a:pos x="T100" y="T101"/>
              </a:cxn>
              <a:cxn ang="T167">
                <a:pos x="T102" y="T103"/>
              </a:cxn>
              <a:cxn ang="T168">
                <a:pos x="T104" y="T105"/>
              </a:cxn>
              <a:cxn ang="T169">
                <a:pos x="T106" y="T107"/>
              </a:cxn>
              <a:cxn ang="T170">
                <a:pos x="T108" y="T109"/>
              </a:cxn>
              <a:cxn ang="T171">
                <a:pos x="T110" y="T111"/>
              </a:cxn>
              <a:cxn ang="T172">
                <a:pos x="T112" y="T113"/>
              </a:cxn>
              <a:cxn ang="T173">
                <a:pos x="T114" y="T115"/>
              </a:cxn>
            </a:cxnLst>
            <a:rect l="T174" t="T175" r="T176" b="T177"/>
            <a:pathLst>
              <a:path w="1791" h="564">
                <a:moveTo>
                  <a:pt x="1781" y="226"/>
                </a:moveTo>
                <a:lnTo>
                  <a:pt x="1772" y="192"/>
                </a:lnTo>
                <a:lnTo>
                  <a:pt x="1791" y="168"/>
                </a:lnTo>
                <a:lnTo>
                  <a:pt x="1784" y="160"/>
                </a:lnTo>
                <a:lnTo>
                  <a:pt x="1775" y="151"/>
                </a:lnTo>
                <a:lnTo>
                  <a:pt x="1773" y="114"/>
                </a:lnTo>
                <a:lnTo>
                  <a:pt x="1746" y="103"/>
                </a:lnTo>
                <a:lnTo>
                  <a:pt x="1734" y="93"/>
                </a:lnTo>
                <a:lnTo>
                  <a:pt x="1716" y="82"/>
                </a:lnTo>
                <a:lnTo>
                  <a:pt x="1694" y="85"/>
                </a:lnTo>
                <a:lnTo>
                  <a:pt x="1682" y="78"/>
                </a:lnTo>
                <a:lnTo>
                  <a:pt x="1676" y="88"/>
                </a:lnTo>
                <a:lnTo>
                  <a:pt x="1655" y="70"/>
                </a:lnTo>
                <a:lnTo>
                  <a:pt x="1607" y="67"/>
                </a:lnTo>
                <a:lnTo>
                  <a:pt x="1532" y="72"/>
                </a:lnTo>
                <a:lnTo>
                  <a:pt x="1473" y="93"/>
                </a:lnTo>
                <a:lnTo>
                  <a:pt x="1442" y="111"/>
                </a:lnTo>
                <a:lnTo>
                  <a:pt x="1448" y="154"/>
                </a:lnTo>
                <a:lnTo>
                  <a:pt x="1436" y="159"/>
                </a:lnTo>
                <a:lnTo>
                  <a:pt x="1419" y="145"/>
                </a:lnTo>
                <a:lnTo>
                  <a:pt x="1407" y="141"/>
                </a:lnTo>
                <a:lnTo>
                  <a:pt x="1400" y="123"/>
                </a:lnTo>
                <a:lnTo>
                  <a:pt x="1371" y="126"/>
                </a:lnTo>
                <a:lnTo>
                  <a:pt x="1371" y="144"/>
                </a:lnTo>
                <a:lnTo>
                  <a:pt x="1352" y="148"/>
                </a:lnTo>
                <a:lnTo>
                  <a:pt x="1338" y="151"/>
                </a:lnTo>
                <a:lnTo>
                  <a:pt x="1334" y="126"/>
                </a:lnTo>
                <a:lnTo>
                  <a:pt x="1310" y="133"/>
                </a:lnTo>
                <a:lnTo>
                  <a:pt x="1293" y="133"/>
                </a:lnTo>
                <a:lnTo>
                  <a:pt x="1286" y="148"/>
                </a:lnTo>
                <a:lnTo>
                  <a:pt x="1275" y="141"/>
                </a:lnTo>
                <a:lnTo>
                  <a:pt x="1259" y="144"/>
                </a:lnTo>
                <a:lnTo>
                  <a:pt x="1236" y="150"/>
                </a:lnTo>
                <a:lnTo>
                  <a:pt x="1212" y="147"/>
                </a:lnTo>
                <a:lnTo>
                  <a:pt x="1202" y="123"/>
                </a:lnTo>
                <a:lnTo>
                  <a:pt x="1148" y="129"/>
                </a:lnTo>
                <a:lnTo>
                  <a:pt x="1130" y="129"/>
                </a:lnTo>
                <a:lnTo>
                  <a:pt x="1113" y="120"/>
                </a:lnTo>
                <a:lnTo>
                  <a:pt x="1094" y="123"/>
                </a:lnTo>
                <a:lnTo>
                  <a:pt x="1085" y="132"/>
                </a:lnTo>
                <a:lnTo>
                  <a:pt x="1082" y="114"/>
                </a:lnTo>
                <a:lnTo>
                  <a:pt x="1082" y="88"/>
                </a:lnTo>
                <a:lnTo>
                  <a:pt x="1065" y="97"/>
                </a:lnTo>
                <a:lnTo>
                  <a:pt x="1041" y="99"/>
                </a:lnTo>
                <a:lnTo>
                  <a:pt x="1031" y="58"/>
                </a:lnTo>
                <a:lnTo>
                  <a:pt x="1014" y="60"/>
                </a:lnTo>
                <a:lnTo>
                  <a:pt x="1008" y="30"/>
                </a:lnTo>
                <a:lnTo>
                  <a:pt x="986" y="27"/>
                </a:lnTo>
                <a:lnTo>
                  <a:pt x="963" y="15"/>
                </a:lnTo>
                <a:lnTo>
                  <a:pt x="953" y="24"/>
                </a:lnTo>
                <a:lnTo>
                  <a:pt x="935" y="16"/>
                </a:lnTo>
                <a:lnTo>
                  <a:pt x="909" y="0"/>
                </a:lnTo>
                <a:lnTo>
                  <a:pt x="887" y="7"/>
                </a:lnTo>
                <a:lnTo>
                  <a:pt x="878" y="27"/>
                </a:lnTo>
                <a:lnTo>
                  <a:pt x="860" y="27"/>
                </a:lnTo>
                <a:lnTo>
                  <a:pt x="846" y="45"/>
                </a:lnTo>
                <a:lnTo>
                  <a:pt x="851" y="66"/>
                </a:lnTo>
                <a:lnTo>
                  <a:pt x="842" y="75"/>
                </a:lnTo>
                <a:lnTo>
                  <a:pt x="816" y="67"/>
                </a:lnTo>
                <a:lnTo>
                  <a:pt x="807" y="52"/>
                </a:lnTo>
                <a:lnTo>
                  <a:pt x="822" y="40"/>
                </a:lnTo>
                <a:lnTo>
                  <a:pt x="827" y="28"/>
                </a:lnTo>
                <a:lnTo>
                  <a:pt x="809" y="19"/>
                </a:lnTo>
                <a:lnTo>
                  <a:pt x="782" y="21"/>
                </a:lnTo>
                <a:lnTo>
                  <a:pt x="755" y="24"/>
                </a:lnTo>
                <a:lnTo>
                  <a:pt x="749" y="43"/>
                </a:lnTo>
                <a:lnTo>
                  <a:pt x="731" y="42"/>
                </a:lnTo>
                <a:lnTo>
                  <a:pt x="719" y="42"/>
                </a:lnTo>
                <a:lnTo>
                  <a:pt x="708" y="49"/>
                </a:lnTo>
                <a:lnTo>
                  <a:pt x="698" y="36"/>
                </a:lnTo>
                <a:lnTo>
                  <a:pt x="677" y="36"/>
                </a:lnTo>
                <a:lnTo>
                  <a:pt x="659" y="36"/>
                </a:lnTo>
                <a:lnTo>
                  <a:pt x="651" y="28"/>
                </a:lnTo>
                <a:lnTo>
                  <a:pt x="641" y="31"/>
                </a:lnTo>
                <a:lnTo>
                  <a:pt x="636" y="46"/>
                </a:lnTo>
                <a:lnTo>
                  <a:pt x="620" y="30"/>
                </a:lnTo>
                <a:lnTo>
                  <a:pt x="608" y="19"/>
                </a:lnTo>
                <a:lnTo>
                  <a:pt x="593" y="10"/>
                </a:lnTo>
                <a:lnTo>
                  <a:pt x="563" y="10"/>
                </a:lnTo>
                <a:lnTo>
                  <a:pt x="548" y="15"/>
                </a:lnTo>
                <a:lnTo>
                  <a:pt x="542" y="28"/>
                </a:lnTo>
                <a:lnTo>
                  <a:pt x="531" y="28"/>
                </a:lnTo>
                <a:lnTo>
                  <a:pt x="512" y="34"/>
                </a:lnTo>
                <a:lnTo>
                  <a:pt x="498" y="36"/>
                </a:lnTo>
                <a:lnTo>
                  <a:pt x="482" y="36"/>
                </a:lnTo>
                <a:lnTo>
                  <a:pt x="465" y="24"/>
                </a:lnTo>
                <a:lnTo>
                  <a:pt x="459" y="46"/>
                </a:lnTo>
                <a:lnTo>
                  <a:pt x="456" y="66"/>
                </a:lnTo>
                <a:lnTo>
                  <a:pt x="438" y="54"/>
                </a:lnTo>
                <a:lnTo>
                  <a:pt x="413" y="52"/>
                </a:lnTo>
                <a:lnTo>
                  <a:pt x="392" y="52"/>
                </a:lnTo>
                <a:lnTo>
                  <a:pt x="371" y="52"/>
                </a:lnTo>
                <a:lnTo>
                  <a:pt x="375" y="79"/>
                </a:lnTo>
                <a:lnTo>
                  <a:pt x="380" y="93"/>
                </a:lnTo>
                <a:lnTo>
                  <a:pt x="362" y="108"/>
                </a:lnTo>
                <a:lnTo>
                  <a:pt x="341" y="96"/>
                </a:lnTo>
                <a:lnTo>
                  <a:pt x="335" y="73"/>
                </a:lnTo>
                <a:lnTo>
                  <a:pt x="327" y="57"/>
                </a:lnTo>
                <a:lnTo>
                  <a:pt x="290" y="60"/>
                </a:lnTo>
                <a:lnTo>
                  <a:pt x="263" y="60"/>
                </a:lnTo>
                <a:lnTo>
                  <a:pt x="254" y="75"/>
                </a:lnTo>
                <a:lnTo>
                  <a:pt x="272" y="88"/>
                </a:lnTo>
                <a:lnTo>
                  <a:pt x="258" y="96"/>
                </a:lnTo>
                <a:lnTo>
                  <a:pt x="237" y="99"/>
                </a:lnTo>
                <a:lnTo>
                  <a:pt x="212" y="97"/>
                </a:lnTo>
                <a:lnTo>
                  <a:pt x="203" y="112"/>
                </a:lnTo>
                <a:lnTo>
                  <a:pt x="186" y="103"/>
                </a:lnTo>
                <a:lnTo>
                  <a:pt x="194" y="85"/>
                </a:lnTo>
                <a:lnTo>
                  <a:pt x="210" y="78"/>
                </a:lnTo>
                <a:lnTo>
                  <a:pt x="189" y="72"/>
                </a:lnTo>
                <a:lnTo>
                  <a:pt x="189" y="55"/>
                </a:lnTo>
                <a:lnTo>
                  <a:pt x="173" y="43"/>
                </a:lnTo>
                <a:lnTo>
                  <a:pt x="150" y="43"/>
                </a:lnTo>
                <a:lnTo>
                  <a:pt x="156" y="57"/>
                </a:lnTo>
                <a:lnTo>
                  <a:pt x="147" y="61"/>
                </a:lnTo>
                <a:lnTo>
                  <a:pt x="132" y="54"/>
                </a:lnTo>
                <a:lnTo>
                  <a:pt x="120" y="69"/>
                </a:lnTo>
                <a:lnTo>
                  <a:pt x="104" y="70"/>
                </a:lnTo>
                <a:lnTo>
                  <a:pt x="107" y="91"/>
                </a:lnTo>
                <a:lnTo>
                  <a:pt x="90" y="103"/>
                </a:lnTo>
                <a:lnTo>
                  <a:pt x="92" y="124"/>
                </a:lnTo>
                <a:lnTo>
                  <a:pt x="119" y="126"/>
                </a:lnTo>
                <a:lnTo>
                  <a:pt x="135" y="127"/>
                </a:lnTo>
                <a:lnTo>
                  <a:pt x="140" y="148"/>
                </a:lnTo>
                <a:lnTo>
                  <a:pt x="132" y="169"/>
                </a:lnTo>
                <a:lnTo>
                  <a:pt x="119" y="180"/>
                </a:lnTo>
                <a:lnTo>
                  <a:pt x="110" y="165"/>
                </a:lnTo>
                <a:lnTo>
                  <a:pt x="96" y="156"/>
                </a:lnTo>
                <a:lnTo>
                  <a:pt x="77" y="156"/>
                </a:lnTo>
                <a:lnTo>
                  <a:pt x="62" y="147"/>
                </a:lnTo>
                <a:lnTo>
                  <a:pt x="44" y="148"/>
                </a:lnTo>
                <a:lnTo>
                  <a:pt x="29" y="157"/>
                </a:lnTo>
                <a:lnTo>
                  <a:pt x="36" y="187"/>
                </a:lnTo>
                <a:lnTo>
                  <a:pt x="68" y="207"/>
                </a:lnTo>
                <a:lnTo>
                  <a:pt x="81" y="210"/>
                </a:lnTo>
                <a:lnTo>
                  <a:pt x="81" y="228"/>
                </a:lnTo>
                <a:lnTo>
                  <a:pt x="75" y="240"/>
                </a:lnTo>
                <a:lnTo>
                  <a:pt x="60" y="244"/>
                </a:lnTo>
                <a:lnTo>
                  <a:pt x="53" y="223"/>
                </a:lnTo>
                <a:lnTo>
                  <a:pt x="42" y="228"/>
                </a:lnTo>
                <a:lnTo>
                  <a:pt x="0" y="384"/>
                </a:lnTo>
                <a:lnTo>
                  <a:pt x="120" y="564"/>
                </a:lnTo>
                <a:lnTo>
                  <a:pt x="150" y="555"/>
                </a:lnTo>
                <a:lnTo>
                  <a:pt x="186" y="556"/>
                </a:lnTo>
                <a:lnTo>
                  <a:pt x="210" y="535"/>
                </a:lnTo>
                <a:lnTo>
                  <a:pt x="210" y="508"/>
                </a:lnTo>
                <a:lnTo>
                  <a:pt x="225" y="499"/>
                </a:lnTo>
                <a:lnTo>
                  <a:pt x="228" y="478"/>
                </a:lnTo>
                <a:lnTo>
                  <a:pt x="240" y="457"/>
                </a:lnTo>
                <a:lnTo>
                  <a:pt x="249" y="474"/>
                </a:lnTo>
                <a:lnTo>
                  <a:pt x="272" y="502"/>
                </a:lnTo>
                <a:lnTo>
                  <a:pt x="294" y="493"/>
                </a:lnTo>
                <a:lnTo>
                  <a:pt x="297" y="475"/>
                </a:lnTo>
                <a:lnTo>
                  <a:pt x="321" y="468"/>
                </a:lnTo>
                <a:lnTo>
                  <a:pt x="341" y="448"/>
                </a:lnTo>
                <a:lnTo>
                  <a:pt x="350" y="439"/>
                </a:lnTo>
                <a:lnTo>
                  <a:pt x="362" y="459"/>
                </a:lnTo>
                <a:lnTo>
                  <a:pt x="363" y="501"/>
                </a:lnTo>
                <a:lnTo>
                  <a:pt x="381" y="507"/>
                </a:lnTo>
                <a:lnTo>
                  <a:pt x="404" y="487"/>
                </a:lnTo>
                <a:lnTo>
                  <a:pt x="407" y="459"/>
                </a:lnTo>
                <a:lnTo>
                  <a:pt x="422" y="466"/>
                </a:lnTo>
                <a:lnTo>
                  <a:pt x="435" y="475"/>
                </a:lnTo>
                <a:lnTo>
                  <a:pt x="485" y="481"/>
                </a:lnTo>
                <a:lnTo>
                  <a:pt x="506" y="457"/>
                </a:lnTo>
                <a:lnTo>
                  <a:pt x="534" y="463"/>
                </a:lnTo>
                <a:lnTo>
                  <a:pt x="558" y="436"/>
                </a:lnTo>
                <a:lnTo>
                  <a:pt x="545" y="417"/>
                </a:lnTo>
                <a:lnTo>
                  <a:pt x="518" y="409"/>
                </a:lnTo>
                <a:lnTo>
                  <a:pt x="518" y="390"/>
                </a:lnTo>
                <a:lnTo>
                  <a:pt x="546" y="397"/>
                </a:lnTo>
                <a:lnTo>
                  <a:pt x="563" y="376"/>
                </a:lnTo>
                <a:lnTo>
                  <a:pt x="572" y="372"/>
                </a:lnTo>
                <a:lnTo>
                  <a:pt x="572" y="405"/>
                </a:lnTo>
                <a:lnTo>
                  <a:pt x="563" y="411"/>
                </a:lnTo>
                <a:lnTo>
                  <a:pt x="591" y="418"/>
                </a:lnTo>
                <a:lnTo>
                  <a:pt x="617" y="406"/>
                </a:lnTo>
                <a:lnTo>
                  <a:pt x="618" y="394"/>
                </a:lnTo>
                <a:lnTo>
                  <a:pt x="654" y="391"/>
                </a:lnTo>
                <a:lnTo>
                  <a:pt x="683" y="376"/>
                </a:lnTo>
                <a:lnTo>
                  <a:pt x="686" y="396"/>
                </a:lnTo>
                <a:lnTo>
                  <a:pt x="695" y="403"/>
                </a:lnTo>
                <a:lnTo>
                  <a:pt x="728" y="385"/>
                </a:lnTo>
                <a:lnTo>
                  <a:pt x="738" y="376"/>
                </a:lnTo>
                <a:lnTo>
                  <a:pt x="765" y="373"/>
                </a:lnTo>
                <a:lnTo>
                  <a:pt x="788" y="357"/>
                </a:lnTo>
                <a:lnTo>
                  <a:pt x="792" y="346"/>
                </a:lnTo>
                <a:lnTo>
                  <a:pt x="813" y="366"/>
                </a:lnTo>
                <a:lnTo>
                  <a:pt x="840" y="369"/>
                </a:lnTo>
                <a:lnTo>
                  <a:pt x="864" y="361"/>
                </a:lnTo>
                <a:lnTo>
                  <a:pt x="887" y="372"/>
                </a:lnTo>
                <a:lnTo>
                  <a:pt x="903" y="367"/>
                </a:lnTo>
                <a:lnTo>
                  <a:pt x="920" y="364"/>
                </a:lnTo>
                <a:lnTo>
                  <a:pt x="948" y="373"/>
                </a:lnTo>
                <a:lnTo>
                  <a:pt x="980" y="369"/>
                </a:lnTo>
                <a:lnTo>
                  <a:pt x="992" y="363"/>
                </a:lnTo>
                <a:lnTo>
                  <a:pt x="1005" y="358"/>
                </a:lnTo>
                <a:lnTo>
                  <a:pt x="999" y="381"/>
                </a:lnTo>
                <a:lnTo>
                  <a:pt x="1020" y="388"/>
                </a:lnTo>
                <a:lnTo>
                  <a:pt x="1034" y="394"/>
                </a:lnTo>
                <a:lnTo>
                  <a:pt x="1047" y="384"/>
                </a:lnTo>
                <a:lnTo>
                  <a:pt x="1076" y="387"/>
                </a:lnTo>
                <a:lnTo>
                  <a:pt x="1095" y="391"/>
                </a:lnTo>
                <a:lnTo>
                  <a:pt x="1125" y="396"/>
                </a:lnTo>
                <a:lnTo>
                  <a:pt x="1157" y="391"/>
                </a:lnTo>
                <a:lnTo>
                  <a:pt x="1188" y="411"/>
                </a:lnTo>
                <a:lnTo>
                  <a:pt x="1233" y="402"/>
                </a:lnTo>
                <a:lnTo>
                  <a:pt x="1289" y="397"/>
                </a:lnTo>
                <a:lnTo>
                  <a:pt x="1307" y="388"/>
                </a:lnTo>
                <a:lnTo>
                  <a:pt x="1347" y="390"/>
                </a:lnTo>
                <a:lnTo>
                  <a:pt x="1361" y="400"/>
                </a:lnTo>
                <a:lnTo>
                  <a:pt x="1398" y="394"/>
                </a:lnTo>
                <a:lnTo>
                  <a:pt x="1412" y="387"/>
                </a:lnTo>
                <a:lnTo>
                  <a:pt x="1433" y="387"/>
                </a:lnTo>
                <a:lnTo>
                  <a:pt x="1448" y="393"/>
                </a:lnTo>
                <a:lnTo>
                  <a:pt x="1479" y="393"/>
                </a:lnTo>
                <a:lnTo>
                  <a:pt x="1514" y="390"/>
                </a:lnTo>
                <a:lnTo>
                  <a:pt x="1545" y="390"/>
                </a:lnTo>
                <a:lnTo>
                  <a:pt x="1575" y="378"/>
                </a:lnTo>
                <a:lnTo>
                  <a:pt x="1595" y="384"/>
                </a:lnTo>
                <a:lnTo>
                  <a:pt x="1610" y="372"/>
                </a:lnTo>
                <a:lnTo>
                  <a:pt x="1628" y="361"/>
                </a:lnTo>
                <a:lnTo>
                  <a:pt x="1644" y="346"/>
                </a:lnTo>
                <a:lnTo>
                  <a:pt x="1664" y="339"/>
                </a:lnTo>
                <a:lnTo>
                  <a:pt x="1680" y="339"/>
                </a:lnTo>
                <a:lnTo>
                  <a:pt x="1715" y="319"/>
                </a:lnTo>
                <a:lnTo>
                  <a:pt x="1733" y="292"/>
                </a:lnTo>
                <a:lnTo>
                  <a:pt x="1740" y="273"/>
                </a:lnTo>
                <a:lnTo>
                  <a:pt x="1761" y="267"/>
                </a:lnTo>
                <a:lnTo>
                  <a:pt x="1779" y="261"/>
                </a:lnTo>
                <a:lnTo>
                  <a:pt x="1778" y="240"/>
                </a:lnTo>
                <a:lnTo>
                  <a:pt x="1781" y="226"/>
                </a:lnTo>
                <a:close/>
              </a:path>
            </a:pathLst>
          </a:custGeom>
          <a:solidFill>
            <a:srgbClr val="70B0DF"/>
          </a:solidFill>
          <a:ln w="9525">
            <a:noFill/>
            <a:round/>
            <a:headEnd/>
            <a:tailEnd/>
          </a:ln>
        </p:spPr>
        <p:txBody>
          <a:bodyPr wrap="none" lIns="32632" tIns="32632" rIns="32632" bIns="32632" anchor="ctr"/>
          <a:lstStyle/>
          <a:p>
            <a:pPr defTabSz="891045"/>
            <a:endParaRPr lang="en-US" sz="1700" dirty="0">
              <a:solidFill>
                <a:srgbClr val="003149"/>
              </a:solidFill>
              <a:cs typeface="Arial" panose="020B0604020202020204" pitchFamily="34" charset="0"/>
            </a:endParaRPr>
          </a:p>
        </p:txBody>
      </p:sp>
      <p:sp>
        <p:nvSpPr>
          <p:cNvPr id="137" name="Freeform 377"/>
          <p:cNvSpPr>
            <a:spLocks noChangeAspect="1"/>
          </p:cNvSpPr>
          <p:nvPr/>
        </p:nvSpPr>
        <p:spPr bwMode="gray">
          <a:xfrm>
            <a:off x="3990862" y="2357154"/>
            <a:ext cx="99518" cy="94699"/>
          </a:xfrm>
          <a:custGeom>
            <a:avLst/>
            <a:gdLst>
              <a:gd name="T0" fmla="*/ 0 w 648"/>
              <a:gd name="T1" fmla="*/ 0 h 535"/>
              <a:gd name="T2" fmla="*/ 0 w 648"/>
              <a:gd name="T3" fmla="*/ 0 h 535"/>
              <a:gd name="T4" fmla="*/ 0 w 648"/>
              <a:gd name="T5" fmla="*/ 0 h 535"/>
              <a:gd name="T6" fmla="*/ 0 w 648"/>
              <a:gd name="T7" fmla="*/ 0 h 535"/>
              <a:gd name="T8" fmla="*/ 0 w 648"/>
              <a:gd name="T9" fmla="*/ 0 h 535"/>
              <a:gd name="T10" fmla="*/ 0 w 648"/>
              <a:gd name="T11" fmla="*/ 0 h 535"/>
              <a:gd name="T12" fmla="*/ 0 w 648"/>
              <a:gd name="T13" fmla="*/ 0 h 535"/>
              <a:gd name="T14" fmla="*/ 0 w 648"/>
              <a:gd name="T15" fmla="*/ 0 h 535"/>
              <a:gd name="T16" fmla="*/ 0 w 648"/>
              <a:gd name="T17" fmla="*/ 0 h 535"/>
              <a:gd name="T18" fmla="*/ 0 w 648"/>
              <a:gd name="T19" fmla="*/ 0 h 535"/>
              <a:gd name="T20" fmla="*/ 0 w 648"/>
              <a:gd name="T21" fmla="*/ 0 h 535"/>
              <a:gd name="T22" fmla="*/ 0 w 648"/>
              <a:gd name="T23" fmla="*/ 0 h 535"/>
              <a:gd name="T24" fmla="*/ 0 w 648"/>
              <a:gd name="T25" fmla="*/ 0 h 535"/>
              <a:gd name="T26" fmla="*/ 0 w 648"/>
              <a:gd name="T27" fmla="*/ 0 h 535"/>
              <a:gd name="T28" fmla="*/ 0 w 648"/>
              <a:gd name="T29" fmla="*/ 0 h 535"/>
              <a:gd name="T30" fmla="*/ 0 w 648"/>
              <a:gd name="T31" fmla="*/ 0 h 535"/>
              <a:gd name="T32" fmla="*/ 0 w 648"/>
              <a:gd name="T33" fmla="*/ 0 h 535"/>
              <a:gd name="T34" fmla="*/ 0 w 648"/>
              <a:gd name="T35" fmla="*/ 0 h 535"/>
              <a:gd name="T36" fmla="*/ 0 w 648"/>
              <a:gd name="T37" fmla="*/ 0 h 535"/>
              <a:gd name="T38" fmla="*/ 0 w 648"/>
              <a:gd name="T39" fmla="*/ 0 h 535"/>
              <a:gd name="T40" fmla="*/ 0 w 648"/>
              <a:gd name="T41" fmla="*/ 0 h 535"/>
              <a:gd name="T42" fmla="*/ 0 w 648"/>
              <a:gd name="T43" fmla="*/ 0 h 535"/>
              <a:gd name="T44" fmla="*/ 0 w 648"/>
              <a:gd name="T45" fmla="*/ 0 h 535"/>
              <a:gd name="T46" fmla="*/ 0 w 648"/>
              <a:gd name="T47" fmla="*/ 0 h 535"/>
              <a:gd name="T48" fmla="*/ 0 w 648"/>
              <a:gd name="T49" fmla="*/ 0 h 535"/>
              <a:gd name="T50" fmla="*/ 0 w 648"/>
              <a:gd name="T51" fmla="*/ 0 h 535"/>
              <a:gd name="T52" fmla="*/ 0 w 648"/>
              <a:gd name="T53" fmla="*/ 0 h 535"/>
              <a:gd name="T54" fmla="*/ 0 w 648"/>
              <a:gd name="T55" fmla="*/ 0 h 535"/>
              <a:gd name="T56" fmla="*/ 0 w 648"/>
              <a:gd name="T57" fmla="*/ 0 h 535"/>
              <a:gd name="T58" fmla="*/ 0 w 648"/>
              <a:gd name="T59" fmla="*/ 0 h 535"/>
              <a:gd name="T60" fmla="*/ 0 w 648"/>
              <a:gd name="T61" fmla="*/ 0 h 535"/>
              <a:gd name="T62" fmla="*/ 0 w 648"/>
              <a:gd name="T63" fmla="*/ 0 h 535"/>
              <a:gd name="T64" fmla="*/ 0 w 648"/>
              <a:gd name="T65" fmla="*/ 0 h 535"/>
              <a:gd name="T66" fmla="*/ 0 w 648"/>
              <a:gd name="T67" fmla="*/ 0 h 535"/>
              <a:gd name="T68" fmla="*/ 0 w 648"/>
              <a:gd name="T69" fmla="*/ 0 h 535"/>
              <a:gd name="T70" fmla="*/ 0 w 648"/>
              <a:gd name="T71" fmla="*/ 0 h 535"/>
              <a:gd name="T72" fmla="*/ 0 w 648"/>
              <a:gd name="T73" fmla="*/ 0 h 535"/>
              <a:gd name="T74" fmla="*/ 0 w 648"/>
              <a:gd name="T75" fmla="*/ 0 h 535"/>
              <a:gd name="T76" fmla="*/ 0 w 648"/>
              <a:gd name="T77" fmla="*/ 0 h 535"/>
              <a:gd name="T78" fmla="*/ 0 w 648"/>
              <a:gd name="T79" fmla="*/ 0 h 535"/>
              <a:gd name="T80" fmla="*/ 0 w 648"/>
              <a:gd name="T81" fmla="*/ 0 h 535"/>
              <a:gd name="T82" fmla="*/ 0 w 648"/>
              <a:gd name="T83" fmla="*/ 0 h 535"/>
              <a:gd name="T84" fmla="*/ 0 w 648"/>
              <a:gd name="T85" fmla="*/ 0 h 535"/>
              <a:gd name="T86" fmla="*/ 0 w 648"/>
              <a:gd name="T87" fmla="*/ 0 h 535"/>
              <a:gd name="T88" fmla="*/ 0 w 648"/>
              <a:gd name="T89" fmla="*/ 0 h 535"/>
              <a:gd name="T90" fmla="*/ 0 w 648"/>
              <a:gd name="T91" fmla="*/ 0 h 535"/>
              <a:gd name="T92" fmla="*/ 0 w 648"/>
              <a:gd name="T93" fmla="*/ 0 h 535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w 648"/>
              <a:gd name="T142" fmla="*/ 0 h 535"/>
              <a:gd name="T143" fmla="*/ 648 w 648"/>
              <a:gd name="T144" fmla="*/ 535 h 535"/>
            </a:gdLst>
            <a:ahLst/>
            <a:cxnLst>
              <a:cxn ang="T94">
                <a:pos x="T0" y="T1"/>
              </a:cxn>
              <a:cxn ang="T95">
                <a:pos x="T2" y="T3"/>
              </a:cxn>
              <a:cxn ang="T96">
                <a:pos x="T4" y="T5"/>
              </a:cxn>
              <a:cxn ang="T97">
                <a:pos x="T6" y="T7"/>
              </a:cxn>
              <a:cxn ang="T98">
                <a:pos x="T8" y="T9"/>
              </a:cxn>
              <a:cxn ang="T99">
                <a:pos x="T10" y="T11"/>
              </a:cxn>
              <a:cxn ang="T100">
                <a:pos x="T12" y="T13"/>
              </a:cxn>
              <a:cxn ang="T101">
                <a:pos x="T14" y="T15"/>
              </a:cxn>
              <a:cxn ang="T102">
                <a:pos x="T16" y="T17"/>
              </a:cxn>
              <a:cxn ang="T103">
                <a:pos x="T18" y="T19"/>
              </a:cxn>
              <a:cxn ang="T104">
                <a:pos x="T20" y="T21"/>
              </a:cxn>
              <a:cxn ang="T105">
                <a:pos x="T22" y="T23"/>
              </a:cxn>
              <a:cxn ang="T106">
                <a:pos x="T24" y="T25"/>
              </a:cxn>
              <a:cxn ang="T107">
                <a:pos x="T26" y="T27"/>
              </a:cxn>
              <a:cxn ang="T108">
                <a:pos x="T28" y="T29"/>
              </a:cxn>
              <a:cxn ang="T109">
                <a:pos x="T30" y="T31"/>
              </a:cxn>
              <a:cxn ang="T110">
                <a:pos x="T32" y="T33"/>
              </a:cxn>
              <a:cxn ang="T111">
                <a:pos x="T34" y="T35"/>
              </a:cxn>
              <a:cxn ang="T112">
                <a:pos x="T36" y="T37"/>
              </a:cxn>
              <a:cxn ang="T113">
                <a:pos x="T38" y="T39"/>
              </a:cxn>
              <a:cxn ang="T114">
                <a:pos x="T40" y="T41"/>
              </a:cxn>
              <a:cxn ang="T115">
                <a:pos x="T42" y="T43"/>
              </a:cxn>
              <a:cxn ang="T116">
                <a:pos x="T44" y="T45"/>
              </a:cxn>
              <a:cxn ang="T117">
                <a:pos x="T46" y="T47"/>
              </a:cxn>
              <a:cxn ang="T118">
                <a:pos x="T48" y="T49"/>
              </a:cxn>
              <a:cxn ang="T119">
                <a:pos x="T50" y="T51"/>
              </a:cxn>
              <a:cxn ang="T120">
                <a:pos x="T52" y="T53"/>
              </a:cxn>
              <a:cxn ang="T121">
                <a:pos x="T54" y="T55"/>
              </a:cxn>
              <a:cxn ang="T122">
                <a:pos x="T56" y="T57"/>
              </a:cxn>
              <a:cxn ang="T123">
                <a:pos x="T58" y="T59"/>
              </a:cxn>
              <a:cxn ang="T124">
                <a:pos x="T60" y="T61"/>
              </a:cxn>
              <a:cxn ang="T125">
                <a:pos x="T62" y="T63"/>
              </a:cxn>
              <a:cxn ang="T126">
                <a:pos x="T64" y="T65"/>
              </a:cxn>
              <a:cxn ang="T127">
                <a:pos x="T66" y="T67"/>
              </a:cxn>
              <a:cxn ang="T128">
                <a:pos x="T68" y="T69"/>
              </a:cxn>
              <a:cxn ang="T129">
                <a:pos x="T70" y="T71"/>
              </a:cxn>
              <a:cxn ang="T130">
                <a:pos x="T72" y="T73"/>
              </a:cxn>
              <a:cxn ang="T131">
                <a:pos x="T74" y="T75"/>
              </a:cxn>
              <a:cxn ang="T132">
                <a:pos x="T76" y="T77"/>
              </a:cxn>
              <a:cxn ang="T133">
                <a:pos x="T78" y="T79"/>
              </a:cxn>
              <a:cxn ang="T134">
                <a:pos x="T80" y="T81"/>
              </a:cxn>
              <a:cxn ang="T135">
                <a:pos x="T82" y="T83"/>
              </a:cxn>
              <a:cxn ang="T136">
                <a:pos x="T84" y="T85"/>
              </a:cxn>
              <a:cxn ang="T137">
                <a:pos x="T86" y="T87"/>
              </a:cxn>
              <a:cxn ang="T138">
                <a:pos x="T88" y="T89"/>
              </a:cxn>
              <a:cxn ang="T139">
                <a:pos x="T90" y="T91"/>
              </a:cxn>
              <a:cxn ang="T140">
                <a:pos x="T92" y="T93"/>
              </a:cxn>
            </a:cxnLst>
            <a:rect l="T141" t="T142" r="T143" b="T144"/>
            <a:pathLst>
              <a:path w="648" h="535">
                <a:moveTo>
                  <a:pt x="515" y="115"/>
                </a:moveTo>
                <a:cubicBezTo>
                  <a:pt x="515" y="111"/>
                  <a:pt x="515" y="107"/>
                  <a:pt x="515" y="103"/>
                </a:cubicBezTo>
                <a:lnTo>
                  <a:pt x="501" y="46"/>
                </a:lnTo>
                <a:lnTo>
                  <a:pt x="491" y="63"/>
                </a:lnTo>
                <a:lnTo>
                  <a:pt x="486" y="30"/>
                </a:lnTo>
                <a:lnTo>
                  <a:pt x="486" y="16"/>
                </a:lnTo>
                <a:lnTo>
                  <a:pt x="467" y="6"/>
                </a:lnTo>
                <a:lnTo>
                  <a:pt x="450" y="0"/>
                </a:lnTo>
                <a:lnTo>
                  <a:pt x="422" y="15"/>
                </a:lnTo>
                <a:lnTo>
                  <a:pt x="414" y="30"/>
                </a:lnTo>
                <a:lnTo>
                  <a:pt x="416" y="61"/>
                </a:lnTo>
                <a:lnTo>
                  <a:pt x="422" y="79"/>
                </a:lnTo>
                <a:lnTo>
                  <a:pt x="429" y="94"/>
                </a:lnTo>
                <a:lnTo>
                  <a:pt x="425" y="114"/>
                </a:lnTo>
                <a:lnTo>
                  <a:pt x="405" y="102"/>
                </a:lnTo>
                <a:lnTo>
                  <a:pt x="399" y="82"/>
                </a:lnTo>
                <a:lnTo>
                  <a:pt x="377" y="70"/>
                </a:lnTo>
                <a:lnTo>
                  <a:pt x="356" y="67"/>
                </a:lnTo>
                <a:lnTo>
                  <a:pt x="330" y="75"/>
                </a:lnTo>
                <a:lnTo>
                  <a:pt x="327" y="94"/>
                </a:lnTo>
                <a:lnTo>
                  <a:pt x="317" y="99"/>
                </a:lnTo>
                <a:lnTo>
                  <a:pt x="305" y="96"/>
                </a:lnTo>
                <a:lnTo>
                  <a:pt x="285" y="114"/>
                </a:lnTo>
                <a:lnTo>
                  <a:pt x="297" y="129"/>
                </a:lnTo>
                <a:lnTo>
                  <a:pt x="324" y="135"/>
                </a:lnTo>
                <a:lnTo>
                  <a:pt x="321" y="166"/>
                </a:lnTo>
                <a:lnTo>
                  <a:pt x="327" y="195"/>
                </a:lnTo>
                <a:lnTo>
                  <a:pt x="326" y="210"/>
                </a:lnTo>
                <a:lnTo>
                  <a:pt x="308" y="196"/>
                </a:lnTo>
                <a:lnTo>
                  <a:pt x="293" y="187"/>
                </a:lnTo>
                <a:lnTo>
                  <a:pt x="284" y="175"/>
                </a:lnTo>
                <a:lnTo>
                  <a:pt x="275" y="160"/>
                </a:lnTo>
                <a:lnTo>
                  <a:pt x="258" y="150"/>
                </a:lnTo>
                <a:lnTo>
                  <a:pt x="246" y="124"/>
                </a:lnTo>
                <a:lnTo>
                  <a:pt x="213" y="132"/>
                </a:lnTo>
                <a:lnTo>
                  <a:pt x="182" y="130"/>
                </a:lnTo>
                <a:lnTo>
                  <a:pt x="180" y="148"/>
                </a:lnTo>
                <a:lnTo>
                  <a:pt x="191" y="171"/>
                </a:lnTo>
                <a:lnTo>
                  <a:pt x="174" y="186"/>
                </a:lnTo>
                <a:lnTo>
                  <a:pt x="147" y="168"/>
                </a:lnTo>
                <a:lnTo>
                  <a:pt x="132" y="163"/>
                </a:lnTo>
                <a:lnTo>
                  <a:pt x="105" y="163"/>
                </a:lnTo>
                <a:lnTo>
                  <a:pt x="83" y="168"/>
                </a:lnTo>
                <a:lnTo>
                  <a:pt x="57" y="172"/>
                </a:lnTo>
                <a:lnTo>
                  <a:pt x="45" y="172"/>
                </a:lnTo>
                <a:lnTo>
                  <a:pt x="36" y="151"/>
                </a:lnTo>
                <a:lnTo>
                  <a:pt x="18" y="144"/>
                </a:lnTo>
                <a:lnTo>
                  <a:pt x="8" y="150"/>
                </a:lnTo>
                <a:lnTo>
                  <a:pt x="3" y="171"/>
                </a:lnTo>
                <a:lnTo>
                  <a:pt x="8" y="204"/>
                </a:lnTo>
                <a:lnTo>
                  <a:pt x="20" y="217"/>
                </a:lnTo>
                <a:lnTo>
                  <a:pt x="21" y="246"/>
                </a:lnTo>
                <a:lnTo>
                  <a:pt x="44" y="253"/>
                </a:lnTo>
                <a:lnTo>
                  <a:pt x="69" y="249"/>
                </a:lnTo>
                <a:lnTo>
                  <a:pt x="92" y="253"/>
                </a:lnTo>
                <a:lnTo>
                  <a:pt x="114" y="265"/>
                </a:lnTo>
                <a:lnTo>
                  <a:pt x="134" y="271"/>
                </a:lnTo>
                <a:lnTo>
                  <a:pt x="156" y="280"/>
                </a:lnTo>
                <a:lnTo>
                  <a:pt x="167" y="297"/>
                </a:lnTo>
                <a:lnTo>
                  <a:pt x="153" y="300"/>
                </a:lnTo>
                <a:lnTo>
                  <a:pt x="131" y="300"/>
                </a:lnTo>
                <a:lnTo>
                  <a:pt x="105" y="288"/>
                </a:lnTo>
                <a:lnTo>
                  <a:pt x="80" y="282"/>
                </a:lnTo>
                <a:lnTo>
                  <a:pt x="54" y="277"/>
                </a:lnTo>
                <a:lnTo>
                  <a:pt x="45" y="270"/>
                </a:lnTo>
                <a:lnTo>
                  <a:pt x="24" y="270"/>
                </a:lnTo>
                <a:lnTo>
                  <a:pt x="21" y="285"/>
                </a:lnTo>
                <a:lnTo>
                  <a:pt x="14" y="295"/>
                </a:lnTo>
                <a:lnTo>
                  <a:pt x="0" y="292"/>
                </a:lnTo>
                <a:lnTo>
                  <a:pt x="9" y="315"/>
                </a:lnTo>
                <a:lnTo>
                  <a:pt x="33" y="334"/>
                </a:lnTo>
                <a:lnTo>
                  <a:pt x="53" y="348"/>
                </a:lnTo>
                <a:lnTo>
                  <a:pt x="63" y="361"/>
                </a:lnTo>
                <a:lnTo>
                  <a:pt x="81" y="370"/>
                </a:lnTo>
                <a:lnTo>
                  <a:pt x="89" y="391"/>
                </a:lnTo>
                <a:lnTo>
                  <a:pt x="90" y="403"/>
                </a:lnTo>
                <a:lnTo>
                  <a:pt x="92" y="423"/>
                </a:lnTo>
                <a:lnTo>
                  <a:pt x="108" y="430"/>
                </a:lnTo>
                <a:lnTo>
                  <a:pt x="120" y="438"/>
                </a:lnTo>
                <a:lnTo>
                  <a:pt x="128" y="448"/>
                </a:lnTo>
                <a:lnTo>
                  <a:pt x="132" y="472"/>
                </a:lnTo>
                <a:lnTo>
                  <a:pt x="150" y="481"/>
                </a:lnTo>
                <a:lnTo>
                  <a:pt x="164" y="475"/>
                </a:lnTo>
                <a:lnTo>
                  <a:pt x="168" y="465"/>
                </a:lnTo>
                <a:lnTo>
                  <a:pt x="177" y="453"/>
                </a:lnTo>
                <a:lnTo>
                  <a:pt x="188" y="465"/>
                </a:lnTo>
                <a:lnTo>
                  <a:pt x="177" y="492"/>
                </a:lnTo>
                <a:lnTo>
                  <a:pt x="159" y="510"/>
                </a:lnTo>
                <a:lnTo>
                  <a:pt x="170" y="520"/>
                </a:lnTo>
                <a:lnTo>
                  <a:pt x="192" y="528"/>
                </a:lnTo>
                <a:lnTo>
                  <a:pt x="222" y="517"/>
                </a:lnTo>
                <a:lnTo>
                  <a:pt x="227" y="531"/>
                </a:lnTo>
                <a:lnTo>
                  <a:pt x="233" y="535"/>
                </a:lnTo>
                <a:lnTo>
                  <a:pt x="251" y="534"/>
                </a:lnTo>
                <a:lnTo>
                  <a:pt x="266" y="526"/>
                </a:lnTo>
                <a:lnTo>
                  <a:pt x="279" y="516"/>
                </a:lnTo>
                <a:lnTo>
                  <a:pt x="299" y="498"/>
                </a:lnTo>
                <a:lnTo>
                  <a:pt x="303" y="474"/>
                </a:lnTo>
                <a:lnTo>
                  <a:pt x="281" y="453"/>
                </a:lnTo>
                <a:lnTo>
                  <a:pt x="291" y="436"/>
                </a:lnTo>
                <a:lnTo>
                  <a:pt x="303" y="414"/>
                </a:lnTo>
                <a:lnTo>
                  <a:pt x="317" y="421"/>
                </a:lnTo>
                <a:lnTo>
                  <a:pt x="314" y="448"/>
                </a:lnTo>
                <a:lnTo>
                  <a:pt x="323" y="465"/>
                </a:lnTo>
                <a:lnTo>
                  <a:pt x="327" y="486"/>
                </a:lnTo>
                <a:lnTo>
                  <a:pt x="348" y="487"/>
                </a:lnTo>
                <a:lnTo>
                  <a:pt x="366" y="490"/>
                </a:lnTo>
                <a:lnTo>
                  <a:pt x="377" y="481"/>
                </a:lnTo>
                <a:lnTo>
                  <a:pt x="386" y="451"/>
                </a:lnTo>
                <a:lnTo>
                  <a:pt x="381" y="402"/>
                </a:lnTo>
                <a:lnTo>
                  <a:pt x="374" y="384"/>
                </a:lnTo>
                <a:lnTo>
                  <a:pt x="360" y="375"/>
                </a:lnTo>
                <a:lnTo>
                  <a:pt x="359" y="340"/>
                </a:lnTo>
                <a:lnTo>
                  <a:pt x="372" y="346"/>
                </a:lnTo>
                <a:lnTo>
                  <a:pt x="381" y="373"/>
                </a:lnTo>
                <a:lnTo>
                  <a:pt x="399" y="388"/>
                </a:lnTo>
                <a:lnTo>
                  <a:pt x="410" y="423"/>
                </a:lnTo>
                <a:lnTo>
                  <a:pt x="411" y="457"/>
                </a:lnTo>
                <a:lnTo>
                  <a:pt x="426" y="471"/>
                </a:lnTo>
                <a:lnTo>
                  <a:pt x="455" y="453"/>
                </a:lnTo>
                <a:lnTo>
                  <a:pt x="455" y="423"/>
                </a:lnTo>
                <a:lnTo>
                  <a:pt x="461" y="402"/>
                </a:lnTo>
                <a:lnTo>
                  <a:pt x="468" y="393"/>
                </a:lnTo>
                <a:lnTo>
                  <a:pt x="470" y="369"/>
                </a:lnTo>
                <a:lnTo>
                  <a:pt x="477" y="358"/>
                </a:lnTo>
                <a:lnTo>
                  <a:pt x="462" y="348"/>
                </a:lnTo>
                <a:lnTo>
                  <a:pt x="456" y="328"/>
                </a:lnTo>
                <a:lnTo>
                  <a:pt x="482" y="321"/>
                </a:lnTo>
                <a:lnTo>
                  <a:pt x="506" y="319"/>
                </a:lnTo>
                <a:lnTo>
                  <a:pt x="510" y="343"/>
                </a:lnTo>
                <a:lnTo>
                  <a:pt x="492" y="357"/>
                </a:lnTo>
                <a:lnTo>
                  <a:pt x="498" y="384"/>
                </a:lnTo>
                <a:lnTo>
                  <a:pt x="510" y="388"/>
                </a:lnTo>
                <a:lnTo>
                  <a:pt x="515" y="403"/>
                </a:lnTo>
                <a:lnTo>
                  <a:pt x="536" y="405"/>
                </a:lnTo>
                <a:lnTo>
                  <a:pt x="542" y="384"/>
                </a:lnTo>
                <a:lnTo>
                  <a:pt x="554" y="370"/>
                </a:lnTo>
                <a:lnTo>
                  <a:pt x="579" y="382"/>
                </a:lnTo>
                <a:lnTo>
                  <a:pt x="609" y="358"/>
                </a:lnTo>
                <a:lnTo>
                  <a:pt x="648" y="126"/>
                </a:lnTo>
                <a:lnTo>
                  <a:pt x="515" y="115"/>
                </a:lnTo>
                <a:close/>
              </a:path>
            </a:pathLst>
          </a:custGeom>
          <a:solidFill>
            <a:srgbClr val="70B0DF"/>
          </a:solidFill>
          <a:ln w="9525">
            <a:noFill/>
            <a:round/>
            <a:headEnd/>
            <a:tailEnd/>
          </a:ln>
        </p:spPr>
        <p:txBody>
          <a:bodyPr wrap="none" lIns="32632" tIns="32632" rIns="32632" bIns="32632" anchor="ctr"/>
          <a:lstStyle/>
          <a:p>
            <a:pPr defTabSz="891045"/>
            <a:endParaRPr lang="en-US" sz="1700" dirty="0">
              <a:solidFill>
                <a:srgbClr val="003149"/>
              </a:solidFill>
              <a:cs typeface="Arial" panose="020B0604020202020204" pitchFamily="34" charset="0"/>
            </a:endParaRPr>
          </a:p>
        </p:txBody>
      </p:sp>
      <p:sp>
        <p:nvSpPr>
          <p:cNvPr id="138" name="Freeform 378"/>
          <p:cNvSpPr>
            <a:spLocks noChangeAspect="1"/>
          </p:cNvSpPr>
          <p:nvPr/>
        </p:nvSpPr>
        <p:spPr bwMode="gray">
          <a:xfrm>
            <a:off x="3861502" y="2413112"/>
            <a:ext cx="153540" cy="199443"/>
          </a:xfrm>
          <a:custGeom>
            <a:avLst/>
            <a:gdLst>
              <a:gd name="T0" fmla="*/ 0 w 981"/>
              <a:gd name="T1" fmla="*/ 0 h 1141"/>
              <a:gd name="T2" fmla="*/ 0 w 981"/>
              <a:gd name="T3" fmla="*/ 0 h 1141"/>
              <a:gd name="T4" fmla="*/ 0 w 981"/>
              <a:gd name="T5" fmla="*/ 0 h 1141"/>
              <a:gd name="T6" fmla="*/ 0 w 981"/>
              <a:gd name="T7" fmla="*/ 0 h 1141"/>
              <a:gd name="T8" fmla="*/ 0 w 981"/>
              <a:gd name="T9" fmla="*/ 0 h 1141"/>
              <a:gd name="T10" fmla="*/ 0 w 981"/>
              <a:gd name="T11" fmla="*/ 0 h 1141"/>
              <a:gd name="T12" fmla="*/ 0 w 981"/>
              <a:gd name="T13" fmla="*/ 0 h 1141"/>
              <a:gd name="T14" fmla="*/ 0 w 981"/>
              <a:gd name="T15" fmla="*/ 0 h 1141"/>
              <a:gd name="T16" fmla="*/ 0 w 981"/>
              <a:gd name="T17" fmla="*/ 0 h 1141"/>
              <a:gd name="T18" fmla="*/ 0 w 981"/>
              <a:gd name="T19" fmla="*/ 0 h 1141"/>
              <a:gd name="T20" fmla="*/ 0 w 981"/>
              <a:gd name="T21" fmla="*/ 0 h 1141"/>
              <a:gd name="T22" fmla="*/ 0 w 981"/>
              <a:gd name="T23" fmla="*/ 0 h 1141"/>
              <a:gd name="T24" fmla="*/ 0 w 981"/>
              <a:gd name="T25" fmla="*/ 0 h 1141"/>
              <a:gd name="T26" fmla="*/ 0 w 981"/>
              <a:gd name="T27" fmla="*/ 0 h 1141"/>
              <a:gd name="T28" fmla="*/ 0 w 981"/>
              <a:gd name="T29" fmla="*/ 0 h 1141"/>
              <a:gd name="T30" fmla="*/ 0 w 981"/>
              <a:gd name="T31" fmla="*/ 0 h 1141"/>
              <a:gd name="T32" fmla="*/ 0 w 981"/>
              <a:gd name="T33" fmla="*/ 0 h 1141"/>
              <a:gd name="T34" fmla="*/ 0 w 981"/>
              <a:gd name="T35" fmla="*/ 0 h 1141"/>
              <a:gd name="T36" fmla="*/ 0 w 981"/>
              <a:gd name="T37" fmla="*/ 0 h 1141"/>
              <a:gd name="T38" fmla="*/ 0 w 981"/>
              <a:gd name="T39" fmla="*/ 0 h 1141"/>
              <a:gd name="T40" fmla="*/ 0 w 981"/>
              <a:gd name="T41" fmla="*/ 0 h 1141"/>
              <a:gd name="T42" fmla="*/ 0 w 981"/>
              <a:gd name="T43" fmla="*/ 0 h 1141"/>
              <a:gd name="T44" fmla="*/ 0 w 981"/>
              <a:gd name="T45" fmla="*/ 0 h 1141"/>
              <a:gd name="T46" fmla="*/ 0 w 981"/>
              <a:gd name="T47" fmla="*/ 0 h 1141"/>
              <a:gd name="T48" fmla="*/ 0 w 981"/>
              <a:gd name="T49" fmla="*/ 0 h 1141"/>
              <a:gd name="T50" fmla="*/ 0 w 981"/>
              <a:gd name="T51" fmla="*/ 0 h 1141"/>
              <a:gd name="T52" fmla="*/ 0 w 981"/>
              <a:gd name="T53" fmla="*/ 0 h 1141"/>
              <a:gd name="T54" fmla="*/ 0 w 981"/>
              <a:gd name="T55" fmla="*/ 0 h 1141"/>
              <a:gd name="T56" fmla="*/ 0 w 981"/>
              <a:gd name="T57" fmla="*/ 0 h 1141"/>
              <a:gd name="T58" fmla="*/ 0 w 981"/>
              <a:gd name="T59" fmla="*/ 0 h 1141"/>
              <a:gd name="T60" fmla="*/ 0 w 981"/>
              <a:gd name="T61" fmla="*/ 0 h 1141"/>
              <a:gd name="T62" fmla="*/ 0 w 981"/>
              <a:gd name="T63" fmla="*/ 0 h 1141"/>
              <a:gd name="T64" fmla="*/ 0 w 981"/>
              <a:gd name="T65" fmla="*/ 0 h 1141"/>
              <a:gd name="T66" fmla="*/ 0 w 981"/>
              <a:gd name="T67" fmla="*/ 0 h 1141"/>
              <a:gd name="T68" fmla="*/ 0 w 981"/>
              <a:gd name="T69" fmla="*/ 0 h 1141"/>
              <a:gd name="T70" fmla="*/ 0 w 981"/>
              <a:gd name="T71" fmla="*/ 0 h 1141"/>
              <a:gd name="T72" fmla="*/ 0 w 981"/>
              <a:gd name="T73" fmla="*/ 0 h 1141"/>
              <a:gd name="T74" fmla="*/ 0 w 981"/>
              <a:gd name="T75" fmla="*/ 0 h 1141"/>
              <a:gd name="T76" fmla="*/ 0 w 981"/>
              <a:gd name="T77" fmla="*/ 0 h 1141"/>
              <a:gd name="T78" fmla="*/ 0 w 981"/>
              <a:gd name="T79" fmla="*/ 0 h 1141"/>
              <a:gd name="T80" fmla="*/ 0 w 981"/>
              <a:gd name="T81" fmla="*/ 0 h 1141"/>
              <a:gd name="T82" fmla="*/ 0 w 981"/>
              <a:gd name="T83" fmla="*/ 0 h 1141"/>
              <a:gd name="T84" fmla="*/ 0 w 981"/>
              <a:gd name="T85" fmla="*/ 0 h 1141"/>
              <a:gd name="T86" fmla="*/ 0 w 981"/>
              <a:gd name="T87" fmla="*/ 0 h 1141"/>
              <a:gd name="T88" fmla="*/ 0 w 981"/>
              <a:gd name="T89" fmla="*/ 0 h 1141"/>
              <a:gd name="T90" fmla="*/ 0 w 981"/>
              <a:gd name="T91" fmla="*/ 0 h 1141"/>
              <a:gd name="T92" fmla="*/ 0 w 981"/>
              <a:gd name="T93" fmla="*/ 0 h 1141"/>
              <a:gd name="T94" fmla="*/ 0 w 981"/>
              <a:gd name="T95" fmla="*/ 0 h 1141"/>
              <a:gd name="T96" fmla="*/ 0 w 981"/>
              <a:gd name="T97" fmla="*/ 0 h 1141"/>
              <a:gd name="T98" fmla="*/ 0 w 981"/>
              <a:gd name="T99" fmla="*/ 0 h 1141"/>
              <a:gd name="T100" fmla="*/ 0 w 981"/>
              <a:gd name="T101" fmla="*/ 0 h 1141"/>
              <a:gd name="T102" fmla="*/ 0 w 981"/>
              <a:gd name="T103" fmla="*/ 0 h 1141"/>
              <a:gd name="T104" fmla="*/ 0 w 981"/>
              <a:gd name="T105" fmla="*/ 0 h 1141"/>
              <a:gd name="T106" fmla="*/ 0 w 981"/>
              <a:gd name="T107" fmla="*/ 0 h 1141"/>
              <a:gd name="T108" fmla="*/ 0 w 981"/>
              <a:gd name="T109" fmla="*/ 0 h 1141"/>
              <a:gd name="T110" fmla="*/ 0 w 981"/>
              <a:gd name="T111" fmla="*/ 0 h 1141"/>
              <a:gd name="T112" fmla="*/ 0 w 981"/>
              <a:gd name="T113" fmla="*/ 0 h 1141"/>
              <a:gd name="T114" fmla="*/ 0 w 981"/>
              <a:gd name="T115" fmla="*/ 0 h 1141"/>
              <a:gd name="T116" fmla="*/ 0 w 981"/>
              <a:gd name="T117" fmla="*/ 0 h 1141"/>
              <a:gd name="T118" fmla="*/ 0 w 981"/>
              <a:gd name="T119" fmla="*/ 0 h 1141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w 981"/>
              <a:gd name="T181" fmla="*/ 0 h 1141"/>
              <a:gd name="T182" fmla="*/ 981 w 981"/>
              <a:gd name="T183" fmla="*/ 1141 h 1141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T180" t="T181" r="T182" b="T183"/>
            <a:pathLst>
              <a:path w="981" h="1141">
                <a:moveTo>
                  <a:pt x="945" y="247"/>
                </a:moveTo>
                <a:lnTo>
                  <a:pt x="964" y="247"/>
                </a:lnTo>
                <a:lnTo>
                  <a:pt x="981" y="232"/>
                </a:lnTo>
                <a:lnTo>
                  <a:pt x="976" y="213"/>
                </a:lnTo>
                <a:lnTo>
                  <a:pt x="964" y="211"/>
                </a:lnTo>
                <a:lnTo>
                  <a:pt x="957" y="183"/>
                </a:lnTo>
                <a:lnTo>
                  <a:pt x="946" y="169"/>
                </a:lnTo>
                <a:lnTo>
                  <a:pt x="930" y="169"/>
                </a:lnTo>
                <a:lnTo>
                  <a:pt x="928" y="141"/>
                </a:lnTo>
                <a:lnTo>
                  <a:pt x="915" y="133"/>
                </a:lnTo>
                <a:lnTo>
                  <a:pt x="901" y="126"/>
                </a:lnTo>
                <a:lnTo>
                  <a:pt x="897" y="97"/>
                </a:lnTo>
                <a:lnTo>
                  <a:pt x="883" y="70"/>
                </a:lnTo>
                <a:lnTo>
                  <a:pt x="862" y="45"/>
                </a:lnTo>
                <a:lnTo>
                  <a:pt x="846" y="34"/>
                </a:lnTo>
                <a:lnTo>
                  <a:pt x="825" y="21"/>
                </a:lnTo>
                <a:lnTo>
                  <a:pt x="802" y="33"/>
                </a:lnTo>
                <a:lnTo>
                  <a:pt x="802" y="46"/>
                </a:lnTo>
                <a:lnTo>
                  <a:pt x="787" y="54"/>
                </a:lnTo>
                <a:lnTo>
                  <a:pt x="774" y="40"/>
                </a:lnTo>
                <a:lnTo>
                  <a:pt x="762" y="25"/>
                </a:lnTo>
                <a:lnTo>
                  <a:pt x="750" y="9"/>
                </a:lnTo>
                <a:lnTo>
                  <a:pt x="735" y="7"/>
                </a:lnTo>
                <a:lnTo>
                  <a:pt x="726" y="0"/>
                </a:lnTo>
                <a:lnTo>
                  <a:pt x="708" y="1"/>
                </a:lnTo>
                <a:lnTo>
                  <a:pt x="675" y="1"/>
                </a:lnTo>
                <a:lnTo>
                  <a:pt x="648" y="1"/>
                </a:lnTo>
                <a:lnTo>
                  <a:pt x="612" y="7"/>
                </a:lnTo>
                <a:lnTo>
                  <a:pt x="597" y="21"/>
                </a:lnTo>
                <a:lnTo>
                  <a:pt x="598" y="42"/>
                </a:lnTo>
                <a:lnTo>
                  <a:pt x="598" y="55"/>
                </a:lnTo>
                <a:lnTo>
                  <a:pt x="586" y="57"/>
                </a:lnTo>
                <a:lnTo>
                  <a:pt x="577" y="49"/>
                </a:lnTo>
                <a:lnTo>
                  <a:pt x="559" y="52"/>
                </a:lnTo>
                <a:lnTo>
                  <a:pt x="562" y="72"/>
                </a:lnTo>
                <a:lnTo>
                  <a:pt x="571" y="103"/>
                </a:lnTo>
                <a:lnTo>
                  <a:pt x="552" y="109"/>
                </a:lnTo>
                <a:lnTo>
                  <a:pt x="541" y="102"/>
                </a:lnTo>
                <a:lnTo>
                  <a:pt x="540" y="73"/>
                </a:lnTo>
                <a:lnTo>
                  <a:pt x="535" y="58"/>
                </a:lnTo>
                <a:lnTo>
                  <a:pt x="519" y="57"/>
                </a:lnTo>
                <a:lnTo>
                  <a:pt x="502" y="57"/>
                </a:lnTo>
                <a:lnTo>
                  <a:pt x="492" y="57"/>
                </a:lnTo>
                <a:lnTo>
                  <a:pt x="457" y="51"/>
                </a:lnTo>
                <a:lnTo>
                  <a:pt x="426" y="64"/>
                </a:lnTo>
                <a:lnTo>
                  <a:pt x="421" y="87"/>
                </a:lnTo>
                <a:lnTo>
                  <a:pt x="426" y="109"/>
                </a:lnTo>
                <a:lnTo>
                  <a:pt x="453" y="117"/>
                </a:lnTo>
                <a:lnTo>
                  <a:pt x="477" y="121"/>
                </a:lnTo>
                <a:lnTo>
                  <a:pt x="480" y="139"/>
                </a:lnTo>
                <a:lnTo>
                  <a:pt x="477" y="150"/>
                </a:lnTo>
                <a:lnTo>
                  <a:pt x="462" y="159"/>
                </a:lnTo>
                <a:lnTo>
                  <a:pt x="463" y="186"/>
                </a:lnTo>
                <a:lnTo>
                  <a:pt x="442" y="190"/>
                </a:lnTo>
                <a:lnTo>
                  <a:pt x="426" y="174"/>
                </a:lnTo>
                <a:lnTo>
                  <a:pt x="403" y="169"/>
                </a:lnTo>
                <a:lnTo>
                  <a:pt x="387" y="178"/>
                </a:lnTo>
                <a:lnTo>
                  <a:pt x="381" y="193"/>
                </a:lnTo>
                <a:lnTo>
                  <a:pt x="372" y="205"/>
                </a:lnTo>
                <a:lnTo>
                  <a:pt x="358" y="217"/>
                </a:lnTo>
                <a:lnTo>
                  <a:pt x="349" y="207"/>
                </a:lnTo>
                <a:lnTo>
                  <a:pt x="333" y="198"/>
                </a:lnTo>
                <a:lnTo>
                  <a:pt x="316" y="208"/>
                </a:lnTo>
                <a:lnTo>
                  <a:pt x="303" y="225"/>
                </a:lnTo>
                <a:lnTo>
                  <a:pt x="283" y="228"/>
                </a:lnTo>
                <a:lnTo>
                  <a:pt x="271" y="255"/>
                </a:lnTo>
                <a:lnTo>
                  <a:pt x="255" y="259"/>
                </a:lnTo>
                <a:lnTo>
                  <a:pt x="253" y="288"/>
                </a:lnTo>
                <a:lnTo>
                  <a:pt x="231" y="285"/>
                </a:lnTo>
                <a:lnTo>
                  <a:pt x="223" y="261"/>
                </a:lnTo>
                <a:lnTo>
                  <a:pt x="223" y="238"/>
                </a:lnTo>
                <a:lnTo>
                  <a:pt x="222" y="219"/>
                </a:lnTo>
                <a:lnTo>
                  <a:pt x="220" y="201"/>
                </a:lnTo>
                <a:lnTo>
                  <a:pt x="208" y="196"/>
                </a:lnTo>
                <a:lnTo>
                  <a:pt x="183" y="196"/>
                </a:lnTo>
                <a:lnTo>
                  <a:pt x="166" y="199"/>
                </a:lnTo>
                <a:lnTo>
                  <a:pt x="151" y="201"/>
                </a:lnTo>
                <a:lnTo>
                  <a:pt x="145" y="210"/>
                </a:lnTo>
                <a:lnTo>
                  <a:pt x="132" y="207"/>
                </a:lnTo>
                <a:lnTo>
                  <a:pt x="120" y="211"/>
                </a:lnTo>
                <a:lnTo>
                  <a:pt x="111" y="222"/>
                </a:lnTo>
                <a:lnTo>
                  <a:pt x="111" y="237"/>
                </a:lnTo>
                <a:lnTo>
                  <a:pt x="96" y="237"/>
                </a:lnTo>
                <a:lnTo>
                  <a:pt x="81" y="241"/>
                </a:lnTo>
                <a:lnTo>
                  <a:pt x="78" y="253"/>
                </a:lnTo>
                <a:lnTo>
                  <a:pt x="63" y="265"/>
                </a:lnTo>
                <a:lnTo>
                  <a:pt x="54" y="277"/>
                </a:lnTo>
                <a:lnTo>
                  <a:pt x="42" y="285"/>
                </a:lnTo>
                <a:lnTo>
                  <a:pt x="30" y="291"/>
                </a:lnTo>
                <a:lnTo>
                  <a:pt x="27" y="306"/>
                </a:lnTo>
                <a:lnTo>
                  <a:pt x="19" y="315"/>
                </a:lnTo>
                <a:lnTo>
                  <a:pt x="13" y="328"/>
                </a:lnTo>
                <a:lnTo>
                  <a:pt x="9" y="339"/>
                </a:lnTo>
                <a:lnTo>
                  <a:pt x="6" y="352"/>
                </a:lnTo>
                <a:lnTo>
                  <a:pt x="18" y="372"/>
                </a:lnTo>
                <a:lnTo>
                  <a:pt x="6" y="391"/>
                </a:lnTo>
                <a:lnTo>
                  <a:pt x="3" y="408"/>
                </a:lnTo>
                <a:lnTo>
                  <a:pt x="12" y="415"/>
                </a:lnTo>
                <a:lnTo>
                  <a:pt x="36" y="430"/>
                </a:lnTo>
                <a:lnTo>
                  <a:pt x="58" y="432"/>
                </a:lnTo>
                <a:lnTo>
                  <a:pt x="73" y="420"/>
                </a:lnTo>
                <a:lnTo>
                  <a:pt x="82" y="420"/>
                </a:lnTo>
                <a:lnTo>
                  <a:pt x="79" y="453"/>
                </a:lnTo>
                <a:lnTo>
                  <a:pt x="91" y="441"/>
                </a:lnTo>
                <a:lnTo>
                  <a:pt x="102" y="432"/>
                </a:lnTo>
                <a:lnTo>
                  <a:pt x="111" y="415"/>
                </a:lnTo>
                <a:lnTo>
                  <a:pt x="120" y="426"/>
                </a:lnTo>
                <a:lnTo>
                  <a:pt x="123" y="453"/>
                </a:lnTo>
                <a:lnTo>
                  <a:pt x="105" y="460"/>
                </a:lnTo>
                <a:lnTo>
                  <a:pt x="100" y="477"/>
                </a:lnTo>
                <a:lnTo>
                  <a:pt x="129" y="481"/>
                </a:lnTo>
                <a:lnTo>
                  <a:pt x="124" y="507"/>
                </a:lnTo>
                <a:lnTo>
                  <a:pt x="145" y="505"/>
                </a:lnTo>
                <a:lnTo>
                  <a:pt x="163" y="505"/>
                </a:lnTo>
                <a:lnTo>
                  <a:pt x="181" y="498"/>
                </a:lnTo>
                <a:lnTo>
                  <a:pt x="213" y="493"/>
                </a:lnTo>
                <a:lnTo>
                  <a:pt x="205" y="519"/>
                </a:lnTo>
                <a:lnTo>
                  <a:pt x="192" y="532"/>
                </a:lnTo>
                <a:lnTo>
                  <a:pt x="175" y="532"/>
                </a:lnTo>
                <a:lnTo>
                  <a:pt x="159" y="540"/>
                </a:lnTo>
                <a:lnTo>
                  <a:pt x="156" y="558"/>
                </a:lnTo>
                <a:lnTo>
                  <a:pt x="144" y="567"/>
                </a:lnTo>
                <a:lnTo>
                  <a:pt x="133" y="552"/>
                </a:lnTo>
                <a:lnTo>
                  <a:pt x="115" y="547"/>
                </a:lnTo>
                <a:lnTo>
                  <a:pt x="112" y="568"/>
                </a:lnTo>
                <a:lnTo>
                  <a:pt x="120" y="603"/>
                </a:lnTo>
                <a:lnTo>
                  <a:pt x="147" y="597"/>
                </a:lnTo>
                <a:lnTo>
                  <a:pt x="165" y="588"/>
                </a:lnTo>
                <a:lnTo>
                  <a:pt x="175" y="609"/>
                </a:lnTo>
                <a:lnTo>
                  <a:pt x="142" y="622"/>
                </a:lnTo>
                <a:lnTo>
                  <a:pt x="126" y="631"/>
                </a:lnTo>
                <a:lnTo>
                  <a:pt x="151" y="649"/>
                </a:lnTo>
                <a:lnTo>
                  <a:pt x="147" y="670"/>
                </a:lnTo>
                <a:lnTo>
                  <a:pt x="181" y="696"/>
                </a:lnTo>
                <a:lnTo>
                  <a:pt x="172" y="718"/>
                </a:lnTo>
                <a:lnTo>
                  <a:pt x="151" y="724"/>
                </a:lnTo>
                <a:lnTo>
                  <a:pt x="132" y="702"/>
                </a:lnTo>
                <a:lnTo>
                  <a:pt x="108" y="685"/>
                </a:lnTo>
                <a:lnTo>
                  <a:pt x="87" y="676"/>
                </a:lnTo>
                <a:lnTo>
                  <a:pt x="73" y="699"/>
                </a:lnTo>
                <a:lnTo>
                  <a:pt x="69" y="721"/>
                </a:lnTo>
                <a:lnTo>
                  <a:pt x="58" y="738"/>
                </a:lnTo>
                <a:lnTo>
                  <a:pt x="45" y="741"/>
                </a:lnTo>
                <a:lnTo>
                  <a:pt x="22" y="727"/>
                </a:lnTo>
                <a:lnTo>
                  <a:pt x="9" y="733"/>
                </a:lnTo>
                <a:lnTo>
                  <a:pt x="0" y="757"/>
                </a:lnTo>
                <a:lnTo>
                  <a:pt x="9" y="778"/>
                </a:lnTo>
                <a:lnTo>
                  <a:pt x="24" y="766"/>
                </a:lnTo>
                <a:lnTo>
                  <a:pt x="28" y="790"/>
                </a:lnTo>
                <a:lnTo>
                  <a:pt x="45" y="786"/>
                </a:lnTo>
                <a:lnTo>
                  <a:pt x="55" y="796"/>
                </a:lnTo>
                <a:lnTo>
                  <a:pt x="54" y="825"/>
                </a:lnTo>
                <a:lnTo>
                  <a:pt x="72" y="834"/>
                </a:lnTo>
                <a:lnTo>
                  <a:pt x="82" y="825"/>
                </a:lnTo>
                <a:lnTo>
                  <a:pt x="87" y="859"/>
                </a:lnTo>
                <a:lnTo>
                  <a:pt x="82" y="886"/>
                </a:lnTo>
                <a:lnTo>
                  <a:pt x="94" y="907"/>
                </a:lnTo>
                <a:lnTo>
                  <a:pt x="111" y="915"/>
                </a:lnTo>
                <a:lnTo>
                  <a:pt x="129" y="967"/>
                </a:lnTo>
                <a:lnTo>
                  <a:pt x="160" y="979"/>
                </a:lnTo>
                <a:lnTo>
                  <a:pt x="189" y="966"/>
                </a:lnTo>
                <a:lnTo>
                  <a:pt x="199" y="940"/>
                </a:lnTo>
                <a:lnTo>
                  <a:pt x="208" y="934"/>
                </a:lnTo>
                <a:lnTo>
                  <a:pt x="217" y="952"/>
                </a:lnTo>
                <a:lnTo>
                  <a:pt x="234" y="955"/>
                </a:lnTo>
                <a:lnTo>
                  <a:pt x="247" y="996"/>
                </a:lnTo>
                <a:lnTo>
                  <a:pt x="247" y="1026"/>
                </a:lnTo>
                <a:lnTo>
                  <a:pt x="264" y="1051"/>
                </a:lnTo>
                <a:lnTo>
                  <a:pt x="285" y="1023"/>
                </a:lnTo>
                <a:lnTo>
                  <a:pt x="325" y="1020"/>
                </a:lnTo>
                <a:lnTo>
                  <a:pt x="340" y="1023"/>
                </a:lnTo>
                <a:lnTo>
                  <a:pt x="340" y="1047"/>
                </a:lnTo>
                <a:lnTo>
                  <a:pt x="348" y="1068"/>
                </a:lnTo>
                <a:lnTo>
                  <a:pt x="349" y="1113"/>
                </a:lnTo>
                <a:lnTo>
                  <a:pt x="375" y="1134"/>
                </a:lnTo>
                <a:lnTo>
                  <a:pt x="391" y="1141"/>
                </a:lnTo>
                <a:lnTo>
                  <a:pt x="411" y="1137"/>
                </a:lnTo>
                <a:lnTo>
                  <a:pt x="423" y="1131"/>
                </a:lnTo>
                <a:lnTo>
                  <a:pt x="441" y="1119"/>
                </a:lnTo>
                <a:lnTo>
                  <a:pt x="459" y="1123"/>
                </a:lnTo>
                <a:lnTo>
                  <a:pt x="468" y="1114"/>
                </a:lnTo>
                <a:lnTo>
                  <a:pt x="475" y="1084"/>
                </a:lnTo>
                <a:lnTo>
                  <a:pt x="459" y="1056"/>
                </a:lnTo>
                <a:lnTo>
                  <a:pt x="442" y="1039"/>
                </a:lnTo>
                <a:lnTo>
                  <a:pt x="432" y="1024"/>
                </a:lnTo>
                <a:lnTo>
                  <a:pt x="427" y="972"/>
                </a:lnTo>
                <a:lnTo>
                  <a:pt x="430" y="931"/>
                </a:lnTo>
                <a:lnTo>
                  <a:pt x="433" y="894"/>
                </a:lnTo>
                <a:lnTo>
                  <a:pt x="430" y="847"/>
                </a:lnTo>
                <a:lnTo>
                  <a:pt x="451" y="799"/>
                </a:lnTo>
                <a:lnTo>
                  <a:pt x="436" y="780"/>
                </a:lnTo>
                <a:lnTo>
                  <a:pt x="456" y="769"/>
                </a:lnTo>
                <a:lnTo>
                  <a:pt x="457" y="747"/>
                </a:lnTo>
                <a:lnTo>
                  <a:pt x="456" y="730"/>
                </a:lnTo>
                <a:lnTo>
                  <a:pt x="474" y="723"/>
                </a:lnTo>
                <a:lnTo>
                  <a:pt x="484" y="694"/>
                </a:lnTo>
                <a:lnTo>
                  <a:pt x="490" y="673"/>
                </a:lnTo>
                <a:lnTo>
                  <a:pt x="486" y="652"/>
                </a:lnTo>
                <a:lnTo>
                  <a:pt x="511" y="637"/>
                </a:lnTo>
                <a:lnTo>
                  <a:pt x="502" y="612"/>
                </a:lnTo>
                <a:lnTo>
                  <a:pt x="523" y="600"/>
                </a:lnTo>
                <a:lnTo>
                  <a:pt x="522" y="561"/>
                </a:lnTo>
                <a:lnTo>
                  <a:pt x="517" y="541"/>
                </a:lnTo>
                <a:lnTo>
                  <a:pt x="538" y="535"/>
                </a:lnTo>
                <a:lnTo>
                  <a:pt x="558" y="526"/>
                </a:lnTo>
                <a:lnTo>
                  <a:pt x="567" y="510"/>
                </a:lnTo>
                <a:lnTo>
                  <a:pt x="564" y="499"/>
                </a:lnTo>
                <a:lnTo>
                  <a:pt x="583" y="495"/>
                </a:lnTo>
                <a:lnTo>
                  <a:pt x="603" y="493"/>
                </a:lnTo>
                <a:lnTo>
                  <a:pt x="624" y="466"/>
                </a:lnTo>
                <a:lnTo>
                  <a:pt x="621" y="433"/>
                </a:lnTo>
                <a:lnTo>
                  <a:pt x="625" y="420"/>
                </a:lnTo>
                <a:lnTo>
                  <a:pt x="646" y="421"/>
                </a:lnTo>
                <a:lnTo>
                  <a:pt x="655" y="405"/>
                </a:lnTo>
                <a:lnTo>
                  <a:pt x="660" y="387"/>
                </a:lnTo>
                <a:lnTo>
                  <a:pt x="670" y="370"/>
                </a:lnTo>
                <a:lnTo>
                  <a:pt x="696" y="373"/>
                </a:lnTo>
                <a:lnTo>
                  <a:pt x="705" y="358"/>
                </a:lnTo>
                <a:lnTo>
                  <a:pt x="738" y="361"/>
                </a:lnTo>
                <a:lnTo>
                  <a:pt x="760" y="351"/>
                </a:lnTo>
                <a:lnTo>
                  <a:pt x="774" y="349"/>
                </a:lnTo>
                <a:lnTo>
                  <a:pt x="780" y="361"/>
                </a:lnTo>
                <a:lnTo>
                  <a:pt x="792" y="354"/>
                </a:lnTo>
                <a:lnTo>
                  <a:pt x="799" y="345"/>
                </a:lnTo>
                <a:lnTo>
                  <a:pt x="799" y="325"/>
                </a:lnTo>
                <a:lnTo>
                  <a:pt x="784" y="316"/>
                </a:lnTo>
                <a:lnTo>
                  <a:pt x="775" y="295"/>
                </a:lnTo>
                <a:lnTo>
                  <a:pt x="778" y="276"/>
                </a:lnTo>
                <a:lnTo>
                  <a:pt x="795" y="280"/>
                </a:lnTo>
                <a:lnTo>
                  <a:pt x="810" y="300"/>
                </a:lnTo>
                <a:lnTo>
                  <a:pt x="825" y="304"/>
                </a:lnTo>
                <a:lnTo>
                  <a:pt x="838" y="318"/>
                </a:lnTo>
                <a:lnTo>
                  <a:pt x="847" y="324"/>
                </a:lnTo>
                <a:lnTo>
                  <a:pt x="849" y="336"/>
                </a:lnTo>
                <a:lnTo>
                  <a:pt x="870" y="319"/>
                </a:lnTo>
                <a:lnTo>
                  <a:pt x="891" y="301"/>
                </a:lnTo>
                <a:lnTo>
                  <a:pt x="888" y="282"/>
                </a:lnTo>
                <a:lnTo>
                  <a:pt x="891" y="267"/>
                </a:lnTo>
                <a:lnTo>
                  <a:pt x="910" y="265"/>
                </a:lnTo>
                <a:lnTo>
                  <a:pt x="934" y="279"/>
                </a:lnTo>
                <a:lnTo>
                  <a:pt x="934" y="256"/>
                </a:lnTo>
                <a:lnTo>
                  <a:pt x="945" y="247"/>
                </a:lnTo>
                <a:close/>
              </a:path>
            </a:pathLst>
          </a:custGeom>
          <a:solidFill>
            <a:srgbClr val="70B0DF"/>
          </a:solidFill>
          <a:ln w="9525">
            <a:noFill/>
            <a:round/>
            <a:headEnd/>
            <a:tailEnd/>
          </a:ln>
        </p:spPr>
        <p:txBody>
          <a:bodyPr wrap="none" lIns="32632" tIns="32632" rIns="32632" bIns="32632" anchor="ctr"/>
          <a:lstStyle/>
          <a:p>
            <a:pPr defTabSz="891045"/>
            <a:endParaRPr lang="en-US" sz="1700" dirty="0">
              <a:solidFill>
                <a:srgbClr val="003149"/>
              </a:solidFill>
              <a:cs typeface="Arial" panose="020B0604020202020204" pitchFamily="34" charset="0"/>
            </a:endParaRPr>
          </a:p>
        </p:txBody>
      </p:sp>
      <p:sp>
        <p:nvSpPr>
          <p:cNvPr id="139" name="Freeform 379"/>
          <p:cNvSpPr>
            <a:spLocks noChangeAspect="1"/>
          </p:cNvSpPr>
          <p:nvPr/>
        </p:nvSpPr>
        <p:spPr bwMode="gray">
          <a:xfrm>
            <a:off x="3860066" y="2497758"/>
            <a:ext cx="17060" cy="34437"/>
          </a:xfrm>
          <a:custGeom>
            <a:avLst/>
            <a:gdLst>
              <a:gd name="T0" fmla="*/ 0 w 116"/>
              <a:gd name="T1" fmla="*/ 0 h 197"/>
              <a:gd name="T2" fmla="*/ 0 w 116"/>
              <a:gd name="T3" fmla="*/ 0 h 197"/>
              <a:gd name="T4" fmla="*/ 0 w 116"/>
              <a:gd name="T5" fmla="*/ 0 h 197"/>
              <a:gd name="T6" fmla="*/ 0 w 116"/>
              <a:gd name="T7" fmla="*/ 0 h 197"/>
              <a:gd name="T8" fmla="*/ 0 w 116"/>
              <a:gd name="T9" fmla="*/ 0 h 197"/>
              <a:gd name="T10" fmla="*/ 0 w 116"/>
              <a:gd name="T11" fmla="*/ 0 h 197"/>
              <a:gd name="T12" fmla="*/ 0 w 116"/>
              <a:gd name="T13" fmla="*/ 0 h 197"/>
              <a:gd name="T14" fmla="*/ 0 w 116"/>
              <a:gd name="T15" fmla="*/ 0 h 197"/>
              <a:gd name="T16" fmla="*/ 0 w 116"/>
              <a:gd name="T17" fmla="*/ 0 h 197"/>
              <a:gd name="T18" fmla="*/ 0 w 116"/>
              <a:gd name="T19" fmla="*/ 0 h 197"/>
              <a:gd name="T20" fmla="*/ 0 w 116"/>
              <a:gd name="T21" fmla="*/ 0 h 197"/>
              <a:gd name="T22" fmla="*/ 0 w 116"/>
              <a:gd name="T23" fmla="*/ 0 h 197"/>
              <a:gd name="T24" fmla="*/ 0 w 116"/>
              <a:gd name="T25" fmla="*/ 0 h 197"/>
              <a:gd name="T26" fmla="*/ 0 w 116"/>
              <a:gd name="T27" fmla="*/ 0 h 197"/>
              <a:gd name="T28" fmla="*/ 0 w 116"/>
              <a:gd name="T29" fmla="*/ 0 h 197"/>
              <a:gd name="T30" fmla="*/ 0 w 116"/>
              <a:gd name="T31" fmla="*/ 0 h 197"/>
              <a:gd name="T32" fmla="*/ 0 w 116"/>
              <a:gd name="T33" fmla="*/ 0 h 197"/>
              <a:gd name="T34" fmla="*/ 0 w 116"/>
              <a:gd name="T35" fmla="*/ 0 h 197"/>
              <a:gd name="T36" fmla="*/ 0 w 116"/>
              <a:gd name="T37" fmla="*/ 0 h 197"/>
              <a:gd name="T38" fmla="*/ 0 w 116"/>
              <a:gd name="T39" fmla="*/ 0 h 197"/>
              <a:gd name="T40" fmla="*/ 0 w 116"/>
              <a:gd name="T41" fmla="*/ 0 h 197"/>
              <a:gd name="T42" fmla="*/ 0 w 116"/>
              <a:gd name="T43" fmla="*/ 0 h 197"/>
              <a:gd name="T44" fmla="*/ 0 w 116"/>
              <a:gd name="T45" fmla="*/ 0 h 197"/>
              <a:gd name="T46" fmla="*/ 0 w 116"/>
              <a:gd name="T47" fmla="*/ 0 h 197"/>
              <a:gd name="T48" fmla="*/ 0 w 116"/>
              <a:gd name="T49" fmla="*/ 0 h 197"/>
              <a:gd name="T50" fmla="*/ 0 w 116"/>
              <a:gd name="T51" fmla="*/ 0 h 197"/>
              <a:gd name="T52" fmla="*/ 0 w 116"/>
              <a:gd name="T53" fmla="*/ 0 h 197"/>
              <a:gd name="T54" fmla="*/ 0 w 116"/>
              <a:gd name="T55" fmla="*/ 0 h 197"/>
              <a:gd name="T56" fmla="*/ 0 w 116"/>
              <a:gd name="T57" fmla="*/ 0 h 197"/>
              <a:gd name="T58" fmla="*/ 0 w 116"/>
              <a:gd name="T59" fmla="*/ 0 h 197"/>
              <a:gd name="T60" fmla="*/ 0 w 116"/>
              <a:gd name="T61" fmla="*/ 0 h 197"/>
              <a:gd name="T62" fmla="*/ 0 w 116"/>
              <a:gd name="T63" fmla="*/ 0 h 197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w 116"/>
              <a:gd name="T97" fmla="*/ 0 h 197"/>
              <a:gd name="T98" fmla="*/ 116 w 116"/>
              <a:gd name="T99" fmla="*/ 197 h 197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T96" t="T97" r="T98" b="T99"/>
            <a:pathLst>
              <a:path w="116" h="197">
                <a:moveTo>
                  <a:pt x="54" y="180"/>
                </a:moveTo>
                <a:lnTo>
                  <a:pt x="54" y="161"/>
                </a:lnTo>
                <a:lnTo>
                  <a:pt x="74" y="159"/>
                </a:lnTo>
                <a:lnTo>
                  <a:pt x="90" y="147"/>
                </a:lnTo>
                <a:lnTo>
                  <a:pt x="99" y="138"/>
                </a:lnTo>
                <a:lnTo>
                  <a:pt x="116" y="122"/>
                </a:lnTo>
                <a:lnTo>
                  <a:pt x="113" y="87"/>
                </a:lnTo>
                <a:lnTo>
                  <a:pt x="89" y="87"/>
                </a:lnTo>
                <a:lnTo>
                  <a:pt x="90" y="72"/>
                </a:lnTo>
                <a:lnTo>
                  <a:pt x="107" y="59"/>
                </a:lnTo>
                <a:lnTo>
                  <a:pt x="107" y="36"/>
                </a:lnTo>
                <a:lnTo>
                  <a:pt x="101" y="23"/>
                </a:lnTo>
                <a:lnTo>
                  <a:pt x="86" y="23"/>
                </a:lnTo>
                <a:lnTo>
                  <a:pt x="71" y="3"/>
                </a:lnTo>
                <a:lnTo>
                  <a:pt x="54" y="0"/>
                </a:lnTo>
                <a:lnTo>
                  <a:pt x="42" y="0"/>
                </a:lnTo>
                <a:lnTo>
                  <a:pt x="30" y="0"/>
                </a:lnTo>
                <a:lnTo>
                  <a:pt x="12" y="0"/>
                </a:lnTo>
                <a:lnTo>
                  <a:pt x="0" y="20"/>
                </a:lnTo>
                <a:lnTo>
                  <a:pt x="2" y="36"/>
                </a:lnTo>
                <a:lnTo>
                  <a:pt x="20" y="38"/>
                </a:lnTo>
                <a:lnTo>
                  <a:pt x="30" y="39"/>
                </a:lnTo>
                <a:lnTo>
                  <a:pt x="35" y="68"/>
                </a:lnTo>
                <a:lnTo>
                  <a:pt x="32" y="84"/>
                </a:lnTo>
                <a:lnTo>
                  <a:pt x="30" y="96"/>
                </a:lnTo>
                <a:lnTo>
                  <a:pt x="21" y="104"/>
                </a:lnTo>
                <a:lnTo>
                  <a:pt x="18" y="132"/>
                </a:lnTo>
                <a:lnTo>
                  <a:pt x="5" y="149"/>
                </a:lnTo>
                <a:lnTo>
                  <a:pt x="8" y="173"/>
                </a:lnTo>
                <a:lnTo>
                  <a:pt x="14" y="195"/>
                </a:lnTo>
                <a:lnTo>
                  <a:pt x="30" y="197"/>
                </a:lnTo>
                <a:lnTo>
                  <a:pt x="54" y="180"/>
                </a:lnTo>
                <a:close/>
              </a:path>
            </a:pathLst>
          </a:custGeom>
          <a:solidFill>
            <a:srgbClr val="70B0DF"/>
          </a:solidFill>
          <a:ln w="9525">
            <a:noFill/>
            <a:round/>
            <a:headEnd/>
            <a:tailEnd/>
          </a:ln>
        </p:spPr>
        <p:txBody>
          <a:bodyPr wrap="none" lIns="32632" tIns="32632" rIns="32632" bIns="32632" anchor="ctr"/>
          <a:lstStyle/>
          <a:p>
            <a:pPr defTabSz="891045"/>
            <a:endParaRPr lang="en-US" sz="1700" dirty="0">
              <a:solidFill>
                <a:srgbClr val="003149"/>
              </a:solidFill>
              <a:cs typeface="Arial" panose="020B0604020202020204" pitchFamily="34" charset="0"/>
            </a:endParaRPr>
          </a:p>
        </p:txBody>
      </p:sp>
      <p:sp>
        <p:nvSpPr>
          <p:cNvPr id="140" name="Freeform 380"/>
          <p:cNvSpPr>
            <a:spLocks noChangeAspect="1"/>
          </p:cNvSpPr>
          <p:nvPr/>
        </p:nvSpPr>
        <p:spPr bwMode="gray">
          <a:xfrm>
            <a:off x="3679529" y="2540805"/>
            <a:ext cx="59710" cy="48785"/>
          </a:xfrm>
          <a:custGeom>
            <a:avLst/>
            <a:gdLst>
              <a:gd name="T0" fmla="*/ 939523573 w 96"/>
              <a:gd name="T1" fmla="*/ 1089767065 h 67"/>
              <a:gd name="T2" fmla="*/ 939523573 w 96"/>
              <a:gd name="T3" fmla="*/ 1089767065 h 67"/>
              <a:gd name="T4" fmla="*/ 939523573 w 96"/>
              <a:gd name="T5" fmla="*/ 1089767065 h 67"/>
              <a:gd name="T6" fmla="*/ 939523573 w 96"/>
              <a:gd name="T7" fmla="*/ 1089767065 h 67"/>
              <a:gd name="T8" fmla="*/ 939523573 w 96"/>
              <a:gd name="T9" fmla="*/ 1089767065 h 67"/>
              <a:gd name="T10" fmla="*/ 939523573 w 96"/>
              <a:gd name="T11" fmla="*/ 1089767065 h 67"/>
              <a:gd name="T12" fmla="*/ 939523573 w 96"/>
              <a:gd name="T13" fmla="*/ 1089767065 h 67"/>
              <a:gd name="T14" fmla="*/ 939523573 w 96"/>
              <a:gd name="T15" fmla="*/ 0 h 67"/>
              <a:gd name="T16" fmla="*/ 939523573 w 96"/>
              <a:gd name="T17" fmla="*/ 1089767065 h 67"/>
              <a:gd name="T18" fmla="*/ 939523573 w 96"/>
              <a:gd name="T19" fmla="*/ 1089767065 h 67"/>
              <a:gd name="T20" fmla="*/ 939523573 w 96"/>
              <a:gd name="T21" fmla="*/ 1089767065 h 67"/>
              <a:gd name="T22" fmla="*/ 0 w 96"/>
              <a:gd name="T23" fmla="*/ 1089767065 h 67"/>
              <a:gd name="T24" fmla="*/ 939523573 w 96"/>
              <a:gd name="T25" fmla="*/ 1089767065 h 67"/>
              <a:gd name="T26" fmla="*/ 939523573 w 96"/>
              <a:gd name="T27" fmla="*/ 1089767065 h 67"/>
              <a:gd name="T28" fmla="*/ 939523573 w 96"/>
              <a:gd name="T29" fmla="*/ 1089767065 h 67"/>
              <a:gd name="T30" fmla="*/ 939523573 w 96"/>
              <a:gd name="T31" fmla="*/ 1089767065 h 67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w 96"/>
              <a:gd name="T49" fmla="*/ 0 h 67"/>
              <a:gd name="T50" fmla="*/ 96 w 96"/>
              <a:gd name="T51" fmla="*/ 67 h 67"/>
            </a:gdLst>
            <a:ahLst/>
            <a:cxnLst>
              <a:cxn ang="T32">
                <a:pos x="T0" y="T1"/>
              </a:cxn>
              <a:cxn ang="T33">
                <a:pos x="T2" y="T3"/>
              </a:cxn>
              <a:cxn ang="T34">
                <a:pos x="T4" y="T5"/>
              </a:cxn>
              <a:cxn ang="T35">
                <a:pos x="T6" y="T7"/>
              </a:cxn>
              <a:cxn ang="T36">
                <a:pos x="T8" y="T9"/>
              </a:cxn>
              <a:cxn ang="T37">
                <a:pos x="T10" y="T11"/>
              </a:cxn>
              <a:cxn ang="T38">
                <a:pos x="T12" y="T13"/>
              </a:cxn>
              <a:cxn ang="T39">
                <a:pos x="T14" y="T15"/>
              </a:cxn>
              <a:cxn ang="T40">
                <a:pos x="T16" y="T17"/>
              </a:cxn>
              <a:cxn ang="T41">
                <a:pos x="T18" y="T19"/>
              </a:cxn>
              <a:cxn ang="T42">
                <a:pos x="T20" y="T21"/>
              </a:cxn>
              <a:cxn ang="T43">
                <a:pos x="T22" y="T23"/>
              </a:cxn>
              <a:cxn ang="T44">
                <a:pos x="T24" y="T25"/>
              </a:cxn>
              <a:cxn ang="T45">
                <a:pos x="T26" y="T27"/>
              </a:cxn>
              <a:cxn ang="T46">
                <a:pos x="T28" y="T29"/>
              </a:cxn>
              <a:cxn ang="T47">
                <a:pos x="T30" y="T31"/>
              </a:cxn>
            </a:cxnLst>
            <a:rect l="T48" t="T49" r="T50" b="T51"/>
            <a:pathLst>
              <a:path w="96" h="67">
                <a:moveTo>
                  <a:pt x="39" y="67"/>
                </a:moveTo>
                <a:lnTo>
                  <a:pt x="59" y="61"/>
                </a:lnTo>
                <a:lnTo>
                  <a:pt x="68" y="55"/>
                </a:lnTo>
                <a:lnTo>
                  <a:pt x="89" y="61"/>
                </a:lnTo>
                <a:lnTo>
                  <a:pt x="96" y="43"/>
                </a:lnTo>
                <a:lnTo>
                  <a:pt x="90" y="31"/>
                </a:lnTo>
                <a:lnTo>
                  <a:pt x="87" y="7"/>
                </a:lnTo>
                <a:lnTo>
                  <a:pt x="62" y="0"/>
                </a:lnTo>
                <a:lnTo>
                  <a:pt x="33" y="1"/>
                </a:lnTo>
                <a:lnTo>
                  <a:pt x="21" y="10"/>
                </a:lnTo>
                <a:lnTo>
                  <a:pt x="14" y="22"/>
                </a:lnTo>
                <a:lnTo>
                  <a:pt x="0" y="28"/>
                </a:lnTo>
                <a:lnTo>
                  <a:pt x="3" y="43"/>
                </a:lnTo>
                <a:lnTo>
                  <a:pt x="9" y="60"/>
                </a:lnTo>
                <a:lnTo>
                  <a:pt x="24" y="63"/>
                </a:lnTo>
                <a:lnTo>
                  <a:pt x="39" y="67"/>
                </a:lnTo>
                <a:close/>
              </a:path>
            </a:pathLst>
          </a:custGeom>
          <a:solidFill>
            <a:srgbClr val="70B0DF"/>
          </a:solidFill>
          <a:ln w="9525">
            <a:noFill/>
            <a:round/>
            <a:headEnd/>
            <a:tailEnd/>
          </a:ln>
        </p:spPr>
        <p:txBody>
          <a:bodyPr wrap="none" lIns="32632" tIns="32632" rIns="32632" bIns="32632" anchor="ctr"/>
          <a:lstStyle/>
          <a:p>
            <a:pPr defTabSz="891045"/>
            <a:endParaRPr lang="en-US" sz="1700" dirty="0">
              <a:solidFill>
                <a:srgbClr val="003149"/>
              </a:solidFill>
              <a:cs typeface="Arial" panose="020B0604020202020204" pitchFamily="34" charset="0"/>
            </a:endParaRPr>
          </a:p>
        </p:txBody>
      </p:sp>
      <p:sp>
        <p:nvSpPr>
          <p:cNvPr id="141" name="Freeform 389"/>
          <p:cNvSpPr>
            <a:spLocks noChangeAspect="1"/>
          </p:cNvSpPr>
          <p:nvPr/>
        </p:nvSpPr>
        <p:spPr bwMode="gray">
          <a:xfrm>
            <a:off x="3270072" y="2156268"/>
            <a:ext cx="240262" cy="370188"/>
          </a:xfrm>
          <a:custGeom>
            <a:avLst/>
            <a:gdLst>
              <a:gd name="T0" fmla="*/ 1379940994 w 263"/>
              <a:gd name="T1" fmla="*/ 1565114288 h 354"/>
              <a:gd name="T2" fmla="*/ 1379940994 w 263"/>
              <a:gd name="T3" fmla="*/ 1565114288 h 354"/>
              <a:gd name="T4" fmla="*/ 1379940994 w 263"/>
              <a:gd name="T5" fmla="*/ 1565114288 h 354"/>
              <a:gd name="T6" fmla="*/ 1379940994 w 263"/>
              <a:gd name="T7" fmla="*/ 1565114288 h 354"/>
              <a:gd name="T8" fmla="*/ 1379940994 w 263"/>
              <a:gd name="T9" fmla="*/ 1565114288 h 354"/>
              <a:gd name="T10" fmla="*/ 1379940994 w 263"/>
              <a:gd name="T11" fmla="*/ 1565114288 h 354"/>
              <a:gd name="T12" fmla="*/ 1379940994 w 263"/>
              <a:gd name="T13" fmla="*/ 1565114288 h 354"/>
              <a:gd name="T14" fmla="*/ 1379940994 w 263"/>
              <a:gd name="T15" fmla="*/ 1565114288 h 354"/>
              <a:gd name="T16" fmla="*/ 1379940994 w 263"/>
              <a:gd name="T17" fmla="*/ 1565114288 h 354"/>
              <a:gd name="T18" fmla="*/ 1379940994 w 263"/>
              <a:gd name="T19" fmla="*/ 1565114288 h 354"/>
              <a:gd name="T20" fmla="*/ 1379940994 w 263"/>
              <a:gd name="T21" fmla="*/ 1565114288 h 354"/>
              <a:gd name="T22" fmla="*/ 1379940994 w 263"/>
              <a:gd name="T23" fmla="*/ 1565114288 h 354"/>
              <a:gd name="T24" fmla="*/ 1379940994 w 263"/>
              <a:gd name="T25" fmla="*/ 1565114288 h 354"/>
              <a:gd name="T26" fmla="*/ 1379940994 w 263"/>
              <a:gd name="T27" fmla="*/ 1565114288 h 354"/>
              <a:gd name="T28" fmla="*/ 1379940994 w 263"/>
              <a:gd name="T29" fmla="*/ 1565114288 h 354"/>
              <a:gd name="T30" fmla="*/ 1379940994 w 263"/>
              <a:gd name="T31" fmla="*/ 1565114288 h 354"/>
              <a:gd name="T32" fmla="*/ 1379940994 w 263"/>
              <a:gd name="T33" fmla="*/ 1565114288 h 354"/>
              <a:gd name="T34" fmla="*/ 1379940994 w 263"/>
              <a:gd name="T35" fmla="*/ 1565114288 h 354"/>
              <a:gd name="T36" fmla="*/ 1379940994 w 263"/>
              <a:gd name="T37" fmla="*/ 1565114288 h 354"/>
              <a:gd name="T38" fmla="*/ 1379940994 w 263"/>
              <a:gd name="T39" fmla="*/ 1565114288 h 354"/>
              <a:gd name="T40" fmla="*/ 1379940994 w 263"/>
              <a:gd name="T41" fmla="*/ 1565114288 h 354"/>
              <a:gd name="T42" fmla="*/ 1379940994 w 263"/>
              <a:gd name="T43" fmla="*/ 1565114288 h 354"/>
              <a:gd name="T44" fmla="*/ 1379940994 w 263"/>
              <a:gd name="T45" fmla="*/ 1565114288 h 354"/>
              <a:gd name="T46" fmla="*/ 1379940994 w 263"/>
              <a:gd name="T47" fmla="*/ 1565114288 h 354"/>
              <a:gd name="T48" fmla="*/ 1379940994 w 263"/>
              <a:gd name="T49" fmla="*/ 1565114288 h 354"/>
              <a:gd name="T50" fmla="*/ 1379940994 w 263"/>
              <a:gd name="T51" fmla="*/ 1565114288 h 354"/>
              <a:gd name="T52" fmla="*/ 1379940994 w 263"/>
              <a:gd name="T53" fmla="*/ 1565114288 h 354"/>
              <a:gd name="T54" fmla="*/ 1379940994 w 263"/>
              <a:gd name="T55" fmla="*/ 1565114288 h 354"/>
              <a:gd name="T56" fmla="*/ 1379940994 w 263"/>
              <a:gd name="T57" fmla="*/ 1565114288 h 354"/>
              <a:gd name="T58" fmla="*/ 1379940994 w 263"/>
              <a:gd name="T59" fmla="*/ 1565114288 h 354"/>
              <a:gd name="T60" fmla="*/ 1379940994 w 263"/>
              <a:gd name="T61" fmla="*/ 1565114288 h 354"/>
              <a:gd name="T62" fmla="*/ 1379940994 w 263"/>
              <a:gd name="T63" fmla="*/ 1565114288 h 354"/>
              <a:gd name="T64" fmla="*/ 1379940994 w 263"/>
              <a:gd name="T65" fmla="*/ 1565114288 h 354"/>
              <a:gd name="T66" fmla="*/ 1379940994 w 263"/>
              <a:gd name="T67" fmla="*/ 1565114288 h 354"/>
              <a:gd name="T68" fmla="*/ 1379940994 w 263"/>
              <a:gd name="T69" fmla="*/ 1565114288 h 354"/>
              <a:gd name="T70" fmla="*/ 1379940994 w 263"/>
              <a:gd name="T71" fmla="*/ 1565114288 h 354"/>
              <a:gd name="T72" fmla="*/ 1379940994 w 263"/>
              <a:gd name="T73" fmla="*/ 1565114288 h 354"/>
              <a:gd name="T74" fmla="*/ 1379940994 w 263"/>
              <a:gd name="T75" fmla="*/ 1565114288 h 354"/>
              <a:gd name="T76" fmla="*/ 1379940994 w 263"/>
              <a:gd name="T77" fmla="*/ 1565114288 h 354"/>
              <a:gd name="T78" fmla="*/ 1379940994 w 263"/>
              <a:gd name="T79" fmla="*/ 1565114288 h 354"/>
              <a:gd name="T80" fmla="*/ 1379940994 w 263"/>
              <a:gd name="T81" fmla="*/ 1565114288 h 354"/>
              <a:gd name="T82" fmla="*/ 1379940994 w 263"/>
              <a:gd name="T83" fmla="*/ 1565114288 h 354"/>
              <a:gd name="T84" fmla="*/ 1379940994 w 263"/>
              <a:gd name="T85" fmla="*/ 1565114288 h 354"/>
              <a:gd name="T86" fmla="*/ 1379940994 w 263"/>
              <a:gd name="T87" fmla="*/ 1565114288 h 354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w 263"/>
              <a:gd name="T133" fmla="*/ 0 h 354"/>
              <a:gd name="T134" fmla="*/ 263 w 263"/>
              <a:gd name="T135" fmla="*/ 354 h 354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T132" t="T133" r="T134" b="T135"/>
            <a:pathLst>
              <a:path w="263" h="354">
                <a:moveTo>
                  <a:pt x="66" y="156"/>
                </a:moveTo>
                <a:lnTo>
                  <a:pt x="57" y="172"/>
                </a:lnTo>
                <a:lnTo>
                  <a:pt x="46" y="174"/>
                </a:lnTo>
                <a:lnTo>
                  <a:pt x="38" y="171"/>
                </a:lnTo>
                <a:lnTo>
                  <a:pt x="38" y="160"/>
                </a:lnTo>
                <a:lnTo>
                  <a:pt x="40" y="146"/>
                </a:lnTo>
                <a:lnTo>
                  <a:pt x="52" y="130"/>
                </a:lnTo>
                <a:lnTo>
                  <a:pt x="60" y="119"/>
                </a:lnTo>
                <a:lnTo>
                  <a:pt x="53" y="109"/>
                </a:lnTo>
                <a:lnTo>
                  <a:pt x="46" y="105"/>
                </a:lnTo>
                <a:lnTo>
                  <a:pt x="30" y="105"/>
                </a:lnTo>
                <a:lnTo>
                  <a:pt x="20" y="105"/>
                </a:lnTo>
                <a:lnTo>
                  <a:pt x="9" y="105"/>
                </a:lnTo>
                <a:lnTo>
                  <a:pt x="0" y="99"/>
                </a:lnTo>
                <a:lnTo>
                  <a:pt x="9" y="84"/>
                </a:lnTo>
                <a:lnTo>
                  <a:pt x="20" y="80"/>
                </a:lnTo>
                <a:lnTo>
                  <a:pt x="38" y="81"/>
                </a:lnTo>
                <a:lnTo>
                  <a:pt x="58" y="79"/>
                </a:lnTo>
                <a:lnTo>
                  <a:pt x="75" y="76"/>
                </a:lnTo>
                <a:lnTo>
                  <a:pt x="83" y="65"/>
                </a:lnTo>
                <a:lnTo>
                  <a:pt x="88" y="51"/>
                </a:lnTo>
                <a:lnTo>
                  <a:pt x="90" y="41"/>
                </a:lnTo>
                <a:lnTo>
                  <a:pt x="90" y="34"/>
                </a:lnTo>
                <a:lnTo>
                  <a:pt x="93" y="26"/>
                </a:lnTo>
                <a:lnTo>
                  <a:pt x="103" y="16"/>
                </a:lnTo>
                <a:lnTo>
                  <a:pt x="115" y="15"/>
                </a:lnTo>
                <a:lnTo>
                  <a:pt x="129" y="14"/>
                </a:lnTo>
                <a:lnTo>
                  <a:pt x="139" y="12"/>
                </a:lnTo>
                <a:lnTo>
                  <a:pt x="133" y="0"/>
                </a:lnTo>
                <a:lnTo>
                  <a:pt x="140" y="1"/>
                </a:lnTo>
                <a:lnTo>
                  <a:pt x="149" y="8"/>
                </a:lnTo>
                <a:lnTo>
                  <a:pt x="156" y="14"/>
                </a:lnTo>
                <a:lnTo>
                  <a:pt x="168" y="12"/>
                </a:lnTo>
                <a:lnTo>
                  <a:pt x="179" y="14"/>
                </a:lnTo>
                <a:lnTo>
                  <a:pt x="189" y="16"/>
                </a:lnTo>
                <a:lnTo>
                  <a:pt x="204" y="16"/>
                </a:lnTo>
                <a:lnTo>
                  <a:pt x="202" y="27"/>
                </a:lnTo>
                <a:lnTo>
                  <a:pt x="214" y="25"/>
                </a:lnTo>
                <a:lnTo>
                  <a:pt x="224" y="27"/>
                </a:lnTo>
                <a:lnTo>
                  <a:pt x="218" y="37"/>
                </a:lnTo>
                <a:lnTo>
                  <a:pt x="212" y="37"/>
                </a:lnTo>
                <a:lnTo>
                  <a:pt x="223" y="43"/>
                </a:lnTo>
                <a:lnTo>
                  <a:pt x="232" y="39"/>
                </a:lnTo>
                <a:lnTo>
                  <a:pt x="244" y="37"/>
                </a:lnTo>
                <a:lnTo>
                  <a:pt x="248" y="48"/>
                </a:lnTo>
                <a:lnTo>
                  <a:pt x="248" y="57"/>
                </a:lnTo>
                <a:lnTo>
                  <a:pt x="251" y="64"/>
                </a:lnTo>
                <a:lnTo>
                  <a:pt x="247" y="70"/>
                </a:lnTo>
                <a:lnTo>
                  <a:pt x="241" y="67"/>
                </a:lnTo>
                <a:lnTo>
                  <a:pt x="233" y="64"/>
                </a:lnTo>
                <a:lnTo>
                  <a:pt x="232" y="60"/>
                </a:lnTo>
                <a:lnTo>
                  <a:pt x="233" y="52"/>
                </a:lnTo>
                <a:lnTo>
                  <a:pt x="224" y="54"/>
                </a:lnTo>
                <a:lnTo>
                  <a:pt x="226" y="63"/>
                </a:lnTo>
                <a:lnTo>
                  <a:pt x="226" y="67"/>
                </a:lnTo>
                <a:lnTo>
                  <a:pt x="228" y="71"/>
                </a:lnTo>
                <a:lnTo>
                  <a:pt x="218" y="78"/>
                </a:lnTo>
                <a:lnTo>
                  <a:pt x="226" y="79"/>
                </a:lnTo>
                <a:lnTo>
                  <a:pt x="235" y="88"/>
                </a:lnTo>
                <a:lnTo>
                  <a:pt x="222" y="91"/>
                </a:lnTo>
                <a:lnTo>
                  <a:pt x="218" y="97"/>
                </a:lnTo>
                <a:lnTo>
                  <a:pt x="231" y="97"/>
                </a:lnTo>
                <a:lnTo>
                  <a:pt x="241" y="111"/>
                </a:lnTo>
                <a:lnTo>
                  <a:pt x="244" y="120"/>
                </a:lnTo>
                <a:lnTo>
                  <a:pt x="247" y="134"/>
                </a:lnTo>
                <a:lnTo>
                  <a:pt x="254" y="148"/>
                </a:lnTo>
                <a:lnTo>
                  <a:pt x="260" y="154"/>
                </a:lnTo>
                <a:lnTo>
                  <a:pt x="256" y="160"/>
                </a:lnTo>
                <a:lnTo>
                  <a:pt x="256" y="170"/>
                </a:lnTo>
                <a:lnTo>
                  <a:pt x="256" y="177"/>
                </a:lnTo>
                <a:lnTo>
                  <a:pt x="254" y="193"/>
                </a:lnTo>
                <a:lnTo>
                  <a:pt x="253" y="212"/>
                </a:lnTo>
                <a:lnTo>
                  <a:pt x="251" y="225"/>
                </a:lnTo>
                <a:lnTo>
                  <a:pt x="246" y="233"/>
                </a:lnTo>
                <a:lnTo>
                  <a:pt x="253" y="235"/>
                </a:lnTo>
                <a:lnTo>
                  <a:pt x="254" y="247"/>
                </a:lnTo>
                <a:lnTo>
                  <a:pt x="248" y="253"/>
                </a:lnTo>
                <a:lnTo>
                  <a:pt x="251" y="268"/>
                </a:lnTo>
                <a:lnTo>
                  <a:pt x="259" y="262"/>
                </a:lnTo>
                <a:lnTo>
                  <a:pt x="263" y="268"/>
                </a:lnTo>
                <a:lnTo>
                  <a:pt x="259" y="274"/>
                </a:lnTo>
                <a:lnTo>
                  <a:pt x="253" y="280"/>
                </a:lnTo>
                <a:lnTo>
                  <a:pt x="257" y="289"/>
                </a:lnTo>
                <a:lnTo>
                  <a:pt x="250" y="289"/>
                </a:lnTo>
                <a:lnTo>
                  <a:pt x="247" y="293"/>
                </a:lnTo>
                <a:lnTo>
                  <a:pt x="256" y="297"/>
                </a:lnTo>
                <a:lnTo>
                  <a:pt x="255" y="312"/>
                </a:lnTo>
                <a:lnTo>
                  <a:pt x="247" y="314"/>
                </a:lnTo>
                <a:lnTo>
                  <a:pt x="241" y="320"/>
                </a:lnTo>
                <a:lnTo>
                  <a:pt x="235" y="326"/>
                </a:lnTo>
                <a:lnTo>
                  <a:pt x="233" y="328"/>
                </a:lnTo>
                <a:lnTo>
                  <a:pt x="227" y="330"/>
                </a:lnTo>
                <a:lnTo>
                  <a:pt x="233" y="336"/>
                </a:lnTo>
                <a:lnTo>
                  <a:pt x="230" y="342"/>
                </a:lnTo>
                <a:lnTo>
                  <a:pt x="221" y="346"/>
                </a:lnTo>
                <a:lnTo>
                  <a:pt x="208" y="349"/>
                </a:lnTo>
                <a:lnTo>
                  <a:pt x="184" y="353"/>
                </a:lnTo>
                <a:lnTo>
                  <a:pt x="168" y="354"/>
                </a:lnTo>
                <a:lnTo>
                  <a:pt x="160" y="353"/>
                </a:lnTo>
                <a:lnTo>
                  <a:pt x="150" y="350"/>
                </a:lnTo>
                <a:lnTo>
                  <a:pt x="143" y="342"/>
                </a:lnTo>
                <a:lnTo>
                  <a:pt x="132" y="338"/>
                </a:lnTo>
                <a:lnTo>
                  <a:pt x="119" y="330"/>
                </a:lnTo>
                <a:lnTo>
                  <a:pt x="107" y="312"/>
                </a:lnTo>
                <a:lnTo>
                  <a:pt x="103" y="294"/>
                </a:lnTo>
                <a:lnTo>
                  <a:pt x="100" y="283"/>
                </a:lnTo>
                <a:lnTo>
                  <a:pt x="90" y="272"/>
                </a:lnTo>
                <a:lnTo>
                  <a:pt x="86" y="261"/>
                </a:lnTo>
                <a:lnTo>
                  <a:pt x="82" y="251"/>
                </a:lnTo>
                <a:lnTo>
                  <a:pt x="80" y="243"/>
                </a:lnTo>
                <a:lnTo>
                  <a:pt x="82" y="235"/>
                </a:lnTo>
                <a:lnTo>
                  <a:pt x="86" y="227"/>
                </a:lnTo>
                <a:lnTo>
                  <a:pt x="81" y="223"/>
                </a:lnTo>
                <a:lnTo>
                  <a:pt x="77" y="221"/>
                </a:lnTo>
                <a:lnTo>
                  <a:pt x="72" y="219"/>
                </a:lnTo>
                <a:lnTo>
                  <a:pt x="71" y="215"/>
                </a:lnTo>
                <a:lnTo>
                  <a:pt x="78" y="212"/>
                </a:lnTo>
                <a:lnTo>
                  <a:pt x="84" y="203"/>
                </a:lnTo>
                <a:lnTo>
                  <a:pt x="72" y="199"/>
                </a:lnTo>
                <a:lnTo>
                  <a:pt x="78" y="188"/>
                </a:lnTo>
                <a:lnTo>
                  <a:pt x="74" y="187"/>
                </a:lnTo>
                <a:lnTo>
                  <a:pt x="69" y="191"/>
                </a:lnTo>
                <a:lnTo>
                  <a:pt x="68" y="175"/>
                </a:lnTo>
                <a:lnTo>
                  <a:pt x="67" y="173"/>
                </a:lnTo>
                <a:lnTo>
                  <a:pt x="73" y="164"/>
                </a:lnTo>
                <a:lnTo>
                  <a:pt x="80" y="158"/>
                </a:lnTo>
                <a:lnTo>
                  <a:pt x="78" y="148"/>
                </a:lnTo>
                <a:lnTo>
                  <a:pt x="73" y="142"/>
                </a:lnTo>
                <a:lnTo>
                  <a:pt x="68" y="136"/>
                </a:lnTo>
                <a:lnTo>
                  <a:pt x="67" y="144"/>
                </a:lnTo>
                <a:lnTo>
                  <a:pt x="69" y="150"/>
                </a:lnTo>
                <a:lnTo>
                  <a:pt x="66" y="156"/>
                </a:lnTo>
                <a:close/>
              </a:path>
            </a:pathLst>
          </a:custGeom>
          <a:solidFill>
            <a:srgbClr val="70B0DF"/>
          </a:solidFill>
          <a:ln w="9525">
            <a:noFill/>
            <a:round/>
            <a:headEnd/>
            <a:tailEnd/>
          </a:ln>
        </p:spPr>
        <p:txBody>
          <a:bodyPr wrap="none" lIns="32632" tIns="32632" rIns="32632" bIns="32632" anchor="ctr"/>
          <a:lstStyle/>
          <a:p>
            <a:pPr defTabSz="891045"/>
            <a:endParaRPr lang="en-US" sz="1700" dirty="0">
              <a:solidFill>
                <a:srgbClr val="003149"/>
              </a:solidFill>
              <a:cs typeface="Arial" panose="020B0604020202020204" pitchFamily="34" charset="0"/>
            </a:endParaRPr>
          </a:p>
        </p:txBody>
      </p:sp>
      <p:sp>
        <p:nvSpPr>
          <p:cNvPr id="142" name="Freeform 484"/>
          <p:cNvSpPr>
            <a:spLocks noChangeAspect="1"/>
          </p:cNvSpPr>
          <p:nvPr/>
        </p:nvSpPr>
        <p:spPr bwMode="gray">
          <a:xfrm>
            <a:off x="4833924" y="2294012"/>
            <a:ext cx="92409" cy="110482"/>
          </a:xfrm>
          <a:custGeom>
            <a:avLst/>
            <a:gdLst>
              <a:gd name="T0" fmla="*/ 371240315 w 376"/>
              <a:gd name="T1" fmla="*/ 409297405 h 404"/>
              <a:gd name="T2" fmla="*/ 371240315 w 376"/>
              <a:gd name="T3" fmla="*/ 409297405 h 404"/>
              <a:gd name="T4" fmla="*/ 371240315 w 376"/>
              <a:gd name="T5" fmla="*/ 409297405 h 404"/>
              <a:gd name="T6" fmla="*/ 371240315 w 376"/>
              <a:gd name="T7" fmla="*/ 409297405 h 404"/>
              <a:gd name="T8" fmla="*/ 371240315 w 376"/>
              <a:gd name="T9" fmla="*/ 409297405 h 404"/>
              <a:gd name="T10" fmla="*/ 371240315 w 376"/>
              <a:gd name="T11" fmla="*/ 409297405 h 404"/>
              <a:gd name="T12" fmla="*/ 371240315 w 376"/>
              <a:gd name="T13" fmla="*/ 409297405 h 404"/>
              <a:gd name="T14" fmla="*/ 371240315 w 376"/>
              <a:gd name="T15" fmla="*/ 409297405 h 404"/>
              <a:gd name="T16" fmla="*/ 371240315 w 376"/>
              <a:gd name="T17" fmla="*/ 409297405 h 404"/>
              <a:gd name="T18" fmla="*/ 371240315 w 376"/>
              <a:gd name="T19" fmla="*/ 409297405 h 404"/>
              <a:gd name="T20" fmla="*/ 371240315 w 376"/>
              <a:gd name="T21" fmla="*/ 409297405 h 404"/>
              <a:gd name="T22" fmla="*/ 371240315 w 376"/>
              <a:gd name="T23" fmla="*/ 409297405 h 404"/>
              <a:gd name="T24" fmla="*/ 371240315 w 376"/>
              <a:gd name="T25" fmla="*/ 409297405 h 404"/>
              <a:gd name="T26" fmla="*/ 371240315 w 376"/>
              <a:gd name="T27" fmla="*/ 409297405 h 404"/>
              <a:gd name="T28" fmla="*/ 371240315 w 376"/>
              <a:gd name="T29" fmla="*/ 409297405 h 404"/>
              <a:gd name="T30" fmla="*/ 371240315 w 376"/>
              <a:gd name="T31" fmla="*/ 409297405 h 404"/>
              <a:gd name="T32" fmla="*/ 371240315 w 376"/>
              <a:gd name="T33" fmla="*/ 409297405 h 404"/>
              <a:gd name="T34" fmla="*/ 371240315 w 376"/>
              <a:gd name="T35" fmla="*/ 409297405 h 404"/>
              <a:gd name="T36" fmla="*/ 371240315 w 376"/>
              <a:gd name="T37" fmla="*/ 409297405 h 404"/>
              <a:gd name="T38" fmla="*/ 371240315 w 376"/>
              <a:gd name="T39" fmla="*/ 409297405 h 404"/>
              <a:gd name="T40" fmla="*/ 371240315 w 376"/>
              <a:gd name="T41" fmla="*/ 409297405 h 404"/>
              <a:gd name="T42" fmla="*/ 371240315 w 376"/>
              <a:gd name="T43" fmla="*/ 409297405 h 404"/>
              <a:gd name="T44" fmla="*/ 371240315 w 376"/>
              <a:gd name="T45" fmla="*/ 409297405 h 404"/>
              <a:gd name="T46" fmla="*/ 371240315 w 376"/>
              <a:gd name="T47" fmla="*/ 409297405 h 404"/>
              <a:gd name="T48" fmla="*/ 371240315 w 376"/>
              <a:gd name="T49" fmla="*/ 0 h 404"/>
              <a:gd name="T50" fmla="*/ 371240315 w 376"/>
              <a:gd name="T51" fmla="*/ 409297405 h 404"/>
              <a:gd name="T52" fmla="*/ 371240315 w 376"/>
              <a:gd name="T53" fmla="*/ 409297405 h 404"/>
              <a:gd name="T54" fmla="*/ 371240315 w 376"/>
              <a:gd name="T55" fmla="*/ 409297405 h 404"/>
              <a:gd name="T56" fmla="*/ 371240315 w 376"/>
              <a:gd name="T57" fmla="*/ 409297405 h 404"/>
              <a:gd name="T58" fmla="*/ 371240315 w 376"/>
              <a:gd name="T59" fmla="*/ 409297405 h 404"/>
              <a:gd name="T60" fmla="*/ 371240315 w 376"/>
              <a:gd name="T61" fmla="*/ 409297405 h 404"/>
              <a:gd name="T62" fmla="*/ 371240315 w 376"/>
              <a:gd name="T63" fmla="*/ 409297405 h 404"/>
              <a:gd name="T64" fmla="*/ 371240315 w 376"/>
              <a:gd name="T65" fmla="*/ 409297405 h 404"/>
              <a:gd name="T66" fmla="*/ 371240315 w 376"/>
              <a:gd name="T67" fmla="*/ 409297405 h 404"/>
              <a:gd name="T68" fmla="*/ 371240315 w 376"/>
              <a:gd name="T69" fmla="*/ 409297405 h 404"/>
              <a:gd name="T70" fmla="*/ 371240315 w 376"/>
              <a:gd name="T71" fmla="*/ 409297405 h 404"/>
              <a:gd name="T72" fmla="*/ 371240315 w 376"/>
              <a:gd name="T73" fmla="*/ 409297405 h 404"/>
              <a:gd name="T74" fmla="*/ 371240315 w 376"/>
              <a:gd name="T75" fmla="*/ 409297405 h 404"/>
              <a:gd name="T76" fmla="*/ 371240315 w 376"/>
              <a:gd name="T77" fmla="*/ 409297405 h 404"/>
              <a:gd name="T78" fmla="*/ 371240315 w 376"/>
              <a:gd name="T79" fmla="*/ 409297405 h 404"/>
              <a:gd name="T80" fmla="*/ 371240315 w 376"/>
              <a:gd name="T81" fmla="*/ 409297405 h 404"/>
              <a:gd name="T82" fmla="*/ 371240315 w 376"/>
              <a:gd name="T83" fmla="*/ 409297405 h 404"/>
              <a:gd name="T84" fmla="*/ 371240315 w 376"/>
              <a:gd name="T85" fmla="*/ 409297405 h 404"/>
              <a:gd name="T86" fmla="*/ 371240315 w 376"/>
              <a:gd name="T87" fmla="*/ 409297405 h 404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w 376"/>
              <a:gd name="T133" fmla="*/ 0 h 404"/>
              <a:gd name="T134" fmla="*/ 376 w 376"/>
              <a:gd name="T135" fmla="*/ 404 h 404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T132" t="T133" r="T134" b="T135"/>
            <a:pathLst>
              <a:path w="376" h="404">
                <a:moveTo>
                  <a:pt x="63" y="393"/>
                </a:moveTo>
                <a:lnTo>
                  <a:pt x="79" y="365"/>
                </a:lnTo>
                <a:lnTo>
                  <a:pt x="105" y="351"/>
                </a:lnTo>
                <a:lnTo>
                  <a:pt x="117" y="330"/>
                </a:lnTo>
                <a:lnTo>
                  <a:pt x="138" y="335"/>
                </a:lnTo>
                <a:lnTo>
                  <a:pt x="153" y="336"/>
                </a:lnTo>
                <a:lnTo>
                  <a:pt x="169" y="335"/>
                </a:lnTo>
                <a:lnTo>
                  <a:pt x="186" y="342"/>
                </a:lnTo>
                <a:lnTo>
                  <a:pt x="198" y="327"/>
                </a:lnTo>
                <a:lnTo>
                  <a:pt x="220" y="341"/>
                </a:lnTo>
                <a:lnTo>
                  <a:pt x="232" y="318"/>
                </a:lnTo>
                <a:lnTo>
                  <a:pt x="234" y="308"/>
                </a:lnTo>
                <a:lnTo>
                  <a:pt x="255" y="314"/>
                </a:lnTo>
                <a:lnTo>
                  <a:pt x="273" y="300"/>
                </a:lnTo>
                <a:lnTo>
                  <a:pt x="297" y="293"/>
                </a:lnTo>
                <a:lnTo>
                  <a:pt x="325" y="282"/>
                </a:lnTo>
                <a:lnTo>
                  <a:pt x="342" y="285"/>
                </a:lnTo>
                <a:lnTo>
                  <a:pt x="361" y="254"/>
                </a:lnTo>
                <a:lnTo>
                  <a:pt x="376" y="224"/>
                </a:lnTo>
                <a:lnTo>
                  <a:pt x="373" y="203"/>
                </a:lnTo>
                <a:lnTo>
                  <a:pt x="369" y="189"/>
                </a:lnTo>
                <a:lnTo>
                  <a:pt x="363" y="159"/>
                </a:lnTo>
                <a:lnTo>
                  <a:pt x="348" y="138"/>
                </a:lnTo>
                <a:lnTo>
                  <a:pt x="327" y="134"/>
                </a:lnTo>
                <a:lnTo>
                  <a:pt x="324" y="149"/>
                </a:lnTo>
                <a:lnTo>
                  <a:pt x="312" y="149"/>
                </a:lnTo>
                <a:lnTo>
                  <a:pt x="309" y="131"/>
                </a:lnTo>
                <a:lnTo>
                  <a:pt x="321" y="125"/>
                </a:lnTo>
                <a:lnTo>
                  <a:pt x="298" y="102"/>
                </a:lnTo>
                <a:lnTo>
                  <a:pt x="285" y="92"/>
                </a:lnTo>
                <a:lnTo>
                  <a:pt x="279" y="71"/>
                </a:lnTo>
                <a:lnTo>
                  <a:pt x="258" y="69"/>
                </a:lnTo>
                <a:lnTo>
                  <a:pt x="246" y="51"/>
                </a:lnTo>
                <a:lnTo>
                  <a:pt x="240" y="68"/>
                </a:lnTo>
                <a:lnTo>
                  <a:pt x="240" y="86"/>
                </a:lnTo>
                <a:lnTo>
                  <a:pt x="231" y="92"/>
                </a:lnTo>
                <a:lnTo>
                  <a:pt x="219" y="92"/>
                </a:lnTo>
                <a:lnTo>
                  <a:pt x="217" y="110"/>
                </a:lnTo>
                <a:lnTo>
                  <a:pt x="210" y="131"/>
                </a:lnTo>
                <a:lnTo>
                  <a:pt x="198" y="149"/>
                </a:lnTo>
                <a:lnTo>
                  <a:pt x="204" y="114"/>
                </a:lnTo>
                <a:lnTo>
                  <a:pt x="204" y="95"/>
                </a:lnTo>
                <a:lnTo>
                  <a:pt x="213" y="83"/>
                </a:lnTo>
                <a:lnTo>
                  <a:pt x="216" y="63"/>
                </a:lnTo>
                <a:lnTo>
                  <a:pt x="213" y="48"/>
                </a:lnTo>
                <a:lnTo>
                  <a:pt x="217" y="36"/>
                </a:lnTo>
                <a:lnTo>
                  <a:pt x="231" y="36"/>
                </a:lnTo>
                <a:lnTo>
                  <a:pt x="225" y="24"/>
                </a:lnTo>
                <a:lnTo>
                  <a:pt x="207" y="11"/>
                </a:lnTo>
                <a:lnTo>
                  <a:pt x="189" y="0"/>
                </a:lnTo>
                <a:lnTo>
                  <a:pt x="169" y="3"/>
                </a:lnTo>
                <a:lnTo>
                  <a:pt x="169" y="21"/>
                </a:lnTo>
                <a:lnTo>
                  <a:pt x="174" y="39"/>
                </a:lnTo>
                <a:lnTo>
                  <a:pt x="175" y="54"/>
                </a:lnTo>
                <a:lnTo>
                  <a:pt x="163" y="45"/>
                </a:lnTo>
                <a:lnTo>
                  <a:pt x="150" y="33"/>
                </a:lnTo>
                <a:lnTo>
                  <a:pt x="141" y="24"/>
                </a:lnTo>
                <a:lnTo>
                  <a:pt x="127" y="27"/>
                </a:lnTo>
                <a:lnTo>
                  <a:pt x="129" y="45"/>
                </a:lnTo>
                <a:lnTo>
                  <a:pt x="127" y="60"/>
                </a:lnTo>
                <a:lnTo>
                  <a:pt x="111" y="60"/>
                </a:lnTo>
                <a:lnTo>
                  <a:pt x="109" y="75"/>
                </a:lnTo>
                <a:lnTo>
                  <a:pt x="111" y="93"/>
                </a:lnTo>
                <a:lnTo>
                  <a:pt x="130" y="114"/>
                </a:lnTo>
                <a:lnTo>
                  <a:pt x="126" y="125"/>
                </a:lnTo>
                <a:lnTo>
                  <a:pt x="108" y="111"/>
                </a:lnTo>
                <a:lnTo>
                  <a:pt x="96" y="113"/>
                </a:lnTo>
                <a:lnTo>
                  <a:pt x="87" y="126"/>
                </a:lnTo>
                <a:lnTo>
                  <a:pt x="87" y="147"/>
                </a:lnTo>
                <a:lnTo>
                  <a:pt x="99" y="161"/>
                </a:lnTo>
                <a:lnTo>
                  <a:pt x="115" y="167"/>
                </a:lnTo>
                <a:lnTo>
                  <a:pt x="105" y="177"/>
                </a:lnTo>
                <a:lnTo>
                  <a:pt x="84" y="177"/>
                </a:lnTo>
                <a:lnTo>
                  <a:pt x="75" y="173"/>
                </a:lnTo>
                <a:lnTo>
                  <a:pt x="66" y="191"/>
                </a:lnTo>
                <a:lnTo>
                  <a:pt x="57" y="201"/>
                </a:lnTo>
                <a:lnTo>
                  <a:pt x="64" y="237"/>
                </a:lnTo>
                <a:lnTo>
                  <a:pt x="43" y="255"/>
                </a:lnTo>
                <a:lnTo>
                  <a:pt x="33" y="263"/>
                </a:lnTo>
                <a:lnTo>
                  <a:pt x="45" y="278"/>
                </a:lnTo>
                <a:lnTo>
                  <a:pt x="40" y="288"/>
                </a:lnTo>
                <a:lnTo>
                  <a:pt x="25" y="293"/>
                </a:lnTo>
                <a:lnTo>
                  <a:pt x="22" y="314"/>
                </a:lnTo>
                <a:lnTo>
                  <a:pt x="6" y="336"/>
                </a:lnTo>
                <a:lnTo>
                  <a:pt x="0" y="353"/>
                </a:lnTo>
                <a:lnTo>
                  <a:pt x="1" y="383"/>
                </a:lnTo>
                <a:lnTo>
                  <a:pt x="6" y="404"/>
                </a:lnTo>
                <a:lnTo>
                  <a:pt x="31" y="399"/>
                </a:lnTo>
                <a:lnTo>
                  <a:pt x="63" y="393"/>
                </a:lnTo>
                <a:close/>
              </a:path>
            </a:pathLst>
          </a:custGeom>
          <a:solidFill>
            <a:srgbClr val="70B0DF"/>
          </a:solidFill>
          <a:ln w="9525">
            <a:noFill/>
            <a:round/>
            <a:headEnd/>
            <a:tailEnd/>
          </a:ln>
        </p:spPr>
        <p:txBody>
          <a:bodyPr wrap="none" lIns="32632" tIns="32632" rIns="32632" bIns="32632" anchor="ctr"/>
          <a:lstStyle/>
          <a:p>
            <a:pPr defTabSz="891045"/>
            <a:endParaRPr lang="en-US" sz="1700" dirty="0">
              <a:solidFill>
                <a:srgbClr val="003149"/>
              </a:solidFill>
              <a:cs typeface="Arial" panose="020B0604020202020204" pitchFamily="34" charset="0"/>
            </a:endParaRPr>
          </a:p>
        </p:txBody>
      </p:sp>
      <p:sp>
        <p:nvSpPr>
          <p:cNvPr id="143" name="Freeform 485"/>
          <p:cNvSpPr>
            <a:spLocks noChangeAspect="1"/>
          </p:cNvSpPr>
          <p:nvPr/>
        </p:nvSpPr>
        <p:spPr bwMode="gray">
          <a:xfrm>
            <a:off x="4745766" y="2236619"/>
            <a:ext cx="103782" cy="104742"/>
          </a:xfrm>
          <a:custGeom>
            <a:avLst/>
            <a:gdLst>
              <a:gd name="T0" fmla="*/ 368861703 w 425"/>
              <a:gd name="T1" fmla="*/ 414725445 h 378"/>
              <a:gd name="T2" fmla="*/ 368861703 w 425"/>
              <a:gd name="T3" fmla="*/ 414725445 h 378"/>
              <a:gd name="T4" fmla="*/ 368861703 w 425"/>
              <a:gd name="T5" fmla="*/ 414725445 h 378"/>
              <a:gd name="T6" fmla="*/ 368861703 w 425"/>
              <a:gd name="T7" fmla="*/ 414725445 h 378"/>
              <a:gd name="T8" fmla="*/ 368861703 w 425"/>
              <a:gd name="T9" fmla="*/ 414725445 h 378"/>
              <a:gd name="T10" fmla="*/ 368861703 w 425"/>
              <a:gd name="T11" fmla="*/ 414725445 h 378"/>
              <a:gd name="T12" fmla="*/ 368861703 w 425"/>
              <a:gd name="T13" fmla="*/ 414725445 h 378"/>
              <a:gd name="T14" fmla="*/ 368861703 w 425"/>
              <a:gd name="T15" fmla="*/ 414725445 h 378"/>
              <a:gd name="T16" fmla="*/ 368861703 w 425"/>
              <a:gd name="T17" fmla="*/ 414725445 h 378"/>
              <a:gd name="T18" fmla="*/ 368861703 w 425"/>
              <a:gd name="T19" fmla="*/ 414725445 h 378"/>
              <a:gd name="T20" fmla="*/ 368861703 w 425"/>
              <a:gd name="T21" fmla="*/ 414725445 h 378"/>
              <a:gd name="T22" fmla="*/ 368861703 w 425"/>
              <a:gd name="T23" fmla="*/ 414725445 h 378"/>
              <a:gd name="T24" fmla="*/ 368861703 w 425"/>
              <a:gd name="T25" fmla="*/ 414725445 h 378"/>
              <a:gd name="T26" fmla="*/ 368861703 w 425"/>
              <a:gd name="T27" fmla="*/ 414725445 h 378"/>
              <a:gd name="T28" fmla="*/ 368861703 w 425"/>
              <a:gd name="T29" fmla="*/ 414725445 h 378"/>
              <a:gd name="T30" fmla="*/ 368861703 w 425"/>
              <a:gd name="T31" fmla="*/ 414725445 h 378"/>
              <a:gd name="T32" fmla="*/ 368861703 w 425"/>
              <a:gd name="T33" fmla="*/ 414725445 h 378"/>
              <a:gd name="T34" fmla="*/ 368861703 w 425"/>
              <a:gd name="T35" fmla="*/ 414725445 h 378"/>
              <a:gd name="T36" fmla="*/ 368861703 w 425"/>
              <a:gd name="T37" fmla="*/ 414725445 h 378"/>
              <a:gd name="T38" fmla="*/ 368861703 w 425"/>
              <a:gd name="T39" fmla="*/ 414725445 h 378"/>
              <a:gd name="T40" fmla="*/ 368861703 w 425"/>
              <a:gd name="T41" fmla="*/ 414725445 h 378"/>
              <a:gd name="T42" fmla="*/ 368861703 w 425"/>
              <a:gd name="T43" fmla="*/ 414725445 h 378"/>
              <a:gd name="T44" fmla="*/ 368861703 w 425"/>
              <a:gd name="T45" fmla="*/ 414725445 h 378"/>
              <a:gd name="T46" fmla="*/ 368861703 w 425"/>
              <a:gd name="T47" fmla="*/ 414725445 h 378"/>
              <a:gd name="T48" fmla="*/ 368861703 w 425"/>
              <a:gd name="T49" fmla="*/ 414725445 h 378"/>
              <a:gd name="T50" fmla="*/ 368861703 w 425"/>
              <a:gd name="T51" fmla="*/ 414725445 h 378"/>
              <a:gd name="T52" fmla="*/ 368861703 w 425"/>
              <a:gd name="T53" fmla="*/ 414725445 h 378"/>
              <a:gd name="T54" fmla="*/ 368861703 w 425"/>
              <a:gd name="T55" fmla="*/ 414725445 h 378"/>
              <a:gd name="T56" fmla="*/ 368861703 w 425"/>
              <a:gd name="T57" fmla="*/ 414725445 h 378"/>
              <a:gd name="T58" fmla="*/ 368861703 w 425"/>
              <a:gd name="T59" fmla="*/ 414725445 h 378"/>
              <a:gd name="T60" fmla="*/ 368861703 w 425"/>
              <a:gd name="T61" fmla="*/ 414725445 h 378"/>
              <a:gd name="T62" fmla="*/ 368861703 w 425"/>
              <a:gd name="T63" fmla="*/ 414725445 h 378"/>
              <a:gd name="T64" fmla="*/ 368861703 w 425"/>
              <a:gd name="T65" fmla="*/ 414725445 h 378"/>
              <a:gd name="T66" fmla="*/ 368861703 w 425"/>
              <a:gd name="T67" fmla="*/ 414725445 h 378"/>
              <a:gd name="T68" fmla="*/ 368861703 w 425"/>
              <a:gd name="T69" fmla="*/ 414725445 h 378"/>
              <a:gd name="T70" fmla="*/ 368861703 w 425"/>
              <a:gd name="T71" fmla="*/ 414725445 h 378"/>
              <a:gd name="T72" fmla="*/ 368861703 w 425"/>
              <a:gd name="T73" fmla="*/ 414725445 h 378"/>
              <a:gd name="T74" fmla="*/ 368861703 w 425"/>
              <a:gd name="T75" fmla="*/ 414725445 h 378"/>
              <a:gd name="T76" fmla="*/ 368861703 w 425"/>
              <a:gd name="T77" fmla="*/ 414725445 h 378"/>
              <a:gd name="T78" fmla="*/ 368861703 w 425"/>
              <a:gd name="T79" fmla="*/ 414725445 h 378"/>
              <a:gd name="T80" fmla="*/ 368861703 w 425"/>
              <a:gd name="T81" fmla="*/ 414725445 h 378"/>
              <a:gd name="T82" fmla="*/ 368861703 w 425"/>
              <a:gd name="T83" fmla="*/ 414725445 h 378"/>
              <a:gd name="T84" fmla="*/ 368861703 w 425"/>
              <a:gd name="T85" fmla="*/ 414725445 h 378"/>
              <a:gd name="T86" fmla="*/ 368861703 w 425"/>
              <a:gd name="T87" fmla="*/ 414725445 h 378"/>
              <a:gd name="T88" fmla="*/ 368861703 w 425"/>
              <a:gd name="T89" fmla="*/ 414725445 h 378"/>
              <a:gd name="T90" fmla="*/ 368861703 w 425"/>
              <a:gd name="T91" fmla="*/ 414725445 h 378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w 425"/>
              <a:gd name="T139" fmla="*/ 0 h 378"/>
              <a:gd name="T140" fmla="*/ 425 w 425"/>
              <a:gd name="T141" fmla="*/ 378 h 378"/>
            </a:gdLst>
            <a:ahLst/>
            <a:cxnLst>
              <a:cxn ang="T92">
                <a:pos x="T0" y="T1"/>
              </a:cxn>
              <a:cxn ang="T93">
                <a:pos x="T2" y="T3"/>
              </a:cxn>
              <a:cxn ang="T94">
                <a:pos x="T4" y="T5"/>
              </a:cxn>
              <a:cxn ang="T95">
                <a:pos x="T6" y="T7"/>
              </a:cxn>
              <a:cxn ang="T96">
                <a:pos x="T8" y="T9"/>
              </a:cxn>
              <a:cxn ang="T97">
                <a:pos x="T10" y="T11"/>
              </a:cxn>
              <a:cxn ang="T98">
                <a:pos x="T12" y="T13"/>
              </a:cxn>
              <a:cxn ang="T99">
                <a:pos x="T14" y="T15"/>
              </a:cxn>
              <a:cxn ang="T100">
                <a:pos x="T16" y="T17"/>
              </a:cxn>
              <a:cxn ang="T101">
                <a:pos x="T18" y="T19"/>
              </a:cxn>
              <a:cxn ang="T102">
                <a:pos x="T20" y="T21"/>
              </a:cxn>
              <a:cxn ang="T103">
                <a:pos x="T22" y="T23"/>
              </a:cxn>
              <a:cxn ang="T104">
                <a:pos x="T24" y="T25"/>
              </a:cxn>
              <a:cxn ang="T105">
                <a:pos x="T26" y="T27"/>
              </a:cxn>
              <a:cxn ang="T106">
                <a:pos x="T28" y="T29"/>
              </a:cxn>
              <a:cxn ang="T107">
                <a:pos x="T30" y="T31"/>
              </a:cxn>
              <a:cxn ang="T108">
                <a:pos x="T32" y="T33"/>
              </a:cxn>
              <a:cxn ang="T109">
                <a:pos x="T34" y="T35"/>
              </a:cxn>
              <a:cxn ang="T110">
                <a:pos x="T36" y="T37"/>
              </a:cxn>
              <a:cxn ang="T111">
                <a:pos x="T38" y="T39"/>
              </a:cxn>
              <a:cxn ang="T112">
                <a:pos x="T40" y="T41"/>
              </a:cxn>
              <a:cxn ang="T113">
                <a:pos x="T42" y="T43"/>
              </a:cxn>
              <a:cxn ang="T114">
                <a:pos x="T44" y="T45"/>
              </a:cxn>
              <a:cxn ang="T115">
                <a:pos x="T46" y="T47"/>
              </a:cxn>
              <a:cxn ang="T116">
                <a:pos x="T48" y="T49"/>
              </a:cxn>
              <a:cxn ang="T117">
                <a:pos x="T50" y="T51"/>
              </a:cxn>
              <a:cxn ang="T118">
                <a:pos x="T52" y="T53"/>
              </a:cxn>
              <a:cxn ang="T119">
                <a:pos x="T54" y="T55"/>
              </a:cxn>
              <a:cxn ang="T120">
                <a:pos x="T56" y="T57"/>
              </a:cxn>
              <a:cxn ang="T121">
                <a:pos x="T58" y="T59"/>
              </a:cxn>
              <a:cxn ang="T122">
                <a:pos x="T60" y="T61"/>
              </a:cxn>
              <a:cxn ang="T123">
                <a:pos x="T62" y="T63"/>
              </a:cxn>
              <a:cxn ang="T124">
                <a:pos x="T64" y="T65"/>
              </a:cxn>
              <a:cxn ang="T125">
                <a:pos x="T66" y="T67"/>
              </a:cxn>
              <a:cxn ang="T126">
                <a:pos x="T68" y="T69"/>
              </a:cxn>
              <a:cxn ang="T127">
                <a:pos x="T70" y="T71"/>
              </a:cxn>
              <a:cxn ang="T128">
                <a:pos x="T72" y="T73"/>
              </a:cxn>
              <a:cxn ang="T129">
                <a:pos x="T74" y="T75"/>
              </a:cxn>
              <a:cxn ang="T130">
                <a:pos x="T76" y="T77"/>
              </a:cxn>
              <a:cxn ang="T131">
                <a:pos x="T78" y="T79"/>
              </a:cxn>
              <a:cxn ang="T132">
                <a:pos x="T80" y="T81"/>
              </a:cxn>
              <a:cxn ang="T133">
                <a:pos x="T82" y="T83"/>
              </a:cxn>
              <a:cxn ang="T134">
                <a:pos x="T84" y="T85"/>
              </a:cxn>
              <a:cxn ang="T135">
                <a:pos x="T86" y="T87"/>
              </a:cxn>
              <a:cxn ang="T136">
                <a:pos x="T88" y="T89"/>
              </a:cxn>
              <a:cxn ang="T137">
                <a:pos x="T90" y="T91"/>
              </a:cxn>
            </a:cxnLst>
            <a:rect l="T138" t="T139" r="T140" b="T141"/>
            <a:pathLst>
              <a:path w="425" h="378">
                <a:moveTo>
                  <a:pt x="416" y="336"/>
                </a:moveTo>
                <a:lnTo>
                  <a:pt x="405" y="303"/>
                </a:lnTo>
                <a:lnTo>
                  <a:pt x="393" y="282"/>
                </a:lnTo>
                <a:lnTo>
                  <a:pt x="383" y="288"/>
                </a:lnTo>
                <a:lnTo>
                  <a:pt x="381" y="276"/>
                </a:lnTo>
                <a:lnTo>
                  <a:pt x="383" y="266"/>
                </a:lnTo>
                <a:lnTo>
                  <a:pt x="368" y="258"/>
                </a:lnTo>
                <a:lnTo>
                  <a:pt x="392" y="237"/>
                </a:lnTo>
                <a:lnTo>
                  <a:pt x="401" y="225"/>
                </a:lnTo>
                <a:lnTo>
                  <a:pt x="401" y="201"/>
                </a:lnTo>
                <a:lnTo>
                  <a:pt x="402" y="173"/>
                </a:lnTo>
                <a:lnTo>
                  <a:pt x="401" y="140"/>
                </a:lnTo>
                <a:lnTo>
                  <a:pt x="402" y="128"/>
                </a:lnTo>
                <a:lnTo>
                  <a:pt x="425" y="111"/>
                </a:lnTo>
                <a:lnTo>
                  <a:pt x="405" y="90"/>
                </a:lnTo>
                <a:lnTo>
                  <a:pt x="392" y="71"/>
                </a:lnTo>
                <a:lnTo>
                  <a:pt x="372" y="53"/>
                </a:lnTo>
                <a:lnTo>
                  <a:pt x="362" y="56"/>
                </a:lnTo>
                <a:lnTo>
                  <a:pt x="357" y="36"/>
                </a:lnTo>
                <a:lnTo>
                  <a:pt x="330" y="36"/>
                </a:lnTo>
                <a:lnTo>
                  <a:pt x="315" y="33"/>
                </a:lnTo>
                <a:lnTo>
                  <a:pt x="312" y="60"/>
                </a:lnTo>
                <a:lnTo>
                  <a:pt x="326" y="71"/>
                </a:lnTo>
                <a:lnTo>
                  <a:pt x="315" y="72"/>
                </a:lnTo>
                <a:lnTo>
                  <a:pt x="315" y="87"/>
                </a:lnTo>
                <a:lnTo>
                  <a:pt x="300" y="83"/>
                </a:lnTo>
                <a:lnTo>
                  <a:pt x="296" y="98"/>
                </a:lnTo>
                <a:lnTo>
                  <a:pt x="288" y="107"/>
                </a:lnTo>
                <a:lnTo>
                  <a:pt x="284" y="117"/>
                </a:lnTo>
                <a:lnTo>
                  <a:pt x="273" y="129"/>
                </a:lnTo>
                <a:lnTo>
                  <a:pt x="263" y="131"/>
                </a:lnTo>
                <a:lnTo>
                  <a:pt x="267" y="108"/>
                </a:lnTo>
                <a:lnTo>
                  <a:pt x="278" y="92"/>
                </a:lnTo>
                <a:lnTo>
                  <a:pt x="288" y="80"/>
                </a:lnTo>
                <a:lnTo>
                  <a:pt x="296" y="56"/>
                </a:lnTo>
                <a:lnTo>
                  <a:pt x="300" y="44"/>
                </a:lnTo>
                <a:lnTo>
                  <a:pt x="297" y="32"/>
                </a:lnTo>
                <a:lnTo>
                  <a:pt x="288" y="11"/>
                </a:lnTo>
                <a:lnTo>
                  <a:pt x="272" y="2"/>
                </a:lnTo>
                <a:lnTo>
                  <a:pt x="255" y="2"/>
                </a:lnTo>
                <a:lnTo>
                  <a:pt x="240" y="3"/>
                </a:lnTo>
                <a:lnTo>
                  <a:pt x="231" y="12"/>
                </a:lnTo>
                <a:lnTo>
                  <a:pt x="224" y="0"/>
                </a:lnTo>
                <a:lnTo>
                  <a:pt x="212" y="15"/>
                </a:lnTo>
                <a:lnTo>
                  <a:pt x="203" y="26"/>
                </a:lnTo>
                <a:lnTo>
                  <a:pt x="182" y="26"/>
                </a:lnTo>
                <a:lnTo>
                  <a:pt x="161" y="20"/>
                </a:lnTo>
                <a:lnTo>
                  <a:pt x="150" y="27"/>
                </a:lnTo>
                <a:lnTo>
                  <a:pt x="129" y="29"/>
                </a:lnTo>
                <a:lnTo>
                  <a:pt x="120" y="42"/>
                </a:lnTo>
                <a:lnTo>
                  <a:pt x="117" y="54"/>
                </a:lnTo>
                <a:lnTo>
                  <a:pt x="102" y="54"/>
                </a:lnTo>
                <a:lnTo>
                  <a:pt x="89" y="54"/>
                </a:lnTo>
                <a:lnTo>
                  <a:pt x="93" y="84"/>
                </a:lnTo>
                <a:lnTo>
                  <a:pt x="113" y="90"/>
                </a:lnTo>
                <a:lnTo>
                  <a:pt x="89" y="101"/>
                </a:lnTo>
                <a:lnTo>
                  <a:pt x="69" y="108"/>
                </a:lnTo>
                <a:lnTo>
                  <a:pt x="62" y="123"/>
                </a:lnTo>
                <a:lnTo>
                  <a:pt x="48" y="134"/>
                </a:lnTo>
                <a:lnTo>
                  <a:pt x="44" y="143"/>
                </a:lnTo>
                <a:lnTo>
                  <a:pt x="32" y="158"/>
                </a:lnTo>
                <a:lnTo>
                  <a:pt x="18" y="153"/>
                </a:lnTo>
                <a:lnTo>
                  <a:pt x="0" y="153"/>
                </a:lnTo>
                <a:lnTo>
                  <a:pt x="3" y="165"/>
                </a:lnTo>
                <a:lnTo>
                  <a:pt x="14" y="180"/>
                </a:lnTo>
                <a:lnTo>
                  <a:pt x="30" y="192"/>
                </a:lnTo>
                <a:lnTo>
                  <a:pt x="42" y="186"/>
                </a:lnTo>
                <a:lnTo>
                  <a:pt x="68" y="200"/>
                </a:lnTo>
                <a:lnTo>
                  <a:pt x="69" y="189"/>
                </a:lnTo>
                <a:lnTo>
                  <a:pt x="84" y="189"/>
                </a:lnTo>
                <a:lnTo>
                  <a:pt x="83" y="212"/>
                </a:lnTo>
                <a:lnTo>
                  <a:pt x="78" y="227"/>
                </a:lnTo>
                <a:lnTo>
                  <a:pt x="84" y="254"/>
                </a:lnTo>
                <a:lnTo>
                  <a:pt x="93" y="261"/>
                </a:lnTo>
                <a:lnTo>
                  <a:pt x="98" y="287"/>
                </a:lnTo>
                <a:lnTo>
                  <a:pt x="117" y="303"/>
                </a:lnTo>
                <a:lnTo>
                  <a:pt x="137" y="306"/>
                </a:lnTo>
                <a:lnTo>
                  <a:pt x="147" y="302"/>
                </a:lnTo>
                <a:lnTo>
                  <a:pt x="162" y="326"/>
                </a:lnTo>
                <a:lnTo>
                  <a:pt x="188" y="320"/>
                </a:lnTo>
                <a:lnTo>
                  <a:pt x="194" y="312"/>
                </a:lnTo>
                <a:lnTo>
                  <a:pt x="221" y="321"/>
                </a:lnTo>
                <a:lnTo>
                  <a:pt x="234" y="342"/>
                </a:lnTo>
                <a:lnTo>
                  <a:pt x="254" y="369"/>
                </a:lnTo>
                <a:lnTo>
                  <a:pt x="291" y="371"/>
                </a:lnTo>
                <a:lnTo>
                  <a:pt x="308" y="378"/>
                </a:lnTo>
                <a:lnTo>
                  <a:pt x="332" y="372"/>
                </a:lnTo>
                <a:lnTo>
                  <a:pt x="356" y="374"/>
                </a:lnTo>
                <a:lnTo>
                  <a:pt x="369" y="369"/>
                </a:lnTo>
                <a:lnTo>
                  <a:pt x="384" y="369"/>
                </a:lnTo>
                <a:lnTo>
                  <a:pt x="390" y="354"/>
                </a:lnTo>
                <a:lnTo>
                  <a:pt x="404" y="344"/>
                </a:lnTo>
                <a:lnTo>
                  <a:pt x="416" y="336"/>
                </a:lnTo>
                <a:close/>
              </a:path>
            </a:pathLst>
          </a:custGeom>
          <a:solidFill>
            <a:srgbClr val="70B0DF"/>
          </a:solidFill>
          <a:ln w="9525">
            <a:noFill/>
            <a:round/>
            <a:headEnd/>
            <a:tailEnd/>
          </a:ln>
        </p:spPr>
        <p:txBody>
          <a:bodyPr wrap="none" lIns="32632" tIns="32632" rIns="32632" bIns="32632" anchor="ctr"/>
          <a:lstStyle/>
          <a:p>
            <a:pPr defTabSz="891045"/>
            <a:endParaRPr lang="en-US" sz="1700" dirty="0">
              <a:solidFill>
                <a:srgbClr val="003149"/>
              </a:solidFill>
              <a:cs typeface="Arial" panose="020B0604020202020204" pitchFamily="34" charset="0"/>
            </a:endParaRPr>
          </a:p>
        </p:txBody>
      </p:sp>
      <p:sp>
        <p:nvSpPr>
          <p:cNvPr id="144" name="Freeform 486"/>
          <p:cNvSpPr>
            <a:spLocks noChangeAspect="1"/>
          </p:cNvSpPr>
          <p:nvPr/>
        </p:nvSpPr>
        <p:spPr bwMode="gray">
          <a:xfrm>
            <a:off x="4730129" y="2159122"/>
            <a:ext cx="86722" cy="88960"/>
          </a:xfrm>
          <a:custGeom>
            <a:avLst/>
            <a:gdLst>
              <a:gd name="T0" fmla="*/ 0 w 352"/>
              <a:gd name="T1" fmla="*/ 0 h 329"/>
              <a:gd name="T2" fmla="*/ 0 w 352"/>
              <a:gd name="T3" fmla="*/ 0 h 329"/>
              <a:gd name="T4" fmla="*/ 0 w 352"/>
              <a:gd name="T5" fmla="*/ 0 h 329"/>
              <a:gd name="T6" fmla="*/ 0 w 352"/>
              <a:gd name="T7" fmla="*/ 0 h 329"/>
              <a:gd name="T8" fmla="*/ 0 w 352"/>
              <a:gd name="T9" fmla="*/ 0 h 329"/>
              <a:gd name="T10" fmla="*/ 0 w 352"/>
              <a:gd name="T11" fmla="*/ 0 h 329"/>
              <a:gd name="T12" fmla="*/ 0 w 352"/>
              <a:gd name="T13" fmla="*/ 0 h 329"/>
              <a:gd name="T14" fmla="*/ 0 w 352"/>
              <a:gd name="T15" fmla="*/ 0 h 329"/>
              <a:gd name="T16" fmla="*/ 0 w 352"/>
              <a:gd name="T17" fmla="*/ 0 h 329"/>
              <a:gd name="T18" fmla="*/ 0 w 352"/>
              <a:gd name="T19" fmla="*/ 0 h 329"/>
              <a:gd name="T20" fmla="*/ 0 w 352"/>
              <a:gd name="T21" fmla="*/ 0 h 329"/>
              <a:gd name="T22" fmla="*/ 0 w 352"/>
              <a:gd name="T23" fmla="*/ 0 h 329"/>
              <a:gd name="T24" fmla="*/ 0 w 352"/>
              <a:gd name="T25" fmla="*/ 0 h 329"/>
              <a:gd name="T26" fmla="*/ 0 w 352"/>
              <a:gd name="T27" fmla="*/ 0 h 329"/>
              <a:gd name="T28" fmla="*/ 0 w 352"/>
              <a:gd name="T29" fmla="*/ 0 h 329"/>
              <a:gd name="T30" fmla="*/ 0 w 352"/>
              <a:gd name="T31" fmla="*/ 0 h 329"/>
              <a:gd name="T32" fmla="*/ 0 w 352"/>
              <a:gd name="T33" fmla="*/ 0 h 329"/>
              <a:gd name="T34" fmla="*/ 0 w 352"/>
              <a:gd name="T35" fmla="*/ 0 h 329"/>
              <a:gd name="T36" fmla="*/ 0 w 352"/>
              <a:gd name="T37" fmla="*/ 0 h 329"/>
              <a:gd name="T38" fmla="*/ 0 w 352"/>
              <a:gd name="T39" fmla="*/ 0 h 329"/>
              <a:gd name="T40" fmla="*/ 0 w 352"/>
              <a:gd name="T41" fmla="*/ 0 h 329"/>
              <a:gd name="T42" fmla="*/ 0 w 352"/>
              <a:gd name="T43" fmla="*/ 0 h 329"/>
              <a:gd name="T44" fmla="*/ 0 w 352"/>
              <a:gd name="T45" fmla="*/ 0 h 329"/>
              <a:gd name="T46" fmla="*/ 0 w 352"/>
              <a:gd name="T47" fmla="*/ 0 h 329"/>
              <a:gd name="T48" fmla="*/ 0 w 352"/>
              <a:gd name="T49" fmla="*/ 0 h 329"/>
              <a:gd name="T50" fmla="*/ 0 w 352"/>
              <a:gd name="T51" fmla="*/ 0 h 329"/>
              <a:gd name="T52" fmla="*/ 0 w 352"/>
              <a:gd name="T53" fmla="*/ 0 h 329"/>
              <a:gd name="T54" fmla="*/ 0 w 352"/>
              <a:gd name="T55" fmla="*/ 0 h 329"/>
              <a:gd name="T56" fmla="*/ 0 w 352"/>
              <a:gd name="T57" fmla="*/ 0 h 329"/>
              <a:gd name="T58" fmla="*/ 0 w 352"/>
              <a:gd name="T59" fmla="*/ 0 h 329"/>
              <a:gd name="T60" fmla="*/ 0 w 352"/>
              <a:gd name="T61" fmla="*/ 0 h 329"/>
              <a:gd name="T62" fmla="*/ 0 w 352"/>
              <a:gd name="T63" fmla="*/ 0 h 329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w 352"/>
              <a:gd name="T97" fmla="*/ 0 h 329"/>
              <a:gd name="T98" fmla="*/ 352 w 352"/>
              <a:gd name="T99" fmla="*/ 329 h 329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T96" t="T97" r="T98" b="T99"/>
            <a:pathLst>
              <a:path w="352" h="329">
                <a:moveTo>
                  <a:pt x="310" y="221"/>
                </a:moveTo>
                <a:lnTo>
                  <a:pt x="306" y="198"/>
                </a:lnTo>
                <a:lnTo>
                  <a:pt x="312" y="180"/>
                </a:lnTo>
                <a:lnTo>
                  <a:pt x="321" y="170"/>
                </a:lnTo>
                <a:lnTo>
                  <a:pt x="340" y="170"/>
                </a:lnTo>
                <a:lnTo>
                  <a:pt x="352" y="165"/>
                </a:lnTo>
                <a:lnTo>
                  <a:pt x="349" y="147"/>
                </a:lnTo>
                <a:lnTo>
                  <a:pt x="349" y="125"/>
                </a:lnTo>
                <a:lnTo>
                  <a:pt x="334" y="120"/>
                </a:lnTo>
                <a:lnTo>
                  <a:pt x="319" y="116"/>
                </a:lnTo>
                <a:lnTo>
                  <a:pt x="312" y="105"/>
                </a:lnTo>
                <a:lnTo>
                  <a:pt x="295" y="95"/>
                </a:lnTo>
                <a:lnTo>
                  <a:pt x="288" y="81"/>
                </a:lnTo>
                <a:lnTo>
                  <a:pt x="283" y="47"/>
                </a:lnTo>
                <a:lnTo>
                  <a:pt x="267" y="26"/>
                </a:lnTo>
                <a:lnTo>
                  <a:pt x="255" y="3"/>
                </a:lnTo>
                <a:lnTo>
                  <a:pt x="241" y="0"/>
                </a:lnTo>
                <a:lnTo>
                  <a:pt x="219" y="0"/>
                </a:lnTo>
                <a:lnTo>
                  <a:pt x="213" y="14"/>
                </a:lnTo>
                <a:lnTo>
                  <a:pt x="246" y="20"/>
                </a:lnTo>
                <a:lnTo>
                  <a:pt x="241" y="30"/>
                </a:lnTo>
                <a:lnTo>
                  <a:pt x="214" y="30"/>
                </a:lnTo>
                <a:lnTo>
                  <a:pt x="195" y="48"/>
                </a:lnTo>
                <a:lnTo>
                  <a:pt x="169" y="60"/>
                </a:lnTo>
                <a:lnTo>
                  <a:pt x="138" y="66"/>
                </a:lnTo>
                <a:lnTo>
                  <a:pt x="117" y="69"/>
                </a:lnTo>
                <a:lnTo>
                  <a:pt x="108" y="83"/>
                </a:lnTo>
                <a:lnTo>
                  <a:pt x="120" y="95"/>
                </a:lnTo>
                <a:lnTo>
                  <a:pt x="114" y="107"/>
                </a:lnTo>
                <a:lnTo>
                  <a:pt x="97" y="105"/>
                </a:lnTo>
                <a:lnTo>
                  <a:pt x="79" y="117"/>
                </a:lnTo>
                <a:lnTo>
                  <a:pt x="79" y="137"/>
                </a:lnTo>
                <a:lnTo>
                  <a:pt x="111" y="135"/>
                </a:lnTo>
                <a:lnTo>
                  <a:pt x="120" y="129"/>
                </a:lnTo>
                <a:lnTo>
                  <a:pt x="117" y="150"/>
                </a:lnTo>
                <a:lnTo>
                  <a:pt x="93" y="161"/>
                </a:lnTo>
                <a:lnTo>
                  <a:pt x="87" y="179"/>
                </a:lnTo>
                <a:lnTo>
                  <a:pt x="90" y="195"/>
                </a:lnTo>
                <a:lnTo>
                  <a:pt x="73" y="191"/>
                </a:lnTo>
                <a:lnTo>
                  <a:pt x="52" y="195"/>
                </a:lnTo>
                <a:lnTo>
                  <a:pt x="34" y="200"/>
                </a:lnTo>
                <a:lnTo>
                  <a:pt x="34" y="215"/>
                </a:lnTo>
                <a:lnTo>
                  <a:pt x="25" y="222"/>
                </a:lnTo>
                <a:lnTo>
                  <a:pt x="13" y="231"/>
                </a:lnTo>
                <a:lnTo>
                  <a:pt x="0" y="240"/>
                </a:lnTo>
                <a:lnTo>
                  <a:pt x="12" y="252"/>
                </a:lnTo>
                <a:lnTo>
                  <a:pt x="27" y="248"/>
                </a:lnTo>
                <a:lnTo>
                  <a:pt x="46" y="258"/>
                </a:lnTo>
                <a:lnTo>
                  <a:pt x="40" y="276"/>
                </a:lnTo>
                <a:lnTo>
                  <a:pt x="67" y="291"/>
                </a:lnTo>
                <a:lnTo>
                  <a:pt x="94" y="314"/>
                </a:lnTo>
                <a:lnTo>
                  <a:pt x="126" y="329"/>
                </a:lnTo>
                <a:lnTo>
                  <a:pt x="171" y="309"/>
                </a:lnTo>
                <a:lnTo>
                  <a:pt x="181" y="297"/>
                </a:lnTo>
                <a:lnTo>
                  <a:pt x="210" y="293"/>
                </a:lnTo>
                <a:lnTo>
                  <a:pt x="229" y="282"/>
                </a:lnTo>
                <a:lnTo>
                  <a:pt x="246" y="279"/>
                </a:lnTo>
                <a:lnTo>
                  <a:pt x="256" y="279"/>
                </a:lnTo>
                <a:lnTo>
                  <a:pt x="288" y="282"/>
                </a:lnTo>
                <a:lnTo>
                  <a:pt x="310" y="285"/>
                </a:lnTo>
                <a:lnTo>
                  <a:pt x="321" y="272"/>
                </a:lnTo>
                <a:lnTo>
                  <a:pt x="325" y="261"/>
                </a:lnTo>
                <a:lnTo>
                  <a:pt x="315" y="246"/>
                </a:lnTo>
                <a:lnTo>
                  <a:pt x="310" y="221"/>
                </a:lnTo>
                <a:close/>
              </a:path>
            </a:pathLst>
          </a:custGeom>
          <a:solidFill>
            <a:srgbClr val="70B0DF"/>
          </a:solidFill>
          <a:ln w="9525">
            <a:noFill/>
            <a:round/>
            <a:headEnd/>
            <a:tailEnd/>
          </a:ln>
        </p:spPr>
        <p:txBody>
          <a:bodyPr wrap="none" lIns="32632" tIns="32632" rIns="32632" bIns="32632" anchor="ctr"/>
          <a:lstStyle/>
          <a:p>
            <a:pPr defTabSz="891045"/>
            <a:endParaRPr lang="en-US" sz="1700" dirty="0">
              <a:solidFill>
                <a:srgbClr val="003149"/>
              </a:solidFill>
              <a:cs typeface="Arial" panose="020B0604020202020204" pitchFamily="34" charset="0"/>
            </a:endParaRPr>
          </a:p>
        </p:txBody>
      </p:sp>
      <p:sp>
        <p:nvSpPr>
          <p:cNvPr id="145" name="Freeform 487"/>
          <p:cNvSpPr>
            <a:spLocks noChangeAspect="1"/>
          </p:cNvSpPr>
          <p:nvPr/>
        </p:nvSpPr>
        <p:spPr bwMode="gray">
          <a:xfrm>
            <a:off x="4721612" y="2236603"/>
            <a:ext cx="41229" cy="37306"/>
          </a:xfrm>
          <a:custGeom>
            <a:avLst/>
            <a:gdLst>
              <a:gd name="T0" fmla="*/ 0 w 164"/>
              <a:gd name="T1" fmla="*/ 0 h 132"/>
              <a:gd name="T2" fmla="*/ 0 w 164"/>
              <a:gd name="T3" fmla="*/ 0 h 132"/>
              <a:gd name="T4" fmla="*/ 0 w 164"/>
              <a:gd name="T5" fmla="*/ 0 h 132"/>
              <a:gd name="T6" fmla="*/ 0 w 164"/>
              <a:gd name="T7" fmla="*/ 0 h 132"/>
              <a:gd name="T8" fmla="*/ 0 w 164"/>
              <a:gd name="T9" fmla="*/ 0 h 132"/>
              <a:gd name="T10" fmla="*/ 0 w 164"/>
              <a:gd name="T11" fmla="*/ 0 h 132"/>
              <a:gd name="T12" fmla="*/ 0 w 164"/>
              <a:gd name="T13" fmla="*/ 0 h 132"/>
              <a:gd name="T14" fmla="*/ 0 w 164"/>
              <a:gd name="T15" fmla="*/ 0 h 132"/>
              <a:gd name="T16" fmla="*/ 0 w 164"/>
              <a:gd name="T17" fmla="*/ 0 h 132"/>
              <a:gd name="T18" fmla="*/ 0 w 164"/>
              <a:gd name="T19" fmla="*/ 0 h 132"/>
              <a:gd name="T20" fmla="*/ 0 w 164"/>
              <a:gd name="T21" fmla="*/ 0 h 132"/>
              <a:gd name="T22" fmla="*/ 0 w 164"/>
              <a:gd name="T23" fmla="*/ 0 h 132"/>
              <a:gd name="T24" fmla="*/ 0 w 164"/>
              <a:gd name="T25" fmla="*/ 0 h 132"/>
              <a:gd name="T26" fmla="*/ 0 w 164"/>
              <a:gd name="T27" fmla="*/ 0 h 132"/>
              <a:gd name="T28" fmla="*/ 0 w 164"/>
              <a:gd name="T29" fmla="*/ 0 h 132"/>
              <a:gd name="T30" fmla="*/ 0 w 164"/>
              <a:gd name="T31" fmla="*/ 0 h 132"/>
              <a:gd name="T32" fmla="*/ 0 w 164"/>
              <a:gd name="T33" fmla="*/ 0 h 132"/>
              <a:gd name="T34" fmla="*/ 0 w 164"/>
              <a:gd name="T35" fmla="*/ 0 h 132"/>
              <a:gd name="T36" fmla="*/ 0 w 164"/>
              <a:gd name="T37" fmla="*/ 0 h 132"/>
              <a:gd name="T38" fmla="*/ 0 w 164"/>
              <a:gd name="T39" fmla="*/ 0 h 132"/>
              <a:gd name="T40" fmla="*/ 0 w 164"/>
              <a:gd name="T41" fmla="*/ 0 h 132"/>
              <a:gd name="T42" fmla="*/ 0 w 164"/>
              <a:gd name="T43" fmla="*/ 0 h 132"/>
              <a:gd name="T44" fmla="*/ 0 w 164"/>
              <a:gd name="T45" fmla="*/ 0 h 132"/>
              <a:gd name="T46" fmla="*/ 0 w 164"/>
              <a:gd name="T47" fmla="*/ 0 h 132"/>
              <a:gd name="T48" fmla="*/ 0 w 164"/>
              <a:gd name="T49" fmla="*/ 0 h 132"/>
              <a:gd name="T50" fmla="*/ 0 w 164"/>
              <a:gd name="T51" fmla="*/ 0 h 132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w 164"/>
              <a:gd name="T79" fmla="*/ 0 h 132"/>
              <a:gd name="T80" fmla="*/ 164 w 164"/>
              <a:gd name="T81" fmla="*/ 132 h 132"/>
            </a:gdLst>
            <a:ahLst/>
            <a:cxnLst>
              <a:cxn ang="T52">
                <a:pos x="T0" y="T1"/>
              </a:cxn>
              <a:cxn ang="T53">
                <a:pos x="T2" y="T3"/>
              </a:cxn>
              <a:cxn ang="T54">
                <a:pos x="T4" y="T5"/>
              </a:cxn>
              <a:cxn ang="T55">
                <a:pos x="T6" y="T7"/>
              </a:cxn>
              <a:cxn ang="T56">
                <a:pos x="T8" y="T9"/>
              </a:cxn>
              <a:cxn ang="T57">
                <a:pos x="T10" y="T11"/>
              </a:cxn>
              <a:cxn ang="T58">
                <a:pos x="T12" y="T13"/>
              </a:cxn>
              <a:cxn ang="T59">
                <a:pos x="T14" y="T15"/>
              </a:cxn>
              <a:cxn ang="T60">
                <a:pos x="T16" y="T17"/>
              </a:cxn>
              <a:cxn ang="T61">
                <a:pos x="T18" y="T19"/>
              </a:cxn>
              <a:cxn ang="T62">
                <a:pos x="T20" y="T21"/>
              </a:cxn>
              <a:cxn ang="T63">
                <a:pos x="T22" y="T23"/>
              </a:cxn>
              <a:cxn ang="T64">
                <a:pos x="T24" y="T25"/>
              </a:cxn>
              <a:cxn ang="T65">
                <a:pos x="T26" y="T27"/>
              </a:cxn>
              <a:cxn ang="T66">
                <a:pos x="T28" y="T29"/>
              </a:cxn>
              <a:cxn ang="T67">
                <a:pos x="T30" y="T31"/>
              </a:cxn>
              <a:cxn ang="T68">
                <a:pos x="T32" y="T33"/>
              </a:cxn>
              <a:cxn ang="T69">
                <a:pos x="T34" y="T35"/>
              </a:cxn>
              <a:cxn ang="T70">
                <a:pos x="T36" y="T37"/>
              </a:cxn>
              <a:cxn ang="T71">
                <a:pos x="T38" y="T39"/>
              </a:cxn>
              <a:cxn ang="T72">
                <a:pos x="T40" y="T41"/>
              </a:cxn>
              <a:cxn ang="T73">
                <a:pos x="T42" y="T43"/>
              </a:cxn>
              <a:cxn ang="T74">
                <a:pos x="T44" y="T45"/>
              </a:cxn>
              <a:cxn ang="T75">
                <a:pos x="T46" y="T47"/>
              </a:cxn>
              <a:cxn ang="T76">
                <a:pos x="T48" y="T49"/>
              </a:cxn>
              <a:cxn ang="T77">
                <a:pos x="T50" y="T51"/>
              </a:cxn>
            </a:cxnLst>
            <a:rect l="T78" t="T79" r="T80" b="T81"/>
            <a:pathLst>
              <a:path w="164" h="132">
                <a:moveTo>
                  <a:pt x="102" y="129"/>
                </a:moveTo>
                <a:lnTo>
                  <a:pt x="137" y="110"/>
                </a:lnTo>
                <a:lnTo>
                  <a:pt x="159" y="83"/>
                </a:lnTo>
                <a:lnTo>
                  <a:pt x="164" y="69"/>
                </a:lnTo>
                <a:lnTo>
                  <a:pt x="141" y="48"/>
                </a:lnTo>
                <a:lnTo>
                  <a:pt x="122" y="35"/>
                </a:lnTo>
                <a:lnTo>
                  <a:pt x="102" y="30"/>
                </a:lnTo>
                <a:lnTo>
                  <a:pt x="89" y="30"/>
                </a:lnTo>
                <a:lnTo>
                  <a:pt x="81" y="12"/>
                </a:lnTo>
                <a:lnTo>
                  <a:pt x="66" y="12"/>
                </a:lnTo>
                <a:lnTo>
                  <a:pt x="44" y="2"/>
                </a:lnTo>
                <a:lnTo>
                  <a:pt x="29" y="2"/>
                </a:lnTo>
                <a:lnTo>
                  <a:pt x="12" y="2"/>
                </a:lnTo>
                <a:lnTo>
                  <a:pt x="0" y="0"/>
                </a:lnTo>
                <a:lnTo>
                  <a:pt x="3" y="26"/>
                </a:lnTo>
                <a:lnTo>
                  <a:pt x="14" y="39"/>
                </a:lnTo>
                <a:lnTo>
                  <a:pt x="20" y="47"/>
                </a:lnTo>
                <a:lnTo>
                  <a:pt x="12" y="65"/>
                </a:lnTo>
                <a:lnTo>
                  <a:pt x="27" y="84"/>
                </a:lnTo>
                <a:lnTo>
                  <a:pt x="54" y="84"/>
                </a:lnTo>
                <a:lnTo>
                  <a:pt x="72" y="104"/>
                </a:lnTo>
                <a:lnTo>
                  <a:pt x="59" y="102"/>
                </a:lnTo>
                <a:lnTo>
                  <a:pt x="44" y="104"/>
                </a:lnTo>
                <a:lnTo>
                  <a:pt x="45" y="123"/>
                </a:lnTo>
                <a:lnTo>
                  <a:pt x="75" y="132"/>
                </a:lnTo>
                <a:lnTo>
                  <a:pt x="102" y="129"/>
                </a:lnTo>
                <a:close/>
              </a:path>
            </a:pathLst>
          </a:custGeom>
          <a:solidFill>
            <a:srgbClr val="70B0DF"/>
          </a:solidFill>
          <a:ln w="9525">
            <a:noFill/>
            <a:round/>
            <a:headEnd/>
            <a:tailEnd/>
          </a:ln>
        </p:spPr>
        <p:txBody>
          <a:bodyPr wrap="none" lIns="32632" tIns="32632" rIns="32632" bIns="32632" anchor="ctr"/>
          <a:lstStyle/>
          <a:p>
            <a:pPr defTabSz="891045"/>
            <a:endParaRPr lang="en-US" sz="1700" dirty="0">
              <a:solidFill>
                <a:srgbClr val="003149"/>
              </a:solidFill>
              <a:cs typeface="Arial" panose="020B0604020202020204" pitchFamily="34" charset="0"/>
            </a:endParaRPr>
          </a:p>
        </p:txBody>
      </p:sp>
      <p:sp>
        <p:nvSpPr>
          <p:cNvPr id="146" name="Freeform 488"/>
          <p:cNvSpPr>
            <a:spLocks noChangeAspect="1"/>
          </p:cNvSpPr>
          <p:nvPr/>
        </p:nvSpPr>
        <p:spPr bwMode="gray">
          <a:xfrm>
            <a:off x="4403167" y="2675665"/>
            <a:ext cx="24169" cy="31566"/>
          </a:xfrm>
          <a:custGeom>
            <a:avLst/>
            <a:gdLst>
              <a:gd name="T0" fmla="*/ 0 w 74"/>
              <a:gd name="T1" fmla="*/ 0 h 85"/>
              <a:gd name="T2" fmla="*/ 0 w 74"/>
              <a:gd name="T3" fmla="*/ 0 h 85"/>
              <a:gd name="T4" fmla="*/ 0 w 74"/>
              <a:gd name="T5" fmla="*/ 0 h 85"/>
              <a:gd name="T6" fmla="*/ 0 w 74"/>
              <a:gd name="T7" fmla="*/ 0 h 85"/>
              <a:gd name="T8" fmla="*/ 0 w 74"/>
              <a:gd name="T9" fmla="*/ 0 h 85"/>
              <a:gd name="T10" fmla="*/ 0 w 74"/>
              <a:gd name="T11" fmla="*/ 0 h 85"/>
              <a:gd name="T12" fmla="*/ 0 w 74"/>
              <a:gd name="T13" fmla="*/ 0 h 85"/>
              <a:gd name="T14" fmla="*/ 0 w 74"/>
              <a:gd name="T15" fmla="*/ 0 h 85"/>
              <a:gd name="T16" fmla="*/ 0 w 74"/>
              <a:gd name="T17" fmla="*/ 0 h 85"/>
              <a:gd name="T18" fmla="*/ 0 w 74"/>
              <a:gd name="T19" fmla="*/ 0 h 85"/>
              <a:gd name="T20" fmla="*/ 0 w 74"/>
              <a:gd name="T21" fmla="*/ 0 h 85"/>
              <a:gd name="T22" fmla="*/ 0 w 74"/>
              <a:gd name="T23" fmla="*/ 0 h 85"/>
              <a:gd name="T24" fmla="*/ 0 w 74"/>
              <a:gd name="T25" fmla="*/ 0 h 85"/>
              <a:gd name="T26" fmla="*/ 0 w 74"/>
              <a:gd name="T27" fmla="*/ 0 h 85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w 74"/>
              <a:gd name="T43" fmla="*/ 0 h 85"/>
              <a:gd name="T44" fmla="*/ 74 w 74"/>
              <a:gd name="T45" fmla="*/ 85 h 85"/>
            </a:gdLst>
            <a:ahLst/>
            <a:cxnLst>
              <a:cxn ang="T28">
                <a:pos x="T0" y="T1"/>
              </a:cxn>
              <a:cxn ang="T29">
                <a:pos x="T2" y="T3"/>
              </a:cxn>
              <a:cxn ang="T30">
                <a:pos x="T4" y="T5"/>
              </a:cxn>
              <a:cxn ang="T31">
                <a:pos x="T6" y="T7"/>
              </a:cxn>
              <a:cxn ang="T32">
                <a:pos x="T8" y="T9"/>
              </a:cxn>
              <a:cxn ang="T33">
                <a:pos x="T10" y="T11"/>
              </a:cxn>
              <a:cxn ang="T34">
                <a:pos x="T12" y="T13"/>
              </a:cxn>
              <a:cxn ang="T35">
                <a:pos x="T14" y="T15"/>
              </a:cxn>
              <a:cxn ang="T36">
                <a:pos x="T16" y="T17"/>
              </a:cxn>
              <a:cxn ang="T37">
                <a:pos x="T18" y="T19"/>
              </a:cxn>
              <a:cxn ang="T38">
                <a:pos x="T20" y="T21"/>
              </a:cxn>
              <a:cxn ang="T39">
                <a:pos x="T22" y="T23"/>
              </a:cxn>
              <a:cxn ang="T40">
                <a:pos x="T24" y="T25"/>
              </a:cxn>
              <a:cxn ang="T41">
                <a:pos x="T26" y="T27"/>
              </a:cxn>
            </a:cxnLst>
            <a:rect l="T42" t="T43" r="T44" b="T45"/>
            <a:pathLst>
              <a:path w="74" h="85">
                <a:moveTo>
                  <a:pt x="59" y="85"/>
                </a:moveTo>
                <a:lnTo>
                  <a:pt x="56" y="64"/>
                </a:lnTo>
                <a:lnTo>
                  <a:pt x="66" y="52"/>
                </a:lnTo>
                <a:lnTo>
                  <a:pt x="74" y="39"/>
                </a:lnTo>
                <a:lnTo>
                  <a:pt x="69" y="21"/>
                </a:lnTo>
                <a:lnTo>
                  <a:pt x="65" y="7"/>
                </a:lnTo>
                <a:lnTo>
                  <a:pt x="53" y="0"/>
                </a:lnTo>
                <a:lnTo>
                  <a:pt x="38" y="13"/>
                </a:lnTo>
                <a:lnTo>
                  <a:pt x="21" y="22"/>
                </a:lnTo>
                <a:lnTo>
                  <a:pt x="3" y="33"/>
                </a:lnTo>
                <a:lnTo>
                  <a:pt x="0" y="54"/>
                </a:lnTo>
                <a:lnTo>
                  <a:pt x="23" y="72"/>
                </a:lnTo>
                <a:lnTo>
                  <a:pt x="47" y="85"/>
                </a:lnTo>
                <a:lnTo>
                  <a:pt x="59" y="85"/>
                </a:lnTo>
                <a:close/>
              </a:path>
            </a:pathLst>
          </a:custGeom>
          <a:solidFill>
            <a:srgbClr val="70B0DF"/>
          </a:solidFill>
          <a:ln w="9525">
            <a:noFill/>
            <a:round/>
            <a:headEnd/>
            <a:tailEnd/>
          </a:ln>
        </p:spPr>
        <p:txBody>
          <a:bodyPr wrap="none" lIns="32632" tIns="32632" rIns="32632" bIns="32632" anchor="ctr"/>
          <a:lstStyle/>
          <a:p>
            <a:pPr defTabSz="891045"/>
            <a:endParaRPr lang="en-US" sz="1700" dirty="0">
              <a:solidFill>
                <a:srgbClr val="003149"/>
              </a:solidFill>
              <a:cs typeface="Arial" panose="020B0604020202020204" pitchFamily="34" charset="0"/>
            </a:endParaRPr>
          </a:p>
        </p:txBody>
      </p:sp>
      <p:sp>
        <p:nvSpPr>
          <p:cNvPr id="147" name="Freeform 552"/>
          <p:cNvSpPr>
            <a:spLocks noChangeAspect="1"/>
          </p:cNvSpPr>
          <p:nvPr/>
        </p:nvSpPr>
        <p:spPr bwMode="gray">
          <a:xfrm>
            <a:off x="5030116" y="2652711"/>
            <a:ext cx="41229" cy="37306"/>
          </a:xfrm>
          <a:custGeom>
            <a:avLst/>
            <a:gdLst>
              <a:gd name="T0" fmla="*/ 635479506 w 98"/>
              <a:gd name="T1" fmla="*/ 725123888 h 77"/>
              <a:gd name="T2" fmla="*/ 635479506 w 98"/>
              <a:gd name="T3" fmla="*/ 725123888 h 77"/>
              <a:gd name="T4" fmla="*/ 635479506 w 98"/>
              <a:gd name="T5" fmla="*/ 725123888 h 77"/>
              <a:gd name="T6" fmla="*/ 635479506 w 98"/>
              <a:gd name="T7" fmla="*/ 0 h 77"/>
              <a:gd name="T8" fmla="*/ 635479506 w 98"/>
              <a:gd name="T9" fmla="*/ 0 h 77"/>
              <a:gd name="T10" fmla="*/ 635479506 w 98"/>
              <a:gd name="T11" fmla="*/ 725123888 h 77"/>
              <a:gd name="T12" fmla="*/ 635479506 w 98"/>
              <a:gd name="T13" fmla="*/ 725123888 h 77"/>
              <a:gd name="T14" fmla="*/ 635479506 w 98"/>
              <a:gd name="T15" fmla="*/ 725123888 h 77"/>
              <a:gd name="T16" fmla="*/ 635479506 w 98"/>
              <a:gd name="T17" fmla="*/ 725123888 h 77"/>
              <a:gd name="T18" fmla="*/ 635479506 w 98"/>
              <a:gd name="T19" fmla="*/ 725123888 h 77"/>
              <a:gd name="T20" fmla="*/ 635479506 w 98"/>
              <a:gd name="T21" fmla="*/ 725123888 h 77"/>
              <a:gd name="T22" fmla="*/ 0 w 98"/>
              <a:gd name="T23" fmla="*/ 725123888 h 77"/>
              <a:gd name="T24" fmla="*/ 0 w 98"/>
              <a:gd name="T25" fmla="*/ 725123888 h 77"/>
              <a:gd name="T26" fmla="*/ 0 w 98"/>
              <a:gd name="T27" fmla="*/ 725123888 h 77"/>
              <a:gd name="T28" fmla="*/ 0 w 98"/>
              <a:gd name="T29" fmla="*/ 725123888 h 77"/>
              <a:gd name="T30" fmla="*/ 0 w 98"/>
              <a:gd name="T31" fmla="*/ 725123888 h 77"/>
              <a:gd name="T32" fmla="*/ 0 w 98"/>
              <a:gd name="T33" fmla="*/ 725123888 h 77"/>
              <a:gd name="T34" fmla="*/ 0 w 98"/>
              <a:gd name="T35" fmla="*/ 725123888 h 77"/>
              <a:gd name="T36" fmla="*/ 635479506 w 98"/>
              <a:gd name="T37" fmla="*/ 725123888 h 77"/>
              <a:gd name="T38" fmla="*/ 635479506 w 98"/>
              <a:gd name="T39" fmla="*/ 725123888 h 77"/>
              <a:gd name="T40" fmla="*/ 635479506 w 98"/>
              <a:gd name="T41" fmla="*/ 725123888 h 77"/>
              <a:gd name="T42" fmla="*/ 635479506 w 98"/>
              <a:gd name="T43" fmla="*/ 725123888 h 77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w 98"/>
              <a:gd name="T67" fmla="*/ 0 h 77"/>
              <a:gd name="T68" fmla="*/ 98 w 98"/>
              <a:gd name="T69" fmla="*/ 77 h 77"/>
            </a:gdLst>
            <a:ahLst/>
            <a:cxnLst>
              <a:cxn ang="T44">
                <a:pos x="T0" y="T1"/>
              </a:cxn>
              <a:cxn ang="T45">
                <a:pos x="T2" y="T3"/>
              </a:cxn>
              <a:cxn ang="T46">
                <a:pos x="T4" y="T5"/>
              </a:cxn>
              <a:cxn ang="T47">
                <a:pos x="T6" y="T7"/>
              </a:cxn>
              <a:cxn ang="T48">
                <a:pos x="T8" y="T9"/>
              </a:cxn>
              <a:cxn ang="T49">
                <a:pos x="T10" y="T11"/>
              </a:cxn>
              <a:cxn ang="T50">
                <a:pos x="T12" y="T13"/>
              </a:cxn>
              <a:cxn ang="T51">
                <a:pos x="T14" y="T15"/>
              </a:cxn>
              <a:cxn ang="T52">
                <a:pos x="T16" y="T17"/>
              </a:cxn>
              <a:cxn ang="T53">
                <a:pos x="T18" y="T19"/>
              </a:cxn>
              <a:cxn ang="T54">
                <a:pos x="T20" y="T21"/>
              </a:cxn>
              <a:cxn ang="T55">
                <a:pos x="T22" y="T23"/>
              </a:cxn>
              <a:cxn ang="T56">
                <a:pos x="T24" y="T25"/>
              </a:cxn>
              <a:cxn ang="T57">
                <a:pos x="T26" y="T27"/>
              </a:cxn>
              <a:cxn ang="T58">
                <a:pos x="T28" y="T29"/>
              </a:cxn>
              <a:cxn ang="T59">
                <a:pos x="T30" y="T31"/>
              </a:cxn>
              <a:cxn ang="T60">
                <a:pos x="T32" y="T33"/>
              </a:cxn>
              <a:cxn ang="T61">
                <a:pos x="T34" y="T35"/>
              </a:cxn>
              <a:cxn ang="T62">
                <a:pos x="T36" y="T37"/>
              </a:cxn>
              <a:cxn ang="T63">
                <a:pos x="T38" y="T39"/>
              </a:cxn>
              <a:cxn ang="T64">
                <a:pos x="T40" y="T41"/>
              </a:cxn>
              <a:cxn ang="T65">
                <a:pos x="T42" y="T43"/>
              </a:cxn>
            </a:cxnLst>
            <a:rect l="T66" t="T67" r="T68" b="T69"/>
            <a:pathLst>
              <a:path w="98" h="77">
                <a:moveTo>
                  <a:pt x="65" y="42"/>
                </a:moveTo>
                <a:lnTo>
                  <a:pt x="86" y="22"/>
                </a:lnTo>
                <a:lnTo>
                  <a:pt x="89" y="12"/>
                </a:lnTo>
                <a:lnTo>
                  <a:pt x="98" y="3"/>
                </a:lnTo>
                <a:lnTo>
                  <a:pt x="83" y="0"/>
                </a:lnTo>
                <a:lnTo>
                  <a:pt x="69" y="5"/>
                </a:lnTo>
                <a:lnTo>
                  <a:pt x="68" y="15"/>
                </a:lnTo>
                <a:lnTo>
                  <a:pt x="60" y="23"/>
                </a:lnTo>
                <a:lnTo>
                  <a:pt x="45" y="15"/>
                </a:lnTo>
                <a:lnTo>
                  <a:pt x="34" y="12"/>
                </a:lnTo>
                <a:lnTo>
                  <a:pt x="23" y="17"/>
                </a:lnTo>
                <a:lnTo>
                  <a:pt x="15" y="24"/>
                </a:lnTo>
                <a:lnTo>
                  <a:pt x="12" y="38"/>
                </a:lnTo>
                <a:lnTo>
                  <a:pt x="5" y="44"/>
                </a:lnTo>
                <a:lnTo>
                  <a:pt x="0" y="57"/>
                </a:lnTo>
                <a:lnTo>
                  <a:pt x="7" y="59"/>
                </a:lnTo>
                <a:lnTo>
                  <a:pt x="9" y="69"/>
                </a:lnTo>
                <a:lnTo>
                  <a:pt x="19" y="77"/>
                </a:lnTo>
                <a:lnTo>
                  <a:pt x="26" y="63"/>
                </a:lnTo>
                <a:lnTo>
                  <a:pt x="43" y="63"/>
                </a:lnTo>
                <a:lnTo>
                  <a:pt x="53" y="53"/>
                </a:lnTo>
                <a:lnTo>
                  <a:pt x="65" y="42"/>
                </a:lnTo>
                <a:close/>
              </a:path>
            </a:pathLst>
          </a:custGeom>
          <a:solidFill>
            <a:srgbClr val="70B0DF"/>
          </a:solidFill>
          <a:ln w="9525">
            <a:noFill/>
            <a:round/>
            <a:headEnd/>
            <a:tailEnd/>
          </a:ln>
        </p:spPr>
        <p:txBody>
          <a:bodyPr wrap="none" lIns="32632" tIns="32632" rIns="32632" bIns="32632" anchor="ctr"/>
          <a:lstStyle/>
          <a:p>
            <a:pPr defTabSz="891045"/>
            <a:endParaRPr lang="en-US" sz="1700" dirty="0">
              <a:solidFill>
                <a:srgbClr val="003149"/>
              </a:solidFill>
              <a:cs typeface="Arial" panose="020B0604020202020204" pitchFamily="34" charset="0"/>
            </a:endParaRPr>
          </a:p>
        </p:txBody>
      </p:sp>
      <p:sp>
        <p:nvSpPr>
          <p:cNvPr id="148" name="Freeform 566"/>
          <p:cNvSpPr>
            <a:spLocks noChangeAspect="1"/>
          </p:cNvSpPr>
          <p:nvPr/>
        </p:nvSpPr>
        <p:spPr bwMode="gray">
          <a:xfrm>
            <a:off x="4043488" y="3007134"/>
            <a:ext cx="12795" cy="21523"/>
          </a:xfrm>
          <a:custGeom>
            <a:avLst/>
            <a:gdLst>
              <a:gd name="T0" fmla="*/ 0 w 45"/>
              <a:gd name="T1" fmla="*/ 0 h 63"/>
              <a:gd name="T2" fmla="*/ 0 w 45"/>
              <a:gd name="T3" fmla="*/ 0 h 63"/>
              <a:gd name="T4" fmla="*/ 0 w 45"/>
              <a:gd name="T5" fmla="*/ 0 h 63"/>
              <a:gd name="T6" fmla="*/ 0 w 45"/>
              <a:gd name="T7" fmla="*/ 0 h 63"/>
              <a:gd name="T8" fmla="*/ 0 w 45"/>
              <a:gd name="T9" fmla="*/ 0 h 63"/>
              <a:gd name="T10" fmla="*/ 0 w 45"/>
              <a:gd name="T11" fmla="*/ 0 h 63"/>
              <a:gd name="T12" fmla="*/ 0 w 45"/>
              <a:gd name="T13" fmla="*/ 0 h 63"/>
              <a:gd name="T14" fmla="*/ 0 w 45"/>
              <a:gd name="T15" fmla="*/ 0 h 63"/>
              <a:gd name="T16" fmla="*/ 0 w 45"/>
              <a:gd name="T17" fmla="*/ 0 h 63"/>
              <a:gd name="T18" fmla="*/ 0 w 45"/>
              <a:gd name="T19" fmla="*/ 0 h 63"/>
              <a:gd name="T20" fmla="*/ 0 w 45"/>
              <a:gd name="T21" fmla="*/ 0 h 63"/>
              <a:gd name="T22" fmla="*/ 0 w 45"/>
              <a:gd name="T23" fmla="*/ 0 h 63"/>
              <a:gd name="T24" fmla="*/ 0 w 45"/>
              <a:gd name="T25" fmla="*/ 0 h 63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w 45"/>
              <a:gd name="T40" fmla="*/ 0 h 63"/>
              <a:gd name="T41" fmla="*/ 45 w 45"/>
              <a:gd name="T42" fmla="*/ 63 h 63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T39" t="T40" r="T41" b="T42"/>
            <a:pathLst>
              <a:path w="45" h="63">
                <a:moveTo>
                  <a:pt x="35" y="54"/>
                </a:moveTo>
                <a:lnTo>
                  <a:pt x="41" y="45"/>
                </a:lnTo>
                <a:lnTo>
                  <a:pt x="45" y="30"/>
                </a:lnTo>
                <a:lnTo>
                  <a:pt x="39" y="18"/>
                </a:lnTo>
                <a:lnTo>
                  <a:pt x="30" y="2"/>
                </a:lnTo>
                <a:lnTo>
                  <a:pt x="20" y="8"/>
                </a:lnTo>
                <a:lnTo>
                  <a:pt x="12" y="0"/>
                </a:lnTo>
                <a:lnTo>
                  <a:pt x="3" y="5"/>
                </a:lnTo>
                <a:lnTo>
                  <a:pt x="0" y="30"/>
                </a:lnTo>
                <a:lnTo>
                  <a:pt x="11" y="47"/>
                </a:lnTo>
                <a:lnTo>
                  <a:pt x="21" y="63"/>
                </a:lnTo>
                <a:lnTo>
                  <a:pt x="21" y="48"/>
                </a:lnTo>
                <a:lnTo>
                  <a:pt x="35" y="54"/>
                </a:lnTo>
                <a:close/>
              </a:path>
            </a:pathLst>
          </a:custGeom>
          <a:solidFill>
            <a:srgbClr val="D5DE94"/>
          </a:solidFill>
          <a:ln w="9525">
            <a:noFill/>
            <a:round/>
            <a:headEnd/>
            <a:tailEnd/>
          </a:ln>
        </p:spPr>
        <p:txBody>
          <a:bodyPr wrap="none" lIns="32632" tIns="32632" rIns="32632" bIns="32632" anchor="ctr"/>
          <a:lstStyle/>
          <a:p>
            <a:pPr defTabSz="891045"/>
            <a:endParaRPr lang="en-US" sz="1700" dirty="0">
              <a:solidFill>
                <a:srgbClr val="003149"/>
              </a:solidFill>
              <a:cs typeface="Arial" panose="020B0604020202020204" pitchFamily="34" charset="0"/>
            </a:endParaRPr>
          </a:p>
        </p:txBody>
      </p:sp>
      <p:sp>
        <p:nvSpPr>
          <p:cNvPr id="149" name="Freeform 567"/>
          <p:cNvSpPr>
            <a:spLocks noChangeAspect="1"/>
          </p:cNvSpPr>
          <p:nvPr/>
        </p:nvSpPr>
        <p:spPr bwMode="gray">
          <a:xfrm>
            <a:off x="4356232" y="2700080"/>
            <a:ext cx="31277" cy="21523"/>
          </a:xfrm>
          <a:custGeom>
            <a:avLst/>
            <a:gdLst>
              <a:gd name="T0" fmla="*/ 0 w 108"/>
              <a:gd name="T1" fmla="*/ 0 h 63"/>
              <a:gd name="T2" fmla="*/ 0 w 108"/>
              <a:gd name="T3" fmla="*/ 0 h 63"/>
              <a:gd name="T4" fmla="*/ 0 w 108"/>
              <a:gd name="T5" fmla="*/ 0 h 63"/>
              <a:gd name="T6" fmla="*/ 0 w 108"/>
              <a:gd name="T7" fmla="*/ 0 h 63"/>
              <a:gd name="T8" fmla="*/ 0 w 108"/>
              <a:gd name="T9" fmla="*/ 0 h 63"/>
              <a:gd name="T10" fmla="*/ 0 w 108"/>
              <a:gd name="T11" fmla="*/ 0 h 63"/>
              <a:gd name="T12" fmla="*/ 0 w 108"/>
              <a:gd name="T13" fmla="*/ 0 h 63"/>
              <a:gd name="T14" fmla="*/ 0 w 108"/>
              <a:gd name="T15" fmla="*/ 0 h 63"/>
              <a:gd name="T16" fmla="*/ 0 w 108"/>
              <a:gd name="T17" fmla="*/ 0 h 63"/>
              <a:gd name="T18" fmla="*/ 0 w 108"/>
              <a:gd name="T19" fmla="*/ 0 h 63"/>
              <a:gd name="T20" fmla="*/ 0 w 108"/>
              <a:gd name="T21" fmla="*/ 0 h 63"/>
              <a:gd name="T22" fmla="*/ 0 w 108"/>
              <a:gd name="T23" fmla="*/ 0 h 63"/>
              <a:gd name="T24" fmla="*/ 0 w 108"/>
              <a:gd name="T25" fmla="*/ 0 h 63"/>
              <a:gd name="T26" fmla="*/ 0 w 108"/>
              <a:gd name="T27" fmla="*/ 0 h 63"/>
              <a:gd name="T28" fmla="*/ 0 w 108"/>
              <a:gd name="T29" fmla="*/ 0 h 63"/>
              <a:gd name="T30" fmla="*/ 0 w 108"/>
              <a:gd name="T31" fmla="*/ 0 h 63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w 108"/>
              <a:gd name="T49" fmla="*/ 0 h 63"/>
              <a:gd name="T50" fmla="*/ 108 w 108"/>
              <a:gd name="T51" fmla="*/ 63 h 63"/>
            </a:gdLst>
            <a:ahLst/>
            <a:cxnLst>
              <a:cxn ang="T32">
                <a:pos x="T0" y="T1"/>
              </a:cxn>
              <a:cxn ang="T33">
                <a:pos x="T2" y="T3"/>
              </a:cxn>
              <a:cxn ang="T34">
                <a:pos x="T4" y="T5"/>
              </a:cxn>
              <a:cxn ang="T35">
                <a:pos x="T6" y="T7"/>
              </a:cxn>
              <a:cxn ang="T36">
                <a:pos x="T8" y="T9"/>
              </a:cxn>
              <a:cxn ang="T37">
                <a:pos x="T10" y="T11"/>
              </a:cxn>
              <a:cxn ang="T38">
                <a:pos x="T12" y="T13"/>
              </a:cxn>
              <a:cxn ang="T39">
                <a:pos x="T14" y="T15"/>
              </a:cxn>
              <a:cxn ang="T40">
                <a:pos x="T16" y="T17"/>
              </a:cxn>
              <a:cxn ang="T41">
                <a:pos x="T18" y="T19"/>
              </a:cxn>
              <a:cxn ang="T42">
                <a:pos x="T20" y="T21"/>
              </a:cxn>
              <a:cxn ang="T43">
                <a:pos x="T22" y="T23"/>
              </a:cxn>
              <a:cxn ang="T44">
                <a:pos x="T24" y="T25"/>
              </a:cxn>
              <a:cxn ang="T45">
                <a:pos x="T26" y="T27"/>
              </a:cxn>
              <a:cxn ang="T46">
                <a:pos x="T28" y="T29"/>
              </a:cxn>
              <a:cxn ang="T47">
                <a:pos x="T30" y="T31"/>
              </a:cxn>
            </a:cxnLst>
            <a:rect l="T48" t="T49" r="T50" b="T51"/>
            <a:pathLst>
              <a:path w="108" h="63">
                <a:moveTo>
                  <a:pt x="70" y="55"/>
                </a:moveTo>
                <a:lnTo>
                  <a:pt x="79" y="46"/>
                </a:lnTo>
                <a:lnTo>
                  <a:pt x="108" y="42"/>
                </a:lnTo>
                <a:lnTo>
                  <a:pt x="108" y="19"/>
                </a:lnTo>
                <a:lnTo>
                  <a:pt x="100" y="12"/>
                </a:lnTo>
                <a:lnTo>
                  <a:pt x="87" y="9"/>
                </a:lnTo>
                <a:lnTo>
                  <a:pt x="78" y="0"/>
                </a:lnTo>
                <a:lnTo>
                  <a:pt x="60" y="0"/>
                </a:lnTo>
                <a:lnTo>
                  <a:pt x="39" y="10"/>
                </a:lnTo>
                <a:lnTo>
                  <a:pt x="30" y="22"/>
                </a:lnTo>
                <a:lnTo>
                  <a:pt x="15" y="33"/>
                </a:lnTo>
                <a:lnTo>
                  <a:pt x="3" y="33"/>
                </a:lnTo>
                <a:lnTo>
                  <a:pt x="0" y="49"/>
                </a:lnTo>
                <a:lnTo>
                  <a:pt x="21" y="61"/>
                </a:lnTo>
                <a:lnTo>
                  <a:pt x="42" y="63"/>
                </a:lnTo>
                <a:lnTo>
                  <a:pt x="70" y="55"/>
                </a:lnTo>
                <a:close/>
              </a:path>
            </a:pathLst>
          </a:custGeom>
          <a:solidFill>
            <a:srgbClr val="70B0DF"/>
          </a:solidFill>
          <a:ln w="9525">
            <a:noFill/>
            <a:round/>
            <a:headEnd/>
            <a:tailEnd/>
          </a:ln>
        </p:spPr>
        <p:txBody>
          <a:bodyPr wrap="none" lIns="32632" tIns="32632" rIns="32632" bIns="32632" anchor="ctr"/>
          <a:lstStyle/>
          <a:p>
            <a:pPr defTabSz="891045"/>
            <a:endParaRPr lang="en-US" sz="1700" dirty="0">
              <a:solidFill>
                <a:srgbClr val="003149"/>
              </a:solidFill>
              <a:cs typeface="Arial" panose="020B0604020202020204" pitchFamily="34" charset="0"/>
            </a:endParaRPr>
          </a:p>
        </p:txBody>
      </p:sp>
      <p:sp>
        <p:nvSpPr>
          <p:cNvPr id="150" name="Freeform 568"/>
          <p:cNvSpPr>
            <a:spLocks noChangeAspect="1"/>
          </p:cNvSpPr>
          <p:nvPr/>
        </p:nvSpPr>
        <p:spPr bwMode="gray">
          <a:xfrm>
            <a:off x="4315024" y="2641252"/>
            <a:ext cx="18481" cy="21523"/>
          </a:xfrm>
          <a:custGeom>
            <a:avLst/>
            <a:gdLst>
              <a:gd name="T0" fmla="*/ 0 w 59"/>
              <a:gd name="T1" fmla="*/ 0 h 59"/>
              <a:gd name="T2" fmla="*/ 0 w 59"/>
              <a:gd name="T3" fmla="*/ 0 h 59"/>
              <a:gd name="T4" fmla="*/ 0 w 59"/>
              <a:gd name="T5" fmla="*/ 0 h 59"/>
              <a:gd name="T6" fmla="*/ 0 w 59"/>
              <a:gd name="T7" fmla="*/ 0 h 59"/>
              <a:gd name="T8" fmla="*/ 0 w 59"/>
              <a:gd name="T9" fmla="*/ 0 h 59"/>
              <a:gd name="T10" fmla="*/ 0 w 59"/>
              <a:gd name="T11" fmla="*/ 0 h 59"/>
              <a:gd name="T12" fmla="*/ 0 w 59"/>
              <a:gd name="T13" fmla="*/ 0 h 59"/>
              <a:gd name="T14" fmla="*/ 0 w 59"/>
              <a:gd name="T15" fmla="*/ 0 h 59"/>
              <a:gd name="T16" fmla="*/ 0 w 59"/>
              <a:gd name="T17" fmla="*/ 0 h 59"/>
              <a:gd name="T18" fmla="*/ 0 w 59"/>
              <a:gd name="T19" fmla="*/ 0 h 59"/>
              <a:gd name="T20" fmla="*/ 0 w 59"/>
              <a:gd name="T21" fmla="*/ 0 h 59"/>
              <a:gd name="T22" fmla="*/ 0 w 59"/>
              <a:gd name="T23" fmla="*/ 0 h 59"/>
              <a:gd name="T24" fmla="*/ 0 w 59"/>
              <a:gd name="T25" fmla="*/ 0 h 59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w 59"/>
              <a:gd name="T40" fmla="*/ 0 h 59"/>
              <a:gd name="T41" fmla="*/ 59 w 59"/>
              <a:gd name="T42" fmla="*/ 59 h 59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T39" t="T40" r="T41" b="T42"/>
            <a:pathLst>
              <a:path w="59" h="59">
                <a:moveTo>
                  <a:pt x="30" y="59"/>
                </a:moveTo>
                <a:lnTo>
                  <a:pt x="26" y="47"/>
                </a:lnTo>
                <a:lnTo>
                  <a:pt x="38" y="41"/>
                </a:lnTo>
                <a:lnTo>
                  <a:pt x="48" y="29"/>
                </a:lnTo>
                <a:lnTo>
                  <a:pt x="59" y="18"/>
                </a:lnTo>
                <a:lnTo>
                  <a:pt x="45" y="9"/>
                </a:lnTo>
                <a:lnTo>
                  <a:pt x="35" y="2"/>
                </a:lnTo>
                <a:lnTo>
                  <a:pt x="17" y="0"/>
                </a:lnTo>
                <a:lnTo>
                  <a:pt x="8" y="8"/>
                </a:lnTo>
                <a:lnTo>
                  <a:pt x="0" y="30"/>
                </a:lnTo>
                <a:lnTo>
                  <a:pt x="8" y="48"/>
                </a:lnTo>
                <a:lnTo>
                  <a:pt x="15" y="59"/>
                </a:lnTo>
                <a:lnTo>
                  <a:pt x="30" y="59"/>
                </a:lnTo>
                <a:close/>
              </a:path>
            </a:pathLst>
          </a:custGeom>
          <a:solidFill>
            <a:srgbClr val="70B0DF"/>
          </a:solidFill>
          <a:ln w="9525">
            <a:noFill/>
            <a:round/>
            <a:headEnd/>
            <a:tailEnd/>
          </a:ln>
        </p:spPr>
        <p:txBody>
          <a:bodyPr wrap="none" lIns="32632" tIns="32632" rIns="32632" bIns="32632" anchor="ctr"/>
          <a:lstStyle/>
          <a:p>
            <a:pPr defTabSz="891045"/>
            <a:endParaRPr lang="en-US" sz="1700" dirty="0">
              <a:solidFill>
                <a:srgbClr val="003149"/>
              </a:solidFill>
              <a:cs typeface="Arial" panose="020B0604020202020204" pitchFamily="34" charset="0"/>
            </a:endParaRPr>
          </a:p>
        </p:txBody>
      </p:sp>
      <p:sp>
        <p:nvSpPr>
          <p:cNvPr id="151" name="Freeform 569"/>
          <p:cNvSpPr>
            <a:spLocks noChangeAspect="1"/>
          </p:cNvSpPr>
          <p:nvPr/>
        </p:nvSpPr>
        <p:spPr bwMode="gray">
          <a:xfrm>
            <a:off x="4236823" y="2586707"/>
            <a:ext cx="41229" cy="31566"/>
          </a:xfrm>
          <a:custGeom>
            <a:avLst/>
            <a:gdLst>
              <a:gd name="T0" fmla="*/ 0 w 126"/>
              <a:gd name="T1" fmla="*/ 0 h 90"/>
              <a:gd name="T2" fmla="*/ 0 w 126"/>
              <a:gd name="T3" fmla="*/ 0 h 90"/>
              <a:gd name="T4" fmla="*/ 0 w 126"/>
              <a:gd name="T5" fmla="*/ 0 h 90"/>
              <a:gd name="T6" fmla="*/ 0 w 126"/>
              <a:gd name="T7" fmla="*/ 0 h 90"/>
              <a:gd name="T8" fmla="*/ 0 w 126"/>
              <a:gd name="T9" fmla="*/ 0 h 90"/>
              <a:gd name="T10" fmla="*/ 0 w 126"/>
              <a:gd name="T11" fmla="*/ 0 h 90"/>
              <a:gd name="T12" fmla="*/ 0 w 126"/>
              <a:gd name="T13" fmla="*/ 0 h 90"/>
              <a:gd name="T14" fmla="*/ 0 w 126"/>
              <a:gd name="T15" fmla="*/ 0 h 90"/>
              <a:gd name="T16" fmla="*/ 0 w 126"/>
              <a:gd name="T17" fmla="*/ 0 h 90"/>
              <a:gd name="T18" fmla="*/ 0 w 126"/>
              <a:gd name="T19" fmla="*/ 0 h 90"/>
              <a:gd name="T20" fmla="*/ 0 w 126"/>
              <a:gd name="T21" fmla="*/ 0 h 90"/>
              <a:gd name="T22" fmla="*/ 0 w 126"/>
              <a:gd name="T23" fmla="*/ 0 h 90"/>
              <a:gd name="T24" fmla="*/ 0 w 126"/>
              <a:gd name="T25" fmla="*/ 0 h 90"/>
              <a:gd name="T26" fmla="*/ 0 w 126"/>
              <a:gd name="T27" fmla="*/ 0 h 90"/>
              <a:gd name="T28" fmla="*/ 0 w 126"/>
              <a:gd name="T29" fmla="*/ 0 h 90"/>
              <a:gd name="T30" fmla="*/ 0 w 126"/>
              <a:gd name="T31" fmla="*/ 0 h 90"/>
              <a:gd name="T32" fmla="*/ 0 w 126"/>
              <a:gd name="T33" fmla="*/ 0 h 90"/>
              <a:gd name="T34" fmla="*/ 0 w 126"/>
              <a:gd name="T35" fmla="*/ 0 h 90"/>
              <a:gd name="T36" fmla="*/ 0 w 126"/>
              <a:gd name="T37" fmla="*/ 0 h 90"/>
              <a:gd name="T38" fmla="*/ 0 w 126"/>
              <a:gd name="T39" fmla="*/ 0 h 90"/>
              <a:gd name="T40" fmla="*/ 0 w 126"/>
              <a:gd name="T41" fmla="*/ 0 h 90"/>
              <a:gd name="T42" fmla="*/ 0 w 126"/>
              <a:gd name="T43" fmla="*/ 0 h 90"/>
              <a:gd name="T44" fmla="*/ 0 w 126"/>
              <a:gd name="T45" fmla="*/ 0 h 90"/>
              <a:gd name="T46" fmla="*/ 0 w 126"/>
              <a:gd name="T47" fmla="*/ 0 h 90"/>
              <a:gd name="T48" fmla="*/ 0 w 126"/>
              <a:gd name="T49" fmla="*/ 0 h 90"/>
              <a:gd name="T50" fmla="*/ 0 w 126"/>
              <a:gd name="T51" fmla="*/ 0 h 90"/>
              <a:gd name="T52" fmla="*/ 0 w 126"/>
              <a:gd name="T53" fmla="*/ 0 h 90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w 126"/>
              <a:gd name="T82" fmla="*/ 0 h 90"/>
              <a:gd name="T83" fmla="*/ 126 w 126"/>
              <a:gd name="T84" fmla="*/ 90 h 90"/>
            </a:gdLst>
            <a:ahLst/>
            <a:cxnLst>
              <a:cxn ang="T54">
                <a:pos x="T0" y="T1"/>
              </a:cxn>
              <a:cxn ang="T55">
                <a:pos x="T2" y="T3"/>
              </a:cxn>
              <a:cxn ang="T56">
                <a:pos x="T4" y="T5"/>
              </a:cxn>
              <a:cxn ang="T57">
                <a:pos x="T6" y="T7"/>
              </a:cxn>
              <a:cxn ang="T58">
                <a:pos x="T8" y="T9"/>
              </a:cxn>
              <a:cxn ang="T59">
                <a:pos x="T10" y="T11"/>
              </a:cxn>
              <a:cxn ang="T60">
                <a:pos x="T12" y="T13"/>
              </a:cxn>
              <a:cxn ang="T61">
                <a:pos x="T14" y="T15"/>
              </a:cxn>
              <a:cxn ang="T62">
                <a:pos x="T16" y="T17"/>
              </a:cxn>
              <a:cxn ang="T63">
                <a:pos x="T18" y="T19"/>
              </a:cxn>
              <a:cxn ang="T64">
                <a:pos x="T20" y="T21"/>
              </a:cxn>
              <a:cxn ang="T65">
                <a:pos x="T22" y="T23"/>
              </a:cxn>
              <a:cxn ang="T66">
                <a:pos x="T24" y="T25"/>
              </a:cxn>
              <a:cxn ang="T67">
                <a:pos x="T26" y="T27"/>
              </a:cxn>
              <a:cxn ang="T68">
                <a:pos x="T28" y="T29"/>
              </a:cxn>
              <a:cxn ang="T69">
                <a:pos x="T30" y="T31"/>
              </a:cxn>
              <a:cxn ang="T70">
                <a:pos x="T32" y="T33"/>
              </a:cxn>
              <a:cxn ang="T71">
                <a:pos x="T34" y="T35"/>
              </a:cxn>
              <a:cxn ang="T72">
                <a:pos x="T36" y="T37"/>
              </a:cxn>
              <a:cxn ang="T73">
                <a:pos x="T38" y="T39"/>
              </a:cxn>
              <a:cxn ang="T74">
                <a:pos x="T40" y="T41"/>
              </a:cxn>
              <a:cxn ang="T75">
                <a:pos x="T42" y="T43"/>
              </a:cxn>
              <a:cxn ang="T76">
                <a:pos x="T44" y="T45"/>
              </a:cxn>
              <a:cxn ang="T77">
                <a:pos x="T46" y="T47"/>
              </a:cxn>
              <a:cxn ang="T78">
                <a:pos x="T48" y="T49"/>
              </a:cxn>
              <a:cxn ang="T79">
                <a:pos x="T50" y="T51"/>
              </a:cxn>
              <a:cxn ang="T80">
                <a:pos x="T52" y="T53"/>
              </a:cxn>
            </a:cxnLst>
            <a:rect l="T81" t="T82" r="T83" b="T84"/>
            <a:pathLst>
              <a:path w="126" h="90">
                <a:moveTo>
                  <a:pt x="9" y="77"/>
                </a:moveTo>
                <a:lnTo>
                  <a:pt x="23" y="74"/>
                </a:lnTo>
                <a:lnTo>
                  <a:pt x="33" y="87"/>
                </a:lnTo>
                <a:lnTo>
                  <a:pt x="54" y="78"/>
                </a:lnTo>
                <a:lnTo>
                  <a:pt x="68" y="83"/>
                </a:lnTo>
                <a:lnTo>
                  <a:pt x="81" y="90"/>
                </a:lnTo>
                <a:lnTo>
                  <a:pt x="120" y="86"/>
                </a:lnTo>
                <a:lnTo>
                  <a:pt x="125" y="75"/>
                </a:lnTo>
                <a:lnTo>
                  <a:pt x="126" y="56"/>
                </a:lnTo>
                <a:lnTo>
                  <a:pt x="122" y="50"/>
                </a:lnTo>
                <a:lnTo>
                  <a:pt x="110" y="51"/>
                </a:lnTo>
                <a:lnTo>
                  <a:pt x="98" y="57"/>
                </a:lnTo>
                <a:lnTo>
                  <a:pt x="84" y="48"/>
                </a:lnTo>
                <a:lnTo>
                  <a:pt x="104" y="41"/>
                </a:lnTo>
                <a:lnTo>
                  <a:pt x="110" y="33"/>
                </a:lnTo>
                <a:lnTo>
                  <a:pt x="122" y="26"/>
                </a:lnTo>
                <a:lnTo>
                  <a:pt x="108" y="11"/>
                </a:lnTo>
                <a:lnTo>
                  <a:pt x="99" y="6"/>
                </a:lnTo>
                <a:lnTo>
                  <a:pt x="80" y="8"/>
                </a:lnTo>
                <a:lnTo>
                  <a:pt x="74" y="0"/>
                </a:lnTo>
                <a:lnTo>
                  <a:pt x="63" y="0"/>
                </a:lnTo>
                <a:lnTo>
                  <a:pt x="38" y="2"/>
                </a:lnTo>
                <a:lnTo>
                  <a:pt x="29" y="18"/>
                </a:lnTo>
                <a:lnTo>
                  <a:pt x="27" y="38"/>
                </a:lnTo>
                <a:lnTo>
                  <a:pt x="11" y="50"/>
                </a:lnTo>
                <a:lnTo>
                  <a:pt x="0" y="60"/>
                </a:lnTo>
                <a:lnTo>
                  <a:pt x="9" y="77"/>
                </a:lnTo>
                <a:close/>
              </a:path>
            </a:pathLst>
          </a:custGeom>
          <a:solidFill>
            <a:srgbClr val="70B0DF"/>
          </a:solidFill>
          <a:ln w="9525">
            <a:noFill/>
            <a:round/>
            <a:headEnd/>
            <a:tailEnd/>
          </a:ln>
        </p:spPr>
        <p:txBody>
          <a:bodyPr wrap="none" lIns="32632" tIns="32632" rIns="32632" bIns="32632" anchor="ctr"/>
          <a:lstStyle/>
          <a:p>
            <a:pPr defTabSz="891045"/>
            <a:endParaRPr lang="en-US" sz="1700" dirty="0">
              <a:solidFill>
                <a:srgbClr val="003149"/>
              </a:solidFill>
              <a:cs typeface="Arial" panose="020B0604020202020204" pitchFamily="34" charset="0"/>
            </a:endParaRPr>
          </a:p>
        </p:txBody>
      </p:sp>
      <p:sp>
        <p:nvSpPr>
          <p:cNvPr id="152" name="Freeform 1040"/>
          <p:cNvSpPr>
            <a:spLocks noChangeAspect="1"/>
          </p:cNvSpPr>
          <p:nvPr>
            <p:custDataLst>
              <p:tags r:id="rId96"/>
            </p:custDataLst>
          </p:nvPr>
        </p:nvSpPr>
        <p:spPr bwMode="gray">
          <a:xfrm>
            <a:off x="6662179" y="1987188"/>
            <a:ext cx="8530" cy="5739"/>
          </a:xfrm>
          <a:custGeom>
            <a:avLst/>
            <a:gdLst>
              <a:gd name="T0" fmla="*/ 0 w 47"/>
              <a:gd name="T1" fmla="*/ 0 h 30"/>
              <a:gd name="T2" fmla="*/ 0 w 47"/>
              <a:gd name="T3" fmla="*/ 0 h 30"/>
              <a:gd name="T4" fmla="*/ 0 w 47"/>
              <a:gd name="T5" fmla="*/ 0 h 30"/>
              <a:gd name="T6" fmla="*/ 0 w 47"/>
              <a:gd name="T7" fmla="*/ 0 h 30"/>
              <a:gd name="T8" fmla="*/ 0 w 47"/>
              <a:gd name="T9" fmla="*/ 0 h 30"/>
              <a:gd name="T10" fmla="*/ 0 w 47"/>
              <a:gd name="T11" fmla="*/ 0 h 30"/>
              <a:gd name="T12" fmla="*/ 0 w 47"/>
              <a:gd name="T13" fmla="*/ 0 h 30"/>
              <a:gd name="T14" fmla="*/ 0 w 47"/>
              <a:gd name="T15" fmla="*/ 0 h 30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47"/>
              <a:gd name="T25" fmla="*/ 0 h 30"/>
              <a:gd name="T26" fmla="*/ 47 w 47"/>
              <a:gd name="T27" fmla="*/ 30 h 30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47" h="30">
                <a:moveTo>
                  <a:pt x="11" y="27"/>
                </a:moveTo>
                <a:lnTo>
                  <a:pt x="30" y="30"/>
                </a:lnTo>
                <a:lnTo>
                  <a:pt x="47" y="27"/>
                </a:lnTo>
                <a:lnTo>
                  <a:pt x="47" y="7"/>
                </a:lnTo>
                <a:lnTo>
                  <a:pt x="33" y="1"/>
                </a:lnTo>
                <a:lnTo>
                  <a:pt x="17" y="0"/>
                </a:lnTo>
                <a:lnTo>
                  <a:pt x="0" y="0"/>
                </a:lnTo>
                <a:lnTo>
                  <a:pt x="11" y="27"/>
                </a:lnTo>
                <a:close/>
              </a:path>
            </a:pathLst>
          </a:custGeom>
          <a:solidFill>
            <a:srgbClr val="70B0DF"/>
          </a:solidFill>
          <a:ln w="9525">
            <a:noFill/>
            <a:round/>
            <a:headEnd/>
            <a:tailEnd/>
          </a:ln>
        </p:spPr>
        <p:txBody>
          <a:bodyPr wrap="none" lIns="32632" tIns="32632" rIns="32632" bIns="32632" anchor="ctr"/>
          <a:lstStyle/>
          <a:p>
            <a:pPr defTabSz="891045"/>
            <a:endParaRPr lang="en-US" sz="1700" dirty="0">
              <a:solidFill>
                <a:srgbClr val="003149"/>
              </a:solidFill>
              <a:cs typeface="Arial" panose="020B0604020202020204" pitchFamily="34" charset="0"/>
            </a:endParaRPr>
          </a:p>
        </p:txBody>
      </p:sp>
      <p:sp>
        <p:nvSpPr>
          <p:cNvPr id="153" name="Freeform 1041"/>
          <p:cNvSpPr>
            <a:spLocks noChangeAspect="1"/>
          </p:cNvSpPr>
          <p:nvPr>
            <p:custDataLst>
              <p:tags r:id="rId97"/>
            </p:custDataLst>
          </p:nvPr>
        </p:nvSpPr>
        <p:spPr bwMode="gray">
          <a:xfrm>
            <a:off x="6667904" y="1971394"/>
            <a:ext cx="11373" cy="8610"/>
          </a:xfrm>
          <a:custGeom>
            <a:avLst/>
            <a:gdLst>
              <a:gd name="T0" fmla="*/ 0 w 35"/>
              <a:gd name="T1" fmla="*/ 0 h 30"/>
              <a:gd name="T2" fmla="*/ 0 w 35"/>
              <a:gd name="T3" fmla="*/ 0 h 30"/>
              <a:gd name="T4" fmla="*/ 0 w 35"/>
              <a:gd name="T5" fmla="*/ 0 h 30"/>
              <a:gd name="T6" fmla="*/ 0 w 35"/>
              <a:gd name="T7" fmla="*/ 0 h 30"/>
              <a:gd name="T8" fmla="*/ 0 w 35"/>
              <a:gd name="T9" fmla="*/ 0 h 30"/>
              <a:gd name="T10" fmla="*/ 0 w 35"/>
              <a:gd name="T11" fmla="*/ 0 h 30"/>
              <a:gd name="T12" fmla="*/ 0 w 35"/>
              <a:gd name="T13" fmla="*/ 0 h 30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35"/>
              <a:gd name="T22" fmla="*/ 0 h 30"/>
              <a:gd name="T23" fmla="*/ 35 w 35"/>
              <a:gd name="T24" fmla="*/ 30 h 30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35" h="30">
                <a:moveTo>
                  <a:pt x="20" y="30"/>
                </a:moveTo>
                <a:lnTo>
                  <a:pt x="35" y="22"/>
                </a:lnTo>
                <a:lnTo>
                  <a:pt x="32" y="9"/>
                </a:lnTo>
                <a:lnTo>
                  <a:pt x="17" y="0"/>
                </a:lnTo>
                <a:lnTo>
                  <a:pt x="2" y="0"/>
                </a:lnTo>
                <a:lnTo>
                  <a:pt x="0" y="18"/>
                </a:lnTo>
                <a:lnTo>
                  <a:pt x="20" y="30"/>
                </a:lnTo>
                <a:close/>
              </a:path>
            </a:pathLst>
          </a:custGeom>
          <a:solidFill>
            <a:srgbClr val="E4EBAF"/>
          </a:solidFill>
          <a:ln w="9525">
            <a:noFill/>
            <a:round/>
            <a:headEnd/>
            <a:tailEnd/>
          </a:ln>
        </p:spPr>
        <p:txBody>
          <a:bodyPr wrap="none" lIns="32632" tIns="32632" rIns="32632" bIns="32632" anchor="ctr"/>
          <a:lstStyle/>
          <a:p>
            <a:pPr defTabSz="891045"/>
            <a:endParaRPr lang="en-US" sz="1700" dirty="0">
              <a:solidFill>
                <a:srgbClr val="003149"/>
              </a:solidFill>
              <a:cs typeface="Arial" panose="020B0604020202020204" pitchFamily="34" charset="0"/>
            </a:endParaRPr>
          </a:p>
        </p:txBody>
      </p:sp>
      <p:sp>
        <p:nvSpPr>
          <p:cNvPr id="154" name="Freeform 851"/>
          <p:cNvSpPr>
            <a:spLocks noChangeAspect="1"/>
          </p:cNvSpPr>
          <p:nvPr/>
        </p:nvSpPr>
        <p:spPr bwMode="gray">
          <a:xfrm>
            <a:off x="2766799" y="3472010"/>
            <a:ext cx="183395" cy="70307"/>
          </a:xfrm>
          <a:custGeom>
            <a:avLst/>
            <a:gdLst>
              <a:gd name="T0" fmla="*/ 0 w 10288"/>
              <a:gd name="T1" fmla="*/ 0 h 10000"/>
              <a:gd name="T2" fmla="*/ 0 w 10288"/>
              <a:gd name="T3" fmla="*/ 0 h 10000"/>
              <a:gd name="T4" fmla="*/ 0 w 10288"/>
              <a:gd name="T5" fmla="*/ 0 h 10000"/>
              <a:gd name="T6" fmla="*/ 0 w 10288"/>
              <a:gd name="T7" fmla="*/ 0 h 10000"/>
              <a:gd name="T8" fmla="*/ 0 w 10288"/>
              <a:gd name="T9" fmla="*/ 0 h 10000"/>
              <a:gd name="T10" fmla="*/ 0 w 10288"/>
              <a:gd name="T11" fmla="*/ 0 h 10000"/>
              <a:gd name="T12" fmla="*/ 0 w 10288"/>
              <a:gd name="T13" fmla="*/ 0 h 10000"/>
              <a:gd name="T14" fmla="*/ 0 w 10288"/>
              <a:gd name="T15" fmla="*/ 0 h 10000"/>
              <a:gd name="T16" fmla="*/ 0 w 10288"/>
              <a:gd name="T17" fmla="*/ 0 h 10000"/>
              <a:gd name="T18" fmla="*/ 0 w 10288"/>
              <a:gd name="T19" fmla="*/ 0 h 10000"/>
              <a:gd name="T20" fmla="*/ 0 w 10288"/>
              <a:gd name="T21" fmla="*/ 0 h 10000"/>
              <a:gd name="T22" fmla="*/ 0 w 10288"/>
              <a:gd name="T23" fmla="*/ 0 h 10000"/>
              <a:gd name="T24" fmla="*/ 0 w 10288"/>
              <a:gd name="T25" fmla="*/ 0 h 10000"/>
              <a:gd name="T26" fmla="*/ 0 w 10288"/>
              <a:gd name="T27" fmla="*/ 0 h 10000"/>
              <a:gd name="T28" fmla="*/ 0 w 10288"/>
              <a:gd name="T29" fmla="*/ 0 h 10000"/>
              <a:gd name="T30" fmla="*/ 0 w 10288"/>
              <a:gd name="T31" fmla="*/ 0 h 10000"/>
              <a:gd name="T32" fmla="*/ 0 w 10288"/>
              <a:gd name="T33" fmla="*/ 0 h 10000"/>
              <a:gd name="T34" fmla="*/ 0 w 10288"/>
              <a:gd name="T35" fmla="*/ 0 h 10000"/>
              <a:gd name="T36" fmla="*/ 0 w 10288"/>
              <a:gd name="T37" fmla="*/ 0 h 10000"/>
              <a:gd name="T38" fmla="*/ 0 w 10288"/>
              <a:gd name="T39" fmla="*/ 0 h 10000"/>
              <a:gd name="T40" fmla="*/ 0 w 10288"/>
              <a:gd name="T41" fmla="*/ 0 h 10000"/>
              <a:gd name="T42" fmla="*/ 0 w 10288"/>
              <a:gd name="T43" fmla="*/ 0 h 10000"/>
              <a:gd name="T44" fmla="*/ 0 w 10288"/>
              <a:gd name="T45" fmla="*/ 0 h 10000"/>
              <a:gd name="T46" fmla="*/ 0 w 10288"/>
              <a:gd name="T47" fmla="*/ 0 h 10000"/>
              <a:gd name="T48" fmla="*/ 0 w 10288"/>
              <a:gd name="T49" fmla="*/ 0 h 10000"/>
              <a:gd name="T50" fmla="*/ 0 w 10288"/>
              <a:gd name="T51" fmla="*/ 0 h 10000"/>
              <a:gd name="T52" fmla="*/ 0 w 10288"/>
              <a:gd name="T53" fmla="*/ 0 h 10000"/>
              <a:gd name="T54" fmla="*/ 0 w 10288"/>
              <a:gd name="T55" fmla="*/ 0 h 10000"/>
              <a:gd name="T56" fmla="*/ 0 w 10288"/>
              <a:gd name="T57" fmla="*/ 0 h 10000"/>
              <a:gd name="T58" fmla="*/ 0 w 10288"/>
              <a:gd name="T59" fmla="*/ 0 h 10000"/>
              <a:gd name="T60" fmla="*/ 0 w 10288"/>
              <a:gd name="T61" fmla="*/ 0 h 10000"/>
              <a:gd name="T62" fmla="*/ 0 w 10288"/>
              <a:gd name="T63" fmla="*/ 0 h 10000"/>
              <a:gd name="T64" fmla="*/ 0 w 10288"/>
              <a:gd name="T65" fmla="*/ 0 h 10000"/>
              <a:gd name="T66" fmla="*/ 0 w 10288"/>
              <a:gd name="T67" fmla="*/ 0 h 10000"/>
              <a:gd name="T68" fmla="*/ 0 w 10288"/>
              <a:gd name="T69" fmla="*/ 0 h 10000"/>
              <a:gd name="T70" fmla="*/ 0 w 10288"/>
              <a:gd name="T71" fmla="*/ 0 h 10000"/>
              <a:gd name="T72" fmla="*/ 0 w 10288"/>
              <a:gd name="T73" fmla="*/ 0 h 10000"/>
              <a:gd name="T74" fmla="*/ 0 w 10288"/>
              <a:gd name="T75" fmla="*/ 0 h 10000"/>
              <a:gd name="T76" fmla="*/ 0 w 10288"/>
              <a:gd name="T77" fmla="*/ 0 h 10000"/>
              <a:gd name="T78" fmla="*/ 0 w 10288"/>
              <a:gd name="T79" fmla="*/ 0 h 10000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w 10288"/>
              <a:gd name="T121" fmla="*/ 0 h 10000"/>
              <a:gd name="T122" fmla="*/ 10288 w 10288"/>
              <a:gd name="T123" fmla="*/ 10000 h 10000"/>
            </a:gdLst>
            <a:ahLst/>
            <a:cxnLst>
              <a:cxn ang="T80">
                <a:pos x="T0" y="T1"/>
              </a:cxn>
              <a:cxn ang="T81">
                <a:pos x="T2" y="T3"/>
              </a:cxn>
              <a:cxn ang="T82">
                <a:pos x="T4" y="T5"/>
              </a:cxn>
              <a:cxn ang="T83">
                <a:pos x="T6" y="T7"/>
              </a:cxn>
              <a:cxn ang="T84">
                <a:pos x="T8" y="T9"/>
              </a:cxn>
              <a:cxn ang="T85">
                <a:pos x="T10" y="T11"/>
              </a:cxn>
              <a:cxn ang="T86">
                <a:pos x="T12" y="T13"/>
              </a:cxn>
              <a:cxn ang="T87">
                <a:pos x="T14" y="T15"/>
              </a:cxn>
              <a:cxn ang="T88">
                <a:pos x="T16" y="T17"/>
              </a:cxn>
              <a:cxn ang="T89">
                <a:pos x="T18" y="T19"/>
              </a:cxn>
              <a:cxn ang="T90">
                <a:pos x="T20" y="T21"/>
              </a:cxn>
              <a:cxn ang="T91">
                <a:pos x="T22" y="T23"/>
              </a:cxn>
              <a:cxn ang="T92">
                <a:pos x="T24" y="T25"/>
              </a:cxn>
              <a:cxn ang="T93">
                <a:pos x="T26" y="T27"/>
              </a:cxn>
              <a:cxn ang="T94">
                <a:pos x="T28" y="T29"/>
              </a:cxn>
              <a:cxn ang="T95">
                <a:pos x="T30" y="T31"/>
              </a:cxn>
              <a:cxn ang="T96">
                <a:pos x="T32" y="T33"/>
              </a:cxn>
              <a:cxn ang="T97">
                <a:pos x="T34" y="T35"/>
              </a:cxn>
              <a:cxn ang="T98">
                <a:pos x="T36" y="T37"/>
              </a:cxn>
              <a:cxn ang="T99">
                <a:pos x="T38" y="T39"/>
              </a:cxn>
              <a:cxn ang="T100">
                <a:pos x="T40" y="T41"/>
              </a:cxn>
              <a:cxn ang="T101">
                <a:pos x="T42" y="T43"/>
              </a:cxn>
              <a:cxn ang="T102">
                <a:pos x="T44" y="T45"/>
              </a:cxn>
              <a:cxn ang="T103">
                <a:pos x="T46" y="T47"/>
              </a:cxn>
              <a:cxn ang="T104">
                <a:pos x="T48" y="T49"/>
              </a:cxn>
              <a:cxn ang="T105">
                <a:pos x="T50" y="T51"/>
              </a:cxn>
              <a:cxn ang="T106">
                <a:pos x="T52" y="T53"/>
              </a:cxn>
              <a:cxn ang="T107">
                <a:pos x="T54" y="T55"/>
              </a:cxn>
              <a:cxn ang="T108">
                <a:pos x="T56" y="T57"/>
              </a:cxn>
              <a:cxn ang="T109">
                <a:pos x="T58" y="T59"/>
              </a:cxn>
              <a:cxn ang="T110">
                <a:pos x="T60" y="T61"/>
              </a:cxn>
              <a:cxn ang="T111">
                <a:pos x="T62" y="T63"/>
              </a:cxn>
              <a:cxn ang="T112">
                <a:pos x="T64" y="T65"/>
              </a:cxn>
              <a:cxn ang="T113">
                <a:pos x="T66" y="T67"/>
              </a:cxn>
              <a:cxn ang="T114">
                <a:pos x="T68" y="T69"/>
              </a:cxn>
              <a:cxn ang="T115">
                <a:pos x="T70" y="T71"/>
              </a:cxn>
              <a:cxn ang="T116">
                <a:pos x="T72" y="T73"/>
              </a:cxn>
              <a:cxn ang="T117">
                <a:pos x="T74" y="T75"/>
              </a:cxn>
              <a:cxn ang="T118">
                <a:pos x="T76" y="T77"/>
              </a:cxn>
              <a:cxn ang="T119">
                <a:pos x="T78" y="T79"/>
              </a:cxn>
            </a:cxnLst>
            <a:rect l="T120" t="T121" r="T122" b="T123"/>
            <a:pathLst>
              <a:path w="10288" h="10000">
                <a:moveTo>
                  <a:pt x="0" y="758"/>
                </a:moveTo>
                <a:lnTo>
                  <a:pt x="257" y="455"/>
                </a:lnTo>
                <a:cubicBezTo>
                  <a:pt x="326" y="303"/>
                  <a:pt x="395" y="152"/>
                  <a:pt x="463" y="0"/>
                </a:cubicBezTo>
                <a:lnTo>
                  <a:pt x="1028" y="0"/>
                </a:lnTo>
                <a:cubicBezTo>
                  <a:pt x="1096" y="152"/>
                  <a:pt x="1166" y="303"/>
                  <a:pt x="1234" y="455"/>
                </a:cubicBezTo>
                <a:cubicBezTo>
                  <a:pt x="1286" y="808"/>
                  <a:pt x="1336" y="1162"/>
                  <a:pt x="1388" y="1515"/>
                </a:cubicBezTo>
                <a:cubicBezTo>
                  <a:pt x="1371" y="1869"/>
                  <a:pt x="1354" y="2222"/>
                  <a:pt x="1337" y="2576"/>
                </a:cubicBezTo>
                <a:lnTo>
                  <a:pt x="1388" y="3182"/>
                </a:lnTo>
                <a:lnTo>
                  <a:pt x="1388" y="3939"/>
                </a:lnTo>
                <a:lnTo>
                  <a:pt x="1388" y="5152"/>
                </a:lnTo>
                <a:cubicBezTo>
                  <a:pt x="1302" y="5657"/>
                  <a:pt x="1217" y="6162"/>
                  <a:pt x="1132" y="6667"/>
                </a:cubicBezTo>
                <a:cubicBezTo>
                  <a:pt x="1080" y="7020"/>
                  <a:pt x="1029" y="7374"/>
                  <a:pt x="977" y="7727"/>
                </a:cubicBezTo>
                <a:cubicBezTo>
                  <a:pt x="1045" y="8131"/>
                  <a:pt x="1114" y="8535"/>
                  <a:pt x="1182" y="8939"/>
                </a:cubicBezTo>
                <a:lnTo>
                  <a:pt x="1851" y="9545"/>
                </a:lnTo>
                <a:lnTo>
                  <a:pt x="2262" y="10000"/>
                </a:lnTo>
                <a:lnTo>
                  <a:pt x="2519" y="9848"/>
                </a:lnTo>
                <a:cubicBezTo>
                  <a:pt x="2537" y="9394"/>
                  <a:pt x="2553" y="8939"/>
                  <a:pt x="2571" y="8485"/>
                </a:cubicBezTo>
                <a:lnTo>
                  <a:pt x="2879" y="7879"/>
                </a:lnTo>
                <a:cubicBezTo>
                  <a:pt x="2897" y="7525"/>
                  <a:pt x="2913" y="7172"/>
                  <a:pt x="2931" y="6818"/>
                </a:cubicBezTo>
                <a:cubicBezTo>
                  <a:pt x="2948" y="6566"/>
                  <a:pt x="2965" y="6313"/>
                  <a:pt x="2982" y="6061"/>
                </a:cubicBezTo>
                <a:lnTo>
                  <a:pt x="3239" y="5303"/>
                </a:lnTo>
                <a:lnTo>
                  <a:pt x="3702" y="4091"/>
                </a:lnTo>
                <a:lnTo>
                  <a:pt x="4165" y="5152"/>
                </a:lnTo>
                <a:lnTo>
                  <a:pt x="4781" y="5455"/>
                </a:lnTo>
                <a:lnTo>
                  <a:pt x="5244" y="5606"/>
                </a:lnTo>
                <a:cubicBezTo>
                  <a:pt x="5278" y="5758"/>
                  <a:pt x="5313" y="5909"/>
                  <a:pt x="5347" y="6061"/>
                </a:cubicBezTo>
                <a:lnTo>
                  <a:pt x="5656" y="6212"/>
                </a:lnTo>
                <a:cubicBezTo>
                  <a:pt x="5707" y="5960"/>
                  <a:pt x="5758" y="5707"/>
                  <a:pt x="5810" y="5455"/>
                </a:cubicBezTo>
                <a:cubicBezTo>
                  <a:pt x="5896" y="5000"/>
                  <a:pt x="5981" y="4546"/>
                  <a:pt x="6067" y="4091"/>
                </a:cubicBezTo>
                <a:lnTo>
                  <a:pt x="6478" y="4091"/>
                </a:lnTo>
                <a:lnTo>
                  <a:pt x="7146" y="5303"/>
                </a:lnTo>
                <a:lnTo>
                  <a:pt x="7866" y="5758"/>
                </a:lnTo>
                <a:lnTo>
                  <a:pt x="8483" y="6515"/>
                </a:lnTo>
                <a:cubicBezTo>
                  <a:pt x="8569" y="6263"/>
                  <a:pt x="8654" y="6010"/>
                  <a:pt x="8740" y="5758"/>
                </a:cubicBezTo>
                <a:lnTo>
                  <a:pt x="9254" y="5758"/>
                </a:lnTo>
                <a:lnTo>
                  <a:pt x="9511" y="5303"/>
                </a:lnTo>
                <a:cubicBezTo>
                  <a:pt x="9579" y="5455"/>
                  <a:pt x="9649" y="5606"/>
                  <a:pt x="9717" y="5758"/>
                </a:cubicBezTo>
                <a:cubicBezTo>
                  <a:pt x="9699" y="5859"/>
                  <a:pt x="9683" y="5960"/>
                  <a:pt x="9665" y="6061"/>
                </a:cubicBezTo>
                <a:lnTo>
                  <a:pt x="9974" y="6061"/>
                </a:lnTo>
                <a:cubicBezTo>
                  <a:pt x="10094" y="5505"/>
                  <a:pt x="10168" y="5424"/>
                  <a:pt x="10288" y="4868"/>
                </a:cubicBezTo>
              </a:path>
            </a:pathLst>
          </a:custGeom>
          <a:noFill/>
          <a:ln w="317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 wrap="none" lIns="32632" tIns="32632" rIns="32632" bIns="32632" anchor="ctr"/>
          <a:lstStyle/>
          <a:p>
            <a:pPr defTabSz="891045"/>
            <a:endParaRPr lang="en-US" sz="1700" dirty="0">
              <a:solidFill>
                <a:srgbClr val="003149"/>
              </a:solidFill>
              <a:cs typeface="Arial" panose="020B0604020202020204" pitchFamily="34" charset="0"/>
            </a:endParaRPr>
          </a:p>
        </p:txBody>
      </p:sp>
      <p:sp>
        <p:nvSpPr>
          <p:cNvPr id="155" name="Freeform 853"/>
          <p:cNvSpPr>
            <a:spLocks noChangeAspect="1"/>
          </p:cNvSpPr>
          <p:nvPr/>
        </p:nvSpPr>
        <p:spPr bwMode="gray">
          <a:xfrm>
            <a:off x="2950234" y="3505037"/>
            <a:ext cx="342623" cy="342925"/>
          </a:xfrm>
          <a:custGeom>
            <a:avLst/>
            <a:gdLst>
              <a:gd name="T0" fmla="*/ 0 w 10024"/>
              <a:gd name="T1" fmla="*/ 0 h 10109"/>
              <a:gd name="T2" fmla="*/ 0 w 10024"/>
              <a:gd name="T3" fmla="*/ 0 h 10109"/>
              <a:gd name="T4" fmla="*/ 0 w 10024"/>
              <a:gd name="T5" fmla="*/ 0 h 10109"/>
              <a:gd name="T6" fmla="*/ 0 w 10024"/>
              <a:gd name="T7" fmla="*/ 0 h 10109"/>
              <a:gd name="T8" fmla="*/ 0 w 10024"/>
              <a:gd name="T9" fmla="*/ 0 h 10109"/>
              <a:gd name="T10" fmla="*/ 0 w 10024"/>
              <a:gd name="T11" fmla="*/ 0 h 10109"/>
              <a:gd name="T12" fmla="*/ 0 w 10024"/>
              <a:gd name="T13" fmla="*/ 0 h 10109"/>
              <a:gd name="T14" fmla="*/ 0 w 10024"/>
              <a:gd name="T15" fmla="*/ 0 h 10109"/>
              <a:gd name="T16" fmla="*/ 0 w 10024"/>
              <a:gd name="T17" fmla="*/ 0 h 10109"/>
              <a:gd name="T18" fmla="*/ 0 w 10024"/>
              <a:gd name="T19" fmla="*/ 0 h 10109"/>
              <a:gd name="T20" fmla="*/ 0 w 10024"/>
              <a:gd name="T21" fmla="*/ 0 h 10109"/>
              <a:gd name="T22" fmla="*/ 0 w 10024"/>
              <a:gd name="T23" fmla="*/ 0 h 10109"/>
              <a:gd name="T24" fmla="*/ 0 w 10024"/>
              <a:gd name="T25" fmla="*/ 0 h 10109"/>
              <a:gd name="T26" fmla="*/ 0 w 10024"/>
              <a:gd name="T27" fmla="*/ 0 h 10109"/>
              <a:gd name="T28" fmla="*/ 0 w 10024"/>
              <a:gd name="T29" fmla="*/ 0 h 10109"/>
              <a:gd name="T30" fmla="*/ 0 w 10024"/>
              <a:gd name="T31" fmla="*/ 0 h 10109"/>
              <a:gd name="T32" fmla="*/ 0 w 10024"/>
              <a:gd name="T33" fmla="*/ 0 h 10109"/>
              <a:gd name="T34" fmla="*/ 0 w 10024"/>
              <a:gd name="T35" fmla="*/ 0 h 10109"/>
              <a:gd name="T36" fmla="*/ 0 w 10024"/>
              <a:gd name="T37" fmla="*/ 0 h 10109"/>
              <a:gd name="T38" fmla="*/ 0 w 10024"/>
              <a:gd name="T39" fmla="*/ 0 h 10109"/>
              <a:gd name="T40" fmla="*/ 0 w 10024"/>
              <a:gd name="T41" fmla="*/ 0 h 10109"/>
              <a:gd name="T42" fmla="*/ 0 w 10024"/>
              <a:gd name="T43" fmla="*/ 0 h 10109"/>
              <a:gd name="T44" fmla="*/ 0 w 10024"/>
              <a:gd name="T45" fmla="*/ 0 h 10109"/>
              <a:gd name="T46" fmla="*/ 0 w 10024"/>
              <a:gd name="T47" fmla="*/ 0 h 10109"/>
              <a:gd name="T48" fmla="*/ 0 w 10024"/>
              <a:gd name="T49" fmla="*/ 0 h 10109"/>
              <a:gd name="T50" fmla="*/ 0 w 10024"/>
              <a:gd name="T51" fmla="*/ 0 h 10109"/>
              <a:gd name="T52" fmla="*/ 0 w 10024"/>
              <a:gd name="T53" fmla="*/ 0 h 10109"/>
              <a:gd name="T54" fmla="*/ 0 w 10024"/>
              <a:gd name="T55" fmla="*/ 0 h 10109"/>
              <a:gd name="T56" fmla="*/ 0 w 10024"/>
              <a:gd name="T57" fmla="*/ 0 h 10109"/>
              <a:gd name="T58" fmla="*/ 0 w 10024"/>
              <a:gd name="T59" fmla="*/ 0 h 10109"/>
              <a:gd name="T60" fmla="*/ 0 w 10024"/>
              <a:gd name="T61" fmla="*/ 0 h 10109"/>
              <a:gd name="T62" fmla="*/ 0 w 10024"/>
              <a:gd name="T63" fmla="*/ 0 h 10109"/>
              <a:gd name="T64" fmla="*/ 0 w 10024"/>
              <a:gd name="T65" fmla="*/ 0 h 10109"/>
              <a:gd name="T66" fmla="*/ 0 w 10024"/>
              <a:gd name="T67" fmla="*/ 0 h 10109"/>
              <a:gd name="T68" fmla="*/ 0 w 10024"/>
              <a:gd name="T69" fmla="*/ 0 h 10109"/>
              <a:gd name="T70" fmla="*/ 0 w 10024"/>
              <a:gd name="T71" fmla="*/ 0 h 10109"/>
              <a:gd name="T72" fmla="*/ 0 w 10024"/>
              <a:gd name="T73" fmla="*/ 0 h 10109"/>
              <a:gd name="T74" fmla="*/ 0 w 10024"/>
              <a:gd name="T75" fmla="*/ 0 h 10109"/>
              <a:gd name="T76" fmla="*/ 0 w 10024"/>
              <a:gd name="T77" fmla="*/ 0 h 10109"/>
              <a:gd name="T78" fmla="*/ 0 w 10024"/>
              <a:gd name="T79" fmla="*/ 0 h 10109"/>
              <a:gd name="T80" fmla="*/ 0 w 10024"/>
              <a:gd name="T81" fmla="*/ 0 h 10109"/>
              <a:gd name="T82" fmla="*/ 0 w 10024"/>
              <a:gd name="T83" fmla="*/ 0 h 10109"/>
              <a:gd name="T84" fmla="*/ 0 w 10024"/>
              <a:gd name="T85" fmla="*/ 0 h 10109"/>
              <a:gd name="T86" fmla="*/ 0 w 10024"/>
              <a:gd name="T87" fmla="*/ 0 h 10109"/>
              <a:gd name="T88" fmla="*/ 0 w 10024"/>
              <a:gd name="T89" fmla="*/ 0 h 10109"/>
              <a:gd name="T90" fmla="*/ 0 w 10024"/>
              <a:gd name="T91" fmla="*/ 0 h 10109"/>
              <a:gd name="T92" fmla="*/ 0 w 10024"/>
              <a:gd name="T93" fmla="*/ 0 h 10109"/>
              <a:gd name="T94" fmla="*/ 0 w 10024"/>
              <a:gd name="T95" fmla="*/ 0 h 10109"/>
              <a:gd name="T96" fmla="*/ 0 w 10024"/>
              <a:gd name="T97" fmla="*/ 0 h 10109"/>
              <a:gd name="T98" fmla="*/ 0 w 10024"/>
              <a:gd name="T99" fmla="*/ 0 h 10109"/>
              <a:gd name="T100" fmla="*/ 0 w 10024"/>
              <a:gd name="T101" fmla="*/ 0 h 10109"/>
              <a:gd name="T102" fmla="*/ 0 w 10024"/>
              <a:gd name="T103" fmla="*/ 0 h 10109"/>
              <a:gd name="T104" fmla="*/ 0 w 10024"/>
              <a:gd name="T105" fmla="*/ 0 h 10109"/>
              <a:gd name="T106" fmla="*/ 0 w 10024"/>
              <a:gd name="T107" fmla="*/ 0 h 10109"/>
              <a:gd name="T108" fmla="*/ 0 w 10024"/>
              <a:gd name="T109" fmla="*/ 0 h 10109"/>
              <a:gd name="T110" fmla="*/ 0 w 10024"/>
              <a:gd name="T111" fmla="*/ 0 h 10109"/>
              <a:gd name="T112" fmla="*/ 0 w 10024"/>
              <a:gd name="T113" fmla="*/ 0 h 10109"/>
              <a:gd name="T114" fmla="*/ 0 w 10024"/>
              <a:gd name="T115" fmla="*/ 0 h 10109"/>
              <a:gd name="T116" fmla="*/ 0 w 10024"/>
              <a:gd name="T117" fmla="*/ 0 h 10109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w 10024"/>
              <a:gd name="T178" fmla="*/ 0 h 10109"/>
              <a:gd name="T179" fmla="*/ 10024 w 10024"/>
              <a:gd name="T180" fmla="*/ 10109 h 10109"/>
            </a:gdLst>
            <a:ahLst/>
            <a:cxnLst>
              <a:cxn ang="T118">
                <a:pos x="T0" y="T1"/>
              </a:cxn>
              <a:cxn ang="T119">
                <a:pos x="T2" y="T3"/>
              </a:cxn>
              <a:cxn ang="T120">
                <a:pos x="T4" y="T5"/>
              </a:cxn>
              <a:cxn ang="T121">
                <a:pos x="T6" y="T7"/>
              </a:cxn>
              <a:cxn ang="T122">
                <a:pos x="T8" y="T9"/>
              </a:cxn>
              <a:cxn ang="T123">
                <a:pos x="T10" y="T11"/>
              </a:cxn>
              <a:cxn ang="T124">
                <a:pos x="T12" y="T13"/>
              </a:cxn>
              <a:cxn ang="T125">
                <a:pos x="T14" y="T15"/>
              </a:cxn>
              <a:cxn ang="T126">
                <a:pos x="T16" y="T17"/>
              </a:cxn>
              <a:cxn ang="T127">
                <a:pos x="T18" y="T19"/>
              </a:cxn>
              <a:cxn ang="T128">
                <a:pos x="T20" y="T21"/>
              </a:cxn>
              <a:cxn ang="T129">
                <a:pos x="T22" y="T23"/>
              </a:cxn>
              <a:cxn ang="T130">
                <a:pos x="T24" y="T25"/>
              </a:cxn>
              <a:cxn ang="T131">
                <a:pos x="T26" y="T27"/>
              </a:cxn>
              <a:cxn ang="T132">
                <a:pos x="T28" y="T29"/>
              </a:cxn>
              <a:cxn ang="T133">
                <a:pos x="T30" y="T31"/>
              </a:cxn>
              <a:cxn ang="T134">
                <a:pos x="T32" y="T33"/>
              </a:cxn>
              <a:cxn ang="T135">
                <a:pos x="T34" y="T35"/>
              </a:cxn>
              <a:cxn ang="T136">
                <a:pos x="T36" y="T37"/>
              </a:cxn>
              <a:cxn ang="T137">
                <a:pos x="T38" y="T39"/>
              </a:cxn>
              <a:cxn ang="T138">
                <a:pos x="T40" y="T41"/>
              </a:cxn>
              <a:cxn ang="T139">
                <a:pos x="T42" y="T43"/>
              </a:cxn>
              <a:cxn ang="T140">
                <a:pos x="T44" y="T45"/>
              </a:cxn>
              <a:cxn ang="T141">
                <a:pos x="T46" y="T47"/>
              </a:cxn>
              <a:cxn ang="T142">
                <a:pos x="T48" y="T49"/>
              </a:cxn>
              <a:cxn ang="T143">
                <a:pos x="T50" y="T51"/>
              </a:cxn>
              <a:cxn ang="T144">
                <a:pos x="T52" y="T53"/>
              </a:cxn>
              <a:cxn ang="T145">
                <a:pos x="T54" y="T55"/>
              </a:cxn>
              <a:cxn ang="T146">
                <a:pos x="T56" y="T57"/>
              </a:cxn>
              <a:cxn ang="T147">
                <a:pos x="T58" y="T59"/>
              </a:cxn>
              <a:cxn ang="T148">
                <a:pos x="T60" y="T61"/>
              </a:cxn>
              <a:cxn ang="T149">
                <a:pos x="T62" y="T63"/>
              </a:cxn>
              <a:cxn ang="T150">
                <a:pos x="T64" y="T65"/>
              </a:cxn>
              <a:cxn ang="T151">
                <a:pos x="T66" y="T67"/>
              </a:cxn>
              <a:cxn ang="T152">
                <a:pos x="T68" y="T69"/>
              </a:cxn>
              <a:cxn ang="T153">
                <a:pos x="T70" y="T71"/>
              </a:cxn>
              <a:cxn ang="T154">
                <a:pos x="T72" y="T73"/>
              </a:cxn>
              <a:cxn ang="T155">
                <a:pos x="T74" y="T75"/>
              </a:cxn>
              <a:cxn ang="T156">
                <a:pos x="T76" y="T77"/>
              </a:cxn>
              <a:cxn ang="T157">
                <a:pos x="T78" y="T79"/>
              </a:cxn>
              <a:cxn ang="T158">
                <a:pos x="T80" y="T81"/>
              </a:cxn>
              <a:cxn ang="T159">
                <a:pos x="T82" y="T83"/>
              </a:cxn>
              <a:cxn ang="T160">
                <a:pos x="T84" y="T85"/>
              </a:cxn>
              <a:cxn ang="T161">
                <a:pos x="T86" y="T87"/>
              </a:cxn>
              <a:cxn ang="T162">
                <a:pos x="T88" y="T89"/>
              </a:cxn>
              <a:cxn ang="T163">
                <a:pos x="T90" y="T91"/>
              </a:cxn>
              <a:cxn ang="T164">
                <a:pos x="T92" y="T93"/>
              </a:cxn>
              <a:cxn ang="T165">
                <a:pos x="T94" y="T95"/>
              </a:cxn>
              <a:cxn ang="T166">
                <a:pos x="T96" y="T97"/>
              </a:cxn>
              <a:cxn ang="T167">
                <a:pos x="T98" y="T99"/>
              </a:cxn>
              <a:cxn ang="T168">
                <a:pos x="T100" y="T101"/>
              </a:cxn>
              <a:cxn ang="T169">
                <a:pos x="T102" y="T103"/>
              </a:cxn>
              <a:cxn ang="T170">
                <a:pos x="T104" y="T105"/>
              </a:cxn>
              <a:cxn ang="T171">
                <a:pos x="T106" y="T107"/>
              </a:cxn>
              <a:cxn ang="T172">
                <a:pos x="T108" y="T109"/>
              </a:cxn>
              <a:cxn ang="T173">
                <a:pos x="T110" y="T111"/>
              </a:cxn>
              <a:cxn ang="T174">
                <a:pos x="T112" y="T113"/>
              </a:cxn>
              <a:cxn ang="T175">
                <a:pos x="T114" y="T115"/>
              </a:cxn>
              <a:cxn ang="T176">
                <a:pos x="T116" y="T117"/>
              </a:cxn>
            </a:cxnLst>
            <a:rect l="T177" t="T178" r="T179" b="T180"/>
            <a:pathLst>
              <a:path w="10024" h="10109">
                <a:moveTo>
                  <a:pt x="0" y="0"/>
                </a:moveTo>
                <a:cubicBezTo>
                  <a:pt x="2" y="87"/>
                  <a:pt x="28" y="147"/>
                  <a:pt x="30" y="234"/>
                </a:cubicBezTo>
                <a:cubicBezTo>
                  <a:pt x="39" y="274"/>
                  <a:pt x="47" y="316"/>
                  <a:pt x="56" y="357"/>
                </a:cubicBezTo>
                <a:lnTo>
                  <a:pt x="245" y="510"/>
                </a:lnTo>
                <a:lnTo>
                  <a:pt x="326" y="633"/>
                </a:lnTo>
                <a:cubicBezTo>
                  <a:pt x="317" y="663"/>
                  <a:pt x="308" y="694"/>
                  <a:pt x="299" y="724"/>
                </a:cubicBezTo>
                <a:lnTo>
                  <a:pt x="191" y="755"/>
                </a:lnTo>
                <a:lnTo>
                  <a:pt x="56" y="786"/>
                </a:lnTo>
                <a:lnTo>
                  <a:pt x="56" y="909"/>
                </a:lnTo>
                <a:lnTo>
                  <a:pt x="218" y="1062"/>
                </a:lnTo>
                <a:lnTo>
                  <a:pt x="434" y="1184"/>
                </a:lnTo>
                <a:lnTo>
                  <a:pt x="541" y="1369"/>
                </a:lnTo>
                <a:lnTo>
                  <a:pt x="703" y="1276"/>
                </a:lnTo>
                <a:cubicBezTo>
                  <a:pt x="721" y="1256"/>
                  <a:pt x="738" y="1236"/>
                  <a:pt x="757" y="1215"/>
                </a:cubicBezTo>
                <a:lnTo>
                  <a:pt x="1027" y="1215"/>
                </a:lnTo>
                <a:lnTo>
                  <a:pt x="1242" y="1369"/>
                </a:lnTo>
                <a:lnTo>
                  <a:pt x="1404" y="1430"/>
                </a:lnTo>
                <a:lnTo>
                  <a:pt x="1404" y="1613"/>
                </a:lnTo>
                <a:cubicBezTo>
                  <a:pt x="1358" y="1777"/>
                  <a:pt x="1314" y="1941"/>
                  <a:pt x="1269" y="2105"/>
                </a:cubicBezTo>
                <a:lnTo>
                  <a:pt x="1593" y="2228"/>
                </a:lnTo>
                <a:cubicBezTo>
                  <a:pt x="1620" y="2258"/>
                  <a:pt x="1646" y="2288"/>
                  <a:pt x="1673" y="2319"/>
                </a:cubicBezTo>
                <a:lnTo>
                  <a:pt x="1727" y="2442"/>
                </a:lnTo>
                <a:lnTo>
                  <a:pt x="1862" y="2472"/>
                </a:lnTo>
                <a:lnTo>
                  <a:pt x="2050" y="2595"/>
                </a:lnTo>
                <a:cubicBezTo>
                  <a:pt x="2077" y="2667"/>
                  <a:pt x="2104" y="2738"/>
                  <a:pt x="2131" y="2810"/>
                </a:cubicBezTo>
                <a:cubicBezTo>
                  <a:pt x="2149" y="2871"/>
                  <a:pt x="2166" y="2933"/>
                  <a:pt x="2184" y="2994"/>
                </a:cubicBezTo>
                <a:cubicBezTo>
                  <a:pt x="2148" y="3024"/>
                  <a:pt x="2113" y="3056"/>
                  <a:pt x="2077" y="3086"/>
                </a:cubicBezTo>
                <a:cubicBezTo>
                  <a:pt x="2068" y="3147"/>
                  <a:pt x="2059" y="3209"/>
                  <a:pt x="2050" y="3270"/>
                </a:cubicBezTo>
                <a:lnTo>
                  <a:pt x="2158" y="3546"/>
                </a:lnTo>
                <a:cubicBezTo>
                  <a:pt x="2176" y="3627"/>
                  <a:pt x="2193" y="3710"/>
                  <a:pt x="2212" y="3791"/>
                </a:cubicBezTo>
                <a:cubicBezTo>
                  <a:pt x="2221" y="3853"/>
                  <a:pt x="2230" y="3914"/>
                  <a:pt x="2239" y="3976"/>
                </a:cubicBezTo>
                <a:cubicBezTo>
                  <a:pt x="2221" y="4037"/>
                  <a:pt x="2202" y="4098"/>
                  <a:pt x="2184" y="4159"/>
                </a:cubicBezTo>
                <a:lnTo>
                  <a:pt x="2184" y="4405"/>
                </a:lnTo>
                <a:lnTo>
                  <a:pt x="2266" y="4496"/>
                </a:lnTo>
                <a:cubicBezTo>
                  <a:pt x="2284" y="4517"/>
                  <a:pt x="2301" y="4538"/>
                  <a:pt x="2319" y="4558"/>
                </a:cubicBezTo>
                <a:cubicBezTo>
                  <a:pt x="2310" y="4589"/>
                  <a:pt x="2302" y="4619"/>
                  <a:pt x="2293" y="4650"/>
                </a:cubicBezTo>
                <a:cubicBezTo>
                  <a:pt x="2284" y="4680"/>
                  <a:pt x="2275" y="4712"/>
                  <a:pt x="2266" y="4742"/>
                </a:cubicBezTo>
                <a:lnTo>
                  <a:pt x="2131" y="4803"/>
                </a:lnTo>
                <a:lnTo>
                  <a:pt x="1969" y="4926"/>
                </a:lnTo>
                <a:cubicBezTo>
                  <a:pt x="1960" y="4998"/>
                  <a:pt x="1951" y="5069"/>
                  <a:pt x="1942" y="5141"/>
                </a:cubicBezTo>
                <a:lnTo>
                  <a:pt x="2050" y="5202"/>
                </a:lnTo>
                <a:lnTo>
                  <a:pt x="2212" y="5202"/>
                </a:lnTo>
                <a:lnTo>
                  <a:pt x="2589" y="4772"/>
                </a:lnTo>
                <a:cubicBezTo>
                  <a:pt x="2598" y="4752"/>
                  <a:pt x="2606" y="4732"/>
                  <a:pt x="2615" y="4712"/>
                </a:cubicBezTo>
                <a:cubicBezTo>
                  <a:pt x="2597" y="4661"/>
                  <a:pt x="2580" y="4609"/>
                  <a:pt x="2562" y="4558"/>
                </a:cubicBezTo>
                <a:cubicBezTo>
                  <a:pt x="2553" y="4538"/>
                  <a:pt x="2544" y="4517"/>
                  <a:pt x="2535" y="4496"/>
                </a:cubicBezTo>
                <a:lnTo>
                  <a:pt x="2643" y="4435"/>
                </a:lnTo>
                <a:lnTo>
                  <a:pt x="2831" y="4496"/>
                </a:lnTo>
                <a:cubicBezTo>
                  <a:pt x="2813" y="4558"/>
                  <a:pt x="2795" y="4619"/>
                  <a:pt x="2777" y="4681"/>
                </a:cubicBezTo>
                <a:cubicBezTo>
                  <a:pt x="2795" y="4752"/>
                  <a:pt x="2813" y="4824"/>
                  <a:pt x="2831" y="4895"/>
                </a:cubicBezTo>
                <a:lnTo>
                  <a:pt x="2966" y="5141"/>
                </a:lnTo>
                <a:cubicBezTo>
                  <a:pt x="2939" y="5192"/>
                  <a:pt x="2912" y="5244"/>
                  <a:pt x="2885" y="5294"/>
                </a:cubicBezTo>
                <a:cubicBezTo>
                  <a:pt x="2903" y="5407"/>
                  <a:pt x="2921" y="5519"/>
                  <a:pt x="2939" y="5631"/>
                </a:cubicBezTo>
                <a:cubicBezTo>
                  <a:pt x="2984" y="5682"/>
                  <a:pt x="3028" y="5734"/>
                  <a:pt x="3074" y="5785"/>
                </a:cubicBezTo>
                <a:cubicBezTo>
                  <a:pt x="3065" y="5867"/>
                  <a:pt x="3056" y="5948"/>
                  <a:pt x="3047" y="6030"/>
                </a:cubicBezTo>
                <a:lnTo>
                  <a:pt x="3074" y="6123"/>
                </a:lnTo>
                <a:cubicBezTo>
                  <a:pt x="3101" y="6173"/>
                  <a:pt x="3128" y="6225"/>
                  <a:pt x="3155" y="6276"/>
                </a:cubicBezTo>
                <a:lnTo>
                  <a:pt x="3882" y="6091"/>
                </a:lnTo>
                <a:lnTo>
                  <a:pt x="4125" y="5938"/>
                </a:lnTo>
                <a:lnTo>
                  <a:pt x="4367" y="6061"/>
                </a:lnTo>
                <a:lnTo>
                  <a:pt x="4556" y="5938"/>
                </a:lnTo>
                <a:cubicBezTo>
                  <a:pt x="4618" y="6030"/>
                  <a:pt x="4681" y="6122"/>
                  <a:pt x="4744" y="6214"/>
                </a:cubicBezTo>
                <a:lnTo>
                  <a:pt x="4933" y="6153"/>
                </a:lnTo>
                <a:lnTo>
                  <a:pt x="5283" y="6460"/>
                </a:lnTo>
                <a:cubicBezTo>
                  <a:pt x="5310" y="6633"/>
                  <a:pt x="5337" y="6807"/>
                  <a:pt x="5364" y="6980"/>
                </a:cubicBezTo>
                <a:lnTo>
                  <a:pt x="5687" y="7073"/>
                </a:lnTo>
                <a:lnTo>
                  <a:pt x="6037" y="6827"/>
                </a:lnTo>
                <a:cubicBezTo>
                  <a:pt x="6064" y="6878"/>
                  <a:pt x="6091" y="6930"/>
                  <a:pt x="6118" y="6980"/>
                </a:cubicBezTo>
                <a:lnTo>
                  <a:pt x="6226" y="7012"/>
                </a:lnTo>
                <a:cubicBezTo>
                  <a:pt x="6253" y="7052"/>
                  <a:pt x="6279" y="7093"/>
                  <a:pt x="6306" y="7134"/>
                </a:cubicBezTo>
                <a:lnTo>
                  <a:pt x="6495" y="7134"/>
                </a:lnTo>
                <a:cubicBezTo>
                  <a:pt x="6531" y="7277"/>
                  <a:pt x="6566" y="7420"/>
                  <a:pt x="6603" y="7563"/>
                </a:cubicBezTo>
                <a:cubicBezTo>
                  <a:pt x="6548" y="7666"/>
                  <a:pt x="6495" y="7768"/>
                  <a:pt x="6441" y="7871"/>
                </a:cubicBezTo>
                <a:cubicBezTo>
                  <a:pt x="6450" y="7901"/>
                  <a:pt x="6459" y="7932"/>
                  <a:pt x="6468" y="7962"/>
                </a:cubicBezTo>
                <a:lnTo>
                  <a:pt x="6522" y="8085"/>
                </a:lnTo>
                <a:cubicBezTo>
                  <a:pt x="6540" y="8125"/>
                  <a:pt x="6557" y="8167"/>
                  <a:pt x="6575" y="8208"/>
                </a:cubicBezTo>
                <a:lnTo>
                  <a:pt x="6575" y="8361"/>
                </a:lnTo>
                <a:cubicBezTo>
                  <a:pt x="6630" y="8412"/>
                  <a:pt x="6683" y="8463"/>
                  <a:pt x="6737" y="8514"/>
                </a:cubicBezTo>
                <a:lnTo>
                  <a:pt x="7007" y="8760"/>
                </a:lnTo>
                <a:cubicBezTo>
                  <a:pt x="7034" y="8790"/>
                  <a:pt x="7061" y="8821"/>
                  <a:pt x="7088" y="8851"/>
                </a:cubicBezTo>
                <a:lnTo>
                  <a:pt x="7007" y="8974"/>
                </a:lnTo>
                <a:cubicBezTo>
                  <a:pt x="6997" y="8994"/>
                  <a:pt x="6989" y="9016"/>
                  <a:pt x="6980" y="9036"/>
                </a:cubicBezTo>
                <a:cubicBezTo>
                  <a:pt x="6989" y="9077"/>
                  <a:pt x="6997" y="9117"/>
                  <a:pt x="7007" y="9158"/>
                </a:cubicBezTo>
                <a:cubicBezTo>
                  <a:pt x="7034" y="9188"/>
                  <a:pt x="7061" y="9220"/>
                  <a:pt x="7088" y="9250"/>
                </a:cubicBezTo>
                <a:lnTo>
                  <a:pt x="7303" y="9312"/>
                </a:lnTo>
                <a:lnTo>
                  <a:pt x="7626" y="9158"/>
                </a:lnTo>
                <a:lnTo>
                  <a:pt x="7869" y="9005"/>
                </a:lnTo>
                <a:lnTo>
                  <a:pt x="8030" y="8944"/>
                </a:lnTo>
                <a:cubicBezTo>
                  <a:pt x="8058" y="8984"/>
                  <a:pt x="8085" y="9026"/>
                  <a:pt x="8112" y="9066"/>
                </a:cubicBezTo>
                <a:lnTo>
                  <a:pt x="7976" y="9373"/>
                </a:lnTo>
                <a:lnTo>
                  <a:pt x="8219" y="9680"/>
                </a:lnTo>
                <a:lnTo>
                  <a:pt x="8704" y="9925"/>
                </a:lnTo>
                <a:lnTo>
                  <a:pt x="9054" y="10017"/>
                </a:lnTo>
                <a:lnTo>
                  <a:pt x="9351" y="10109"/>
                </a:lnTo>
                <a:cubicBezTo>
                  <a:pt x="9405" y="10058"/>
                  <a:pt x="9458" y="10006"/>
                  <a:pt x="9513" y="9956"/>
                </a:cubicBezTo>
                <a:cubicBezTo>
                  <a:pt x="9540" y="9915"/>
                  <a:pt x="9566" y="9873"/>
                  <a:pt x="9593" y="9833"/>
                </a:cubicBezTo>
                <a:lnTo>
                  <a:pt x="9593" y="9710"/>
                </a:lnTo>
                <a:lnTo>
                  <a:pt x="9673" y="9710"/>
                </a:lnTo>
                <a:lnTo>
                  <a:pt x="9916" y="9373"/>
                </a:lnTo>
                <a:lnTo>
                  <a:pt x="10024" y="9373"/>
                </a:lnTo>
                <a:lnTo>
                  <a:pt x="9970" y="8821"/>
                </a:lnTo>
                <a:lnTo>
                  <a:pt x="9835" y="8790"/>
                </a:lnTo>
                <a:lnTo>
                  <a:pt x="9593" y="8514"/>
                </a:lnTo>
                <a:lnTo>
                  <a:pt x="9593" y="8361"/>
                </a:lnTo>
                <a:cubicBezTo>
                  <a:pt x="9611" y="8331"/>
                  <a:pt x="9629" y="8299"/>
                  <a:pt x="9647" y="8269"/>
                </a:cubicBezTo>
                <a:cubicBezTo>
                  <a:pt x="9638" y="8249"/>
                  <a:pt x="9629" y="8228"/>
                  <a:pt x="9620" y="8208"/>
                </a:cubicBezTo>
                <a:lnTo>
                  <a:pt x="9458" y="8115"/>
                </a:lnTo>
                <a:cubicBezTo>
                  <a:pt x="9413" y="8075"/>
                  <a:pt x="9369" y="8033"/>
                  <a:pt x="9324" y="7992"/>
                </a:cubicBezTo>
                <a:cubicBezTo>
                  <a:pt x="9333" y="7901"/>
                  <a:pt x="9342" y="7809"/>
                  <a:pt x="9351" y="7717"/>
                </a:cubicBezTo>
                <a:cubicBezTo>
                  <a:pt x="9360" y="7677"/>
                  <a:pt x="9369" y="7635"/>
                  <a:pt x="9378" y="7595"/>
                </a:cubicBezTo>
                <a:cubicBezTo>
                  <a:pt x="9387" y="7554"/>
                  <a:pt x="9395" y="7512"/>
                  <a:pt x="9404" y="7472"/>
                </a:cubicBezTo>
                <a:cubicBezTo>
                  <a:pt x="9377" y="7441"/>
                  <a:pt x="9351" y="7410"/>
                  <a:pt x="9324" y="7379"/>
                </a:cubicBezTo>
                <a:cubicBezTo>
                  <a:pt x="9315" y="7339"/>
                  <a:pt x="9306" y="7297"/>
                  <a:pt x="9297" y="7256"/>
                </a:cubicBezTo>
                <a:lnTo>
                  <a:pt x="9216" y="7226"/>
                </a:lnTo>
                <a:lnTo>
                  <a:pt x="9135" y="7196"/>
                </a:lnTo>
                <a:lnTo>
                  <a:pt x="9162" y="7103"/>
                </a:lnTo>
                <a:lnTo>
                  <a:pt x="9216" y="7073"/>
                </a:lnTo>
                <a:cubicBezTo>
                  <a:pt x="9243" y="7053"/>
                  <a:pt x="9270" y="7032"/>
                  <a:pt x="9297" y="7012"/>
                </a:cubicBezTo>
              </a:path>
            </a:pathLst>
          </a:custGeom>
          <a:noFill/>
          <a:ln w="317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 wrap="none" lIns="32632" tIns="32632" rIns="32632" bIns="32632" anchor="ctr"/>
          <a:lstStyle/>
          <a:p>
            <a:pPr defTabSz="891045"/>
            <a:endParaRPr lang="en-US" sz="1700" dirty="0">
              <a:solidFill>
                <a:srgbClr val="003149"/>
              </a:solidFill>
              <a:cs typeface="Arial" panose="020B0604020202020204" pitchFamily="34" charset="0"/>
            </a:endParaRPr>
          </a:p>
        </p:txBody>
      </p:sp>
      <p:sp>
        <p:nvSpPr>
          <p:cNvPr id="156" name="Freeform 854"/>
          <p:cNvSpPr>
            <a:spLocks noChangeAspect="1"/>
          </p:cNvSpPr>
          <p:nvPr/>
        </p:nvSpPr>
        <p:spPr bwMode="gray">
          <a:xfrm>
            <a:off x="3679516" y="3717352"/>
            <a:ext cx="46915" cy="44480"/>
          </a:xfrm>
          <a:custGeom>
            <a:avLst/>
            <a:gdLst>
              <a:gd name="T0" fmla="*/ 0 w 9068"/>
              <a:gd name="T1" fmla="*/ 0 h 9851"/>
              <a:gd name="T2" fmla="*/ 0 w 9068"/>
              <a:gd name="T3" fmla="*/ 0 h 9851"/>
              <a:gd name="T4" fmla="*/ 0 w 9068"/>
              <a:gd name="T5" fmla="*/ 0 h 9851"/>
              <a:gd name="T6" fmla="*/ 0 w 9068"/>
              <a:gd name="T7" fmla="*/ 0 h 9851"/>
              <a:gd name="T8" fmla="*/ 0 w 9068"/>
              <a:gd name="T9" fmla="*/ 0 h 9851"/>
              <a:gd name="T10" fmla="*/ 0 w 9068"/>
              <a:gd name="T11" fmla="*/ 0 h 9851"/>
              <a:gd name="T12" fmla="*/ 0 w 9068"/>
              <a:gd name="T13" fmla="*/ 0 h 9851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9068"/>
              <a:gd name="T22" fmla="*/ 0 h 9851"/>
              <a:gd name="T23" fmla="*/ 9068 w 9068"/>
              <a:gd name="T24" fmla="*/ 9851 h 9851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9068" h="9851">
                <a:moveTo>
                  <a:pt x="0" y="0"/>
                </a:moveTo>
                <a:lnTo>
                  <a:pt x="1445" y="329"/>
                </a:lnTo>
                <a:lnTo>
                  <a:pt x="2910" y="92"/>
                </a:lnTo>
                <a:cubicBezTo>
                  <a:pt x="3474" y="804"/>
                  <a:pt x="4090" y="1516"/>
                  <a:pt x="4719" y="2229"/>
                </a:cubicBezTo>
                <a:cubicBezTo>
                  <a:pt x="5134" y="3021"/>
                  <a:pt x="5572" y="3815"/>
                  <a:pt x="5981" y="4610"/>
                </a:cubicBezTo>
                <a:cubicBezTo>
                  <a:pt x="6455" y="5409"/>
                  <a:pt x="6949" y="6203"/>
                  <a:pt x="7417" y="6996"/>
                </a:cubicBezTo>
                <a:cubicBezTo>
                  <a:pt x="8000" y="7946"/>
                  <a:pt x="8511" y="8900"/>
                  <a:pt x="9068" y="9851"/>
                </a:cubicBezTo>
              </a:path>
            </a:pathLst>
          </a:custGeom>
          <a:noFill/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 wrap="none" lIns="32632" tIns="32632" rIns="32632" bIns="32632" anchor="ctr"/>
          <a:lstStyle/>
          <a:p>
            <a:pPr defTabSz="891045"/>
            <a:endParaRPr lang="en-US" sz="1700" dirty="0">
              <a:solidFill>
                <a:srgbClr val="003149"/>
              </a:solidFill>
              <a:cs typeface="Arial" panose="020B0604020202020204" pitchFamily="34" charset="0"/>
            </a:endParaRPr>
          </a:p>
        </p:txBody>
      </p:sp>
      <p:sp>
        <p:nvSpPr>
          <p:cNvPr id="157" name="Freeform 855"/>
          <p:cNvSpPr>
            <a:spLocks noChangeAspect="1"/>
          </p:cNvSpPr>
          <p:nvPr/>
        </p:nvSpPr>
        <p:spPr bwMode="gray">
          <a:xfrm>
            <a:off x="3726466" y="3754683"/>
            <a:ext cx="163493" cy="176485"/>
          </a:xfrm>
          <a:custGeom>
            <a:avLst/>
            <a:gdLst>
              <a:gd name="T0" fmla="*/ 1372002649 w 180"/>
              <a:gd name="T1" fmla="*/ 1562960535 h 169"/>
              <a:gd name="T2" fmla="*/ 1372002649 w 180"/>
              <a:gd name="T3" fmla="*/ 1562960535 h 169"/>
              <a:gd name="T4" fmla="*/ 1372002649 w 180"/>
              <a:gd name="T5" fmla="*/ 1562960535 h 169"/>
              <a:gd name="T6" fmla="*/ 1372002649 w 180"/>
              <a:gd name="T7" fmla="*/ 1562960535 h 169"/>
              <a:gd name="T8" fmla="*/ 1372002649 w 180"/>
              <a:gd name="T9" fmla="*/ 1562960535 h 169"/>
              <a:gd name="T10" fmla="*/ 1372002649 w 180"/>
              <a:gd name="T11" fmla="*/ 1562960535 h 169"/>
              <a:gd name="T12" fmla="*/ 1372002649 w 180"/>
              <a:gd name="T13" fmla="*/ 1562960535 h 169"/>
              <a:gd name="T14" fmla="*/ 1372002649 w 180"/>
              <a:gd name="T15" fmla="*/ 1562960535 h 169"/>
              <a:gd name="T16" fmla="*/ 1372002649 w 180"/>
              <a:gd name="T17" fmla="*/ 1562960535 h 169"/>
              <a:gd name="T18" fmla="*/ 1372002649 w 180"/>
              <a:gd name="T19" fmla="*/ 1562960535 h 169"/>
              <a:gd name="T20" fmla="*/ 1372002649 w 180"/>
              <a:gd name="T21" fmla="*/ 1562960535 h 169"/>
              <a:gd name="T22" fmla="*/ 1372002649 w 180"/>
              <a:gd name="T23" fmla="*/ 1562960535 h 169"/>
              <a:gd name="T24" fmla="*/ 1372002649 w 180"/>
              <a:gd name="T25" fmla="*/ 1562960535 h 169"/>
              <a:gd name="T26" fmla="*/ 1372002649 w 180"/>
              <a:gd name="T27" fmla="*/ 1562960535 h 169"/>
              <a:gd name="T28" fmla="*/ 1372002649 w 180"/>
              <a:gd name="T29" fmla="*/ 1562960535 h 169"/>
              <a:gd name="T30" fmla="*/ 1372002649 w 180"/>
              <a:gd name="T31" fmla="*/ 1562960535 h 169"/>
              <a:gd name="T32" fmla="*/ 1372002649 w 180"/>
              <a:gd name="T33" fmla="*/ 1562960535 h 169"/>
              <a:gd name="T34" fmla="*/ 1372002649 w 180"/>
              <a:gd name="T35" fmla="*/ 1562960535 h 169"/>
              <a:gd name="T36" fmla="*/ 1372002649 w 180"/>
              <a:gd name="T37" fmla="*/ 1562960535 h 169"/>
              <a:gd name="T38" fmla="*/ 1372002649 w 180"/>
              <a:gd name="T39" fmla="*/ 1562960535 h 169"/>
              <a:gd name="T40" fmla="*/ 1372002649 w 180"/>
              <a:gd name="T41" fmla="*/ 1562960535 h 169"/>
              <a:gd name="T42" fmla="*/ 1372002649 w 180"/>
              <a:gd name="T43" fmla="*/ 1562960535 h 169"/>
              <a:gd name="T44" fmla="*/ 1372002649 w 180"/>
              <a:gd name="T45" fmla="*/ 1562960535 h 169"/>
              <a:gd name="T46" fmla="*/ 1372002649 w 180"/>
              <a:gd name="T47" fmla="*/ 1562960535 h 169"/>
              <a:gd name="T48" fmla="*/ 1372002649 w 180"/>
              <a:gd name="T49" fmla="*/ 1562960535 h 169"/>
              <a:gd name="T50" fmla="*/ 1372002649 w 180"/>
              <a:gd name="T51" fmla="*/ 1562960535 h 169"/>
              <a:gd name="T52" fmla="*/ 1372002649 w 180"/>
              <a:gd name="T53" fmla="*/ 1562960535 h 169"/>
              <a:gd name="T54" fmla="*/ 1372002649 w 180"/>
              <a:gd name="T55" fmla="*/ 1562960535 h 169"/>
              <a:gd name="T56" fmla="*/ 1372002649 w 180"/>
              <a:gd name="T57" fmla="*/ 1562960535 h 169"/>
              <a:gd name="T58" fmla="*/ 1372002649 w 180"/>
              <a:gd name="T59" fmla="*/ 1562960535 h 169"/>
              <a:gd name="T60" fmla="*/ 1372002649 w 180"/>
              <a:gd name="T61" fmla="*/ 1562960535 h 169"/>
              <a:gd name="T62" fmla="*/ 1372002649 w 180"/>
              <a:gd name="T63" fmla="*/ 1562960535 h 169"/>
              <a:gd name="T64" fmla="*/ 1372002649 w 180"/>
              <a:gd name="T65" fmla="*/ 1562960535 h 169"/>
              <a:gd name="T66" fmla="*/ 1372002649 w 180"/>
              <a:gd name="T67" fmla="*/ 1562960535 h 169"/>
              <a:gd name="T68" fmla="*/ 1372002649 w 180"/>
              <a:gd name="T69" fmla="*/ 0 h 169"/>
              <a:gd name="T70" fmla="*/ 1372002649 w 180"/>
              <a:gd name="T71" fmla="*/ 1562960535 h 169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w 180"/>
              <a:gd name="T109" fmla="*/ 0 h 169"/>
              <a:gd name="T110" fmla="*/ 180 w 180"/>
              <a:gd name="T111" fmla="*/ 169 h 169"/>
            </a:gdLst>
            <a:ahLst/>
            <a:cxnLst>
              <a:cxn ang="T72">
                <a:pos x="T0" y="T1"/>
              </a:cxn>
              <a:cxn ang="T73">
                <a:pos x="T2" y="T3"/>
              </a:cxn>
              <a:cxn ang="T74">
                <a:pos x="T4" y="T5"/>
              </a:cxn>
              <a:cxn ang="T75">
                <a:pos x="T6" y="T7"/>
              </a:cxn>
              <a:cxn ang="T76">
                <a:pos x="T8" y="T9"/>
              </a:cxn>
              <a:cxn ang="T77">
                <a:pos x="T10" y="T11"/>
              </a:cxn>
              <a:cxn ang="T78">
                <a:pos x="T12" y="T13"/>
              </a:cxn>
              <a:cxn ang="T79">
                <a:pos x="T14" y="T15"/>
              </a:cxn>
              <a:cxn ang="T80">
                <a:pos x="T16" y="T17"/>
              </a:cxn>
              <a:cxn ang="T81">
                <a:pos x="T18" y="T19"/>
              </a:cxn>
              <a:cxn ang="T82">
                <a:pos x="T20" y="T21"/>
              </a:cxn>
              <a:cxn ang="T83">
                <a:pos x="T22" y="T23"/>
              </a:cxn>
              <a:cxn ang="T84">
                <a:pos x="T24" y="T25"/>
              </a:cxn>
              <a:cxn ang="T85">
                <a:pos x="T26" y="T27"/>
              </a:cxn>
              <a:cxn ang="T86">
                <a:pos x="T28" y="T29"/>
              </a:cxn>
              <a:cxn ang="T87">
                <a:pos x="T30" y="T31"/>
              </a:cxn>
              <a:cxn ang="T88">
                <a:pos x="T32" y="T33"/>
              </a:cxn>
              <a:cxn ang="T89">
                <a:pos x="T34" y="T35"/>
              </a:cxn>
              <a:cxn ang="T90">
                <a:pos x="T36" y="T37"/>
              </a:cxn>
              <a:cxn ang="T91">
                <a:pos x="T38" y="T39"/>
              </a:cxn>
              <a:cxn ang="T92">
                <a:pos x="T40" y="T41"/>
              </a:cxn>
              <a:cxn ang="T93">
                <a:pos x="T42" y="T43"/>
              </a:cxn>
              <a:cxn ang="T94">
                <a:pos x="T44" y="T45"/>
              </a:cxn>
              <a:cxn ang="T95">
                <a:pos x="T46" y="T47"/>
              </a:cxn>
              <a:cxn ang="T96">
                <a:pos x="T48" y="T49"/>
              </a:cxn>
              <a:cxn ang="T97">
                <a:pos x="T50" y="T51"/>
              </a:cxn>
              <a:cxn ang="T98">
                <a:pos x="T52" y="T53"/>
              </a:cxn>
              <a:cxn ang="T99">
                <a:pos x="T54" y="T55"/>
              </a:cxn>
              <a:cxn ang="T100">
                <a:pos x="T56" y="T57"/>
              </a:cxn>
              <a:cxn ang="T101">
                <a:pos x="T58" y="T59"/>
              </a:cxn>
              <a:cxn ang="T102">
                <a:pos x="T60" y="T61"/>
              </a:cxn>
              <a:cxn ang="T103">
                <a:pos x="T62" y="T63"/>
              </a:cxn>
              <a:cxn ang="T104">
                <a:pos x="T64" y="T65"/>
              </a:cxn>
              <a:cxn ang="T105">
                <a:pos x="T66" y="T67"/>
              </a:cxn>
              <a:cxn ang="T106">
                <a:pos x="T68" y="T69"/>
              </a:cxn>
              <a:cxn ang="T107">
                <a:pos x="T70" y="T71"/>
              </a:cxn>
            </a:cxnLst>
            <a:rect l="T108" t="T109" r="T110" b="T111"/>
            <a:pathLst>
              <a:path w="180" h="169">
                <a:moveTo>
                  <a:pt x="180" y="145"/>
                </a:moveTo>
                <a:lnTo>
                  <a:pt x="171" y="154"/>
                </a:lnTo>
                <a:lnTo>
                  <a:pt x="159" y="156"/>
                </a:lnTo>
                <a:lnTo>
                  <a:pt x="150" y="155"/>
                </a:lnTo>
                <a:lnTo>
                  <a:pt x="142" y="153"/>
                </a:lnTo>
                <a:lnTo>
                  <a:pt x="132" y="158"/>
                </a:lnTo>
                <a:lnTo>
                  <a:pt x="123" y="158"/>
                </a:lnTo>
                <a:lnTo>
                  <a:pt x="123" y="162"/>
                </a:lnTo>
                <a:lnTo>
                  <a:pt x="115" y="167"/>
                </a:lnTo>
                <a:lnTo>
                  <a:pt x="111" y="169"/>
                </a:lnTo>
                <a:lnTo>
                  <a:pt x="109" y="163"/>
                </a:lnTo>
                <a:lnTo>
                  <a:pt x="102" y="159"/>
                </a:lnTo>
                <a:lnTo>
                  <a:pt x="100" y="152"/>
                </a:lnTo>
                <a:lnTo>
                  <a:pt x="95" y="152"/>
                </a:lnTo>
                <a:lnTo>
                  <a:pt x="90" y="149"/>
                </a:lnTo>
                <a:lnTo>
                  <a:pt x="85" y="150"/>
                </a:lnTo>
                <a:lnTo>
                  <a:pt x="76" y="157"/>
                </a:lnTo>
                <a:lnTo>
                  <a:pt x="71" y="151"/>
                </a:lnTo>
                <a:lnTo>
                  <a:pt x="67" y="147"/>
                </a:lnTo>
                <a:lnTo>
                  <a:pt x="72" y="141"/>
                </a:lnTo>
                <a:lnTo>
                  <a:pt x="88" y="133"/>
                </a:lnTo>
                <a:lnTo>
                  <a:pt x="96" y="131"/>
                </a:lnTo>
                <a:lnTo>
                  <a:pt x="104" y="124"/>
                </a:lnTo>
                <a:lnTo>
                  <a:pt x="102" y="121"/>
                </a:lnTo>
                <a:lnTo>
                  <a:pt x="98" y="125"/>
                </a:lnTo>
                <a:lnTo>
                  <a:pt x="89" y="125"/>
                </a:lnTo>
                <a:lnTo>
                  <a:pt x="79" y="122"/>
                </a:lnTo>
                <a:lnTo>
                  <a:pt x="73" y="114"/>
                </a:lnTo>
                <a:lnTo>
                  <a:pt x="68" y="108"/>
                </a:lnTo>
                <a:lnTo>
                  <a:pt x="63" y="104"/>
                </a:lnTo>
                <a:lnTo>
                  <a:pt x="63" y="110"/>
                </a:lnTo>
                <a:lnTo>
                  <a:pt x="63" y="116"/>
                </a:lnTo>
                <a:lnTo>
                  <a:pt x="57" y="112"/>
                </a:lnTo>
                <a:lnTo>
                  <a:pt x="51" y="116"/>
                </a:lnTo>
                <a:lnTo>
                  <a:pt x="47" y="110"/>
                </a:lnTo>
                <a:lnTo>
                  <a:pt x="48" y="104"/>
                </a:lnTo>
                <a:lnTo>
                  <a:pt x="51" y="101"/>
                </a:lnTo>
                <a:lnTo>
                  <a:pt x="57" y="100"/>
                </a:lnTo>
                <a:lnTo>
                  <a:pt x="54" y="94"/>
                </a:lnTo>
                <a:lnTo>
                  <a:pt x="54" y="88"/>
                </a:lnTo>
                <a:lnTo>
                  <a:pt x="53" y="83"/>
                </a:lnTo>
                <a:lnTo>
                  <a:pt x="48" y="82"/>
                </a:lnTo>
                <a:lnTo>
                  <a:pt x="48" y="92"/>
                </a:lnTo>
                <a:lnTo>
                  <a:pt x="44" y="95"/>
                </a:lnTo>
                <a:lnTo>
                  <a:pt x="38" y="89"/>
                </a:lnTo>
                <a:lnTo>
                  <a:pt x="36" y="84"/>
                </a:lnTo>
                <a:lnTo>
                  <a:pt x="32" y="83"/>
                </a:lnTo>
                <a:lnTo>
                  <a:pt x="28" y="92"/>
                </a:lnTo>
                <a:lnTo>
                  <a:pt x="20" y="88"/>
                </a:lnTo>
                <a:lnTo>
                  <a:pt x="20" y="83"/>
                </a:lnTo>
                <a:lnTo>
                  <a:pt x="17" y="79"/>
                </a:lnTo>
                <a:lnTo>
                  <a:pt x="13" y="81"/>
                </a:lnTo>
                <a:lnTo>
                  <a:pt x="10" y="86"/>
                </a:lnTo>
                <a:lnTo>
                  <a:pt x="5" y="83"/>
                </a:lnTo>
                <a:lnTo>
                  <a:pt x="5" y="77"/>
                </a:lnTo>
                <a:lnTo>
                  <a:pt x="3" y="69"/>
                </a:lnTo>
                <a:lnTo>
                  <a:pt x="4" y="66"/>
                </a:lnTo>
                <a:lnTo>
                  <a:pt x="9" y="64"/>
                </a:lnTo>
                <a:lnTo>
                  <a:pt x="15" y="69"/>
                </a:lnTo>
                <a:lnTo>
                  <a:pt x="17" y="64"/>
                </a:lnTo>
                <a:lnTo>
                  <a:pt x="15" y="58"/>
                </a:lnTo>
                <a:lnTo>
                  <a:pt x="18" y="53"/>
                </a:lnTo>
                <a:lnTo>
                  <a:pt x="22" y="50"/>
                </a:lnTo>
                <a:lnTo>
                  <a:pt x="21" y="40"/>
                </a:lnTo>
                <a:lnTo>
                  <a:pt x="22" y="32"/>
                </a:lnTo>
                <a:lnTo>
                  <a:pt x="27" y="22"/>
                </a:lnTo>
                <a:lnTo>
                  <a:pt x="27" y="11"/>
                </a:lnTo>
                <a:lnTo>
                  <a:pt x="24" y="5"/>
                </a:lnTo>
                <a:lnTo>
                  <a:pt x="19" y="2"/>
                </a:lnTo>
                <a:lnTo>
                  <a:pt x="12" y="0"/>
                </a:lnTo>
                <a:lnTo>
                  <a:pt x="9" y="5"/>
                </a:lnTo>
                <a:lnTo>
                  <a:pt x="4" y="5"/>
                </a:lnTo>
                <a:lnTo>
                  <a:pt x="0" y="5"/>
                </a:lnTo>
              </a:path>
            </a:pathLst>
          </a:custGeom>
          <a:noFill/>
          <a:ln w="317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 wrap="none" lIns="32632" tIns="32632" rIns="32632" bIns="32632" anchor="ctr"/>
          <a:lstStyle/>
          <a:p>
            <a:pPr defTabSz="891045"/>
            <a:endParaRPr lang="en-US" sz="1700" dirty="0">
              <a:solidFill>
                <a:srgbClr val="003149"/>
              </a:solidFill>
              <a:cs typeface="Arial" panose="020B0604020202020204" pitchFamily="34" charset="0"/>
            </a:endParaRPr>
          </a:p>
        </p:txBody>
      </p:sp>
      <p:sp>
        <p:nvSpPr>
          <p:cNvPr id="158" name="Freeform 857"/>
          <p:cNvSpPr>
            <a:spLocks noChangeAspect="1"/>
          </p:cNvSpPr>
          <p:nvPr/>
        </p:nvSpPr>
        <p:spPr bwMode="gray">
          <a:xfrm>
            <a:off x="3952513" y="3978494"/>
            <a:ext cx="200455" cy="255400"/>
          </a:xfrm>
          <a:custGeom>
            <a:avLst/>
            <a:gdLst>
              <a:gd name="T0" fmla="*/ 1382625743 w 219"/>
              <a:gd name="T1" fmla="*/ 1566606158 h 244"/>
              <a:gd name="T2" fmla="*/ 1382625743 w 219"/>
              <a:gd name="T3" fmla="*/ 1566606158 h 244"/>
              <a:gd name="T4" fmla="*/ 1382625743 w 219"/>
              <a:gd name="T5" fmla="*/ 1566606158 h 244"/>
              <a:gd name="T6" fmla="*/ 1382625743 w 219"/>
              <a:gd name="T7" fmla="*/ 1566606158 h 244"/>
              <a:gd name="T8" fmla="*/ 1382625743 w 219"/>
              <a:gd name="T9" fmla="*/ 1566606158 h 244"/>
              <a:gd name="T10" fmla="*/ 1382625743 w 219"/>
              <a:gd name="T11" fmla="*/ 1566606158 h 244"/>
              <a:gd name="T12" fmla="*/ 1382625743 w 219"/>
              <a:gd name="T13" fmla="*/ 1566606158 h 244"/>
              <a:gd name="T14" fmla="*/ 1382625743 w 219"/>
              <a:gd name="T15" fmla="*/ 1566606158 h 244"/>
              <a:gd name="T16" fmla="*/ 1382625743 w 219"/>
              <a:gd name="T17" fmla="*/ 1566606158 h 244"/>
              <a:gd name="T18" fmla="*/ 1382625743 w 219"/>
              <a:gd name="T19" fmla="*/ 1566606158 h 244"/>
              <a:gd name="T20" fmla="*/ 1382625743 w 219"/>
              <a:gd name="T21" fmla="*/ 1566606158 h 244"/>
              <a:gd name="T22" fmla="*/ 1382625743 w 219"/>
              <a:gd name="T23" fmla="*/ 1566606158 h 244"/>
              <a:gd name="T24" fmla="*/ 1382625743 w 219"/>
              <a:gd name="T25" fmla="*/ 1566606158 h 244"/>
              <a:gd name="T26" fmla="*/ 1382625743 w 219"/>
              <a:gd name="T27" fmla="*/ 1566606158 h 244"/>
              <a:gd name="T28" fmla="*/ 1382625743 w 219"/>
              <a:gd name="T29" fmla="*/ 1566606158 h 244"/>
              <a:gd name="T30" fmla="*/ 1382625743 w 219"/>
              <a:gd name="T31" fmla="*/ 1566606158 h 244"/>
              <a:gd name="T32" fmla="*/ 1382625743 w 219"/>
              <a:gd name="T33" fmla="*/ 1566606158 h 244"/>
              <a:gd name="T34" fmla="*/ 1382625743 w 219"/>
              <a:gd name="T35" fmla="*/ 1566606158 h 244"/>
              <a:gd name="T36" fmla="*/ 1382625743 w 219"/>
              <a:gd name="T37" fmla="*/ 1566606158 h 244"/>
              <a:gd name="T38" fmla="*/ 1382625743 w 219"/>
              <a:gd name="T39" fmla="*/ 1566606158 h 244"/>
              <a:gd name="T40" fmla="*/ 1382625743 w 219"/>
              <a:gd name="T41" fmla="*/ 1566606158 h 244"/>
              <a:gd name="T42" fmla="*/ 1382625743 w 219"/>
              <a:gd name="T43" fmla="*/ 1566606158 h 244"/>
              <a:gd name="T44" fmla="*/ 1382625743 w 219"/>
              <a:gd name="T45" fmla="*/ 1566606158 h 244"/>
              <a:gd name="T46" fmla="*/ 1382625743 w 219"/>
              <a:gd name="T47" fmla="*/ 1566606158 h 244"/>
              <a:gd name="T48" fmla="*/ 1382625743 w 219"/>
              <a:gd name="T49" fmla="*/ 1566606158 h 244"/>
              <a:gd name="T50" fmla="*/ 1382625743 w 219"/>
              <a:gd name="T51" fmla="*/ 1566606158 h 244"/>
              <a:gd name="T52" fmla="*/ 1382625743 w 219"/>
              <a:gd name="T53" fmla="*/ 1566606158 h 244"/>
              <a:gd name="T54" fmla="*/ 1382625743 w 219"/>
              <a:gd name="T55" fmla="*/ 1566606158 h 244"/>
              <a:gd name="T56" fmla="*/ 1382625743 w 219"/>
              <a:gd name="T57" fmla="*/ 1566606158 h 244"/>
              <a:gd name="T58" fmla="*/ 1382625743 w 219"/>
              <a:gd name="T59" fmla="*/ 1566606158 h 244"/>
              <a:gd name="T60" fmla="*/ 1382625743 w 219"/>
              <a:gd name="T61" fmla="*/ 1566606158 h 244"/>
              <a:gd name="T62" fmla="*/ 1382625743 w 219"/>
              <a:gd name="T63" fmla="*/ 1566606158 h 244"/>
              <a:gd name="T64" fmla="*/ 1382625743 w 219"/>
              <a:gd name="T65" fmla="*/ 1566606158 h 244"/>
              <a:gd name="T66" fmla="*/ 1382625743 w 219"/>
              <a:gd name="T67" fmla="*/ 1566606158 h 244"/>
              <a:gd name="T68" fmla="*/ 1382625743 w 219"/>
              <a:gd name="T69" fmla="*/ 1566606158 h 244"/>
              <a:gd name="T70" fmla="*/ 1382625743 w 219"/>
              <a:gd name="T71" fmla="*/ 1566606158 h 244"/>
              <a:gd name="T72" fmla="*/ 1382625743 w 219"/>
              <a:gd name="T73" fmla="*/ 1566606158 h 244"/>
              <a:gd name="T74" fmla="*/ 1382625743 w 219"/>
              <a:gd name="T75" fmla="*/ 1566606158 h 244"/>
              <a:gd name="T76" fmla="*/ 1382625743 w 219"/>
              <a:gd name="T77" fmla="*/ 1566606158 h 244"/>
              <a:gd name="T78" fmla="*/ 1382625743 w 219"/>
              <a:gd name="T79" fmla="*/ 1566606158 h 244"/>
              <a:gd name="T80" fmla="*/ 1382625743 w 219"/>
              <a:gd name="T81" fmla="*/ 1566606158 h 244"/>
              <a:gd name="T82" fmla="*/ 1382625743 w 219"/>
              <a:gd name="T83" fmla="*/ 1566606158 h 244"/>
              <a:gd name="T84" fmla="*/ 1382625743 w 219"/>
              <a:gd name="T85" fmla="*/ 1566606158 h 244"/>
              <a:gd name="T86" fmla="*/ 0 w 219"/>
              <a:gd name="T87" fmla="*/ 0 h 244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w 219"/>
              <a:gd name="T133" fmla="*/ 0 h 244"/>
              <a:gd name="T134" fmla="*/ 219 w 219"/>
              <a:gd name="T135" fmla="*/ 244 h 244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T132" t="T133" r="T134" b="T135"/>
            <a:pathLst>
              <a:path w="219" h="244">
                <a:moveTo>
                  <a:pt x="219" y="244"/>
                </a:moveTo>
                <a:lnTo>
                  <a:pt x="214" y="237"/>
                </a:lnTo>
                <a:lnTo>
                  <a:pt x="211" y="231"/>
                </a:lnTo>
                <a:lnTo>
                  <a:pt x="207" y="230"/>
                </a:lnTo>
                <a:lnTo>
                  <a:pt x="198" y="226"/>
                </a:lnTo>
                <a:lnTo>
                  <a:pt x="193" y="224"/>
                </a:lnTo>
                <a:lnTo>
                  <a:pt x="187" y="227"/>
                </a:lnTo>
                <a:lnTo>
                  <a:pt x="177" y="227"/>
                </a:lnTo>
                <a:lnTo>
                  <a:pt x="172" y="231"/>
                </a:lnTo>
                <a:lnTo>
                  <a:pt x="166" y="235"/>
                </a:lnTo>
                <a:lnTo>
                  <a:pt x="158" y="235"/>
                </a:lnTo>
                <a:lnTo>
                  <a:pt x="154" y="231"/>
                </a:lnTo>
                <a:lnTo>
                  <a:pt x="143" y="233"/>
                </a:lnTo>
                <a:lnTo>
                  <a:pt x="135" y="230"/>
                </a:lnTo>
                <a:lnTo>
                  <a:pt x="128" y="222"/>
                </a:lnTo>
                <a:lnTo>
                  <a:pt x="118" y="225"/>
                </a:lnTo>
                <a:lnTo>
                  <a:pt x="110" y="222"/>
                </a:lnTo>
                <a:lnTo>
                  <a:pt x="108" y="219"/>
                </a:lnTo>
                <a:lnTo>
                  <a:pt x="109" y="213"/>
                </a:lnTo>
                <a:lnTo>
                  <a:pt x="111" y="210"/>
                </a:lnTo>
                <a:lnTo>
                  <a:pt x="107" y="208"/>
                </a:lnTo>
                <a:lnTo>
                  <a:pt x="103" y="208"/>
                </a:lnTo>
                <a:lnTo>
                  <a:pt x="98" y="205"/>
                </a:lnTo>
                <a:lnTo>
                  <a:pt x="94" y="202"/>
                </a:lnTo>
                <a:lnTo>
                  <a:pt x="101" y="192"/>
                </a:lnTo>
                <a:lnTo>
                  <a:pt x="98" y="185"/>
                </a:lnTo>
                <a:lnTo>
                  <a:pt x="93" y="187"/>
                </a:lnTo>
                <a:lnTo>
                  <a:pt x="89" y="180"/>
                </a:lnTo>
                <a:lnTo>
                  <a:pt x="85" y="179"/>
                </a:lnTo>
                <a:lnTo>
                  <a:pt x="76" y="180"/>
                </a:lnTo>
                <a:lnTo>
                  <a:pt x="74" y="188"/>
                </a:lnTo>
                <a:lnTo>
                  <a:pt x="70" y="193"/>
                </a:lnTo>
                <a:lnTo>
                  <a:pt x="67" y="196"/>
                </a:lnTo>
                <a:lnTo>
                  <a:pt x="60" y="196"/>
                </a:lnTo>
                <a:lnTo>
                  <a:pt x="55" y="197"/>
                </a:lnTo>
                <a:lnTo>
                  <a:pt x="51" y="202"/>
                </a:lnTo>
                <a:lnTo>
                  <a:pt x="47" y="206"/>
                </a:lnTo>
                <a:lnTo>
                  <a:pt x="45" y="200"/>
                </a:lnTo>
                <a:lnTo>
                  <a:pt x="41" y="183"/>
                </a:lnTo>
                <a:lnTo>
                  <a:pt x="36" y="138"/>
                </a:lnTo>
                <a:lnTo>
                  <a:pt x="27" y="91"/>
                </a:lnTo>
                <a:lnTo>
                  <a:pt x="14" y="36"/>
                </a:lnTo>
                <a:lnTo>
                  <a:pt x="7" y="8"/>
                </a:lnTo>
                <a:lnTo>
                  <a:pt x="0" y="0"/>
                </a:lnTo>
              </a:path>
            </a:pathLst>
          </a:custGeom>
          <a:noFill/>
          <a:ln w="317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 wrap="none" lIns="32632" tIns="32632" rIns="32632" bIns="32632" anchor="ctr"/>
          <a:lstStyle/>
          <a:p>
            <a:pPr defTabSz="891045"/>
            <a:endParaRPr lang="en-US" sz="1700" dirty="0">
              <a:solidFill>
                <a:srgbClr val="003149"/>
              </a:solidFill>
              <a:cs typeface="Arial" panose="020B0604020202020204" pitchFamily="34" charset="0"/>
            </a:endParaRPr>
          </a:p>
        </p:txBody>
      </p:sp>
      <p:sp>
        <p:nvSpPr>
          <p:cNvPr id="159" name="Freeform 858"/>
          <p:cNvSpPr>
            <a:spLocks noChangeAspect="1"/>
          </p:cNvSpPr>
          <p:nvPr/>
        </p:nvSpPr>
        <p:spPr bwMode="gray">
          <a:xfrm>
            <a:off x="4152933" y="4233894"/>
            <a:ext cx="129372" cy="144918"/>
          </a:xfrm>
          <a:custGeom>
            <a:avLst/>
            <a:gdLst>
              <a:gd name="T0" fmla="*/ 1395863430 w 140"/>
              <a:gd name="T1" fmla="*/ 1538267396 h 141"/>
              <a:gd name="T2" fmla="*/ 1395863430 w 140"/>
              <a:gd name="T3" fmla="*/ 1538267396 h 141"/>
              <a:gd name="T4" fmla="*/ 1395863430 w 140"/>
              <a:gd name="T5" fmla="*/ 1538267396 h 141"/>
              <a:gd name="T6" fmla="*/ 1395863430 w 140"/>
              <a:gd name="T7" fmla="*/ 1538267396 h 141"/>
              <a:gd name="T8" fmla="*/ 1395863430 w 140"/>
              <a:gd name="T9" fmla="*/ 1538267396 h 141"/>
              <a:gd name="T10" fmla="*/ 1395863430 w 140"/>
              <a:gd name="T11" fmla="*/ 1538267396 h 141"/>
              <a:gd name="T12" fmla="*/ 1395863430 w 140"/>
              <a:gd name="T13" fmla="*/ 1538267396 h 141"/>
              <a:gd name="T14" fmla="*/ 1395863430 w 140"/>
              <a:gd name="T15" fmla="*/ 1538267396 h 141"/>
              <a:gd name="T16" fmla="*/ 1395863430 w 140"/>
              <a:gd name="T17" fmla="*/ 1538267396 h 141"/>
              <a:gd name="T18" fmla="*/ 1395863430 w 140"/>
              <a:gd name="T19" fmla="*/ 1538267396 h 141"/>
              <a:gd name="T20" fmla="*/ 1395863430 w 140"/>
              <a:gd name="T21" fmla="*/ 1538267396 h 141"/>
              <a:gd name="T22" fmla="*/ 1395863430 w 140"/>
              <a:gd name="T23" fmla="*/ 1538267396 h 141"/>
              <a:gd name="T24" fmla="*/ 1395863430 w 140"/>
              <a:gd name="T25" fmla="*/ 1538267396 h 141"/>
              <a:gd name="T26" fmla="*/ 1395863430 w 140"/>
              <a:gd name="T27" fmla="*/ 1538267396 h 141"/>
              <a:gd name="T28" fmla="*/ 1395863430 w 140"/>
              <a:gd name="T29" fmla="*/ 1538267396 h 141"/>
              <a:gd name="T30" fmla="*/ 1395863430 w 140"/>
              <a:gd name="T31" fmla="*/ 1538267396 h 141"/>
              <a:gd name="T32" fmla="*/ 1395863430 w 140"/>
              <a:gd name="T33" fmla="*/ 1538267396 h 141"/>
              <a:gd name="T34" fmla="*/ 1395863430 w 140"/>
              <a:gd name="T35" fmla="*/ 1538267396 h 141"/>
              <a:gd name="T36" fmla="*/ 1395863430 w 140"/>
              <a:gd name="T37" fmla="*/ 1538267396 h 141"/>
              <a:gd name="T38" fmla="*/ 1395863430 w 140"/>
              <a:gd name="T39" fmla="*/ 1538267396 h 141"/>
              <a:gd name="T40" fmla="*/ 1395863430 w 140"/>
              <a:gd name="T41" fmla="*/ 1538267396 h 141"/>
              <a:gd name="T42" fmla="*/ 1395863430 w 140"/>
              <a:gd name="T43" fmla="*/ 1538267396 h 141"/>
              <a:gd name="T44" fmla="*/ 1395863430 w 140"/>
              <a:gd name="T45" fmla="*/ 1538267396 h 141"/>
              <a:gd name="T46" fmla="*/ 1395863430 w 140"/>
              <a:gd name="T47" fmla="*/ 1538267396 h 141"/>
              <a:gd name="T48" fmla="*/ 1395863430 w 140"/>
              <a:gd name="T49" fmla="*/ 1538267396 h 141"/>
              <a:gd name="T50" fmla="*/ 1395863430 w 140"/>
              <a:gd name="T51" fmla="*/ 1538267396 h 141"/>
              <a:gd name="T52" fmla="*/ 0 w 140"/>
              <a:gd name="T53" fmla="*/ 0 h 141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w 140"/>
              <a:gd name="T82" fmla="*/ 0 h 141"/>
              <a:gd name="T83" fmla="*/ 140 w 140"/>
              <a:gd name="T84" fmla="*/ 141 h 141"/>
            </a:gdLst>
            <a:ahLst/>
            <a:cxnLst>
              <a:cxn ang="T54">
                <a:pos x="T0" y="T1"/>
              </a:cxn>
              <a:cxn ang="T55">
                <a:pos x="T2" y="T3"/>
              </a:cxn>
              <a:cxn ang="T56">
                <a:pos x="T4" y="T5"/>
              </a:cxn>
              <a:cxn ang="T57">
                <a:pos x="T6" y="T7"/>
              </a:cxn>
              <a:cxn ang="T58">
                <a:pos x="T8" y="T9"/>
              </a:cxn>
              <a:cxn ang="T59">
                <a:pos x="T10" y="T11"/>
              </a:cxn>
              <a:cxn ang="T60">
                <a:pos x="T12" y="T13"/>
              </a:cxn>
              <a:cxn ang="T61">
                <a:pos x="T14" y="T15"/>
              </a:cxn>
              <a:cxn ang="T62">
                <a:pos x="T16" y="T17"/>
              </a:cxn>
              <a:cxn ang="T63">
                <a:pos x="T18" y="T19"/>
              </a:cxn>
              <a:cxn ang="T64">
                <a:pos x="T20" y="T21"/>
              </a:cxn>
              <a:cxn ang="T65">
                <a:pos x="T22" y="T23"/>
              </a:cxn>
              <a:cxn ang="T66">
                <a:pos x="T24" y="T25"/>
              </a:cxn>
              <a:cxn ang="T67">
                <a:pos x="T26" y="T27"/>
              </a:cxn>
              <a:cxn ang="T68">
                <a:pos x="T28" y="T29"/>
              </a:cxn>
              <a:cxn ang="T69">
                <a:pos x="T30" y="T31"/>
              </a:cxn>
              <a:cxn ang="T70">
                <a:pos x="T32" y="T33"/>
              </a:cxn>
              <a:cxn ang="T71">
                <a:pos x="T34" y="T35"/>
              </a:cxn>
              <a:cxn ang="T72">
                <a:pos x="T36" y="T37"/>
              </a:cxn>
              <a:cxn ang="T73">
                <a:pos x="T38" y="T39"/>
              </a:cxn>
              <a:cxn ang="T74">
                <a:pos x="T40" y="T41"/>
              </a:cxn>
              <a:cxn ang="T75">
                <a:pos x="T42" y="T43"/>
              </a:cxn>
              <a:cxn ang="T76">
                <a:pos x="T44" y="T45"/>
              </a:cxn>
              <a:cxn ang="T77">
                <a:pos x="T46" y="T47"/>
              </a:cxn>
              <a:cxn ang="T78">
                <a:pos x="T48" y="T49"/>
              </a:cxn>
              <a:cxn ang="T79">
                <a:pos x="T50" y="T51"/>
              </a:cxn>
              <a:cxn ang="T80">
                <a:pos x="T52" y="T53"/>
              </a:cxn>
            </a:cxnLst>
            <a:rect l="T81" t="T82" r="T83" b="T84"/>
            <a:pathLst>
              <a:path w="140" h="141">
                <a:moveTo>
                  <a:pt x="132" y="141"/>
                </a:moveTo>
                <a:lnTo>
                  <a:pt x="140" y="133"/>
                </a:lnTo>
                <a:lnTo>
                  <a:pt x="124" y="131"/>
                </a:lnTo>
                <a:lnTo>
                  <a:pt x="110" y="103"/>
                </a:lnTo>
                <a:lnTo>
                  <a:pt x="118" y="98"/>
                </a:lnTo>
                <a:lnTo>
                  <a:pt x="119" y="93"/>
                </a:lnTo>
                <a:lnTo>
                  <a:pt x="115" y="91"/>
                </a:lnTo>
                <a:lnTo>
                  <a:pt x="111" y="96"/>
                </a:lnTo>
                <a:lnTo>
                  <a:pt x="92" y="110"/>
                </a:lnTo>
                <a:lnTo>
                  <a:pt x="77" y="106"/>
                </a:lnTo>
                <a:lnTo>
                  <a:pt x="67" y="99"/>
                </a:lnTo>
                <a:lnTo>
                  <a:pt x="61" y="94"/>
                </a:lnTo>
                <a:lnTo>
                  <a:pt x="50" y="96"/>
                </a:lnTo>
                <a:lnTo>
                  <a:pt x="43" y="88"/>
                </a:lnTo>
                <a:lnTo>
                  <a:pt x="43" y="76"/>
                </a:lnTo>
                <a:lnTo>
                  <a:pt x="41" y="69"/>
                </a:lnTo>
                <a:lnTo>
                  <a:pt x="38" y="65"/>
                </a:lnTo>
                <a:lnTo>
                  <a:pt x="38" y="58"/>
                </a:lnTo>
                <a:lnTo>
                  <a:pt x="30" y="52"/>
                </a:lnTo>
                <a:lnTo>
                  <a:pt x="20" y="45"/>
                </a:lnTo>
                <a:lnTo>
                  <a:pt x="12" y="42"/>
                </a:lnTo>
                <a:lnTo>
                  <a:pt x="8" y="37"/>
                </a:lnTo>
                <a:lnTo>
                  <a:pt x="9" y="24"/>
                </a:lnTo>
                <a:lnTo>
                  <a:pt x="9" y="15"/>
                </a:lnTo>
                <a:lnTo>
                  <a:pt x="5" y="9"/>
                </a:lnTo>
                <a:lnTo>
                  <a:pt x="1" y="4"/>
                </a:lnTo>
                <a:lnTo>
                  <a:pt x="0" y="0"/>
                </a:lnTo>
              </a:path>
            </a:pathLst>
          </a:custGeom>
          <a:noFill/>
          <a:ln w="317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 wrap="none" lIns="32632" tIns="32632" rIns="32632" bIns="32632" anchor="ctr"/>
          <a:lstStyle/>
          <a:p>
            <a:pPr defTabSz="891045"/>
            <a:endParaRPr lang="en-US" sz="1700" dirty="0">
              <a:solidFill>
                <a:srgbClr val="003149"/>
              </a:solidFill>
              <a:cs typeface="Arial" panose="020B0604020202020204" pitchFamily="34" charset="0"/>
            </a:endParaRPr>
          </a:p>
        </p:txBody>
      </p:sp>
      <p:sp>
        <p:nvSpPr>
          <p:cNvPr id="160" name="Freeform 860"/>
          <p:cNvSpPr>
            <a:spLocks noChangeAspect="1"/>
          </p:cNvSpPr>
          <p:nvPr/>
        </p:nvSpPr>
        <p:spPr bwMode="gray">
          <a:xfrm>
            <a:off x="3838742" y="4378813"/>
            <a:ext cx="437875" cy="437625"/>
          </a:xfrm>
          <a:custGeom>
            <a:avLst/>
            <a:gdLst>
              <a:gd name="T0" fmla="*/ 0 w 10142"/>
              <a:gd name="T1" fmla="*/ 0 h 10032"/>
              <a:gd name="T2" fmla="*/ 0 w 10142"/>
              <a:gd name="T3" fmla="*/ 0 h 10032"/>
              <a:gd name="T4" fmla="*/ 0 w 10142"/>
              <a:gd name="T5" fmla="*/ 0 h 10032"/>
              <a:gd name="T6" fmla="*/ 0 w 10142"/>
              <a:gd name="T7" fmla="*/ 0 h 10032"/>
              <a:gd name="T8" fmla="*/ 0 w 10142"/>
              <a:gd name="T9" fmla="*/ 0 h 10032"/>
              <a:gd name="T10" fmla="*/ 0 w 10142"/>
              <a:gd name="T11" fmla="*/ 0 h 10032"/>
              <a:gd name="T12" fmla="*/ 0 w 10142"/>
              <a:gd name="T13" fmla="*/ 0 h 10032"/>
              <a:gd name="T14" fmla="*/ 0 w 10142"/>
              <a:gd name="T15" fmla="*/ 0 h 10032"/>
              <a:gd name="T16" fmla="*/ 0 w 10142"/>
              <a:gd name="T17" fmla="*/ 0 h 10032"/>
              <a:gd name="T18" fmla="*/ 0 w 10142"/>
              <a:gd name="T19" fmla="*/ 0 h 10032"/>
              <a:gd name="T20" fmla="*/ 0 w 10142"/>
              <a:gd name="T21" fmla="*/ 0 h 10032"/>
              <a:gd name="T22" fmla="*/ 0 w 10142"/>
              <a:gd name="T23" fmla="*/ 0 h 10032"/>
              <a:gd name="T24" fmla="*/ 0 w 10142"/>
              <a:gd name="T25" fmla="*/ 0 h 10032"/>
              <a:gd name="T26" fmla="*/ 0 w 10142"/>
              <a:gd name="T27" fmla="*/ 0 h 10032"/>
              <a:gd name="T28" fmla="*/ 0 w 10142"/>
              <a:gd name="T29" fmla="*/ 0 h 10032"/>
              <a:gd name="T30" fmla="*/ 0 w 10142"/>
              <a:gd name="T31" fmla="*/ 0 h 10032"/>
              <a:gd name="T32" fmla="*/ 0 w 10142"/>
              <a:gd name="T33" fmla="*/ 0 h 10032"/>
              <a:gd name="T34" fmla="*/ 0 w 10142"/>
              <a:gd name="T35" fmla="*/ 0 h 10032"/>
              <a:gd name="T36" fmla="*/ 0 w 10142"/>
              <a:gd name="T37" fmla="*/ 0 h 10032"/>
              <a:gd name="T38" fmla="*/ 0 w 10142"/>
              <a:gd name="T39" fmla="*/ 0 h 10032"/>
              <a:gd name="T40" fmla="*/ 0 w 10142"/>
              <a:gd name="T41" fmla="*/ 0 h 10032"/>
              <a:gd name="T42" fmla="*/ 0 w 10142"/>
              <a:gd name="T43" fmla="*/ 0 h 10032"/>
              <a:gd name="T44" fmla="*/ 0 w 10142"/>
              <a:gd name="T45" fmla="*/ 0 h 10032"/>
              <a:gd name="T46" fmla="*/ 0 w 10142"/>
              <a:gd name="T47" fmla="*/ 0 h 10032"/>
              <a:gd name="T48" fmla="*/ 0 w 10142"/>
              <a:gd name="T49" fmla="*/ 0 h 10032"/>
              <a:gd name="T50" fmla="*/ 0 w 10142"/>
              <a:gd name="T51" fmla="*/ 0 h 10032"/>
              <a:gd name="T52" fmla="*/ 0 w 10142"/>
              <a:gd name="T53" fmla="*/ 0 h 10032"/>
              <a:gd name="T54" fmla="*/ 0 w 10142"/>
              <a:gd name="T55" fmla="*/ 0 h 10032"/>
              <a:gd name="T56" fmla="*/ 0 w 10142"/>
              <a:gd name="T57" fmla="*/ 0 h 10032"/>
              <a:gd name="T58" fmla="*/ 0 w 10142"/>
              <a:gd name="T59" fmla="*/ 0 h 10032"/>
              <a:gd name="T60" fmla="*/ 0 w 10142"/>
              <a:gd name="T61" fmla="*/ 0 h 10032"/>
              <a:gd name="T62" fmla="*/ 0 w 10142"/>
              <a:gd name="T63" fmla="*/ 0 h 10032"/>
              <a:gd name="T64" fmla="*/ 0 w 10142"/>
              <a:gd name="T65" fmla="*/ 0 h 10032"/>
              <a:gd name="T66" fmla="*/ 0 w 10142"/>
              <a:gd name="T67" fmla="*/ 0 h 10032"/>
              <a:gd name="T68" fmla="*/ 0 w 10142"/>
              <a:gd name="T69" fmla="*/ 0 h 10032"/>
              <a:gd name="T70" fmla="*/ 0 w 10142"/>
              <a:gd name="T71" fmla="*/ 0 h 10032"/>
              <a:gd name="T72" fmla="*/ 0 w 10142"/>
              <a:gd name="T73" fmla="*/ 0 h 10032"/>
              <a:gd name="T74" fmla="*/ 0 w 10142"/>
              <a:gd name="T75" fmla="*/ 0 h 10032"/>
              <a:gd name="T76" fmla="*/ 0 w 10142"/>
              <a:gd name="T77" fmla="*/ 0 h 10032"/>
              <a:gd name="T78" fmla="*/ 0 w 10142"/>
              <a:gd name="T79" fmla="*/ 0 h 10032"/>
              <a:gd name="T80" fmla="*/ 0 w 10142"/>
              <a:gd name="T81" fmla="*/ 0 h 10032"/>
              <a:gd name="T82" fmla="*/ 0 w 10142"/>
              <a:gd name="T83" fmla="*/ 0 h 10032"/>
              <a:gd name="T84" fmla="*/ 0 w 10142"/>
              <a:gd name="T85" fmla="*/ 0 h 10032"/>
              <a:gd name="T86" fmla="*/ 0 w 10142"/>
              <a:gd name="T87" fmla="*/ 0 h 10032"/>
              <a:gd name="T88" fmla="*/ 0 w 10142"/>
              <a:gd name="T89" fmla="*/ 0 h 10032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w 10142"/>
              <a:gd name="T136" fmla="*/ 0 h 10032"/>
              <a:gd name="T137" fmla="*/ 10142 w 10142"/>
              <a:gd name="T138" fmla="*/ 10032 h 10032"/>
            </a:gdLst>
            <a:ahLst/>
            <a:cxnLst>
              <a:cxn ang="T90">
                <a:pos x="T0" y="T1"/>
              </a:cxn>
              <a:cxn ang="T91">
                <a:pos x="T2" y="T3"/>
              </a:cxn>
              <a:cxn ang="T92">
                <a:pos x="T4" y="T5"/>
              </a:cxn>
              <a:cxn ang="T93">
                <a:pos x="T6" y="T7"/>
              </a:cxn>
              <a:cxn ang="T94">
                <a:pos x="T8" y="T9"/>
              </a:cxn>
              <a:cxn ang="T95">
                <a:pos x="T10" y="T11"/>
              </a:cxn>
              <a:cxn ang="T96">
                <a:pos x="T12" y="T13"/>
              </a:cxn>
              <a:cxn ang="T97">
                <a:pos x="T14" y="T15"/>
              </a:cxn>
              <a:cxn ang="T98">
                <a:pos x="T16" y="T17"/>
              </a:cxn>
              <a:cxn ang="T99">
                <a:pos x="T18" y="T19"/>
              </a:cxn>
              <a:cxn ang="T100">
                <a:pos x="T20" y="T21"/>
              </a:cxn>
              <a:cxn ang="T101">
                <a:pos x="T22" y="T23"/>
              </a:cxn>
              <a:cxn ang="T102">
                <a:pos x="T24" y="T25"/>
              </a:cxn>
              <a:cxn ang="T103">
                <a:pos x="T26" y="T27"/>
              </a:cxn>
              <a:cxn ang="T104">
                <a:pos x="T28" y="T29"/>
              </a:cxn>
              <a:cxn ang="T105">
                <a:pos x="T30" y="T31"/>
              </a:cxn>
              <a:cxn ang="T106">
                <a:pos x="T32" y="T33"/>
              </a:cxn>
              <a:cxn ang="T107">
                <a:pos x="T34" y="T35"/>
              </a:cxn>
              <a:cxn ang="T108">
                <a:pos x="T36" y="T37"/>
              </a:cxn>
              <a:cxn ang="T109">
                <a:pos x="T38" y="T39"/>
              </a:cxn>
              <a:cxn ang="T110">
                <a:pos x="T40" y="T41"/>
              </a:cxn>
              <a:cxn ang="T111">
                <a:pos x="T42" y="T43"/>
              </a:cxn>
              <a:cxn ang="T112">
                <a:pos x="T44" y="T45"/>
              </a:cxn>
              <a:cxn ang="T113">
                <a:pos x="T46" y="T47"/>
              </a:cxn>
              <a:cxn ang="T114">
                <a:pos x="T48" y="T49"/>
              </a:cxn>
              <a:cxn ang="T115">
                <a:pos x="T50" y="T51"/>
              </a:cxn>
              <a:cxn ang="T116">
                <a:pos x="T52" y="T53"/>
              </a:cxn>
              <a:cxn ang="T117">
                <a:pos x="T54" y="T55"/>
              </a:cxn>
              <a:cxn ang="T118">
                <a:pos x="T56" y="T57"/>
              </a:cxn>
              <a:cxn ang="T119">
                <a:pos x="T58" y="T59"/>
              </a:cxn>
              <a:cxn ang="T120">
                <a:pos x="T60" y="T61"/>
              </a:cxn>
              <a:cxn ang="T121">
                <a:pos x="T62" y="T63"/>
              </a:cxn>
              <a:cxn ang="T122">
                <a:pos x="T64" y="T65"/>
              </a:cxn>
              <a:cxn ang="T123">
                <a:pos x="T66" y="T67"/>
              </a:cxn>
              <a:cxn ang="T124">
                <a:pos x="T68" y="T69"/>
              </a:cxn>
              <a:cxn ang="T125">
                <a:pos x="T70" y="T71"/>
              </a:cxn>
              <a:cxn ang="T126">
                <a:pos x="T72" y="T73"/>
              </a:cxn>
              <a:cxn ang="T127">
                <a:pos x="T74" y="T75"/>
              </a:cxn>
              <a:cxn ang="T128">
                <a:pos x="T76" y="T77"/>
              </a:cxn>
              <a:cxn ang="T129">
                <a:pos x="T78" y="T79"/>
              </a:cxn>
              <a:cxn ang="T130">
                <a:pos x="T80" y="T81"/>
              </a:cxn>
              <a:cxn ang="T131">
                <a:pos x="T82" y="T83"/>
              </a:cxn>
              <a:cxn ang="T132">
                <a:pos x="T84" y="T85"/>
              </a:cxn>
              <a:cxn ang="T133">
                <a:pos x="T86" y="T87"/>
              </a:cxn>
              <a:cxn ang="T134">
                <a:pos x="T88" y="T89"/>
              </a:cxn>
            </a:cxnLst>
            <a:rect l="T135" t="T136" r="T137" b="T138"/>
            <a:pathLst>
              <a:path w="10142" h="10032">
                <a:moveTo>
                  <a:pt x="21" y="10032"/>
                </a:moveTo>
                <a:cubicBezTo>
                  <a:pt x="14" y="9929"/>
                  <a:pt x="7" y="9824"/>
                  <a:pt x="0" y="9721"/>
                </a:cubicBezTo>
                <a:cubicBezTo>
                  <a:pt x="14" y="9634"/>
                  <a:pt x="28" y="9546"/>
                  <a:pt x="42" y="9459"/>
                </a:cubicBezTo>
                <a:cubicBezTo>
                  <a:pt x="72" y="9364"/>
                  <a:pt x="99" y="9268"/>
                  <a:pt x="127" y="9172"/>
                </a:cubicBezTo>
                <a:cubicBezTo>
                  <a:pt x="142" y="9124"/>
                  <a:pt x="156" y="9077"/>
                  <a:pt x="170" y="9029"/>
                </a:cubicBezTo>
                <a:lnTo>
                  <a:pt x="403" y="9053"/>
                </a:lnTo>
                <a:lnTo>
                  <a:pt x="552" y="9077"/>
                </a:lnTo>
                <a:lnTo>
                  <a:pt x="658" y="9053"/>
                </a:lnTo>
                <a:cubicBezTo>
                  <a:pt x="665" y="8997"/>
                  <a:pt x="672" y="8942"/>
                  <a:pt x="679" y="8885"/>
                </a:cubicBezTo>
                <a:cubicBezTo>
                  <a:pt x="658" y="8837"/>
                  <a:pt x="637" y="8790"/>
                  <a:pt x="616" y="8742"/>
                </a:cubicBezTo>
                <a:cubicBezTo>
                  <a:pt x="594" y="8726"/>
                  <a:pt x="573" y="8711"/>
                  <a:pt x="552" y="8695"/>
                </a:cubicBezTo>
                <a:lnTo>
                  <a:pt x="447" y="8622"/>
                </a:lnTo>
                <a:lnTo>
                  <a:pt x="658" y="8551"/>
                </a:lnTo>
                <a:lnTo>
                  <a:pt x="892" y="8551"/>
                </a:lnTo>
                <a:lnTo>
                  <a:pt x="1019" y="8551"/>
                </a:lnTo>
                <a:cubicBezTo>
                  <a:pt x="1026" y="8440"/>
                  <a:pt x="1033" y="8328"/>
                  <a:pt x="1040" y="8216"/>
                </a:cubicBezTo>
                <a:cubicBezTo>
                  <a:pt x="1026" y="8129"/>
                  <a:pt x="1012" y="8041"/>
                  <a:pt x="998" y="7954"/>
                </a:cubicBezTo>
                <a:lnTo>
                  <a:pt x="870" y="7739"/>
                </a:lnTo>
                <a:cubicBezTo>
                  <a:pt x="849" y="7651"/>
                  <a:pt x="829" y="7563"/>
                  <a:pt x="807" y="7476"/>
                </a:cubicBezTo>
                <a:cubicBezTo>
                  <a:pt x="822" y="7397"/>
                  <a:pt x="835" y="7316"/>
                  <a:pt x="849" y="7237"/>
                </a:cubicBezTo>
                <a:cubicBezTo>
                  <a:pt x="870" y="7174"/>
                  <a:pt x="892" y="7110"/>
                  <a:pt x="913" y="7046"/>
                </a:cubicBezTo>
                <a:lnTo>
                  <a:pt x="913" y="6784"/>
                </a:lnTo>
                <a:cubicBezTo>
                  <a:pt x="927" y="6696"/>
                  <a:pt x="941" y="6608"/>
                  <a:pt x="956" y="6521"/>
                </a:cubicBezTo>
                <a:cubicBezTo>
                  <a:pt x="970" y="6450"/>
                  <a:pt x="984" y="6377"/>
                  <a:pt x="998" y="6306"/>
                </a:cubicBezTo>
                <a:cubicBezTo>
                  <a:pt x="1026" y="6242"/>
                  <a:pt x="1054" y="6179"/>
                  <a:pt x="1084" y="6114"/>
                </a:cubicBezTo>
                <a:cubicBezTo>
                  <a:pt x="1105" y="6019"/>
                  <a:pt x="1125" y="5924"/>
                  <a:pt x="1146" y="5829"/>
                </a:cubicBezTo>
                <a:cubicBezTo>
                  <a:pt x="1132" y="5741"/>
                  <a:pt x="1118" y="5653"/>
                  <a:pt x="1104" y="5566"/>
                </a:cubicBezTo>
                <a:lnTo>
                  <a:pt x="976" y="5566"/>
                </a:lnTo>
                <a:lnTo>
                  <a:pt x="743" y="5518"/>
                </a:lnTo>
                <a:cubicBezTo>
                  <a:pt x="722" y="5477"/>
                  <a:pt x="702" y="5438"/>
                  <a:pt x="679" y="5398"/>
                </a:cubicBezTo>
                <a:cubicBezTo>
                  <a:pt x="708" y="5358"/>
                  <a:pt x="736" y="5319"/>
                  <a:pt x="764" y="5279"/>
                </a:cubicBezTo>
                <a:lnTo>
                  <a:pt x="1104" y="5279"/>
                </a:lnTo>
                <a:lnTo>
                  <a:pt x="1613" y="5303"/>
                </a:lnTo>
                <a:lnTo>
                  <a:pt x="2017" y="5279"/>
                </a:lnTo>
                <a:lnTo>
                  <a:pt x="2441" y="5255"/>
                </a:lnTo>
                <a:lnTo>
                  <a:pt x="2867" y="5231"/>
                </a:lnTo>
                <a:lnTo>
                  <a:pt x="2951" y="5207"/>
                </a:lnTo>
                <a:cubicBezTo>
                  <a:pt x="2958" y="5294"/>
                  <a:pt x="2965" y="5382"/>
                  <a:pt x="2973" y="5469"/>
                </a:cubicBezTo>
                <a:lnTo>
                  <a:pt x="3142" y="5542"/>
                </a:lnTo>
                <a:lnTo>
                  <a:pt x="3333" y="5542"/>
                </a:lnTo>
                <a:cubicBezTo>
                  <a:pt x="3382" y="5590"/>
                  <a:pt x="3433" y="5637"/>
                  <a:pt x="3482" y="5685"/>
                </a:cubicBezTo>
                <a:lnTo>
                  <a:pt x="3672" y="5685"/>
                </a:lnTo>
                <a:lnTo>
                  <a:pt x="3821" y="5542"/>
                </a:lnTo>
                <a:lnTo>
                  <a:pt x="3821" y="5350"/>
                </a:lnTo>
                <a:lnTo>
                  <a:pt x="3672" y="5231"/>
                </a:lnTo>
                <a:lnTo>
                  <a:pt x="3482" y="5087"/>
                </a:lnTo>
                <a:lnTo>
                  <a:pt x="3396" y="5016"/>
                </a:lnTo>
                <a:lnTo>
                  <a:pt x="3396" y="4872"/>
                </a:lnTo>
                <a:cubicBezTo>
                  <a:pt x="3439" y="4896"/>
                  <a:pt x="3481" y="4921"/>
                  <a:pt x="3524" y="4945"/>
                </a:cubicBezTo>
                <a:lnTo>
                  <a:pt x="3821" y="4514"/>
                </a:lnTo>
                <a:cubicBezTo>
                  <a:pt x="3906" y="4339"/>
                  <a:pt x="3992" y="4164"/>
                  <a:pt x="4076" y="3989"/>
                </a:cubicBezTo>
                <a:lnTo>
                  <a:pt x="4374" y="3511"/>
                </a:lnTo>
                <a:cubicBezTo>
                  <a:pt x="4429" y="3360"/>
                  <a:pt x="4487" y="3209"/>
                  <a:pt x="4543" y="3058"/>
                </a:cubicBezTo>
                <a:cubicBezTo>
                  <a:pt x="4621" y="2946"/>
                  <a:pt x="4698" y="2834"/>
                  <a:pt x="4777" y="2723"/>
                </a:cubicBezTo>
                <a:lnTo>
                  <a:pt x="5032" y="2437"/>
                </a:lnTo>
                <a:lnTo>
                  <a:pt x="5179" y="2579"/>
                </a:lnTo>
                <a:lnTo>
                  <a:pt x="5414" y="2866"/>
                </a:lnTo>
                <a:lnTo>
                  <a:pt x="5647" y="3081"/>
                </a:lnTo>
                <a:lnTo>
                  <a:pt x="5796" y="3129"/>
                </a:lnTo>
                <a:lnTo>
                  <a:pt x="6136" y="3177"/>
                </a:lnTo>
                <a:lnTo>
                  <a:pt x="6368" y="3153"/>
                </a:lnTo>
                <a:lnTo>
                  <a:pt x="6539" y="3200"/>
                </a:lnTo>
                <a:cubicBezTo>
                  <a:pt x="6574" y="3248"/>
                  <a:pt x="6610" y="3296"/>
                  <a:pt x="6645" y="3344"/>
                </a:cubicBezTo>
                <a:lnTo>
                  <a:pt x="6645" y="3511"/>
                </a:lnTo>
                <a:lnTo>
                  <a:pt x="6729" y="3559"/>
                </a:lnTo>
                <a:lnTo>
                  <a:pt x="6921" y="3440"/>
                </a:lnTo>
                <a:lnTo>
                  <a:pt x="7090" y="3368"/>
                </a:lnTo>
                <a:lnTo>
                  <a:pt x="7366" y="3368"/>
                </a:lnTo>
                <a:lnTo>
                  <a:pt x="7599" y="3272"/>
                </a:lnTo>
                <a:lnTo>
                  <a:pt x="7727" y="3129"/>
                </a:lnTo>
                <a:cubicBezTo>
                  <a:pt x="7720" y="2977"/>
                  <a:pt x="7714" y="2827"/>
                  <a:pt x="7706" y="2675"/>
                </a:cubicBezTo>
                <a:cubicBezTo>
                  <a:pt x="7714" y="2548"/>
                  <a:pt x="7720" y="2421"/>
                  <a:pt x="7727" y="2293"/>
                </a:cubicBezTo>
                <a:lnTo>
                  <a:pt x="7727" y="2030"/>
                </a:lnTo>
                <a:cubicBezTo>
                  <a:pt x="7741" y="1935"/>
                  <a:pt x="7755" y="1839"/>
                  <a:pt x="7769" y="1743"/>
                </a:cubicBezTo>
                <a:cubicBezTo>
                  <a:pt x="7804" y="1711"/>
                  <a:pt x="7840" y="1680"/>
                  <a:pt x="7875" y="1648"/>
                </a:cubicBezTo>
                <a:cubicBezTo>
                  <a:pt x="7882" y="1592"/>
                  <a:pt x="7889" y="1537"/>
                  <a:pt x="7898" y="1481"/>
                </a:cubicBezTo>
                <a:lnTo>
                  <a:pt x="7898" y="1242"/>
                </a:lnTo>
                <a:cubicBezTo>
                  <a:pt x="7926" y="1186"/>
                  <a:pt x="7953" y="1131"/>
                  <a:pt x="7981" y="1074"/>
                </a:cubicBezTo>
                <a:lnTo>
                  <a:pt x="8280" y="1051"/>
                </a:lnTo>
                <a:lnTo>
                  <a:pt x="8556" y="1098"/>
                </a:lnTo>
                <a:lnTo>
                  <a:pt x="8873" y="1098"/>
                </a:lnTo>
                <a:lnTo>
                  <a:pt x="9128" y="1027"/>
                </a:lnTo>
                <a:cubicBezTo>
                  <a:pt x="9170" y="963"/>
                  <a:pt x="9213" y="900"/>
                  <a:pt x="9255" y="836"/>
                </a:cubicBezTo>
                <a:cubicBezTo>
                  <a:pt x="9262" y="764"/>
                  <a:pt x="9269" y="692"/>
                  <a:pt x="9276" y="621"/>
                </a:cubicBezTo>
                <a:lnTo>
                  <a:pt x="9276" y="382"/>
                </a:lnTo>
                <a:cubicBezTo>
                  <a:pt x="9262" y="342"/>
                  <a:pt x="9249" y="303"/>
                  <a:pt x="9235" y="263"/>
                </a:cubicBezTo>
                <a:lnTo>
                  <a:pt x="9362" y="119"/>
                </a:lnTo>
                <a:lnTo>
                  <a:pt x="9617" y="191"/>
                </a:lnTo>
                <a:lnTo>
                  <a:pt x="9850" y="287"/>
                </a:lnTo>
                <a:lnTo>
                  <a:pt x="9991" y="218"/>
                </a:lnTo>
                <a:cubicBezTo>
                  <a:pt x="10019" y="138"/>
                  <a:pt x="10114" y="79"/>
                  <a:pt x="10142" y="0"/>
                </a:cubicBezTo>
              </a:path>
            </a:pathLst>
          </a:custGeom>
          <a:noFill/>
          <a:ln w="317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 wrap="none" lIns="32632" tIns="32632" rIns="32632" bIns="32632" anchor="ctr"/>
          <a:lstStyle/>
          <a:p>
            <a:pPr defTabSz="891045"/>
            <a:endParaRPr lang="en-US" sz="1700" dirty="0">
              <a:solidFill>
                <a:srgbClr val="003149"/>
              </a:solidFill>
              <a:cs typeface="Arial" panose="020B0604020202020204" pitchFamily="34" charset="0"/>
            </a:endParaRPr>
          </a:p>
        </p:txBody>
      </p:sp>
      <p:sp>
        <p:nvSpPr>
          <p:cNvPr id="161" name="Freeform 893"/>
          <p:cNvSpPr>
            <a:spLocks noChangeAspect="1"/>
          </p:cNvSpPr>
          <p:nvPr/>
        </p:nvSpPr>
        <p:spPr bwMode="gray">
          <a:xfrm>
            <a:off x="2260689" y="3847924"/>
            <a:ext cx="83878" cy="74612"/>
          </a:xfrm>
          <a:custGeom>
            <a:avLst/>
            <a:gdLst>
              <a:gd name="T0" fmla="*/ 1407794023 w 90"/>
              <a:gd name="T1" fmla="*/ 1572803874 h 71"/>
              <a:gd name="T2" fmla="*/ 1407794023 w 90"/>
              <a:gd name="T3" fmla="*/ 1572803874 h 71"/>
              <a:gd name="T4" fmla="*/ 1407794023 w 90"/>
              <a:gd name="T5" fmla="*/ 1572803874 h 71"/>
              <a:gd name="T6" fmla="*/ 1407794023 w 90"/>
              <a:gd name="T7" fmla="*/ 1572803874 h 71"/>
              <a:gd name="T8" fmla="*/ 1407794023 w 90"/>
              <a:gd name="T9" fmla="*/ 1572803874 h 71"/>
              <a:gd name="T10" fmla="*/ 1407794023 w 90"/>
              <a:gd name="T11" fmla="*/ 1572803874 h 71"/>
              <a:gd name="T12" fmla="*/ 1407794023 w 90"/>
              <a:gd name="T13" fmla="*/ 1572803874 h 71"/>
              <a:gd name="T14" fmla="*/ 1407794023 w 90"/>
              <a:gd name="T15" fmla="*/ 1572803874 h 71"/>
              <a:gd name="T16" fmla="*/ 1407794023 w 90"/>
              <a:gd name="T17" fmla="*/ 1572803874 h 71"/>
              <a:gd name="T18" fmla="*/ 1407794023 w 90"/>
              <a:gd name="T19" fmla="*/ 1572803874 h 71"/>
              <a:gd name="T20" fmla="*/ 1407794023 w 90"/>
              <a:gd name="T21" fmla="*/ 1572803874 h 71"/>
              <a:gd name="T22" fmla="*/ 1407794023 w 90"/>
              <a:gd name="T23" fmla="*/ 1572803874 h 71"/>
              <a:gd name="T24" fmla="*/ 1407794023 w 90"/>
              <a:gd name="T25" fmla="*/ 1572803874 h 71"/>
              <a:gd name="T26" fmla="*/ 1407794023 w 90"/>
              <a:gd name="T27" fmla="*/ 1572803874 h 71"/>
              <a:gd name="T28" fmla="*/ 1407794023 w 90"/>
              <a:gd name="T29" fmla="*/ 1572803874 h 71"/>
              <a:gd name="T30" fmla="*/ 1407794023 w 90"/>
              <a:gd name="T31" fmla="*/ 1572803874 h 71"/>
              <a:gd name="T32" fmla="*/ 1407794023 w 90"/>
              <a:gd name="T33" fmla="*/ 1572803874 h 71"/>
              <a:gd name="T34" fmla="*/ 1407794023 w 90"/>
              <a:gd name="T35" fmla="*/ 1572803874 h 71"/>
              <a:gd name="T36" fmla="*/ 1407794023 w 90"/>
              <a:gd name="T37" fmla="*/ 1572803874 h 71"/>
              <a:gd name="T38" fmla="*/ 1407794023 w 90"/>
              <a:gd name="T39" fmla="*/ 1572803874 h 71"/>
              <a:gd name="T40" fmla="*/ 1407794023 w 90"/>
              <a:gd name="T41" fmla="*/ 0 h 71"/>
              <a:gd name="T42" fmla="*/ 1407794023 w 90"/>
              <a:gd name="T43" fmla="*/ 1572803874 h 71"/>
              <a:gd name="T44" fmla="*/ 0 w 90"/>
              <a:gd name="T45" fmla="*/ 1572803874 h 71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w 90"/>
              <a:gd name="T70" fmla="*/ 0 h 71"/>
              <a:gd name="T71" fmla="*/ 90 w 90"/>
              <a:gd name="T72" fmla="*/ 71 h 71"/>
            </a:gdLst>
            <a:ahLst/>
            <a:cxnLst>
              <a:cxn ang="T46">
                <a:pos x="T0" y="T1"/>
              </a:cxn>
              <a:cxn ang="T47">
                <a:pos x="T2" y="T3"/>
              </a:cxn>
              <a:cxn ang="T48">
                <a:pos x="T4" y="T5"/>
              </a:cxn>
              <a:cxn ang="T49">
                <a:pos x="T6" y="T7"/>
              </a:cxn>
              <a:cxn ang="T50">
                <a:pos x="T8" y="T9"/>
              </a:cxn>
              <a:cxn ang="T51">
                <a:pos x="T10" y="T11"/>
              </a:cxn>
              <a:cxn ang="T52">
                <a:pos x="T12" y="T13"/>
              </a:cxn>
              <a:cxn ang="T53">
                <a:pos x="T14" y="T15"/>
              </a:cxn>
              <a:cxn ang="T54">
                <a:pos x="T16" y="T17"/>
              </a:cxn>
              <a:cxn ang="T55">
                <a:pos x="T18" y="T19"/>
              </a:cxn>
              <a:cxn ang="T56">
                <a:pos x="T20" y="T21"/>
              </a:cxn>
              <a:cxn ang="T57">
                <a:pos x="T22" y="T23"/>
              </a:cxn>
              <a:cxn ang="T58">
                <a:pos x="T24" y="T25"/>
              </a:cxn>
              <a:cxn ang="T59">
                <a:pos x="T26" y="T27"/>
              </a:cxn>
              <a:cxn ang="T60">
                <a:pos x="T28" y="T29"/>
              </a:cxn>
              <a:cxn ang="T61">
                <a:pos x="T30" y="T31"/>
              </a:cxn>
              <a:cxn ang="T62">
                <a:pos x="T32" y="T33"/>
              </a:cxn>
              <a:cxn ang="T63">
                <a:pos x="T34" y="T35"/>
              </a:cxn>
              <a:cxn ang="T64">
                <a:pos x="T36" y="T37"/>
              </a:cxn>
              <a:cxn ang="T65">
                <a:pos x="T38" y="T39"/>
              </a:cxn>
              <a:cxn ang="T66">
                <a:pos x="T40" y="T41"/>
              </a:cxn>
              <a:cxn ang="T67">
                <a:pos x="T42" y="T43"/>
              </a:cxn>
              <a:cxn ang="T68">
                <a:pos x="T44" y="T45"/>
              </a:cxn>
            </a:cxnLst>
            <a:rect l="T69" t="T70" r="T71" b="T72"/>
            <a:pathLst>
              <a:path w="90" h="71">
                <a:moveTo>
                  <a:pt x="90" y="26"/>
                </a:moveTo>
                <a:lnTo>
                  <a:pt x="78" y="25"/>
                </a:lnTo>
                <a:lnTo>
                  <a:pt x="71" y="34"/>
                </a:lnTo>
                <a:lnTo>
                  <a:pt x="71" y="45"/>
                </a:lnTo>
                <a:lnTo>
                  <a:pt x="75" y="57"/>
                </a:lnTo>
                <a:lnTo>
                  <a:pt x="76" y="65"/>
                </a:lnTo>
                <a:lnTo>
                  <a:pt x="71" y="70"/>
                </a:lnTo>
                <a:lnTo>
                  <a:pt x="56" y="71"/>
                </a:lnTo>
                <a:lnTo>
                  <a:pt x="53" y="63"/>
                </a:lnTo>
                <a:lnTo>
                  <a:pt x="52" y="55"/>
                </a:lnTo>
                <a:lnTo>
                  <a:pt x="48" y="47"/>
                </a:lnTo>
                <a:lnTo>
                  <a:pt x="41" y="44"/>
                </a:lnTo>
                <a:lnTo>
                  <a:pt x="36" y="48"/>
                </a:lnTo>
                <a:lnTo>
                  <a:pt x="35" y="44"/>
                </a:lnTo>
                <a:lnTo>
                  <a:pt x="30" y="42"/>
                </a:lnTo>
                <a:lnTo>
                  <a:pt x="30" y="34"/>
                </a:lnTo>
                <a:lnTo>
                  <a:pt x="30" y="27"/>
                </a:lnTo>
                <a:lnTo>
                  <a:pt x="30" y="18"/>
                </a:lnTo>
                <a:lnTo>
                  <a:pt x="26" y="11"/>
                </a:lnTo>
                <a:lnTo>
                  <a:pt x="21" y="3"/>
                </a:lnTo>
                <a:lnTo>
                  <a:pt x="14" y="0"/>
                </a:lnTo>
                <a:lnTo>
                  <a:pt x="7" y="1"/>
                </a:lnTo>
                <a:lnTo>
                  <a:pt x="0" y="4"/>
                </a:lnTo>
              </a:path>
            </a:pathLst>
          </a:custGeom>
          <a:noFill/>
          <a:ln w="317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 wrap="none" lIns="32632" tIns="32632" rIns="32632" bIns="32632" anchor="ctr"/>
          <a:lstStyle/>
          <a:p>
            <a:pPr defTabSz="891045"/>
            <a:endParaRPr lang="en-US" sz="1700" dirty="0">
              <a:solidFill>
                <a:srgbClr val="003149"/>
              </a:solidFill>
              <a:cs typeface="Arial" panose="020B0604020202020204" pitchFamily="34" charset="0"/>
            </a:endParaRPr>
          </a:p>
        </p:txBody>
      </p:sp>
      <p:sp>
        <p:nvSpPr>
          <p:cNvPr id="162" name="Freeform 918"/>
          <p:cNvSpPr>
            <a:spLocks noChangeAspect="1"/>
          </p:cNvSpPr>
          <p:nvPr/>
        </p:nvSpPr>
        <p:spPr bwMode="gray">
          <a:xfrm>
            <a:off x="2331772" y="3263955"/>
            <a:ext cx="196190" cy="63133"/>
          </a:xfrm>
          <a:custGeom>
            <a:avLst/>
            <a:gdLst>
              <a:gd name="T0" fmla="*/ 1397889563 w 212"/>
              <a:gd name="T1" fmla="*/ 0 h 60"/>
              <a:gd name="T2" fmla="*/ 1397889563 w 212"/>
              <a:gd name="T3" fmla="*/ 1574820566 h 60"/>
              <a:gd name="T4" fmla="*/ 1397889563 w 212"/>
              <a:gd name="T5" fmla="*/ 1574820566 h 60"/>
              <a:gd name="T6" fmla="*/ 1397889563 w 212"/>
              <a:gd name="T7" fmla="*/ 1574820566 h 60"/>
              <a:gd name="T8" fmla="*/ 1397889563 w 212"/>
              <a:gd name="T9" fmla="*/ 1574820566 h 60"/>
              <a:gd name="T10" fmla="*/ 1397889563 w 212"/>
              <a:gd name="T11" fmla="*/ 1574820566 h 60"/>
              <a:gd name="T12" fmla="*/ 1397889563 w 212"/>
              <a:gd name="T13" fmla="*/ 1574820566 h 60"/>
              <a:gd name="T14" fmla="*/ 1397889563 w 212"/>
              <a:gd name="T15" fmla="*/ 1574820566 h 60"/>
              <a:gd name="T16" fmla="*/ 1397889563 w 212"/>
              <a:gd name="T17" fmla="*/ 1574820566 h 60"/>
              <a:gd name="T18" fmla="*/ 1397889563 w 212"/>
              <a:gd name="T19" fmla="*/ 1574820566 h 60"/>
              <a:gd name="T20" fmla="*/ 1397889563 w 212"/>
              <a:gd name="T21" fmla="*/ 1574820566 h 60"/>
              <a:gd name="T22" fmla="*/ 1397889563 w 212"/>
              <a:gd name="T23" fmla="*/ 1574820566 h 60"/>
              <a:gd name="T24" fmla="*/ 1397889563 w 212"/>
              <a:gd name="T25" fmla="*/ 1574820566 h 60"/>
              <a:gd name="T26" fmla="*/ 1397889563 w 212"/>
              <a:gd name="T27" fmla="*/ 1574820566 h 60"/>
              <a:gd name="T28" fmla="*/ 1397889563 w 212"/>
              <a:gd name="T29" fmla="*/ 1574820566 h 60"/>
              <a:gd name="T30" fmla="*/ 1397889563 w 212"/>
              <a:gd name="T31" fmla="*/ 1574820566 h 60"/>
              <a:gd name="T32" fmla="*/ 1397889563 w 212"/>
              <a:gd name="T33" fmla="*/ 1574820566 h 60"/>
              <a:gd name="T34" fmla="*/ 1397889563 w 212"/>
              <a:gd name="T35" fmla="*/ 1574820566 h 60"/>
              <a:gd name="T36" fmla="*/ 1397889563 w 212"/>
              <a:gd name="T37" fmla="*/ 1574820566 h 60"/>
              <a:gd name="T38" fmla="*/ 1397889563 w 212"/>
              <a:gd name="T39" fmla="*/ 1574820566 h 60"/>
              <a:gd name="T40" fmla="*/ 1397889563 w 212"/>
              <a:gd name="T41" fmla="*/ 1574820566 h 60"/>
              <a:gd name="T42" fmla="*/ 1397889563 w 212"/>
              <a:gd name="T43" fmla="*/ 1574820566 h 60"/>
              <a:gd name="T44" fmla="*/ 1397889563 w 212"/>
              <a:gd name="T45" fmla="*/ 1574820566 h 60"/>
              <a:gd name="T46" fmla="*/ 1397889563 w 212"/>
              <a:gd name="T47" fmla="*/ 1574820566 h 60"/>
              <a:gd name="T48" fmla="*/ 1397889563 w 212"/>
              <a:gd name="T49" fmla="*/ 1574820566 h 60"/>
              <a:gd name="T50" fmla="*/ 1397889563 w 212"/>
              <a:gd name="T51" fmla="*/ 1574820566 h 60"/>
              <a:gd name="T52" fmla="*/ 1397889563 w 212"/>
              <a:gd name="T53" fmla="*/ 1574820566 h 60"/>
              <a:gd name="T54" fmla="*/ 1397889563 w 212"/>
              <a:gd name="T55" fmla="*/ 1574820566 h 60"/>
              <a:gd name="T56" fmla="*/ 1397889563 w 212"/>
              <a:gd name="T57" fmla="*/ 1574820566 h 60"/>
              <a:gd name="T58" fmla="*/ 1397889563 w 212"/>
              <a:gd name="T59" fmla="*/ 1574820566 h 60"/>
              <a:gd name="T60" fmla="*/ 1397889563 w 212"/>
              <a:gd name="T61" fmla="*/ 1574820566 h 60"/>
              <a:gd name="T62" fmla="*/ 1397889563 w 212"/>
              <a:gd name="T63" fmla="*/ 1574820566 h 60"/>
              <a:gd name="T64" fmla="*/ 1397889563 w 212"/>
              <a:gd name="T65" fmla="*/ 1574820566 h 60"/>
              <a:gd name="T66" fmla="*/ 1397889563 w 212"/>
              <a:gd name="T67" fmla="*/ 1574820566 h 60"/>
              <a:gd name="T68" fmla="*/ 1397889563 w 212"/>
              <a:gd name="T69" fmla="*/ 1574820566 h 60"/>
              <a:gd name="T70" fmla="*/ 1397889563 w 212"/>
              <a:gd name="T71" fmla="*/ 1574820566 h 60"/>
              <a:gd name="T72" fmla="*/ 1397889563 w 212"/>
              <a:gd name="T73" fmla="*/ 1574820566 h 60"/>
              <a:gd name="T74" fmla="*/ 1397889563 w 212"/>
              <a:gd name="T75" fmla="*/ 1574820566 h 60"/>
              <a:gd name="T76" fmla="*/ 1397889563 w 212"/>
              <a:gd name="T77" fmla="*/ 1574820566 h 60"/>
              <a:gd name="T78" fmla="*/ 1397889563 w 212"/>
              <a:gd name="T79" fmla="*/ 1574820566 h 60"/>
              <a:gd name="T80" fmla="*/ 1397889563 w 212"/>
              <a:gd name="T81" fmla="*/ 1574820566 h 60"/>
              <a:gd name="T82" fmla="*/ 1397889563 w 212"/>
              <a:gd name="T83" fmla="*/ 1574820566 h 60"/>
              <a:gd name="T84" fmla="*/ 1397889563 w 212"/>
              <a:gd name="T85" fmla="*/ 1574820566 h 60"/>
              <a:gd name="T86" fmla="*/ 1397889563 w 212"/>
              <a:gd name="T87" fmla="*/ 1574820566 h 60"/>
              <a:gd name="T88" fmla="*/ 1397889563 w 212"/>
              <a:gd name="T89" fmla="*/ 1574820566 h 60"/>
              <a:gd name="T90" fmla="*/ 1397889563 w 212"/>
              <a:gd name="T91" fmla="*/ 1574820566 h 60"/>
              <a:gd name="T92" fmla="*/ 1397889563 w 212"/>
              <a:gd name="T93" fmla="*/ 1574820566 h 60"/>
              <a:gd name="T94" fmla="*/ 1397889563 w 212"/>
              <a:gd name="T95" fmla="*/ 1574820566 h 60"/>
              <a:gd name="T96" fmla="*/ 1397889563 w 212"/>
              <a:gd name="T97" fmla="*/ 1574820566 h 60"/>
              <a:gd name="T98" fmla="*/ 1397889563 w 212"/>
              <a:gd name="T99" fmla="*/ 1574820566 h 60"/>
              <a:gd name="T100" fmla="*/ 1397889563 w 212"/>
              <a:gd name="T101" fmla="*/ 1574820566 h 60"/>
              <a:gd name="T102" fmla="*/ 1397889563 w 212"/>
              <a:gd name="T103" fmla="*/ 1574820566 h 60"/>
              <a:gd name="T104" fmla="*/ 1397889563 w 212"/>
              <a:gd name="T105" fmla="*/ 1574820566 h 60"/>
              <a:gd name="T106" fmla="*/ 1397889563 w 212"/>
              <a:gd name="T107" fmla="*/ 1574820566 h 60"/>
              <a:gd name="T108" fmla="*/ 1397889563 w 212"/>
              <a:gd name="T109" fmla="*/ 1574820566 h 60"/>
              <a:gd name="T110" fmla="*/ 1397889563 w 212"/>
              <a:gd name="T111" fmla="*/ 1574820566 h 60"/>
              <a:gd name="T112" fmla="*/ 1397889563 w 212"/>
              <a:gd name="T113" fmla="*/ 1574820566 h 60"/>
              <a:gd name="T114" fmla="*/ 0 w 212"/>
              <a:gd name="T115" fmla="*/ 1574820566 h 60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w 212"/>
              <a:gd name="T175" fmla="*/ 0 h 60"/>
              <a:gd name="T176" fmla="*/ 212 w 212"/>
              <a:gd name="T177" fmla="*/ 60 h 60"/>
            </a:gdLst>
            <a:ahLst/>
            <a:cxnLst>
              <a:cxn ang="T116">
                <a:pos x="T0" y="T1"/>
              </a:cxn>
              <a:cxn ang="T117">
                <a:pos x="T2" y="T3"/>
              </a:cxn>
              <a:cxn ang="T118">
                <a:pos x="T4" y="T5"/>
              </a:cxn>
              <a:cxn ang="T119">
                <a:pos x="T6" y="T7"/>
              </a:cxn>
              <a:cxn ang="T120">
                <a:pos x="T8" y="T9"/>
              </a:cxn>
              <a:cxn ang="T121">
                <a:pos x="T10" y="T11"/>
              </a:cxn>
              <a:cxn ang="T122">
                <a:pos x="T12" y="T13"/>
              </a:cxn>
              <a:cxn ang="T123">
                <a:pos x="T14" y="T15"/>
              </a:cxn>
              <a:cxn ang="T124">
                <a:pos x="T16" y="T17"/>
              </a:cxn>
              <a:cxn ang="T125">
                <a:pos x="T18" y="T19"/>
              </a:cxn>
              <a:cxn ang="T126">
                <a:pos x="T20" y="T21"/>
              </a:cxn>
              <a:cxn ang="T127">
                <a:pos x="T22" y="T23"/>
              </a:cxn>
              <a:cxn ang="T128">
                <a:pos x="T24" y="T25"/>
              </a:cxn>
              <a:cxn ang="T129">
                <a:pos x="T26" y="T27"/>
              </a:cxn>
              <a:cxn ang="T130">
                <a:pos x="T28" y="T29"/>
              </a:cxn>
              <a:cxn ang="T131">
                <a:pos x="T30" y="T31"/>
              </a:cxn>
              <a:cxn ang="T132">
                <a:pos x="T32" y="T33"/>
              </a:cxn>
              <a:cxn ang="T133">
                <a:pos x="T34" y="T35"/>
              </a:cxn>
              <a:cxn ang="T134">
                <a:pos x="T36" y="T37"/>
              </a:cxn>
              <a:cxn ang="T135">
                <a:pos x="T38" y="T39"/>
              </a:cxn>
              <a:cxn ang="T136">
                <a:pos x="T40" y="T41"/>
              </a:cxn>
              <a:cxn ang="T137">
                <a:pos x="T42" y="T43"/>
              </a:cxn>
              <a:cxn ang="T138">
                <a:pos x="T44" y="T45"/>
              </a:cxn>
              <a:cxn ang="T139">
                <a:pos x="T46" y="T47"/>
              </a:cxn>
              <a:cxn ang="T140">
                <a:pos x="T48" y="T49"/>
              </a:cxn>
              <a:cxn ang="T141">
                <a:pos x="T50" y="T51"/>
              </a:cxn>
              <a:cxn ang="T142">
                <a:pos x="T52" y="T53"/>
              </a:cxn>
              <a:cxn ang="T143">
                <a:pos x="T54" y="T55"/>
              </a:cxn>
              <a:cxn ang="T144">
                <a:pos x="T56" y="T57"/>
              </a:cxn>
              <a:cxn ang="T145">
                <a:pos x="T58" y="T59"/>
              </a:cxn>
              <a:cxn ang="T146">
                <a:pos x="T60" y="T61"/>
              </a:cxn>
              <a:cxn ang="T147">
                <a:pos x="T62" y="T63"/>
              </a:cxn>
              <a:cxn ang="T148">
                <a:pos x="T64" y="T65"/>
              </a:cxn>
              <a:cxn ang="T149">
                <a:pos x="T66" y="T67"/>
              </a:cxn>
              <a:cxn ang="T150">
                <a:pos x="T68" y="T69"/>
              </a:cxn>
              <a:cxn ang="T151">
                <a:pos x="T70" y="T71"/>
              </a:cxn>
              <a:cxn ang="T152">
                <a:pos x="T72" y="T73"/>
              </a:cxn>
              <a:cxn ang="T153">
                <a:pos x="T74" y="T75"/>
              </a:cxn>
              <a:cxn ang="T154">
                <a:pos x="T76" y="T77"/>
              </a:cxn>
              <a:cxn ang="T155">
                <a:pos x="T78" y="T79"/>
              </a:cxn>
              <a:cxn ang="T156">
                <a:pos x="T80" y="T81"/>
              </a:cxn>
              <a:cxn ang="T157">
                <a:pos x="T82" y="T83"/>
              </a:cxn>
              <a:cxn ang="T158">
                <a:pos x="T84" y="T85"/>
              </a:cxn>
              <a:cxn ang="T159">
                <a:pos x="T86" y="T87"/>
              </a:cxn>
              <a:cxn ang="T160">
                <a:pos x="T88" y="T89"/>
              </a:cxn>
              <a:cxn ang="T161">
                <a:pos x="T90" y="T91"/>
              </a:cxn>
              <a:cxn ang="T162">
                <a:pos x="T92" y="T93"/>
              </a:cxn>
              <a:cxn ang="T163">
                <a:pos x="T94" y="T95"/>
              </a:cxn>
              <a:cxn ang="T164">
                <a:pos x="T96" y="T97"/>
              </a:cxn>
              <a:cxn ang="T165">
                <a:pos x="T98" y="T99"/>
              </a:cxn>
              <a:cxn ang="T166">
                <a:pos x="T100" y="T101"/>
              </a:cxn>
              <a:cxn ang="T167">
                <a:pos x="T102" y="T103"/>
              </a:cxn>
              <a:cxn ang="T168">
                <a:pos x="T104" y="T105"/>
              </a:cxn>
              <a:cxn ang="T169">
                <a:pos x="T106" y="T107"/>
              </a:cxn>
              <a:cxn ang="T170">
                <a:pos x="T108" y="T109"/>
              </a:cxn>
              <a:cxn ang="T171">
                <a:pos x="T110" y="T111"/>
              </a:cxn>
              <a:cxn ang="T172">
                <a:pos x="T112" y="T113"/>
              </a:cxn>
              <a:cxn ang="T173">
                <a:pos x="T114" y="T115"/>
              </a:cxn>
            </a:cxnLst>
            <a:rect l="T174" t="T175" r="T176" b="T177"/>
            <a:pathLst>
              <a:path w="212" h="60">
                <a:moveTo>
                  <a:pt x="212" y="0"/>
                </a:moveTo>
                <a:lnTo>
                  <a:pt x="206" y="1"/>
                </a:lnTo>
                <a:lnTo>
                  <a:pt x="201" y="6"/>
                </a:lnTo>
                <a:lnTo>
                  <a:pt x="193" y="14"/>
                </a:lnTo>
                <a:lnTo>
                  <a:pt x="180" y="14"/>
                </a:lnTo>
                <a:lnTo>
                  <a:pt x="174" y="11"/>
                </a:lnTo>
                <a:lnTo>
                  <a:pt x="170" y="6"/>
                </a:lnTo>
                <a:lnTo>
                  <a:pt x="167" y="4"/>
                </a:lnTo>
                <a:lnTo>
                  <a:pt x="165" y="11"/>
                </a:lnTo>
                <a:lnTo>
                  <a:pt x="165" y="15"/>
                </a:lnTo>
                <a:lnTo>
                  <a:pt x="162" y="20"/>
                </a:lnTo>
                <a:lnTo>
                  <a:pt x="164" y="27"/>
                </a:lnTo>
                <a:lnTo>
                  <a:pt x="165" y="34"/>
                </a:lnTo>
                <a:lnTo>
                  <a:pt x="162" y="34"/>
                </a:lnTo>
                <a:lnTo>
                  <a:pt x="158" y="28"/>
                </a:lnTo>
                <a:lnTo>
                  <a:pt x="158" y="24"/>
                </a:lnTo>
                <a:lnTo>
                  <a:pt x="155" y="21"/>
                </a:lnTo>
                <a:lnTo>
                  <a:pt x="151" y="20"/>
                </a:lnTo>
                <a:lnTo>
                  <a:pt x="144" y="23"/>
                </a:lnTo>
                <a:lnTo>
                  <a:pt x="139" y="23"/>
                </a:lnTo>
                <a:lnTo>
                  <a:pt x="142" y="27"/>
                </a:lnTo>
                <a:lnTo>
                  <a:pt x="144" y="32"/>
                </a:lnTo>
                <a:lnTo>
                  <a:pt x="143" y="37"/>
                </a:lnTo>
                <a:lnTo>
                  <a:pt x="138" y="39"/>
                </a:lnTo>
                <a:lnTo>
                  <a:pt x="136" y="42"/>
                </a:lnTo>
                <a:lnTo>
                  <a:pt x="132" y="44"/>
                </a:lnTo>
                <a:lnTo>
                  <a:pt x="133" y="53"/>
                </a:lnTo>
                <a:lnTo>
                  <a:pt x="128" y="53"/>
                </a:lnTo>
                <a:lnTo>
                  <a:pt x="120" y="53"/>
                </a:lnTo>
                <a:lnTo>
                  <a:pt x="113" y="54"/>
                </a:lnTo>
                <a:lnTo>
                  <a:pt x="107" y="52"/>
                </a:lnTo>
                <a:lnTo>
                  <a:pt x="104" y="59"/>
                </a:lnTo>
                <a:lnTo>
                  <a:pt x="98" y="60"/>
                </a:lnTo>
                <a:lnTo>
                  <a:pt x="95" y="60"/>
                </a:lnTo>
                <a:lnTo>
                  <a:pt x="91" y="57"/>
                </a:lnTo>
                <a:lnTo>
                  <a:pt x="90" y="51"/>
                </a:lnTo>
                <a:lnTo>
                  <a:pt x="88" y="46"/>
                </a:lnTo>
                <a:lnTo>
                  <a:pt x="82" y="41"/>
                </a:lnTo>
                <a:lnTo>
                  <a:pt x="78" y="38"/>
                </a:lnTo>
                <a:lnTo>
                  <a:pt x="78" y="33"/>
                </a:lnTo>
                <a:lnTo>
                  <a:pt x="74" y="32"/>
                </a:lnTo>
                <a:lnTo>
                  <a:pt x="74" y="28"/>
                </a:lnTo>
                <a:lnTo>
                  <a:pt x="70" y="28"/>
                </a:lnTo>
                <a:lnTo>
                  <a:pt x="64" y="28"/>
                </a:lnTo>
                <a:lnTo>
                  <a:pt x="62" y="31"/>
                </a:lnTo>
                <a:lnTo>
                  <a:pt x="57" y="31"/>
                </a:lnTo>
                <a:lnTo>
                  <a:pt x="51" y="27"/>
                </a:lnTo>
                <a:lnTo>
                  <a:pt x="46" y="24"/>
                </a:lnTo>
                <a:lnTo>
                  <a:pt x="41" y="22"/>
                </a:lnTo>
                <a:lnTo>
                  <a:pt x="36" y="20"/>
                </a:lnTo>
                <a:lnTo>
                  <a:pt x="30" y="23"/>
                </a:lnTo>
                <a:lnTo>
                  <a:pt x="22" y="26"/>
                </a:lnTo>
                <a:lnTo>
                  <a:pt x="21" y="32"/>
                </a:lnTo>
                <a:lnTo>
                  <a:pt x="16" y="34"/>
                </a:lnTo>
                <a:lnTo>
                  <a:pt x="11" y="34"/>
                </a:lnTo>
                <a:lnTo>
                  <a:pt x="8" y="32"/>
                </a:lnTo>
                <a:lnTo>
                  <a:pt x="4" y="32"/>
                </a:lnTo>
                <a:lnTo>
                  <a:pt x="0" y="34"/>
                </a:lnTo>
              </a:path>
            </a:pathLst>
          </a:custGeom>
          <a:solidFill>
            <a:srgbClr val="70B0DF"/>
          </a:solidFill>
          <a:ln w="3175" cap="flat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wrap="none" lIns="32632" tIns="32632" rIns="32632" bIns="32632" anchor="ctr"/>
          <a:lstStyle/>
          <a:p>
            <a:pPr defTabSz="891045"/>
            <a:endParaRPr lang="en-US" sz="1700" dirty="0">
              <a:solidFill>
                <a:srgbClr val="003149"/>
              </a:solidFill>
              <a:cs typeface="Arial" panose="020B0604020202020204" pitchFamily="34" charset="0"/>
            </a:endParaRPr>
          </a:p>
        </p:txBody>
      </p:sp>
      <p:sp>
        <p:nvSpPr>
          <p:cNvPr id="163" name="Freeform 920"/>
          <p:cNvSpPr>
            <a:spLocks noChangeAspect="1"/>
          </p:cNvSpPr>
          <p:nvPr/>
        </p:nvSpPr>
        <p:spPr bwMode="gray">
          <a:xfrm>
            <a:off x="2456899" y="2846424"/>
            <a:ext cx="61131" cy="111917"/>
          </a:xfrm>
          <a:custGeom>
            <a:avLst/>
            <a:gdLst>
              <a:gd name="T0" fmla="*/ 1420642023 w 65"/>
              <a:gd name="T1" fmla="*/ 0 h 108"/>
              <a:gd name="T2" fmla="*/ 0 w 65"/>
              <a:gd name="T3" fmla="*/ 1550959604 h 108"/>
              <a:gd name="T4" fmla="*/ 1420642023 w 65"/>
              <a:gd name="T5" fmla="*/ 1550959604 h 108"/>
              <a:gd name="T6" fmla="*/ 1420642023 w 65"/>
              <a:gd name="T7" fmla="*/ 1550959604 h 108"/>
              <a:gd name="T8" fmla="*/ 1420642023 w 65"/>
              <a:gd name="T9" fmla="*/ 1550959604 h 108"/>
              <a:gd name="T10" fmla="*/ 1420642023 w 65"/>
              <a:gd name="T11" fmla="*/ 1550959604 h 108"/>
              <a:gd name="T12" fmla="*/ 1420642023 w 65"/>
              <a:gd name="T13" fmla="*/ 1550959604 h 108"/>
              <a:gd name="T14" fmla="*/ 1420642023 w 65"/>
              <a:gd name="T15" fmla="*/ 1550959604 h 108"/>
              <a:gd name="T16" fmla="*/ 1420642023 w 65"/>
              <a:gd name="T17" fmla="*/ 1550959604 h 108"/>
              <a:gd name="T18" fmla="*/ 1420642023 w 65"/>
              <a:gd name="T19" fmla="*/ 1550959604 h 108"/>
              <a:gd name="T20" fmla="*/ 1420642023 w 65"/>
              <a:gd name="T21" fmla="*/ 1550959604 h 108"/>
              <a:gd name="T22" fmla="*/ 1420642023 w 65"/>
              <a:gd name="T23" fmla="*/ 1550959604 h 108"/>
              <a:gd name="T24" fmla="*/ 1420642023 w 65"/>
              <a:gd name="T25" fmla="*/ 1550959604 h 108"/>
              <a:gd name="T26" fmla="*/ 1420642023 w 65"/>
              <a:gd name="T27" fmla="*/ 1550959604 h 108"/>
              <a:gd name="T28" fmla="*/ 1420642023 w 65"/>
              <a:gd name="T29" fmla="*/ 1550959604 h 108"/>
              <a:gd name="T30" fmla="*/ 1420642023 w 65"/>
              <a:gd name="T31" fmla="*/ 1550959604 h 108"/>
              <a:gd name="T32" fmla="*/ 1420642023 w 65"/>
              <a:gd name="T33" fmla="*/ 1550959604 h 108"/>
              <a:gd name="T34" fmla="*/ 1420642023 w 65"/>
              <a:gd name="T35" fmla="*/ 1550959604 h 108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w 65"/>
              <a:gd name="T55" fmla="*/ 0 h 108"/>
              <a:gd name="T56" fmla="*/ 65 w 65"/>
              <a:gd name="T57" fmla="*/ 108 h 108"/>
            </a:gdLst>
            <a:ahLst/>
            <a:cxnLst>
              <a:cxn ang="T36">
                <a:pos x="T0" y="T1"/>
              </a:cxn>
              <a:cxn ang="T37">
                <a:pos x="T2" y="T3"/>
              </a:cxn>
              <a:cxn ang="T38">
                <a:pos x="T4" y="T5"/>
              </a:cxn>
              <a:cxn ang="T39">
                <a:pos x="T6" y="T7"/>
              </a:cxn>
              <a:cxn ang="T40">
                <a:pos x="T8" y="T9"/>
              </a:cxn>
              <a:cxn ang="T41">
                <a:pos x="T10" y="T11"/>
              </a:cxn>
              <a:cxn ang="T42">
                <a:pos x="T12" y="T13"/>
              </a:cxn>
              <a:cxn ang="T43">
                <a:pos x="T14" y="T15"/>
              </a:cxn>
              <a:cxn ang="T44">
                <a:pos x="T16" y="T17"/>
              </a:cxn>
              <a:cxn ang="T45">
                <a:pos x="T18" y="T19"/>
              </a:cxn>
              <a:cxn ang="T46">
                <a:pos x="T20" y="T21"/>
              </a:cxn>
              <a:cxn ang="T47">
                <a:pos x="T22" y="T23"/>
              </a:cxn>
              <a:cxn ang="T48">
                <a:pos x="T24" y="T25"/>
              </a:cxn>
              <a:cxn ang="T49">
                <a:pos x="T26" y="T27"/>
              </a:cxn>
              <a:cxn ang="T50">
                <a:pos x="T28" y="T29"/>
              </a:cxn>
              <a:cxn ang="T51">
                <a:pos x="T30" y="T31"/>
              </a:cxn>
              <a:cxn ang="T52">
                <a:pos x="T32" y="T33"/>
              </a:cxn>
              <a:cxn ang="T53">
                <a:pos x="T34" y="T35"/>
              </a:cxn>
            </a:cxnLst>
            <a:rect l="T54" t="T55" r="T56" b="T57"/>
            <a:pathLst>
              <a:path w="65" h="108">
                <a:moveTo>
                  <a:pt x="9" y="0"/>
                </a:moveTo>
                <a:lnTo>
                  <a:pt x="0" y="9"/>
                </a:lnTo>
                <a:lnTo>
                  <a:pt x="3" y="24"/>
                </a:lnTo>
                <a:lnTo>
                  <a:pt x="16" y="30"/>
                </a:lnTo>
                <a:lnTo>
                  <a:pt x="26" y="29"/>
                </a:lnTo>
                <a:lnTo>
                  <a:pt x="34" y="28"/>
                </a:lnTo>
                <a:lnTo>
                  <a:pt x="32" y="36"/>
                </a:lnTo>
                <a:lnTo>
                  <a:pt x="36" y="46"/>
                </a:lnTo>
                <a:lnTo>
                  <a:pt x="43" y="46"/>
                </a:lnTo>
                <a:lnTo>
                  <a:pt x="51" y="48"/>
                </a:lnTo>
                <a:lnTo>
                  <a:pt x="52" y="54"/>
                </a:lnTo>
                <a:lnTo>
                  <a:pt x="48" y="60"/>
                </a:lnTo>
                <a:lnTo>
                  <a:pt x="58" y="66"/>
                </a:lnTo>
                <a:lnTo>
                  <a:pt x="65" y="74"/>
                </a:lnTo>
                <a:lnTo>
                  <a:pt x="63" y="84"/>
                </a:lnTo>
                <a:lnTo>
                  <a:pt x="57" y="91"/>
                </a:lnTo>
                <a:lnTo>
                  <a:pt x="49" y="100"/>
                </a:lnTo>
                <a:lnTo>
                  <a:pt x="48" y="108"/>
                </a:lnTo>
              </a:path>
            </a:pathLst>
          </a:custGeom>
          <a:solidFill>
            <a:srgbClr val="70B0DF"/>
          </a:solidFill>
          <a:ln w="317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 wrap="none" lIns="32632" tIns="32632" rIns="32632" bIns="32632" anchor="ctr"/>
          <a:lstStyle/>
          <a:p>
            <a:pPr defTabSz="891045"/>
            <a:endParaRPr lang="en-US" sz="1700" dirty="0">
              <a:solidFill>
                <a:srgbClr val="003149"/>
              </a:solidFill>
              <a:cs typeface="Arial" panose="020B0604020202020204" pitchFamily="34" charset="0"/>
            </a:endParaRPr>
          </a:p>
        </p:txBody>
      </p:sp>
      <p:sp>
        <p:nvSpPr>
          <p:cNvPr id="164" name="Freeform 932"/>
          <p:cNvSpPr>
            <a:spLocks noChangeAspect="1"/>
          </p:cNvSpPr>
          <p:nvPr>
            <p:custDataLst>
              <p:tags r:id="rId98"/>
            </p:custDataLst>
          </p:nvPr>
        </p:nvSpPr>
        <p:spPr bwMode="gray">
          <a:xfrm>
            <a:off x="2105722" y="2543666"/>
            <a:ext cx="174865" cy="45914"/>
          </a:xfrm>
          <a:custGeom>
            <a:avLst/>
            <a:gdLst>
              <a:gd name="T0" fmla="*/ 1397567939 w 189"/>
              <a:gd name="T1" fmla="*/ 0 h 44"/>
              <a:gd name="T2" fmla="*/ 1397567939 w 189"/>
              <a:gd name="T3" fmla="*/ 1561805375 h 44"/>
              <a:gd name="T4" fmla="*/ 1397567939 w 189"/>
              <a:gd name="T5" fmla="*/ 1561805375 h 44"/>
              <a:gd name="T6" fmla="*/ 1397567939 w 189"/>
              <a:gd name="T7" fmla="*/ 1561805375 h 44"/>
              <a:gd name="T8" fmla="*/ 1397567939 w 189"/>
              <a:gd name="T9" fmla="*/ 1561805375 h 44"/>
              <a:gd name="T10" fmla="*/ 1397567939 w 189"/>
              <a:gd name="T11" fmla="*/ 1561805375 h 44"/>
              <a:gd name="T12" fmla="*/ 1397567939 w 189"/>
              <a:gd name="T13" fmla="*/ 1561805375 h 44"/>
              <a:gd name="T14" fmla="*/ 1397567939 w 189"/>
              <a:gd name="T15" fmla="*/ 1561805375 h 44"/>
              <a:gd name="T16" fmla="*/ 1397567939 w 189"/>
              <a:gd name="T17" fmla="*/ 1561805375 h 44"/>
              <a:gd name="T18" fmla="*/ 1397567939 w 189"/>
              <a:gd name="T19" fmla="*/ 1561805375 h 44"/>
              <a:gd name="T20" fmla="*/ 1397567939 w 189"/>
              <a:gd name="T21" fmla="*/ 1561805375 h 44"/>
              <a:gd name="T22" fmla="*/ 1397567939 w 189"/>
              <a:gd name="T23" fmla="*/ 1561805375 h 44"/>
              <a:gd name="T24" fmla="*/ 1397567939 w 189"/>
              <a:gd name="T25" fmla="*/ 1561805375 h 44"/>
              <a:gd name="T26" fmla="*/ 1397567939 w 189"/>
              <a:gd name="T27" fmla="*/ 1561805375 h 44"/>
              <a:gd name="T28" fmla="*/ 1397567939 w 189"/>
              <a:gd name="T29" fmla="*/ 1561805375 h 44"/>
              <a:gd name="T30" fmla="*/ 1397567939 w 189"/>
              <a:gd name="T31" fmla="*/ 1561805375 h 44"/>
              <a:gd name="T32" fmla="*/ 1397567939 w 189"/>
              <a:gd name="T33" fmla="*/ 1561805375 h 44"/>
              <a:gd name="T34" fmla="*/ 1397567939 w 189"/>
              <a:gd name="T35" fmla="*/ 1561805375 h 44"/>
              <a:gd name="T36" fmla="*/ 1397567939 w 189"/>
              <a:gd name="T37" fmla="*/ 1561805375 h 44"/>
              <a:gd name="T38" fmla="*/ 0 w 189"/>
              <a:gd name="T39" fmla="*/ 1561805375 h 44"/>
              <a:gd name="T40" fmla="*/ 1397567939 w 189"/>
              <a:gd name="T41" fmla="*/ 1561805375 h 44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w 189"/>
              <a:gd name="T64" fmla="*/ 0 h 44"/>
              <a:gd name="T65" fmla="*/ 189 w 189"/>
              <a:gd name="T66" fmla="*/ 44 h 44"/>
            </a:gdLst>
            <a:ahLst/>
            <a:cxnLst>
              <a:cxn ang="T42">
                <a:pos x="T0" y="T1"/>
              </a:cxn>
              <a:cxn ang="T43">
                <a:pos x="T2" y="T3"/>
              </a:cxn>
              <a:cxn ang="T44">
                <a:pos x="T4" y="T5"/>
              </a:cxn>
              <a:cxn ang="T45">
                <a:pos x="T6" y="T7"/>
              </a:cxn>
              <a:cxn ang="T46">
                <a:pos x="T8" y="T9"/>
              </a:cxn>
              <a:cxn ang="T47">
                <a:pos x="T10" y="T11"/>
              </a:cxn>
              <a:cxn ang="T48">
                <a:pos x="T12" y="T13"/>
              </a:cxn>
              <a:cxn ang="T49">
                <a:pos x="T14" y="T15"/>
              </a:cxn>
              <a:cxn ang="T50">
                <a:pos x="T16" y="T17"/>
              </a:cxn>
              <a:cxn ang="T51">
                <a:pos x="T18" y="T19"/>
              </a:cxn>
              <a:cxn ang="T52">
                <a:pos x="T20" y="T21"/>
              </a:cxn>
              <a:cxn ang="T53">
                <a:pos x="T22" y="T23"/>
              </a:cxn>
              <a:cxn ang="T54">
                <a:pos x="T24" y="T25"/>
              </a:cxn>
              <a:cxn ang="T55">
                <a:pos x="T26" y="T27"/>
              </a:cxn>
              <a:cxn ang="T56">
                <a:pos x="T28" y="T29"/>
              </a:cxn>
              <a:cxn ang="T57">
                <a:pos x="T30" y="T31"/>
              </a:cxn>
              <a:cxn ang="T58">
                <a:pos x="T32" y="T33"/>
              </a:cxn>
              <a:cxn ang="T59">
                <a:pos x="T34" y="T35"/>
              </a:cxn>
              <a:cxn ang="T60">
                <a:pos x="T36" y="T37"/>
              </a:cxn>
              <a:cxn ang="T61">
                <a:pos x="T38" y="T39"/>
              </a:cxn>
              <a:cxn ang="T62">
                <a:pos x="T40" y="T41"/>
              </a:cxn>
            </a:cxnLst>
            <a:rect l="T63" t="T64" r="T65" b="T66"/>
            <a:pathLst>
              <a:path w="189" h="44">
                <a:moveTo>
                  <a:pt x="189" y="0"/>
                </a:moveTo>
                <a:lnTo>
                  <a:pt x="180" y="6"/>
                </a:lnTo>
                <a:lnTo>
                  <a:pt x="172" y="9"/>
                </a:lnTo>
                <a:lnTo>
                  <a:pt x="161" y="21"/>
                </a:lnTo>
                <a:lnTo>
                  <a:pt x="153" y="34"/>
                </a:lnTo>
                <a:lnTo>
                  <a:pt x="147" y="37"/>
                </a:lnTo>
                <a:lnTo>
                  <a:pt x="139" y="38"/>
                </a:lnTo>
                <a:lnTo>
                  <a:pt x="133" y="44"/>
                </a:lnTo>
                <a:lnTo>
                  <a:pt x="126" y="44"/>
                </a:lnTo>
                <a:lnTo>
                  <a:pt x="113" y="35"/>
                </a:lnTo>
                <a:lnTo>
                  <a:pt x="98" y="29"/>
                </a:lnTo>
                <a:lnTo>
                  <a:pt x="83" y="21"/>
                </a:lnTo>
                <a:lnTo>
                  <a:pt x="68" y="19"/>
                </a:lnTo>
                <a:lnTo>
                  <a:pt x="53" y="17"/>
                </a:lnTo>
                <a:lnTo>
                  <a:pt x="28" y="17"/>
                </a:lnTo>
                <a:lnTo>
                  <a:pt x="13" y="26"/>
                </a:lnTo>
                <a:lnTo>
                  <a:pt x="5" y="33"/>
                </a:lnTo>
                <a:lnTo>
                  <a:pt x="3" y="33"/>
                </a:lnTo>
                <a:lnTo>
                  <a:pt x="1" y="32"/>
                </a:lnTo>
                <a:lnTo>
                  <a:pt x="0" y="29"/>
                </a:lnTo>
                <a:lnTo>
                  <a:pt x="2" y="21"/>
                </a:lnTo>
              </a:path>
            </a:pathLst>
          </a:custGeom>
          <a:solidFill>
            <a:schemeClr val="bg2"/>
          </a:solidFill>
          <a:ln w="317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 wrap="none" lIns="32632" tIns="32632" rIns="32632" bIns="32632" anchor="ctr"/>
          <a:lstStyle/>
          <a:p>
            <a:pPr defTabSz="891045"/>
            <a:endParaRPr lang="en-US" sz="1700" dirty="0">
              <a:solidFill>
                <a:srgbClr val="003149"/>
              </a:solidFill>
              <a:cs typeface="Arial" panose="020B0604020202020204" pitchFamily="34" charset="0"/>
            </a:endParaRPr>
          </a:p>
        </p:txBody>
      </p:sp>
      <p:sp>
        <p:nvSpPr>
          <p:cNvPr id="165" name="Freeform 940"/>
          <p:cNvSpPr>
            <a:spLocks noChangeAspect="1"/>
          </p:cNvSpPr>
          <p:nvPr/>
        </p:nvSpPr>
        <p:spPr bwMode="gray">
          <a:xfrm>
            <a:off x="2618946" y="2582422"/>
            <a:ext cx="27012" cy="120526"/>
          </a:xfrm>
          <a:custGeom>
            <a:avLst/>
            <a:gdLst>
              <a:gd name="T0" fmla="*/ 0 w 10000"/>
              <a:gd name="T1" fmla="*/ 0 h 10000"/>
              <a:gd name="T2" fmla="*/ 0 w 10000"/>
              <a:gd name="T3" fmla="*/ 0 h 10000"/>
              <a:gd name="T4" fmla="*/ 0 w 10000"/>
              <a:gd name="T5" fmla="*/ 0 h 10000"/>
              <a:gd name="T6" fmla="*/ 0 w 10000"/>
              <a:gd name="T7" fmla="*/ 0 h 10000"/>
              <a:gd name="T8" fmla="*/ 0 w 10000"/>
              <a:gd name="T9" fmla="*/ 0 h 10000"/>
              <a:gd name="T10" fmla="*/ 0 w 10000"/>
              <a:gd name="T11" fmla="*/ 0 h 10000"/>
              <a:gd name="T12" fmla="*/ 0 w 10000"/>
              <a:gd name="T13" fmla="*/ 0 h 10000"/>
              <a:gd name="T14" fmla="*/ 0 w 10000"/>
              <a:gd name="T15" fmla="*/ 0 h 10000"/>
              <a:gd name="T16" fmla="*/ 0 w 10000"/>
              <a:gd name="T17" fmla="*/ 0 h 10000"/>
              <a:gd name="T18" fmla="*/ 0 w 10000"/>
              <a:gd name="T19" fmla="*/ 0 h 10000"/>
              <a:gd name="T20" fmla="*/ 0 w 10000"/>
              <a:gd name="T21" fmla="*/ 0 h 10000"/>
              <a:gd name="T22" fmla="*/ 0 w 10000"/>
              <a:gd name="T23" fmla="*/ 0 h 10000"/>
              <a:gd name="T24" fmla="*/ 0 w 10000"/>
              <a:gd name="T25" fmla="*/ 0 h 10000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w 10000"/>
              <a:gd name="T40" fmla="*/ 0 h 10000"/>
              <a:gd name="T41" fmla="*/ 10000 w 10000"/>
              <a:gd name="T42" fmla="*/ 10000 h 10000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T39" t="T40" r="T41" b="T42"/>
            <a:pathLst>
              <a:path w="10000" h="10000">
                <a:moveTo>
                  <a:pt x="3000" y="0"/>
                </a:moveTo>
                <a:lnTo>
                  <a:pt x="2333" y="870"/>
                </a:lnTo>
                <a:lnTo>
                  <a:pt x="3333" y="1913"/>
                </a:lnTo>
                <a:lnTo>
                  <a:pt x="1333" y="2435"/>
                </a:lnTo>
                <a:lnTo>
                  <a:pt x="4000" y="3391"/>
                </a:lnTo>
                <a:lnTo>
                  <a:pt x="5333" y="4087"/>
                </a:lnTo>
                <a:lnTo>
                  <a:pt x="2333" y="4609"/>
                </a:lnTo>
                <a:lnTo>
                  <a:pt x="0" y="5304"/>
                </a:lnTo>
                <a:lnTo>
                  <a:pt x="4667" y="5913"/>
                </a:lnTo>
                <a:lnTo>
                  <a:pt x="8000" y="6870"/>
                </a:lnTo>
                <a:lnTo>
                  <a:pt x="10000" y="7739"/>
                </a:lnTo>
                <a:lnTo>
                  <a:pt x="8667" y="8783"/>
                </a:lnTo>
                <a:cubicBezTo>
                  <a:pt x="8556" y="9189"/>
                  <a:pt x="8444" y="9594"/>
                  <a:pt x="8333" y="10000"/>
                </a:cubicBezTo>
              </a:path>
            </a:pathLst>
          </a:custGeom>
          <a:noFill/>
          <a:ln w="317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 wrap="none" lIns="32632" tIns="32632" rIns="32632" bIns="32632" anchor="ctr"/>
          <a:lstStyle/>
          <a:p>
            <a:pPr defTabSz="891045"/>
            <a:endParaRPr lang="en-US" sz="1700" dirty="0">
              <a:solidFill>
                <a:srgbClr val="003149"/>
              </a:solidFill>
              <a:cs typeface="Arial" panose="020B0604020202020204" pitchFamily="34" charset="0"/>
            </a:endParaRPr>
          </a:p>
        </p:txBody>
      </p:sp>
      <p:sp>
        <p:nvSpPr>
          <p:cNvPr id="166" name="Freeform 970"/>
          <p:cNvSpPr>
            <a:spLocks noChangeAspect="1"/>
          </p:cNvSpPr>
          <p:nvPr>
            <p:custDataLst>
              <p:tags r:id="rId99"/>
            </p:custDataLst>
          </p:nvPr>
        </p:nvSpPr>
        <p:spPr bwMode="gray">
          <a:xfrm>
            <a:off x="3305618" y="1982653"/>
            <a:ext cx="125107" cy="189398"/>
          </a:xfrm>
          <a:custGeom>
            <a:avLst/>
            <a:gdLst>
              <a:gd name="T0" fmla="*/ 0 w 10000"/>
              <a:gd name="T1" fmla="*/ 0 h 10000"/>
              <a:gd name="T2" fmla="*/ 0 w 10000"/>
              <a:gd name="T3" fmla="*/ 0 h 10000"/>
              <a:gd name="T4" fmla="*/ 0 w 10000"/>
              <a:gd name="T5" fmla="*/ 0 h 10000"/>
              <a:gd name="T6" fmla="*/ 0 w 10000"/>
              <a:gd name="T7" fmla="*/ 0 h 10000"/>
              <a:gd name="T8" fmla="*/ 0 w 10000"/>
              <a:gd name="T9" fmla="*/ 0 h 10000"/>
              <a:gd name="T10" fmla="*/ 0 w 10000"/>
              <a:gd name="T11" fmla="*/ 0 h 10000"/>
              <a:gd name="T12" fmla="*/ 0 w 10000"/>
              <a:gd name="T13" fmla="*/ 0 h 10000"/>
              <a:gd name="T14" fmla="*/ 0 w 10000"/>
              <a:gd name="T15" fmla="*/ 0 h 10000"/>
              <a:gd name="T16" fmla="*/ 0 w 10000"/>
              <a:gd name="T17" fmla="*/ 0 h 10000"/>
              <a:gd name="T18" fmla="*/ 0 w 10000"/>
              <a:gd name="T19" fmla="*/ 0 h 10000"/>
              <a:gd name="T20" fmla="*/ 0 w 10000"/>
              <a:gd name="T21" fmla="*/ 0 h 10000"/>
              <a:gd name="T22" fmla="*/ 0 w 10000"/>
              <a:gd name="T23" fmla="*/ 0 h 10000"/>
              <a:gd name="T24" fmla="*/ 0 w 10000"/>
              <a:gd name="T25" fmla="*/ 0 h 10000"/>
              <a:gd name="T26" fmla="*/ 0 w 10000"/>
              <a:gd name="T27" fmla="*/ 0 h 10000"/>
              <a:gd name="T28" fmla="*/ 0 w 10000"/>
              <a:gd name="T29" fmla="*/ 0 h 10000"/>
              <a:gd name="T30" fmla="*/ 0 w 10000"/>
              <a:gd name="T31" fmla="*/ 0 h 10000"/>
              <a:gd name="T32" fmla="*/ 0 w 10000"/>
              <a:gd name="T33" fmla="*/ 0 h 10000"/>
              <a:gd name="T34" fmla="*/ 0 w 10000"/>
              <a:gd name="T35" fmla="*/ 0 h 10000"/>
              <a:gd name="T36" fmla="*/ 0 w 10000"/>
              <a:gd name="T37" fmla="*/ 0 h 10000"/>
              <a:gd name="T38" fmla="*/ 0 w 10000"/>
              <a:gd name="T39" fmla="*/ 0 h 10000"/>
              <a:gd name="T40" fmla="*/ 0 w 10000"/>
              <a:gd name="T41" fmla="*/ 0 h 10000"/>
              <a:gd name="T42" fmla="*/ 0 w 10000"/>
              <a:gd name="T43" fmla="*/ 0 h 10000"/>
              <a:gd name="T44" fmla="*/ 0 w 10000"/>
              <a:gd name="T45" fmla="*/ 0 h 10000"/>
              <a:gd name="T46" fmla="*/ 0 w 10000"/>
              <a:gd name="T47" fmla="*/ 0 h 10000"/>
              <a:gd name="T48" fmla="*/ 0 w 10000"/>
              <a:gd name="T49" fmla="*/ 0 h 10000"/>
              <a:gd name="T50" fmla="*/ 0 w 10000"/>
              <a:gd name="T51" fmla="*/ 0 h 10000"/>
              <a:gd name="T52" fmla="*/ 0 w 10000"/>
              <a:gd name="T53" fmla="*/ 0 h 10000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w 10000"/>
              <a:gd name="T82" fmla="*/ 0 h 10000"/>
              <a:gd name="T83" fmla="*/ 10000 w 10000"/>
              <a:gd name="T84" fmla="*/ 10000 h 10000"/>
            </a:gdLst>
            <a:ahLst/>
            <a:cxnLst>
              <a:cxn ang="T54">
                <a:pos x="T0" y="T1"/>
              </a:cxn>
              <a:cxn ang="T55">
                <a:pos x="T2" y="T3"/>
              </a:cxn>
              <a:cxn ang="T56">
                <a:pos x="T4" y="T5"/>
              </a:cxn>
              <a:cxn ang="T57">
                <a:pos x="T6" y="T7"/>
              </a:cxn>
              <a:cxn ang="T58">
                <a:pos x="T8" y="T9"/>
              </a:cxn>
              <a:cxn ang="T59">
                <a:pos x="T10" y="T11"/>
              </a:cxn>
              <a:cxn ang="T60">
                <a:pos x="T12" y="T13"/>
              </a:cxn>
              <a:cxn ang="T61">
                <a:pos x="T14" y="T15"/>
              </a:cxn>
              <a:cxn ang="T62">
                <a:pos x="T16" y="T17"/>
              </a:cxn>
              <a:cxn ang="T63">
                <a:pos x="T18" y="T19"/>
              </a:cxn>
              <a:cxn ang="T64">
                <a:pos x="T20" y="T21"/>
              </a:cxn>
              <a:cxn ang="T65">
                <a:pos x="T22" y="T23"/>
              </a:cxn>
              <a:cxn ang="T66">
                <a:pos x="T24" y="T25"/>
              </a:cxn>
              <a:cxn ang="T67">
                <a:pos x="T26" y="T27"/>
              </a:cxn>
              <a:cxn ang="T68">
                <a:pos x="T28" y="T29"/>
              </a:cxn>
              <a:cxn ang="T69">
                <a:pos x="T30" y="T31"/>
              </a:cxn>
              <a:cxn ang="T70">
                <a:pos x="T32" y="T33"/>
              </a:cxn>
              <a:cxn ang="T71">
                <a:pos x="T34" y="T35"/>
              </a:cxn>
              <a:cxn ang="T72">
                <a:pos x="T36" y="T37"/>
              </a:cxn>
              <a:cxn ang="T73">
                <a:pos x="T38" y="T39"/>
              </a:cxn>
              <a:cxn ang="T74">
                <a:pos x="T40" y="T41"/>
              </a:cxn>
              <a:cxn ang="T75">
                <a:pos x="T42" y="T43"/>
              </a:cxn>
              <a:cxn ang="T76">
                <a:pos x="T44" y="T45"/>
              </a:cxn>
              <a:cxn ang="T77">
                <a:pos x="T46" y="T47"/>
              </a:cxn>
              <a:cxn ang="T78">
                <a:pos x="T48" y="T49"/>
              </a:cxn>
              <a:cxn ang="T79">
                <a:pos x="T50" y="T51"/>
              </a:cxn>
              <a:cxn ang="T80">
                <a:pos x="T52" y="T53"/>
              </a:cxn>
            </a:cxnLst>
            <a:rect l="T81" t="T82" r="T83" b="T84"/>
            <a:pathLst>
              <a:path w="10000" h="10000">
                <a:moveTo>
                  <a:pt x="8391" y="10000"/>
                </a:moveTo>
                <a:cubicBezTo>
                  <a:pt x="8318" y="9815"/>
                  <a:pt x="8116" y="9703"/>
                  <a:pt x="8043" y="9518"/>
                </a:cubicBezTo>
                <a:lnTo>
                  <a:pt x="9130" y="9407"/>
                </a:lnTo>
                <a:lnTo>
                  <a:pt x="10000" y="8018"/>
                </a:lnTo>
                <a:lnTo>
                  <a:pt x="9710" y="7407"/>
                </a:lnTo>
                <a:cubicBezTo>
                  <a:pt x="9638" y="7222"/>
                  <a:pt x="9565" y="7037"/>
                  <a:pt x="9493" y="6852"/>
                </a:cubicBezTo>
                <a:lnTo>
                  <a:pt x="9493" y="6074"/>
                </a:lnTo>
                <a:lnTo>
                  <a:pt x="9058" y="5574"/>
                </a:lnTo>
                <a:lnTo>
                  <a:pt x="7536" y="5352"/>
                </a:lnTo>
                <a:lnTo>
                  <a:pt x="6522" y="5518"/>
                </a:lnTo>
                <a:lnTo>
                  <a:pt x="5797" y="5685"/>
                </a:lnTo>
                <a:lnTo>
                  <a:pt x="4565" y="5741"/>
                </a:lnTo>
                <a:lnTo>
                  <a:pt x="3696" y="6018"/>
                </a:lnTo>
                <a:lnTo>
                  <a:pt x="3043" y="6352"/>
                </a:lnTo>
                <a:lnTo>
                  <a:pt x="1884" y="6074"/>
                </a:lnTo>
                <a:lnTo>
                  <a:pt x="1014" y="6241"/>
                </a:lnTo>
                <a:lnTo>
                  <a:pt x="1014" y="5241"/>
                </a:lnTo>
                <a:lnTo>
                  <a:pt x="1304" y="4741"/>
                </a:lnTo>
                <a:lnTo>
                  <a:pt x="435" y="4352"/>
                </a:lnTo>
                <a:lnTo>
                  <a:pt x="0" y="3407"/>
                </a:lnTo>
                <a:lnTo>
                  <a:pt x="0" y="2741"/>
                </a:lnTo>
                <a:lnTo>
                  <a:pt x="362" y="2074"/>
                </a:lnTo>
                <a:lnTo>
                  <a:pt x="1739" y="1407"/>
                </a:lnTo>
                <a:lnTo>
                  <a:pt x="2391" y="1185"/>
                </a:lnTo>
                <a:lnTo>
                  <a:pt x="1884" y="407"/>
                </a:lnTo>
                <a:lnTo>
                  <a:pt x="1232" y="74"/>
                </a:lnTo>
                <a:cubicBezTo>
                  <a:pt x="942" y="74"/>
                  <a:pt x="978" y="0"/>
                  <a:pt x="688" y="0"/>
                </a:cubicBezTo>
              </a:path>
            </a:pathLst>
          </a:custGeom>
          <a:noFill/>
          <a:ln w="317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 wrap="none" lIns="32632" tIns="32632" rIns="32632" bIns="32632" anchor="ctr"/>
          <a:lstStyle/>
          <a:p>
            <a:pPr defTabSz="891045"/>
            <a:endParaRPr lang="en-US" sz="1700" dirty="0">
              <a:solidFill>
                <a:srgbClr val="003149"/>
              </a:solidFill>
              <a:cs typeface="Arial" panose="020B0604020202020204" pitchFamily="34" charset="0"/>
            </a:endParaRPr>
          </a:p>
        </p:txBody>
      </p:sp>
      <p:sp>
        <p:nvSpPr>
          <p:cNvPr id="167" name="Freeform 975"/>
          <p:cNvSpPr>
            <a:spLocks noChangeAspect="1"/>
          </p:cNvSpPr>
          <p:nvPr/>
        </p:nvSpPr>
        <p:spPr bwMode="gray">
          <a:xfrm>
            <a:off x="2877690" y="2426012"/>
            <a:ext cx="76770" cy="17217"/>
          </a:xfrm>
          <a:custGeom>
            <a:avLst/>
            <a:gdLst>
              <a:gd name="T0" fmla="*/ 1348419165 w 86"/>
              <a:gd name="T1" fmla="*/ 1431654817 h 18"/>
              <a:gd name="T2" fmla="*/ 1348419165 w 86"/>
              <a:gd name="T3" fmla="*/ 1431654817 h 18"/>
              <a:gd name="T4" fmla="*/ 1348419165 w 86"/>
              <a:gd name="T5" fmla="*/ 1431654817 h 18"/>
              <a:gd name="T6" fmla="*/ 1348419165 w 86"/>
              <a:gd name="T7" fmla="*/ 1431654817 h 18"/>
              <a:gd name="T8" fmla="*/ 0 w 86"/>
              <a:gd name="T9" fmla="*/ 0 h 18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86"/>
              <a:gd name="T16" fmla="*/ 0 h 18"/>
              <a:gd name="T17" fmla="*/ 86 w 86"/>
              <a:gd name="T18" fmla="*/ 18 h 18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86" h="18">
                <a:moveTo>
                  <a:pt x="86" y="18"/>
                </a:moveTo>
                <a:lnTo>
                  <a:pt x="60" y="12"/>
                </a:lnTo>
                <a:lnTo>
                  <a:pt x="36" y="6"/>
                </a:lnTo>
                <a:lnTo>
                  <a:pt x="18" y="5"/>
                </a:lnTo>
                <a:lnTo>
                  <a:pt x="0" y="0"/>
                </a:lnTo>
              </a:path>
            </a:pathLst>
          </a:custGeom>
          <a:noFill/>
          <a:ln w="317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 wrap="none" lIns="32632" tIns="32632" rIns="32632" bIns="32632" anchor="ctr"/>
          <a:lstStyle/>
          <a:p>
            <a:pPr defTabSz="891045"/>
            <a:endParaRPr lang="en-US" sz="1700" dirty="0">
              <a:solidFill>
                <a:srgbClr val="003149"/>
              </a:solidFill>
              <a:cs typeface="Arial" panose="020B0604020202020204" pitchFamily="34" charset="0"/>
            </a:endParaRPr>
          </a:p>
        </p:txBody>
      </p:sp>
      <p:sp>
        <p:nvSpPr>
          <p:cNvPr id="168" name="Freeform 984"/>
          <p:cNvSpPr>
            <a:spLocks noChangeAspect="1"/>
          </p:cNvSpPr>
          <p:nvPr/>
        </p:nvSpPr>
        <p:spPr bwMode="gray">
          <a:xfrm>
            <a:off x="2690044" y="2483403"/>
            <a:ext cx="92409" cy="31566"/>
          </a:xfrm>
          <a:custGeom>
            <a:avLst/>
            <a:gdLst>
              <a:gd name="T0" fmla="*/ 0 w 10000"/>
              <a:gd name="T1" fmla="*/ 0 h 8887"/>
              <a:gd name="T2" fmla="*/ 0 w 10000"/>
              <a:gd name="T3" fmla="*/ 0 h 8887"/>
              <a:gd name="T4" fmla="*/ 0 w 10000"/>
              <a:gd name="T5" fmla="*/ 0 h 8887"/>
              <a:gd name="T6" fmla="*/ 0 w 10000"/>
              <a:gd name="T7" fmla="*/ 0 h 8887"/>
              <a:gd name="T8" fmla="*/ 0 w 10000"/>
              <a:gd name="T9" fmla="*/ 0 h 8887"/>
              <a:gd name="T10" fmla="*/ 0 w 10000"/>
              <a:gd name="T11" fmla="*/ 0 h 8887"/>
              <a:gd name="T12" fmla="*/ 0 w 10000"/>
              <a:gd name="T13" fmla="*/ 0 h 8887"/>
              <a:gd name="T14" fmla="*/ 0 w 10000"/>
              <a:gd name="T15" fmla="*/ 0 h 8887"/>
              <a:gd name="T16" fmla="*/ 0 w 10000"/>
              <a:gd name="T17" fmla="*/ 0 h 8887"/>
              <a:gd name="T18" fmla="*/ 0 w 10000"/>
              <a:gd name="T19" fmla="*/ 0 h 8887"/>
              <a:gd name="T20" fmla="*/ 0 w 10000"/>
              <a:gd name="T21" fmla="*/ 0 h 8887"/>
              <a:gd name="T22" fmla="*/ 0 w 10000"/>
              <a:gd name="T23" fmla="*/ 0 h 8887"/>
              <a:gd name="T24" fmla="*/ 0 w 10000"/>
              <a:gd name="T25" fmla="*/ 0 h 8887"/>
              <a:gd name="T26" fmla="*/ 0 w 10000"/>
              <a:gd name="T27" fmla="*/ 0 h 8887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w 10000"/>
              <a:gd name="T43" fmla="*/ 0 h 8887"/>
              <a:gd name="T44" fmla="*/ 10000 w 10000"/>
              <a:gd name="T45" fmla="*/ 8887 h 8887"/>
            </a:gdLst>
            <a:ahLst/>
            <a:cxnLst>
              <a:cxn ang="T28">
                <a:pos x="T0" y="T1"/>
              </a:cxn>
              <a:cxn ang="T29">
                <a:pos x="T2" y="T3"/>
              </a:cxn>
              <a:cxn ang="T30">
                <a:pos x="T4" y="T5"/>
              </a:cxn>
              <a:cxn ang="T31">
                <a:pos x="T6" y="T7"/>
              </a:cxn>
              <a:cxn ang="T32">
                <a:pos x="T8" y="T9"/>
              </a:cxn>
              <a:cxn ang="T33">
                <a:pos x="T10" y="T11"/>
              </a:cxn>
              <a:cxn ang="T34">
                <a:pos x="T12" y="T13"/>
              </a:cxn>
              <a:cxn ang="T35">
                <a:pos x="T14" y="T15"/>
              </a:cxn>
              <a:cxn ang="T36">
                <a:pos x="T16" y="T17"/>
              </a:cxn>
              <a:cxn ang="T37">
                <a:pos x="T18" y="T19"/>
              </a:cxn>
              <a:cxn ang="T38">
                <a:pos x="T20" y="T21"/>
              </a:cxn>
              <a:cxn ang="T39">
                <a:pos x="T22" y="T23"/>
              </a:cxn>
              <a:cxn ang="T40">
                <a:pos x="T24" y="T25"/>
              </a:cxn>
              <a:cxn ang="T41">
                <a:pos x="T26" y="T27"/>
              </a:cxn>
            </a:cxnLst>
            <a:rect l="T42" t="T43" r="T44" b="T45"/>
            <a:pathLst>
              <a:path w="10000" h="8887">
                <a:moveTo>
                  <a:pt x="10000" y="0"/>
                </a:moveTo>
                <a:lnTo>
                  <a:pt x="8787" y="834"/>
                </a:lnTo>
                <a:cubicBezTo>
                  <a:pt x="8424" y="946"/>
                  <a:pt x="8094" y="612"/>
                  <a:pt x="7819" y="685"/>
                </a:cubicBezTo>
                <a:cubicBezTo>
                  <a:pt x="7546" y="754"/>
                  <a:pt x="7420" y="981"/>
                  <a:pt x="7152" y="1249"/>
                </a:cubicBezTo>
                <a:lnTo>
                  <a:pt x="6223" y="2289"/>
                </a:lnTo>
                <a:lnTo>
                  <a:pt x="5599" y="3177"/>
                </a:lnTo>
                <a:lnTo>
                  <a:pt x="5054" y="3606"/>
                </a:lnTo>
                <a:lnTo>
                  <a:pt x="4444" y="5835"/>
                </a:lnTo>
                <a:cubicBezTo>
                  <a:pt x="4243" y="6386"/>
                  <a:pt x="4040" y="6522"/>
                  <a:pt x="3840" y="6944"/>
                </a:cubicBezTo>
                <a:lnTo>
                  <a:pt x="3235" y="8331"/>
                </a:lnTo>
                <a:lnTo>
                  <a:pt x="2625" y="8887"/>
                </a:lnTo>
                <a:lnTo>
                  <a:pt x="1518" y="7780"/>
                </a:lnTo>
                <a:lnTo>
                  <a:pt x="807" y="7780"/>
                </a:lnTo>
                <a:lnTo>
                  <a:pt x="0" y="8054"/>
                </a:lnTo>
              </a:path>
            </a:pathLst>
          </a:custGeom>
          <a:noFill/>
          <a:ln w="317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 wrap="none" lIns="32632" tIns="32632" rIns="32632" bIns="32632" anchor="ctr"/>
          <a:lstStyle/>
          <a:p>
            <a:pPr defTabSz="891045"/>
            <a:endParaRPr lang="en-US" sz="1700" dirty="0">
              <a:solidFill>
                <a:srgbClr val="003149"/>
              </a:solidFill>
              <a:cs typeface="Arial" panose="020B0604020202020204" pitchFamily="34" charset="0"/>
            </a:endParaRPr>
          </a:p>
        </p:txBody>
      </p:sp>
      <p:sp>
        <p:nvSpPr>
          <p:cNvPr id="169" name="Freeform 988"/>
          <p:cNvSpPr>
            <a:spLocks noChangeAspect="1"/>
          </p:cNvSpPr>
          <p:nvPr/>
        </p:nvSpPr>
        <p:spPr bwMode="gray">
          <a:xfrm>
            <a:off x="2435574" y="2361433"/>
            <a:ext cx="36963" cy="67438"/>
          </a:xfrm>
          <a:custGeom>
            <a:avLst/>
            <a:gdLst>
              <a:gd name="T0" fmla="*/ 0 w 10000"/>
              <a:gd name="T1" fmla="*/ 0 h 10497"/>
              <a:gd name="T2" fmla="*/ 0 w 10000"/>
              <a:gd name="T3" fmla="*/ 0 h 10497"/>
              <a:gd name="T4" fmla="*/ 0 w 10000"/>
              <a:gd name="T5" fmla="*/ 0 h 10497"/>
              <a:gd name="T6" fmla="*/ 0 w 10000"/>
              <a:gd name="T7" fmla="*/ 0 h 10497"/>
              <a:gd name="T8" fmla="*/ 0 w 10000"/>
              <a:gd name="T9" fmla="*/ 0 h 10497"/>
              <a:gd name="T10" fmla="*/ 0 w 10000"/>
              <a:gd name="T11" fmla="*/ 0 h 10497"/>
              <a:gd name="T12" fmla="*/ 0 w 10000"/>
              <a:gd name="T13" fmla="*/ 0 h 10497"/>
              <a:gd name="T14" fmla="*/ 0 w 10000"/>
              <a:gd name="T15" fmla="*/ 0 h 10497"/>
              <a:gd name="T16" fmla="*/ 0 w 10000"/>
              <a:gd name="T17" fmla="*/ 0 h 10497"/>
              <a:gd name="T18" fmla="*/ 0 w 10000"/>
              <a:gd name="T19" fmla="*/ 0 h 10497"/>
              <a:gd name="T20" fmla="*/ 0 w 10000"/>
              <a:gd name="T21" fmla="*/ 0 h 10497"/>
              <a:gd name="T22" fmla="*/ 0 w 10000"/>
              <a:gd name="T23" fmla="*/ 0 h 10497"/>
              <a:gd name="T24" fmla="*/ 0 w 10000"/>
              <a:gd name="T25" fmla="*/ 0 h 10497"/>
              <a:gd name="T26" fmla="*/ 0 w 10000"/>
              <a:gd name="T27" fmla="*/ 0 h 10497"/>
              <a:gd name="T28" fmla="*/ 0 w 10000"/>
              <a:gd name="T29" fmla="*/ 0 h 10497"/>
              <a:gd name="T30" fmla="*/ 0 w 10000"/>
              <a:gd name="T31" fmla="*/ 0 h 10497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w 10000"/>
              <a:gd name="T49" fmla="*/ 0 h 10497"/>
              <a:gd name="T50" fmla="*/ 10000 w 10000"/>
              <a:gd name="T51" fmla="*/ 10497 h 10497"/>
            </a:gdLst>
            <a:ahLst/>
            <a:cxnLst>
              <a:cxn ang="T32">
                <a:pos x="T0" y="T1"/>
              </a:cxn>
              <a:cxn ang="T33">
                <a:pos x="T2" y="T3"/>
              </a:cxn>
              <a:cxn ang="T34">
                <a:pos x="T4" y="T5"/>
              </a:cxn>
              <a:cxn ang="T35">
                <a:pos x="T6" y="T7"/>
              </a:cxn>
              <a:cxn ang="T36">
                <a:pos x="T8" y="T9"/>
              </a:cxn>
              <a:cxn ang="T37">
                <a:pos x="T10" y="T11"/>
              </a:cxn>
              <a:cxn ang="T38">
                <a:pos x="T12" y="T13"/>
              </a:cxn>
              <a:cxn ang="T39">
                <a:pos x="T14" y="T15"/>
              </a:cxn>
              <a:cxn ang="T40">
                <a:pos x="T16" y="T17"/>
              </a:cxn>
              <a:cxn ang="T41">
                <a:pos x="T18" y="T19"/>
              </a:cxn>
              <a:cxn ang="T42">
                <a:pos x="T20" y="T21"/>
              </a:cxn>
              <a:cxn ang="T43">
                <a:pos x="T22" y="T23"/>
              </a:cxn>
              <a:cxn ang="T44">
                <a:pos x="T24" y="T25"/>
              </a:cxn>
              <a:cxn ang="T45">
                <a:pos x="T26" y="T27"/>
              </a:cxn>
              <a:cxn ang="T46">
                <a:pos x="T28" y="T29"/>
              </a:cxn>
              <a:cxn ang="T47">
                <a:pos x="T30" y="T31"/>
              </a:cxn>
            </a:cxnLst>
            <a:rect l="T48" t="T49" r="T50" b="T51"/>
            <a:pathLst>
              <a:path w="10000" h="10497">
                <a:moveTo>
                  <a:pt x="0" y="10497"/>
                </a:moveTo>
                <a:lnTo>
                  <a:pt x="1000" y="9862"/>
                </a:lnTo>
                <a:lnTo>
                  <a:pt x="2250" y="9386"/>
                </a:lnTo>
                <a:lnTo>
                  <a:pt x="2750" y="9228"/>
                </a:lnTo>
                <a:lnTo>
                  <a:pt x="5000" y="9068"/>
                </a:lnTo>
                <a:lnTo>
                  <a:pt x="6750" y="8909"/>
                </a:lnTo>
                <a:lnTo>
                  <a:pt x="8250" y="8433"/>
                </a:lnTo>
                <a:lnTo>
                  <a:pt x="9250" y="7164"/>
                </a:lnTo>
                <a:lnTo>
                  <a:pt x="10000" y="6052"/>
                </a:lnTo>
                <a:lnTo>
                  <a:pt x="10000" y="5735"/>
                </a:lnTo>
                <a:lnTo>
                  <a:pt x="10000" y="5100"/>
                </a:lnTo>
                <a:lnTo>
                  <a:pt x="8750" y="4624"/>
                </a:lnTo>
                <a:lnTo>
                  <a:pt x="8250" y="4148"/>
                </a:lnTo>
                <a:lnTo>
                  <a:pt x="8250" y="2878"/>
                </a:lnTo>
                <a:lnTo>
                  <a:pt x="8750" y="1767"/>
                </a:lnTo>
                <a:cubicBezTo>
                  <a:pt x="8833" y="1344"/>
                  <a:pt x="9141" y="423"/>
                  <a:pt x="9224" y="0"/>
                </a:cubicBezTo>
              </a:path>
            </a:pathLst>
          </a:custGeom>
          <a:solidFill>
            <a:srgbClr val="70B0DF"/>
          </a:solidFill>
          <a:ln w="317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 wrap="none" lIns="32632" tIns="32632" rIns="32632" bIns="32632" anchor="ctr"/>
          <a:lstStyle/>
          <a:p>
            <a:pPr defTabSz="891045"/>
            <a:endParaRPr lang="en-US" sz="1700" dirty="0">
              <a:solidFill>
                <a:srgbClr val="003149"/>
              </a:solidFill>
              <a:cs typeface="Arial" panose="020B0604020202020204" pitchFamily="34" charset="0"/>
            </a:endParaRPr>
          </a:p>
        </p:txBody>
      </p:sp>
      <p:sp>
        <p:nvSpPr>
          <p:cNvPr id="170" name="Freeform 989"/>
          <p:cNvSpPr>
            <a:spLocks noChangeAspect="1"/>
          </p:cNvSpPr>
          <p:nvPr/>
        </p:nvSpPr>
        <p:spPr bwMode="gray">
          <a:xfrm>
            <a:off x="2398611" y="2316969"/>
            <a:ext cx="36963" cy="111917"/>
          </a:xfrm>
          <a:custGeom>
            <a:avLst/>
            <a:gdLst>
              <a:gd name="T0" fmla="*/ 1431654864 w 39"/>
              <a:gd name="T1" fmla="*/ 1580222985 h 106"/>
              <a:gd name="T2" fmla="*/ 1431654864 w 39"/>
              <a:gd name="T3" fmla="*/ 1580222985 h 106"/>
              <a:gd name="T4" fmla="*/ 1431654864 w 39"/>
              <a:gd name="T5" fmla="*/ 1580222985 h 106"/>
              <a:gd name="T6" fmla="*/ 1431654864 w 39"/>
              <a:gd name="T7" fmla="*/ 1580222985 h 106"/>
              <a:gd name="T8" fmla="*/ 1431654864 w 39"/>
              <a:gd name="T9" fmla="*/ 1580222985 h 106"/>
              <a:gd name="T10" fmla="*/ 1431654864 w 39"/>
              <a:gd name="T11" fmla="*/ 1580222985 h 106"/>
              <a:gd name="T12" fmla="*/ 0 w 39"/>
              <a:gd name="T13" fmla="*/ 0 h 106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39"/>
              <a:gd name="T22" fmla="*/ 0 h 106"/>
              <a:gd name="T23" fmla="*/ 39 w 39"/>
              <a:gd name="T24" fmla="*/ 106 h 10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39" h="106">
                <a:moveTo>
                  <a:pt x="39" y="106"/>
                </a:moveTo>
                <a:lnTo>
                  <a:pt x="27" y="87"/>
                </a:lnTo>
                <a:lnTo>
                  <a:pt x="21" y="71"/>
                </a:lnTo>
                <a:lnTo>
                  <a:pt x="10" y="42"/>
                </a:lnTo>
                <a:lnTo>
                  <a:pt x="3" y="26"/>
                </a:lnTo>
                <a:lnTo>
                  <a:pt x="1" y="15"/>
                </a:lnTo>
                <a:lnTo>
                  <a:pt x="0" y="0"/>
                </a:lnTo>
              </a:path>
            </a:pathLst>
          </a:custGeom>
          <a:solidFill>
            <a:srgbClr val="70B0DF"/>
          </a:solidFill>
          <a:ln w="317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 wrap="none" lIns="32632" tIns="32632" rIns="32632" bIns="32632" anchor="ctr"/>
          <a:lstStyle/>
          <a:p>
            <a:pPr defTabSz="891045"/>
            <a:endParaRPr lang="en-US" sz="1700" dirty="0">
              <a:solidFill>
                <a:srgbClr val="003149"/>
              </a:solidFill>
              <a:cs typeface="Arial" panose="020B0604020202020204" pitchFamily="34" charset="0"/>
            </a:endParaRPr>
          </a:p>
        </p:txBody>
      </p:sp>
      <p:sp>
        <p:nvSpPr>
          <p:cNvPr id="171" name="Freeform 1018"/>
          <p:cNvSpPr>
            <a:spLocks noChangeAspect="1"/>
          </p:cNvSpPr>
          <p:nvPr>
            <p:custDataLst>
              <p:tags r:id="rId100"/>
            </p:custDataLst>
          </p:nvPr>
        </p:nvSpPr>
        <p:spPr bwMode="gray">
          <a:xfrm>
            <a:off x="6154667" y="4512278"/>
            <a:ext cx="203299" cy="338621"/>
          </a:xfrm>
          <a:custGeom>
            <a:avLst/>
            <a:gdLst>
              <a:gd name="T0" fmla="*/ 0 w 10000"/>
              <a:gd name="T1" fmla="*/ 0 h 10063"/>
              <a:gd name="T2" fmla="*/ 0 w 10000"/>
              <a:gd name="T3" fmla="*/ 0 h 10063"/>
              <a:gd name="T4" fmla="*/ 0 w 10000"/>
              <a:gd name="T5" fmla="*/ 0 h 10063"/>
              <a:gd name="T6" fmla="*/ 0 w 10000"/>
              <a:gd name="T7" fmla="*/ 0 h 10063"/>
              <a:gd name="T8" fmla="*/ 0 w 10000"/>
              <a:gd name="T9" fmla="*/ 0 h 10063"/>
              <a:gd name="T10" fmla="*/ 0 w 10000"/>
              <a:gd name="T11" fmla="*/ 0 h 10063"/>
              <a:gd name="T12" fmla="*/ 0 w 10000"/>
              <a:gd name="T13" fmla="*/ 0 h 10063"/>
              <a:gd name="T14" fmla="*/ 0 w 10000"/>
              <a:gd name="T15" fmla="*/ 0 h 10063"/>
              <a:gd name="T16" fmla="*/ 0 w 10000"/>
              <a:gd name="T17" fmla="*/ 0 h 10063"/>
              <a:gd name="T18" fmla="*/ 0 w 10000"/>
              <a:gd name="T19" fmla="*/ 0 h 10063"/>
              <a:gd name="T20" fmla="*/ 0 w 10000"/>
              <a:gd name="T21" fmla="*/ 0 h 10063"/>
              <a:gd name="T22" fmla="*/ 0 w 10000"/>
              <a:gd name="T23" fmla="*/ 0 h 10063"/>
              <a:gd name="T24" fmla="*/ 0 w 10000"/>
              <a:gd name="T25" fmla="*/ 0 h 10063"/>
              <a:gd name="T26" fmla="*/ 0 w 10000"/>
              <a:gd name="T27" fmla="*/ 0 h 10063"/>
              <a:gd name="T28" fmla="*/ 0 w 10000"/>
              <a:gd name="T29" fmla="*/ 0 h 10063"/>
              <a:gd name="T30" fmla="*/ 0 w 10000"/>
              <a:gd name="T31" fmla="*/ 0 h 10063"/>
              <a:gd name="T32" fmla="*/ 0 w 10000"/>
              <a:gd name="T33" fmla="*/ 0 h 10063"/>
              <a:gd name="T34" fmla="*/ 0 w 10000"/>
              <a:gd name="T35" fmla="*/ 0 h 10063"/>
              <a:gd name="T36" fmla="*/ 0 w 10000"/>
              <a:gd name="T37" fmla="*/ 0 h 10063"/>
              <a:gd name="T38" fmla="*/ 0 w 10000"/>
              <a:gd name="T39" fmla="*/ 0 h 10063"/>
              <a:gd name="T40" fmla="*/ 0 w 10000"/>
              <a:gd name="T41" fmla="*/ 0 h 10063"/>
              <a:gd name="T42" fmla="*/ 0 w 10000"/>
              <a:gd name="T43" fmla="*/ 0 h 10063"/>
              <a:gd name="T44" fmla="*/ 0 w 10000"/>
              <a:gd name="T45" fmla="*/ 0 h 10063"/>
              <a:gd name="T46" fmla="*/ 0 w 10000"/>
              <a:gd name="T47" fmla="*/ 0 h 10063"/>
              <a:gd name="T48" fmla="*/ 0 w 10000"/>
              <a:gd name="T49" fmla="*/ 0 h 10063"/>
              <a:gd name="T50" fmla="*/ 0 w 10000"/>
              <a:gd name="T51" fmla="*/ 0 h 10063"/>
              <a:gd name="T52" fmla="*/ 0 w 10000"/>
              <a:gd name="T53" fmla="*/ 0 h 10063"/>
              <a:gd name="T54" fmla="*/ 0 w 10000"/>
              <a:gd name="T55" fmla="*/ 0 h 10063"/>
              <a:gd name="T56" fmla="*/ 0 w 10000"/>
              <a:gd name="T57" fmla="*/ 0 h 10063"/>
              <a:gd name="T58" fmla="*/ 0 w 10000"/>
              <a:gd name="T59" fmla="*/ 0 h 10063"/>
              <a:gd name="T60" fmla="*/ 0 w 10000"/>
              <a:gd name="T61" fmla="*/ 0 h 10063"/>
              <a:gd name="T62" fmla="*/ 0 w 10000"/>
              <a:gd name="T63" fmla="*/ 0 h 10063"/>
              <a:gd name="T64" fmla="*/ 0 w 10000"/>
              <a:gd name="T65" fmla="*/ 0 h 10063"/>
              <a:gd name="T66" fmla="*/ 0 w 10000"/>
              <a:gd name="T67" fmla="*/ 0 h 10063"/>
              <a:gd name="T68" fmla="*/ 0 w 10000"/>
              <a:gd name="T69" fmla="*/ 0 h 10063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w 10000"/>
              <a:gd name="T106" fmla="*/ 0 h 10063"/>
              <a:gd name="T107" fmla="*/ 10000 w 10000"/>
              <a:gd name="T108" fmla="*/ 10063 h 10063"/>
            </a:gdLst>
            <a:ahLst/>
            <a:cxnLst>
              <a:cxn ang="T70">
                <a:pos x="T0" y="T1"/>
              </a:cxn>
              <a:cxn ang="T71">
                <a:pos x="T2" y="T3"/>
              </a:cxn>
              <a:cxn ang="T72">
                <a:pos x="T4" y="T5"/>
              </a:cxn>
              <a:cxn ang="T73">
                <a:pos x="T6" y="T7"/>
              </a:cxn>
              <a:cxn ang="T74">
                <a:pos x="T8" y="T9"/>
              </a:cxn>
              <a:cxn ang="T75">
                <a:pos x="T10" y="T11"/>
              </a:cxn>
              <a:cxn ang="T76">
                <a:pos x="T12" y="T13"/>
              </a:cxn>
              <a:cxn ang="T77">
                <a:pos x="T14" y="T15"/>
              </a:cxn>
              <a:cxn ang="T78">
                <a:pos x="T16" y="T17"/>
              </a:cxn>
              <a:cxn ang="T79">
                <a:pos x="T18" y="T19"/>
              </a:cxn>
              <a:cxn ang="T80">
                <a:pos x="T20" y="T21"/>
              </a:cxn>
              <a:cxn ang="T81">
                <a:pos x="T22" y="T23"/>
              </a:cxn>
              <a:cxn ang="T82">
                <a:pos x="T24" y="T25"/>
              </a:cxn>
              <a:cxn ang="T83">
                <a:pos x="T26" y="T27"/>
              </a:cxn>
              <a:cxn ang="T84">
                <a:pos x="T28" y="T29"/>
              </a:cxn>
              <a:cxn ang="T85">
                <a:pos x="T30" y="T31"/>
              </a:cxn>
              <a:cxn ang="T86">
                <a:pos x="T32" y="T33"/>
              </a:cxn>
              <a:cxn ang="T87">
                <a:pos x="T34" y="T35"/>
              </a:cxn>
              <a:cxn ang="T88">
                <a:pos x="T36" y="T37"/>
              </a:cxn>
              <a:cxn ang="T89">
                <a:pos x="T38" y="T39"/>
              </a:cxn>
              <a:cxn ang="T90">
                <a:pos x="T40" y="T41"/>
              </a:cxn>
              <a:cxn ang="T91">
                <a:pos x="T42" y="T43"/>
              </a:cxn>
              <a:cxn ang="T92">
                <a:pos x="T44" y="T45"/>
              </a:cxn>
              <a:cxn ang="T93">
                <a:pos x="T46" y="T47"/>
              </a:cxn>
              <a:cxn ang="T94">
                <a:pos x="T48" y="T49"/>
              </a:cxn>
              <a:cxn ang="T95">
                <a:pos x="T50" y="T51"/>
              </a:cxn>
              <a:cxn ang="T96">
                <a:pos x="T52" y="T53"/>
              </a:cxn>
              <a:cxn ang="T97">
                <a:pos x="T54" y="T55"/>
              </a:cxn>
              <a:cxn ang="T98">
                <a:pos x="T56" y="T57"/>
              </a:cxn>
              <a:cxn ang="T99">
                <a:pos x="T58" y="T59"/>
              </a:cxn>
              <a:cxn ang="T100">
                <a:pos x="T60" y="T61"/>
              </a:cxn>
              <a:cxn ang="T101">
                <a:pos x="T62" y="T63"/>
              </a:cxn>
              <a:cxn ang="T102">
                <a:pos x="T64" y="T65"/>
              </a:cxn>
              <a:cxn ang="T103">
                <a:pos x="T66" y="T67"/>
              </a:cxn>
              <a:cxn ang="T104">
                <a:pos x="T68" y="T69"/>
              </a:cxn>
            </a:cxnLst>
            <a:rect l="T105" t="T106" r="T107" b="T108"/>
            <a:pathLst>
              <a:path w="10000" h="10063">
                <a:moveTo>
                  <a:pt x="10000" y="5"/>
                </a:moveTo>
                <a:cubicBezTo>
                  <a:pt x="9925" y="39"/>
                  <a:pt x="9795" y="-24"/>
                  <a:pt x="9720" y="10"/>
                </a:cubicBezTo>
                <a:cubicBezTo>
                  <a:pt x="9576" y="39"/>
                  <a:pt x="9545" y="185"/>
                  <a:pt x="9458" y="272"/>
                </a:cubicBezTo>
                <a:lnTo>
                  <a:pt x="9142" y="703"/>
                </a:lnTo>
                <a:lnTo>
                  <a:pt x="9458" y="1196"/>
                </a:lnTo>
                <a:lnTo>
                  <a:pt x="9458" y="1628"/>
                </a:lnTo>
                <a:lnTo>
                  <a:pt x="8914" y="1938"/>
                </a:lnTo>
                <a:lnTo>
                  <a:pt x="8599" y="2584"/>
                </a:lnTo>
                <a:cubicBezTo>
                  <a:pt x="8569" y="2730"/>
                  <a:pt x="8538" y="2872"/>
                  <a:pt x="8508" y="3016"/>
                </a:cubicBezTo>
                <a:lnTo>
                  <a:pt x="7829" y="3294"/>
                </a:lnTo>
                <a:lnTo>
                  <a:pt x="7377" y="3325"/>
                </a:lnTo>
                <a:lnTo>
                  <a:pt x="6742" y="3479"/>
                </a:lnTo>
                <a:lnTo>
                  <a:pt x="6742" y="3788"/>
                </a:lnTo>
                <a:lnTo>
                  <a:pt x="7104" y="3943"/>
                </a:lnTo>
                <a:lnTo>
                  <a:pt x="7646" y="4252"/>
                </a:lnTo>
                <a:cubicBezTo>
                  <a:pt x="7662" y="4344"/>
                  <a:pt x="7678" y="4437"/>
                  <a:pt x="7693" y="4529"/>
                </a:cubicBezTo>
                <a:lnTo>
                  <a:pt x="7013" y="4623"/>
                </a:lnTo>
                <a:lnTo>
                  <a:pt x="6604" y="4775"/>
                </a:lnTo>
                <a:lnTo>
                  <a:pt x="6152" y="4961"/>
                </a:lnTo>
                <a:lnTo>
                  <a:pt x="5654" y="4993"/>
                </a:lnTo>
                <a:lnTo>
                  <a:pt x="4975" y="4993"/>
                </a:lnTo>
                <a:lnTo>
                  <a:pt x="4521" y="4869"/>
                </a:lnTo>
                <a:lnTo>
                  <a:pt x="4117" y="4683"/>
                </a:lnTo>
                <a:lnTo>
                  <a:pt x="3618" y="4807"/>
                </a:lnTo>
                <a:cubicBezTo>
                  <a:pt x="3600" y="5043"/>
                  <a:pt x="3586" y="5281"/>
                  <a:pt x="3573" y="5515"/>
                </a:cubicBezTo>
                <a:lnTo>
                  <a:pt x="3573" y="5979"/>
                </a:lnTo>
                <a:lnTo>
                  <a:pt x="3163" y="6720"/>
                </a:lnTo>
                <a:lnTo>
                  <a:pt x="2619" y="7213"/>
                </a:lnTo>
                <a:lnTo>
                  <a:pt x="2123" y="7583"/>
                </a:lnTo>
                <a:lnTo>
                  <a:pt x="1442" y="8140"/>
                </a:lnTo>
                <a:lnTo>
                  <a:pt x="898" y="8477"/>
                </a:lnTo>
                <a:cubicBezTo>
                  <a:pt x="853" y="8580"/>
                  <a:pt x="809" y="8683"/>
                  <a:pt x="764" y="8786"/>
                </a:cubicBezTo>
                <a:lnTo>
                  <a:pt x="355" y="9126"/>
                </a:lnTo>
                <a:cubicBezTo>
                  <a:pt x="310" y="9289"/>
                  <a:pt x="265" y="9455"/>
                  <a:pt x="221" y="9619"/>
                </a:cubicBezTo>
                <a:cubicBezTo>
                  <a:pt x="174" y="9774"/>
                  <a:pt x="46" y="9908"/>
                  <a:pt x="0" y="10063"/>
                </a:cubicBezTo>
              </a:path>
            </a:pathLst>
          </a:custGeom>
          <a:noFill/>
          <a:ln w="317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 wrap="none" lIns="32632" tIns="32632" rIns="32632" bIns="32632" anchor="ctr"/>
          <a:lstStyle/>
          <a:p>
            <a:pPr defTabSz="891045"/>
            <a:endParaRPr lang="en-US" sz="1700" dirty="0">
              <a:solidFill>
                <a:srgbClr val="003149"/>
              </a:solidFill>
              <a:cs typeface="Arial" panose="020B0604020202020204" pitchFamily="34" charset="0"/>
            </a:endParaRPr>
          </a:p>
        </p:txBody>
      </p:sp>
      <p:sp>
        <p:nvSpPr>
          <p:cNvPr id="172" name="Freeform 1021"/>
          <p:cNvSpPr>
            <a:spLocks noChangeAspect="1"/>
          </p:cNvSpPr>
          <p:nvPr>
            <p:custDataLst>
              <p:tags r:id="rId101"/>
            </p:custDataLst>
          </p:nvPr>
        </p:nvSpPr>
        <p:spPr bwMode="gray">
          <a:xfrm>
            <a:off x="4280880" y="4285555"/>
            <a:ext cx="1518345" cy="691590"/>
          </a:xfrm>
          <a:custGeom>
            <a:avLst/>
            <a:gdLst>
              <a:gd name="T0" fmla="*/ 0 w 10000"/>
              <a:gd name="T1" fmla="*/ 0 h 10000"/>
              <a:gd name="T2" fmla="*/ 0 w 10000"/>
              <a:gd name="T3" fmla="*/ 0 h 10000"/>
              <a:gd name="T4" fmla="*/ 0 w 10000"/>
              <a:gd name="T5" fmla="*/ 0 h 10000"/>
              <a:gd name="T6" fmla="*/ 0 w 10000"/>
              <a:gd name="T7" fmla="*/ 0 h 10000"/>
              <a:gd name="T8" fmla="*/ 0 w 10000"/>
              <a:gd name="T9" fmla="*/ 0 h 10000"/>
              <a:gd name="T10" fmla="*/ 0 w 10000"/>
              <a:gd name="T11" fmla="*/ 0 h 10000"/>
              <a:gd name="T12" fmla="*/ 0 w 10000"/>
              <a:gd name="T13" fmla="*/ 0 h 10000"/>
              <a:gd name="T14" fmla="*/ 0 w 10000"/>
              <a:gd name="T15" fmla="*/ 0 h 10000"/>
              <a:gd name="T16" fmla="*/ 0 w 10000"/>
              <a:gd name="T17" fmla="*/ 0 h 10000"/>
              <a:gd name="T18" fmla="*/ 0 w 10000"/>
              <a:gd name="T19" fmla="*/ 0 h 10000"/>
              <a:gd name="T20" fmla="*/ 0 w 10000"/>
              <a:gd name="T21" fmla="*/ 0 h 10000"/>
              <a:gd name="T22" fmla="*/ 0 w 10000"/>
              <a:gd name="T23" fmla="*/ 0 h 10000"/>
              <a:gd name="T24" fmla="*/ 0 w 10000"/>
              <a:gd name="T25" fmla="*/ 0 h 10000"/>
              <a:gd name="T26" fmla="*/ 0 w 10000"/>
              <a:gd name="T27" fmla="*/ 0 h 10000"/>
              <a:gd name="T28" fmla="*/ 0 w 10000"/>
              <a:gd name="T29" fmla="*/ 0 h 10000"/>
              <a:gd name="T30" fmla="*/ 0 w 10000"/>
              <a:gd name="T31" fmla="*/ 0 h 10000"/>
              <a:gd name="T32" fmla="*/ 0 w 10000"/>
              <a:gd name="T33" fmla="*/ 0 h 10000"/>
              <a:gd name="T34" fmla="*/ 0 w 10000"/>
              <a:gd name="T35" fmla="*/ 0 h 10000"/>
              <a:gd name="T36" fmla="*/ 0 w 10000"/>
              <a:gd name="T37" fmla="*/ 0 h 10000"/>
              <a:gd name="T38" fmla="*/ 0 w 10000"/>
              <a:gd name="T39" fmla="*/ 0 h 10000"/>
              <a:gd name="T40" fmla="*/ 0 w 10000"/>
              <a:gd name="T41" fmla="*/ 0 h 10000"/>
              <a:gd name="T42" fmla="*/ 0 w 10000"/>
              <a:gd name="T43" fmla="*/ 0 h 10000"/>
              <a:gd name="T44" fmla="*/ 0 w 10000"/>
              <a:gd name="T45" fmla="*/ 0 h 10000"/>
              <a:gd name="T46" fmla="*/ 0 w 10000"/>
              <a:gd name="T47" fmla="*/ 0 h 10000"/>
              <a:gd name="T48" fmla="*/ 0 w 10000"/>
              <a:gd name="T49" fmla="*/ 0 h 10000"/>
              <a:gd name="T50" fmla="*/ 0 w 10000"/>
              <a:gd name="T51" fmla="*/ 0 h 10000"/>
              <a:gd name="T52" fmla="*/ 0 w 10000"/>
              <a:gd name="T53" fmla="*/ 0 h 10000"/>
              <a:gd name="T54" fmla="*/ 0 w 10000"/>
              <a:gd name="T55" fmla="*/ 0 h 10000"/>
              <a:gd name="T56" fmla="*/ 0 w 10000"/>
              <a:gd name="T57" fmla="*/ 0 h 10000"/>
              <a:gd name="T58" fmla="*/ 0 w 10000"/>
              <a:gd name="T59" fmla="*/ 0 h 10000"/>
              <a:gd name="T60" fmla="*/ 0 w 10000"/>
              <a:gd name="T61" fmla="*/ 0 h 10000"/>
              <a:gd name="T62" fmla="*/ 0 w 10000"/>
              <a:gd name="T63" fmla="*/ 0 h 10000"/>
              <a:gd name="T64" fmla="*/ 0 w 10000"/>
              <a:gd name="T65" fmla="*/ 0 h 10000"/>
              <a:gd name="T66" fmla="*/ 0 w 10000"/>
              <a:gd name="T67" fmla="*/ 0 h 10000"/>
              <a:gd name="T68" fmla="*/ 0 w 10000"/>
              <a:gd name="T69" fmla="*/ 0 h 10000"/>
              <a:gd name="T70" fmla="*/ 0 w 10000"/>
              <a:gd name="T71" fmla="*/ 0 h 10000"/>
              <a:gd name="T72" fmla="*/ 0 w 10000"/>
              <a:gd name="T73" fmla="*/ 0 h 10000"/>
              <a:gd name="T74" fmla="*/ 0 w 10000"/>
              <a:gd name="T75" fmla="*/ 0 h 10000"/>
              <a:gd name="T76" fmla="*/ 0 w 10000"/>
              <a:gd name="T77" fmla="*/ 0 h 10000"/>
              <a:gd name="T78" fmla="*/ 0 w 10000"/>
              <a:gd name="T79" fmla="*/ 0 h 10000"/>
              <a:gd name="T80" fmla="*/ 0 w 10000"/>
              <a:gd name="T81" fmla="*/ 0 h 10000"/>
              <a:gd name="T82" fmla="*/ 0 w 10000"/>
              <a:gd name="T83" fmla="*/ 0 h 10000"/>
              <a:gd name="T84" fmla="*/ 0 w 10000"/>
              <a:gd name="T85" fmla="*/ 0 h 10000"/>
              <a:gd name="T86" fmla="*/ 0 w 10000"/>
              <a:gd name="T87" fmla="*/ 0 h 10000"/>
              <a:gd name="T88" fmla="*/ 0 w 10000"/>
              <a:gd name="T89" fmla="*/ 0 h 10000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w 10000"/>
              <a:gd name="T136" fmla="*/ 0 h 10000"/>
              <a:gd name="T137" fmla="*/ 10000 w 10000"/>
              <a:gd name="T138" fmla="*/ 10000 h 10000"/>
            </a:gdLst>
            <a:ahLst/>
            <a:cxnLst>
              <a:cxn ang="T90">
                <a:pos x="T0" y="T1"/>
              </a:cxn>
              <a:cxn ang="T91">
                <a:pos x="T2" y="T3"/>
              </a:cxn>
              <a:cxn ang="T92">
                <a:pos x="T4" y="T5"/>
              </a:cxn>
              <a:cxn ang="T93">
                <a:pos x="T6" y="T7"/>
              </a:cxn>
              <a:cxn ang="T94">
                <a:pos x="T8" y="T9"/>
              </a:cxn>
              <a:cxn ang="T95">
                <a:pos x="T10" y="T11"/>
              </a:cxn>
              <a:cxn ang="T96">
                <a:pos x="T12" y="T13"/>
              </a:cxn>
              <a:cxn ang="T97">
                <a:pos x="T14" y="T15"/>
              </a:cxn>
              <a:cxn ang="T98">
                <a:pos x="T16" y="T17"/>
              </a:cxn>
              <a:cxn ang="T99">
                <a:pos x="T18" y="T19"/>
              </a:cxn>
              <a:cxn ang="T100">
                <a:pos x="T20" y="T21"/>
              </a:cxn>
              <a:cxn ang="T101">
                <a:pos x="T22" y="T23"/>
              </a:cxn>
              <a:cxn ang="T102">
                <a:pos x="T24" y="T25"/>
              </a:cxn>
              <a:cxn ang="T103">
                <a:pos x="T26" y="T27"/>
              </a:cxn>
              <a:cxn ang="T104">
                <a:pos x="T28" y="T29"/>
              </a:cxn>
              <a:cxn ang="T105">
                <a:pos x="T30" y="T31"/>
              </a:cxn>
              <a:cxn ang="T106">
                <a:pos x="T32" y="T33"/>
              </a:cxn>
              <a:cxn ang="T107">
                <a:pos x="T34" y="T35"/>
              </a:cxn>
              <a:cxn ang="T108">
                <a:pos x="T36" y="T37"/>
              </a:cxn>
              <a:cxn ang="T109">
                <a:pos x="T38" y="T39"/>
              </a:cxn>
              <a:cxn ang="T110">
                <a:pos x="T40" y="T41"/>
              </a:cxn>
              <a:cxn ang="T111">
                <a:pos x="T42" y="T43"/>
              </a:cxn>
              <a:cxn ang="T112">
                <a:pos x="T44" y="T45"/>
              </a:cxn>
              <a:cxn ang="T113">
                <a:pos x="T46" y="T47"/>
              </a:cxn>
              <a:cxn ang="T114">
                <a:pos x="T48" y="T49"/>
              </a:cxn>
              <a:cxn ang="T115">
                <a:pos x="T50" y="T51"/>
              </a:cxn>
              <a:cxn ang="T116">
                <a:pos x="T52" y="T53"/>
              </a:cxn>
              <a:cxn ang="T117">
                <a:pos x="T54" y="T55"/>
              </a:cxn>
              <a:cxn ang="T118">
                <a:pos x="T56" y="T57"/>
              </a:cxn>
              <a:cxn ang="T119">
                <a:pos x="T58" y="T59"/>
              </a:cxn>
              <a:cxn ang="T120">
                <a:pos x="T60" y="T61"/>
              </a:cxn>
              <a:cxn ang="T121">
                <a:pos x="T62" y="T63"/>
              </a:cxn>
              <a:cxn ang="T122">
                <a:pos x="T64" y="T65"/>
              </a:cxn>
              <a:cxn ang="T123">
                <a:pos x="T66" y="T67"/>
              </a:cxn>
              <a:cxn ang="T124">
                <a:pos x="T68" y="T69"/>
              </a:cxn>
              <a:cxn ang="T125">
                <a:pos x="T70" y="T71"/>
              </a:cxn>
              <a:cxn ang="T126">
                <a:pos x="T72" y="T73"/>
              </a:cxn>
              <a:cxn ang="T127">
                <a:pos x="T74" y="T75"/>
              </a:cxn>
              <a:cxn ang="T128">
                <a:pos x="T76" y="T77"/>
              </a:cxn>
              <a:cxn ang="T129">
                <a:pos x="T78" y="T79"/>
              </a:cxn>
              <a:cxn ang="T130">
                <a:pos x="T80" y="T81"/>
              </a:cxn>
              <a:cxn ang="T131">
                <a:pos x="T82" y="T83"/>
              </a:cxn>
              <a:cxn ang="T132">
                <a:pos x="T84" y="T85"/>
              </a:cxn>
              <a:cxn ang="T133">
                <a:pos x="T86" y="T87"/>
              </a:cxn>
              <a:cxn ang="T134">
                <a:pos x="T88" y="T89"/>
              </a:cxn>
            </a:cxnLst>
            <a:rect l="T135" t="T136" r="T137" b="T138"/>
            <a:pathLst>
              <a:path w="10000" h="10000">
                <a:moveTo>
                  <a:pt x="22" y="1396"/>
                </a:moveTo>
                <a:cubicBezTo>
                  <a:pt x="7" y="1455"/>
                  <a:pt x="15" y="1535"/>
                  <a:pt x="0" y="1594"/>
                </a:cubicBezTo>
                <a:cubicBezTo>
                  <a:pt x="12" y="1644"/>
                  <a:pt x="-3" y="1682"/>
                  <a:pt x="9" y="1732"/>
                </a:cubicBezTo>
                <a:cubicBezTo>
                  <a:pt x="17" y="1782"/>
                  <a:pt x="25" y="1833"/>
                  <a:pt x="33" y="1883"/>
                </a:cubicBezTo>
                <a:lnTo>
                  <a:pt x="27" y="2033"/>
                </a:lnTo>
                <a:cubicBezTo>
                  <a:pt x="47" y="2078"/>
                  <a:pt x="67" y="2124"/>
                  <a:pt x="87" y="2169"/>
                </a:cubicBezTo>
                <a:cubicBezTo>
                  <a:pt x="113" y="2219"/>
                  <a:pt x="140" y="2269"/>
                  <a:pt x="166" y="2319"/>
                </a:cubicBezTo>
                <a:cubicBezTo>
                  <a:pt x="187" y="2384"/>
                  <a:pt x="207" y="2450"/>
                  <a:pt x="227" y="2515"/>
                </a:cubicBezTo>
                <a:lnTo>
                  <a:pt x="227" y="2711"/>
                </a:lnTo>
                <a:lnTo>
                  <a:pt x="251" y="2816"/>
                </a:lnTo>
                <a:lnTo>
                  <a:pt x="317" y="2831"/>
                </a:lnTo>
                <a:cubicBezTo>
                  <a:pt x="337" y="2806"/>
                  <a:pt x="358" y="2781"/>
                  <a:pt x="378" y="2756"/>
                </a:cubicBezTo>
                <a:lnTo>
                  <a:pt x="426" y="2771"/>
                </a:lnTo>
                <a:cubicBezTo>
                  <a:pt x="434" y="2826"/>
                  <a:pt x="442" y="2882"/>
                  <a:pt x="450" y="2937"/>
                </a:cubicBezTo>
                <a:lnTo>
                  <a:pt x="492" y="3012"/>
                </a:lnTo>
                <a:lnTo>
                  <a:pt x="552" y="3012"/>
                </a:lnTo>
                <a:cubicBezTo>
                  <a:pt x="566" y="3032"/>
                  <a:pt x="581" y="3052"/>
                  <a:pt x="595" y="3072"/>
                </a:cubicBezTo>
                <a:cubicBezTo>
                  <a:pt x="605" y="3112"/>
                  <a:pt x="616" y="3153"/>
                  <a:pt x="626" y="3193"/>
                </a:cubicBezTo>
                <a:lnTo>
                  <a:pt x="674" y="3283"/>
                </a:lnTo>
                <a:cubicBezTo>
                  <a:pt x="678" y="3343"/>
                  <a:pt x="682" y="3404"/>
                  <a:pt x="686" y="3464"/>
                </a:cubicBezTo>
                <a:lnTo>
                  <a:pt x="680" y="3569"/>
                </a:lnTo>
                <a:cubicBezTo>
                  <a:pt x="682" y="3639"/>
                  <a:pt x="684" y="3710"/>
                  <a:pt x="686" y="3780"/>
                </a:cubicBezTo>
                <a:cubicBezTo>
                  <a:pt x="696" y="3845"/>
                  <a:pt x="706" y="3911"/>
                  <a:pt x="716" y="3976"/>
                </a:cubicBezTo>
                <a:cubicBezTo>
                  <a:pt x="740" y="4026"/>
                  <a:pt x="764" y="4077"/>
                  <a:pt x="788" y="4127"/>
                </a:cubicBezTo>
                <a:cubicBezTo>
                  <a:pt x="798" y="4222"/>
                  <a:pt x="808" y="4318"/>
                  <a:pt x="818" y="4413"/>
                </a:cubicBezTo>
                <a:lnTo>
                  <a:pt x="788" y="4608"/>
                </a:lnTo>
                <a:cubicBezTo>
                  <a:pt x="780" y="4658"/>
                  <a:pt x="772" y="4709"/>
                  <a:pt x="764" y="4759"/>
                </a:cubicBezTo>
                <a:cubicBezTo>
                  <a:pt x="770" y="4829"/>
                  <a:pt x="776" y="4900"/>
                  <a:pt x="782" y="4970"/>
                </a:cubicBezTo>
                <a:cubicBezTo>
                  <a:pt x="778" y="5025"/>
                  <a:pt x="774" y="5081"/>
                  <a:pt x="770" y="5136"/>
                </a:cubicBezTo>
                <a:lnTo>
                  <a:pt x="740" y="5256"/>
                </a:lnTo>
                <a:lnTo>
                  <a:pt x="698" y="5361"/>
                </a:lnTo>
                <a:cubicBezTo>
                  <a:pt x="688" y="5406"/>
                  <a:pt x="678" y="5452"/>
                  <a:pt x="668" y="5497"/>
                </a:cubicBezTo>
                <a:cubicBezTo>
                  <a:pt x="664" y="5557"/>
                  <a:pt x="660" y="5618"/>
                  <a:pt x="656" y="5678"/>
                </a:cubicBezTo>
                <a:lnTo>
                  <a:pt x="650" y="5843"/>
                </a:lnTo>
                <a:lnTo>
                  <a:pt x="650" y="5979"/>
                </a:lnTo>
                <a:lnTo>
                  <a:pt x="722" y="6069"/>
                </a:lnTo>
                <a:lnTo>
                  <a:pt x="800" y="6099"/>
                </a:lnTo>
                <a:lnTo>
                  <a:pt x="885" y="6205"/>
                </a:lnTo>
                <a:cubicBezTo>
                  <a:pt x="913" y="6240"/>
                  <a:pt x="942" y="6275"/>
                  <a:pt x="970" y="6310"/>
                </a:cubicBezTo>
                <a:lnTo>
                  <a:pt x="1066" y="6355"/>
                </a:lnTo>
                <a:lnTo>
                  <a:pt x="1163" y="6370"/>
                </a:lnTo>
                <a:lnTo>
                  <a:pt x="1247" y="6355"/>
                </a:lnTo>
                <a:lnTo>
                  <a:pt x="1326" y="6370"/>
                </a:lnTo>
                <a:lnTo>
                  <a:pt x="1441" y="6416"/>
                </a:lnTo>
                <a:lnTo>
                  <a:pt x="1555" y="6551"/>
                </a:lnTo>
                <a:lnTo>
                  <a:pt x="1725" y="6521"/>
                </a:lnTo>
                <a:lnTo>
                  <a:pt x="1851" y="6551"/>
                </a:lnTo>
                <a:lnTo>
                  <a:pt x="2032" y="6521"/>
                </a:lnTo>
                <a:cubicBezTo>
                  <a:pt x="2063" y="6566"/>
                  <a:pt x="2093" y="6612"/>
                  <a:pt x="2124" y="6657"/>
                </a:cubicBezTo>
                <a:lnTo>
                  <a:pt x="2232" y="6837"/>
                </a:lnTo>
                <a:cubicBezTo>
                  <a:pt x="2299" y="6922"/>
                  <a:pt x="2365" y="7008"/>
                  <a:pt x="2432" y="7093"/>
                </a:cubicBezTo>
                <a:lnTo>
                  <a:pt x="2540" y="7229"/>
                </a:lnTo>
                <a:lnTo>
                  <a:pt x="2757" y="7244"/>
                </a:lnTo>
                <a:cubicBezTo>
                  <a:pt x="2743" y="7314"/>
                  <a:pt x="2729" y="7385"/>
                  <a:pt x="2715" y="7455"/>
                </a:cubicBezTo>
                <a:cubicBezTo>
                  <a:pt x="2733" y="7515"/>
                  <a:pt x="2751" y="7576"/>
                  <a:pt x="2769" y="7636"/>
                </a:cubicBezTo>
                <a:cubicBezTo>
                  <a:pt x="2782" y="7791"/>
                  <a:pt x="2794" y="7947"/>
                  <a:pt x="2806" y="8102"/>
                </a:cubicBezTo>
                <a:cubicBezTo>
                  <a:pt x="2802" y="8223"/>
                  <a:pt x="2798" y="8343"/>
                  <a:pt x="2794" y="8464"/>
                </a:cubicBezTo>
                <a:cubicBezTo>
                  <a:pt x="2848" y="8630"/>
                  <a:pt x="2903" y="8795"/>
                  <a:pt x="2957" y="8961"/>
                </a:cubicBezTo>
                <a:lnTo>
                  <a:pt x="3065" y="8991"/>
                </a:lnTo>
                <a:lnTo>
                  <a:pt x="3265" y="9081"/>
                </a:lnTo>
                <a:lnTo>
                  <a:pt x="3386" y="9036"/>
                </a:lnTo>
                <a:lnTo>
                  <a:pt x="3844" y="9081"/>
                </a:lnTo>
                <a:cubicBezTo>
                  <a:pt x="3875" y="9101"/>
                  <a:pt x="3905" y="9122"/>
                  <a:pt x="3936" y="9142"/>
                </a:cubicBezTo>
                <a:lnTo>
                  <a:pt x="4080" y="9006"/>
                </a:lnTo>
                <a:lnTo>
                  <a:pt x="4183" y="8961"/>
                </a:lnTo>
                <a:cubicBezTo>
                  <a:pt x="4209" y="8991"/>
                  <a:pt x="4236" y="9021"/>
                  <a:pt x="4262" y="9051"/>
                </a:cubicBezTo>
                <a:lnTo>
                  <a:pt x="4365" y="9051"/>
                </a:lnTo>
                <a:lnTo>
                  <a:pt x="4709" y="9051"/>
                </a:lnTo>
                <a:cubicBezTo>
                  <a:pt x="4733" y="9091"/>
                  <a:pt x="4757" y="9132"/>
                  <a:pt x="4781" y="9172"/>
                </a:cubicBezTo>
                <a:cubicBezTo>
                  <a:pt x="4799" y="9247"/>
                  <a:pt x="4817" y="9323"/>
                  <a:pt x="4835" y="9398"/>
                </a:cubicBezTo>
                <a:lnTo>
                  <a:pt x="4932" y="9488"/>
                </a:lnTo>
                <a:lnTo>
                  <a:pt x="5041" y="9578"/>
                </a:lnTo>
                <a:lnTo>
                  <a:pt x="5168" y="9669"/>
                </a:lnTo>
                <a:lnTo>
                  <a:pt x="5276" y="9684"/>
                </a:lnTo>
                <a:cubicBezTo>
                  <a:pt x="5310" y="9744"/>
                  <a:pt x="5345" y="9804"/>
                  <a:pt x="5380" y="9864"/>
                </a:cubicBezTo>
                <a:lnTo>
                  <a:pt x="5578" y="9729"/>
                </a:lnTo>
                <a:lnTo>
                  <a:pt x="5820" y="10000"/>
                </a:lnTo>
                <a:lnTo>
                  <a:pt x="6013" y="9684"/>
                </a:lnTo>
                <a:cubicBezTo>
                  <a:pt x="6079" y="9548"/>
                  <a:pt x="6147" y="9413"/>
                  <a:pt x="6213" y="9277"/>
                </a:cubicBezTo>
                <a:lnTo>
                  <a:pt x="6466" y="9127"/>
                </a:lnTo>
                <a:lnTo>
                  <a:pt x="6738" y="8961"/>
                </a:lnTo>
                <a:lnTo>
                  <a:pt x="7034" y="8825"/>
                </a:lnTo>
                <a:lnTo>
                  <a:pt x="7209" y="8690"/>
                </a:lnTo>
                <a:lnTo>
                  <a:pt x="7360" y="8404"/>
                </a:lnTo>
                <a:lnTo>
                  <a:pt x="7523" y="8283"/>
                </a:lnTo>
                <a:cubicBezTo>
                  <a:pt x="7563" y="8127"/>
                  <a:pt x="7605" y="7972"/>
                  <a:pt x="7645" y="7816"/>
                </a:cubicBezTo>
                <a:cubicBezTo>
                  <a:pt x="7663" y="7716"/>
                  <a:pt x="7681" y="7615"/>
                  <a:pt x="7699" y="7515"/>
                </a:cubicBezTo>
                <a:lnTo>
                  <a:pt x="7813" y="7410"/>
                </a:lnTo>
                <a:cubicBezTo>
                  <a:pt x="7835" y="7350"/>
                  <a:pt x="7858" y="7289"/>
                  <a:pt x="7880" y="7229"/>
                </a:cubicBezTo>
                <a:cubicBezTo>
                  <a:pt x="7888" y="7159"/>
                  <a:pt x="7896" y="7088"/>
                  <a:pt x="7904" y="7018"/>
                </a:cubicBezTo>
                <a:cubicBezTo>
                  <a:pt x="7896" y="6908"/>
                  <a:pt x="7888" y="6797"/>
                  <a:pt x="7880" y="6687"/>
                </a:cubicBezTo>
                <a:lnTo>
                  <a:pt x="7759" y="6476"/>
                </a:lnTo>
                <a:cubicBezTo>
                  <a:pt x="7765" y="6411"/>
                  <a:pt x="7771" y="6345"/>
                  <a:pt x="7777" y="6280"/>
                </a:cubicBezTo>
                <a:cubicBezTo>
                  <a:pt x="7775" y="6220"/>
                  <a:pt x="7773" y="6159"/>
                  <a:pt x="7771" y="6099"/>
                </a:cubicBezTo>
                <a:cubicBezTo>
                  <a:pt x="7765" y="6014"/>
                  <a:pt x="7759" y="5928"/>
                  <a:pt x="7753" y="5843"/>
                </a:cubicBezTo>
                <a:lnTo>
                  <a:pt x="7807" y="5708"/>
                </a:lnTo>
                <a:cubicBezTo>
                  <a:pt x="7831" y="5688"/>
                  <a:pt x="7856" y="5668"/>
                  <a:pt x="7880" y="5648"/>
                </a:cubicBezTo>
                <a:lnTo>
                  <a:pt x="7989" y="5617"/>
                </a:lnTo>
                <a:cubicBezTo>
                  <a:pt x="8019" y="5657"/>
                  <a:pt x="8049" y="5698"/>
                  <a:pt x="8079" y="5738"/>
                </a:cubicBezTo>
                <a:lnTo>
                  <a:pt x="8206" y="5783"/>
                </a:lnTo>
                <a:lnTo>
                  <a:pt x="8357" y="5693"/>
                </a:lnTo>
                <a:lnTo>
                  <a:pt x="8502" y="5467"/>
                </a:lnTo>
                <a:cubicBezTo>
                  <a:pt x="8526" y="5336"/>
                  <a:pt x="8550" y="5206"/>
                  <a:pt x="8574" y="5075"/>
                </a:cubicBezTo>
                <a:cubicBezTo>
                  <a:pt x="8586" y="4985"/>
                  <a:pt x="8598" y="4894"/>
                  <a:pt x="8610" y="4804"/>
                </a:cubicBezTo>
                <a:lnTo>
                  <a:pt x="8738" y="4804"/>
                </a:lnTo>
                <a:lnTo>
                  <a:pt x="8864" y="4623"/>
                </a:lnTo>
                <a:cubicBezTo>
                  <a:pt x="8888" y="4548"/>
                  <a:pt x="8913" y="4473"/>
                  <a:pt x="8937" y="4398"/>
                </a:cubicBezTo>
                <a:cubicBezTo>
                  <a:pt x="8959" y="4348"/>
                  <a:pt x="8981" y="4297"/>
                  <a:pt x="9003" y="4247"/>
                </a:cubicBezTo>
                <a:cubicBezTo>
                  <a:pt x="8997" y="4202"/>
                  <a:pt x="8991" y="4156"/>
                  <a:pt x="8985" y="4111"/>
                </a:cubicBezTo>
                <a:lnTo>
                  <a:pt x="9021" y="3931"/>
                </a:lnTo>
                <a:cubicBezTo>
                  <a:pt x="9041" y="3861"/>
                  <a:pt x="9061" y="3790"/>
                  <a:pt x="9082" y="3720"/>
                </a:cubicBezTo>
                <a:lnTo>
                  <a:pt x="9167" y="3614"/>
                </a:lnTo>
                <a:lnTo>
                  <a:pt x="9227" y="3524"/>
                </a:lnTo>
                <a:cubicBezTo>
                  <a:pt x="9249" y="3569"/>
                  <a:pt x="9271" y="3615"/>
                  <a:pt x="9293" y="3660"/>
                </a:cubicBezTo>
                <a:cubicBezTo>
                  <a:pt x="9301" y="3630"/>
                  <a:pt x="9309" y="3599"/>
                  <a:pt x="9317" y="3569"/>
                </a:cubicBezTo>
                <a:cubicBezTo>
                  <a:pt x="9303" y="3499"/>
                  <a:pt x="9289" y="3428"/>
                  <a:pt x="9275" y="3358"/>
                </a:cubicBezTo>
                <a:lnTo>
                  <a:pt x="9390" y="3389"/>
                </a:lnTo>
                <a:cubicBezTo>
                  <a:pt x="9442" y="3223"/>
                  <a:pt x="9495" y="3058"/>
                  <a:pt x="9547" y="2892"/>
                </a:cubicBezTo>
                <a:lnTo>
                  <a:pt x="9734" y="2726"/>
                </a:lnTo>
                <a:lnTo>
                  <a:pt x="9916" y="2771"/>
                </a:lnTo>
                <a:cubicBezTo>
                  <a:pt x="9944" y="2681"/>
                  <a:pt x="9972" y="2590"/>
                  <a:pt x="10000" y="2500"/>
                </a:cubicBezTo>
                <a:cubicBezTo>
                  <a:pt x="9970" y="2435"/>
                  <a:pt x="9940" y="2369"/>
                  <a:pt x="9910" y="2304"/>
                </a:cubicBezTo>
                <a:cubicBezTo>
                  <a:pt x="9892" y="2219"/>
                  <a:pt x="9873" y="2133"/>
                  <a:pt x="9855" y="2048"/>
                </a:cubicBezTo>
                <a:lnTo>
                  <a:pt x="9692" y="1867"/>
                </a:lnTo>
                <a:lnTo>
                  <a:pt x="9547" y="1732"/>
                </a:lnTo>
                <a:lnTo>
                  <a:pt x="9426" y="1491"/>
                </a:lnTo>
                <a:lnTo>
                  <a:pt x="9263" y="1581"/>
                </a:lnTo>
                <a:cubicBezTo>
                  <a:pt x="9233" y="1692"/>
                  <a:pt x="9203" y="1802"/>
                  <a:pt x="9173" y="1913"/>
                </a:cubicBezTo>
                <a:cubicBezTo>
                  <a:pt x="9161" y="1988"/>
                  <a:pt x="9149" y="2064"/>
                  <a:pt x="9137" y="2139"/>
                </a:cubicBezTo>
                <a:cubicBezTo>
                  <a:pt x="9092" y="2094"/>
                  <a:pt x="9048" y="2048"/>
                  <a:pt x="9003" y="2003"/>
                </a:cubicBezTo>
                <a:lnTo>
                  <a:pt x="8877" y="2169"/>
                </a:lnTo>
                <a:cubicBezTo>
                  <a:pt x="8841" y="2229"/>
                  <a:pt x="8804" y="2289"/>
                  <a:pt x="8768" y="2349"/>
                </a:cubicBezTo>
                <a:lnTo>
                  <a:pt x="8623" y="2048"/>
                </a:lnTo>
                <a:cubicBezTo>
                  <a:pt x="8641" y="1983"/>
                  <a:pt x="8659" y="1917"/>
                  <a:pt x="8677" y="1852"/>
                </a:cubicBezTo>
                <a:cubicBezTo>
                  <a:pt x="8673" y="1235"/>
                  <a:pt x="8669" y="617"/>
                  <a:pt x="8665" y="0"/>
                </a:cubicBezTo>
              </a:path>
            </a:pathLst>
          </a:custGeom>
          <a:noFill/>
          <a:ln w="317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 wrap="none" lIns="32632" tIns="32632" rIns="32632" bIns="32632" anchor="ctr"/>
          <a:lstStyle/>
          <a:p>
            <a:pPr defTabSz="891045"/>
            <a:endParaRPr lang="en-US" sz="1700" dirty="0">
              <a:solidFill>
                <a:srgbClr val="003149"/>
              </a:solidFill>
              <a:cs typeface="Arial" panose="020B0604020202020204" pitchFamily="34" charset="0"/>
            </a:endParaRPr>
          </a:p>
        </p:txBody>
      </p:sp>
      <p:sp>
        <p:nvSpPr>
          <p:cNvPr id="173" name="Freeform 1023"/>
          <p:cNvSpPr>
            <a:spLocks noChangeAspect="1"/>
          </p:cNvSpPr>
          <p:nvPr/>
        </p:nvSpPr>
        <p:spPr bwMode="gray">
          <a:xfrm>
            <a:off x="5162316" y="3972754"/>
            <a:ext cx="568668" cy="417536"/>
          </a:xfrm>
          <a:custGeom>
            <a:avLst/>
            <a:gdLst>
              <a:gd name="T0" fmla="*/ 1385472445 w 620"/>
              <a:gd name="T1" fmla="*/ 1554520903 h 402"/>
              <a:gd name="T2" fmla="*/ 1385472445 w 620"/>
              <a:gd name="T3" fmla="*/ 1554520903 h 402"/>
              <a:gd name="T4" fmla="*/ 1385472445 w 620"/>
              <a:gd name="T5" fmla="*/ 1554520903 h 402"/>
              <a:gd name="T6" fmla="*/ 1385472445 w 620"/>
              <a:gd name="T7" fmla="*/ 1554520903 h 402"/>
              <a:gd name="T8" fmla="*/ 1385472445 w 620"/>
              <a:gd name="T9" fmla="*/ 1554520903 h 402"/>
              <a:gd name="T10" fmla="*/ 1385472445 w 620"/>
              <a:gd name="T11" fmla="*/ 1554520903 h 402"/>
              <a:gd name="T12" fmla="*/ 1385472445 w 620"/>
              <a:gd name="T13" fmla="*/ 1554520903 h 402"/>
              <a:gd name="T14" fmla="*/ 1385472445 w 620"/>
              <a:gd name="T15" fmla="*/ 1554520903 h 402"/>
              <a:gd name="T16" fmla="*/ 1385472445 w 620"/>
              <a:gd name="T17" fmla="*/ 1554520903 h 402"/>
              <a:gd name="T18" fmla="*/ 1385472445 w 620"/>
              <a:gd name="T19" fmla="*/ 1554520903 h 402"/>
              <a:gd name="T20" fmla="*/ 1385472445 w 620"/>
              <a:gd name="T21" fmla="*/ 1554520903 h 402"/>
              <a:gd name="T22" fmla="*/ 1385472445 w 620"/>
              <a:gd name="T23" fmla="*/ 1554520903 h 402"/>
              <a:gd name="T24" fmla="*/ 1385472445 w 620"/>
              <a:gd name="T25" fmla="*/ 1554520903 h 402"/>
              <a:gd name="T26" fmla="*/ 1385472445 w 620"/>
              <a:gd name="T27" fmla="*/ 1554520903 h 402"/>
              <a:gd name="T28" fmla="*/ 1385472445 w 620"/>
              <a:gd name="T29" fmla="*/ 1554520903 h 402"/>
              <a:gd name="T30" fmla="*/ 1385472445 w 620"/>
              <a:gd name="T31" fmla="*/ 1554520903 h 402"/>
              <a:gd name="T32" fmla="*/ 1385472445 w 620"/>
              <a:gd name="T33" fmla="*/ 1554520903 h 402"/>
              <a:gd name="T34" fmla="*/ 1385472445 w 620"/>
              <a:gd name="T35" fmla="*/ 1554520903 h 402"/>
              <a:gd name="T36" fmla="*/ 1385472445 w 620"/>
              <a:gd name="T37" fmla="*/ 1554520903 h 402"/>
              <a:gd name="T38" fmla="*/ 1385472445 w 620"/>
              <a:gd name="T39" fmla="*/ 1554520903 h 402"/>
              <a:gd name="T40" fmla="*/ 1385472445 w 620"/>
              <a:gd name="T41" fmla="*/ 1554520903 h 402"/>
              <a:gd name="T42" fmla="*/ 1385472445 w 620"/>
              <a:gd name="T43" fmla="*/ 1554520903 h 402"/>
              <a:gd name="T44" fmla="*/ 1385472445 w 620"/>
              <a:gd name="T45" fmla="*/ 1554520903 h 402"/>
              <a:gd name="T46" fmla="*/ 1385472445 w 620"/>
              <a:gd name="T47" fmla="*/ 1554520903 h 402"/>
              <a:gd name="T48" fmla="*/ 1385472445 w 620"/>
              <a:gd name="T49" fmla="*/ 1554520903 h 402"/>
              <a:gd name="T50" fmla="*/ 1385472445 w 620"/>
              <a:gd name="T51" fmla="*/ 1554520903 h 402"/>
              <a:gd name="T52" fmla="*/ 1385472445 w 620"/>
              <a:gd name="T53" fmla="*/ 1554520903 h 402"/>
              <a:gd name="T54" fmla="*/ 1385472445 w 620"/>
              <a:gd name="T55" fmla="*/ 1554520903 h 402"/>
              <a:gd name="T56" fmla="*/ 1385472445 w 620"/>
              <a:gd name="T57" fmla="*/ 1554520903 h 402"/>
              <a:gd name="T58" fmla="*/ 1385472445 w 620"/>
              <a:gd name="T59" fmla="*/ 1554520903 h 402"/>
              <a:gd name="T60" fmla="*/ 1385472445 w 620"/>
              <a:gd name="T61" fmla="*/ 1554520903 h 402"/>
              <a:gd name="T62" fmla="*/ 1385472445 w 620"/>
              <a:gd name="T63" fmla="*/ 1554520903 h 402"/>
              <a:gd name="T64" fmla="*/ 1385472445 w 620"/>
              <a:gd name="T65" fmla="*/ 1554520903 h 402"/>
              <a:gd name="T66" fmla="*/ 1385472445 w 620"/>
              <a:gd name="T67" fmla="*/ 1554520903 h 402"/>
              <a:gd name="T68" fmla="*/ 1385472445 w 620"/>
              <a:gd name="T69" fmla="*/ 1554520903 h 402"/>
              <a:gd name="T70" fmla="*/ 1385472445 w 620"/>
              <a:gd name="T71" fmla="*/ 1554520903 h 402"/>
              <a:gd name="T72" fmla="*/ 1385472445 w 620"/>
              <a:gd name="T73" fmla="*/ 1554520903 h 402"/>
              <a:gd name="T74" fmla="*/ 1385472445 w 620"/>
              <a:gd name="T75" fmla="*/ 1554520903 h 402"/>
              <a:gd name="T76" fmla="*/ 1385472445 w 620"/>
              <a:gd name="T77" fmla="*/ 1554520903 h 402"/>
              <a:gd name="T78" fmla="*/ 1385472445 w 620"/>
              <a:gd name="T79" fmla="*/ 1554520903 h 402"/>
              <a:gd name="T80" fmla="*/ 1385472445 w 620"/>
              <a:gd name="T81" fmla="*/ 1554520903 h 402"/>
              <a:gd name="T82" fmla="*/ 1385472445 w 620"/>
              <a:gd name="T83" fmla="*/ 1554520903 h 402"/>
              <a:gd name="T84" fmla="*/ 1385472445 w 620"/>
              <a:gd name="T85" fmla="*/ 1554520903 h 402"/>
              <a:gd name="T86" fmla="*/ 1385472445 w 620"/>
              <a:gd name="T87" fmla="*/ 1554520903 h 402"/>
              <a:gd name="T88" fmla="*/ 1385472445 w 620"/>
              <a:gd name="T89" fmla="*/ 1554520903 h 402"/>
              <a:gd name="T90" fmla="*/ 1385472445 w 620"/>
              <a:gd name="T91" fmla="*/ 1554520903 h 402"/>
              <a:gd name="T92" fmla="*/ 1385472445 w 620"/>
              <a:gd name="T93" fmla="*/ 1554520903 h 402"/>
              <a:gd name="T94" fmla="*/ 1385472445 w 620"/>
              <a:gd name="T95" fmla="*/ 1554520903 h 402"/>
              <a:gd name="T96" fmla="*/ 1385472445 w 620"/>
              <a:gd name="T97" fmla="*/ 1554520903 h 402"/>
              <a:gd name="T98" fmla="*/ 1385472445 w 620"/>
              <a:gd name="T99" fmla="*/ 1554520903 h 402"/>
              <a:gd name="T100" fmla="*/ 1385472445 w 620"/>
              <a:gd name="T101" fmla="*/ 1554520903 h 402"/>
              <a:gd name="T102" fmla="*/ 1385472445 w 620"/>
              <a:gd name="T103" fmla="*/ 1554520903 h 402"/>
              <a:gd name="T104" fmla="*/ 1385472445 w 620"/>
              <a:gd name="T105" fmla="*/ 1554520903 h 402"/>
              <a:gd name="T106" fmla="*/ 0 w 620"/>
              <a:gd name="T107" fmla="*/ 1554520903 h 402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w 620"/>
              <a:gd name="T163" fmla="*/ 0 h 402"/>
              <a:gd name="T164" fmla="*/ 620 w 620"/>
              <a:gd name="T165" fmla="*/ 402 h 402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T162" t="T163" r="T164" b="T165"/>
            <a:pathLst>
              <a:path w="620" h="402">
                <a:moveTo>
                  <a:pt x="620" y="0"/>
                </a:moveTo>
                <a:lnTo>
                  <a:pt x="608" y="5"/>
                </a:lnTo>
                <a:lnTo>
                  <a:pt x="601" y="8"/>
                </a:lnTo>
                <a:lnTo>
                  <a:pt x="593" y="13"/>
                </a:lnTo>
                <a:lnTo>
                  <a:pt x="588" y="18"/>
                </a:lnTo>
                <a:lnTo>
                  <a:pt x="584" y="20"/>
                </a:lnTo>
                <a:lnTo>
                  <a:pt x="577" y="20"/>
                </a:lnTo>
                <a:lnTo>
                  <a:pt x="571" y="21"/>
                </a:lnTo>
                <a:lnTo>
                  <a:pt x="568" y="23"/>
                </a:lnTo>
                <a:lnTo>
                  <a:pt x="567" y="31"/>
                </a:lnTo>
                <a:lnTo>
                  <a:pt x="562" y="33"/>
                </a:lnTo>
                <a:lnTo>
                  <a:pt x="564" y="40"/>
                </a:lnTo>
                <a:lnTo>
                  <a:pt x="560" y="47"/>
                </a:lnTo>
                <a:lnTo>
                  <a:pt x="557" y="51"/>
                </a:lnTo>
                <a:lnTo>
                  <a:pt x="553" y="53"/>
                </a:lnTo>
                <a:lnTo>
                  <a:pt x="553" y="60"/>
                </a:lnTo>
                <a:lnTo>
                  <a:pt x="550" y="64"/>
                </a:lnTo>
                <a:lnTo>
                  <a:pt x="550" y="74"/>
                </a:lnTo>
                <a:lnTo>
                  <a:pt x="556" y="74"/>
                </a:lnTo>
                <a:lnTo>
                  <a:pt x="570" y="68"/>
                </a:lnTo>
                <a:lnTo>
                  <a:pt x="581" y="76"/>
                </a:lnTo>
                <a:lnTo>
                  <a:pt x="578" y="82"/>
                </a:lnTo>
                <a:lnTo>
                  <a:pt x="579" y="92"/>
                </a:lnTo>
                <a:lnTo>
                  <a:pt x="586" y="94"/>
                </a:lnTo>
                <a:lnTo>
                  <a:pt x="593" y="99"/>
                </a:lnTo>
                <a:lnTo>
                  <a:pt x="590" y="104"/>
                </a:lnTo>
                <a:lnTo>
                  <a:pt x="590" y="115"/>
                </a:lnTo>
                <a:lnTo>
                  <a:pt x="587" y="118"/>
                </a:lnTo>
                <a:lnTo>
                  <a:pt x="584" y="122"/>
                </a:lnTo>
                <a:lnTo>
                  <a:pt x="582" y="129"/>
                </a:lnTo>
                <a:lnTo>
                  <a:pt x="578" y="135"/>
                </a:lnTo>
                <a:lnTo>
                  <a:pt x="573" y="139"/>
                </a:lnTo>
                <a:lnTo>
                  <a:pt x="573" y="148"/>
                </a:lnTo>
                <a:lnTo>
                  <a:pt x="570" y="153"/>
                </a:lnTo>
                <a:lnTo>
                  <a:pt x="573" y="157"/>
                </a:lnTo>
                <a:lnTo>
                  <a:pt x="570" y="164"/>
                </a:lnTo>
                <a:lnTo>
                  <a:pt x="568" y="169"/>
                </a:lnTo>
                <a:lnTo>
                  <a:pt x="568" y="180"/>
                </a:lnTo>
                <a:lnTo>
                  <a:pt x="567" y="187"/>
                </a:lnTo>
                <a:lnTo>
                  <a:pt x="564" y="195"/>
                </a:lnTo>
                <a:lnTo>
                  <a:pt x="564" y="201"/>
                </a:lnTo>
                <a:lnTo>
                  <a:pt x="566" y="209"/>
                </a:lnTo>
                <a:lnTo>
                  <a:pt x="563" y="212"/>
                </a:lnTo>
                <a:lnTo>
                  <a:pt x="562" y="218"/>
                </a:lnTo>
                <a:lnTo>
                  <a:pt x="560" y="221"/>
                </a:lnTo>
                <a:lnTo>
                  <a:pt x="560" y="230"/>
                </a:lnTo>
                <a:lnTo>
                  <a:pt x="556" y="235"/>
                </a:lnTo>
                <a:lnTo>
                  <a:pt x="561" y="239"/>
                </a:lnTo>
                <a:lnTo>
                  <a:pt x="570" y="238"/>
                </a:lnTo>
                <a:lnTo>
                  <a:pt x="570" y="245"/>
                </a:lnTo>
                <a:lnTo>
                  <a:pt x="569" y="256"/>
                </a:lnTo>
                <a:lnTo>
                  <a:pt x="566" y="262"/>
                </a:lnTo>
                <a:lnTo>
                  <a:pt x="564" y="266"/>
                </a:lnTo>
                <a:lnTo>
                  <a:pt x="556" y="267"/>
                </a:lnTo>
                <a:lnTo>
                  <a:pt x="547" y="272"/>
                </a:lnTo>
                <a:lnTo>
                  <a:pt x="541" y="277"/>
                </a:lnTo>
                <a:lnTo>
                  <a:pt x="536" y="287"/>
                </a:lnTo>
                <a:lnTo>
                  <a:pt x="528" y="294"/>
                </a:lnTo>
                <a:lnTo>
                  <a:pt x="520" y="302"/>
                </a:lnTo>
                <a:lnTo>
                  <a:pt x="514" y="309"/>
                </a:lnTo>
                <a:lnTo>
                  <a:pt x="509" y="307"/>
                </a:lnTo>
                <a:lnTo>
                  <a:pt x="499" y="307"/>
                </a:lnTo>
                <a:lnTo>
                  <a:pt x="484" y="305"/>
                </a:lnTo>
                <a:lnTo>
                  <a:pt x="468" y="300"/>
                </a:lnTo>
                <a:lnTo>
                  <a:pt x="453" y="297"/>
                </a:lnTo>
                <a:lnTo>
                  <a:pt x="444" y="294"/>
                </a:lnTo>
                <a:lnTo>
                  <a:pt x="437" y="294"/>
                </a:lnTo>
                <a:lnTo>
                  <a:pt x="429" y="294"/>
                </a:lnTo>
                <a:lnTo>
                  <a:pt x="425" y="294"/>
                </a:lnTo>
                <a:lnTo>
                  <a:pt x="418" y="302"/>
                </a:lnTo>
                <a:lnTo>
                  <a:pt x="406" y="308"/>
                </a:lnTo>
                <a:lnTo>
                  <a:pt x="389" y="306"/>
                </a:lnTo>
                <a:lnTo>
                  <a:pt x="378" y="301"/>
                </a:lnTo>
                <a:lnTo>
                  <a:pt x="372" y="296"/>
                </a:lnTo>
                <a:lnTo>
                  <a:pt x="361" y="295"/>
                </a:lnTo>
                <a:lnTo>
                  <a:pt x="347" y="294"/>
                </a:lnTo>
                <a:lnTo>
                  <a:pt x="333" y="295"/>
                </a:lnTo>
                <a:lnTo>
                  <a:pt x="321" y="300"/>
                </a:lnTo>
                <a:lnTo>
                  <a:pt x="313" y="311"/>
                </a:lnTo>
                <a:lnTo>
                  <a:pt x="303" y="323"/>
                </a:lnTo>
                <a:lnTo>
                  <a:pt x="296" y="329"/>
                </a:lnTo>
                <a:lnTo>
                  <a:pt x="292" y="339"/>
                </a:lnTo>
                <a:lnTo>
                  <a:pt x="289" y="352"/>
                </a:lnTo>
                <a:lnTo>
                  <a:pt x="279" y="355"/>
                </a:lnTo>
                <a:lnTo>
                  <a:pt x="272" y="361"/>
                </a:lnTo>
                <a:lnTo>
                  <a:pt x="258" y="363"/>
                </a:lnTo>
                <a:lnTo>
                  <a:pt x="247" y="369"/>
                </a:lnTo>
                <a:lnTo>
                  <a:pt x="231" y="375"/>
                </a:lnTo>
                <a:lnTo>
                  <a:pt x="219" y="379"/>
                </a:lnTo>
                <a:lnTo>
                  <a:pt x="210" y="381"/>
                </a:lnTo>
                <a:lnTo>
                  <a:pt x="200" y="387"/>
                </a:lnTo>
                <a:lnTo>
                  <a:pt x="189" y="396"/>
                </a:lnTo>
                <a:lnTo>
                  <a:pt x="176" y="399"/>
                </a:lnTo>
                <a:lnTo>
                  <a:pt x="161" y="397"/>
                </a:lnTo>
                <a:lnTo>
                  <a:pt x="151" y="400"/>
                </a:lnTo>
                <a:lnTo>
                  <a:pt x="138" y="399"/>
                </a:lnTo>
                <a:lnTo>
                  <a:pt x="125" y="399"/>
                </a:lnTo>
                <a:lnTo>
                  <a:pt x="118" y="401"/>
                </a:lnTo>
                <a:lnTo>
                  <a:pt x="106" y="396"/>
                </a:lnTo>
                <a:lnTo>
                  <a:pt x="99" y="396"/>
                </a:lnTo>
                <a:lnTo>
                  <a:pt x="82" y="400"/>
                </a:lnTo>
                <a:lnTo>
                  <a:pt x="71" y="402"/>
                </a:lnTo>
                <a:lnTo>
                  <a:pt x="54" y="391"/>
                </a:lnTo>
                <a:lnTo>
                  <a:pt x="39" y="382"/>
                </a:lnTo>
                <a:lnTo>
                  <a:pt x="37" y="364"/>
                </a:lnTo>
                <a:lnTo>
                  <a:pt x="23" y="363"/>
                </a:lnTo>
                <a:lnTo>
                  <a:pt x="9" y="364"/>
                </a:lnTo>
                <a:lnTo>
                  <a:pt x="0" y="359"/>
                </a:lnTo>
              </a:path>
            </a:pathLst>
          </a:custGeom>
          <a:noFill/>
          <a:ln w="317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 wrap="none" lIns="32632" tIns="32632" rIns="32632" bIns="32632" anchor="ctr"/>
          <a:lstStyle/>
          <a:p>
            <a:pPr defTabSz="891045"/>
            <a:endParaRPr lang="en-US" sz="1700" dirty="0">
              <a:solidFill>
                <a:srgbClr val="003149"/>
              </a:solidFill>
              <a:cs typeface="Arial" panose="020B0604020202020204" pitchFamily="34" charset="0"/>
            </a:endParaRPr>
          </a:p>
        </p:txBody>
      </p:sp>
      <p:sp>
        <p:nvSpPr>
          <p:cNvPr id="174" name="Freeform 1024"/>
          <p:cNvSpPr>
            <a:spLocks noChangeAspect="1"/>
          </p:cNvSpPr>
          <p:nvPr/>
        </p:nvSpPr>
        <p:spPr bwMode="gray">
          <a:xfrm>
            <a:off x="4799790" y="4218110"/>
            <a:ext cx="362526" cy="134874"/>
          </a:xfrm>
          <a:custGeom>
            <a:avLst/>
            <a:gdLst>
              <a:gd name="T0" fmla="*/ 0 w 10075"/>
              <a:gd name="T1" fmla="*/ 0 h 9350"/>
              <a:gd name="T2" fmla="*/ 0 w 10075"/>
              <a:gd name="T3" fmla="*/ 0 h 9350"/>
              <a:gd name="T4" fmla="*/ 0 w 10075"/>
              <a:gd name="T5" fmla="*/ 0 h 9350"/>
              <a:gd name="T6" fmla="*/ 0 w 10075"/>
              <a:gd name="T7" fmla="*/ 0 h 9350"/>
              <a:gd name="T8" fmla="*/ 0 w 10075"/>
              <a:gd name="T9" fmla="*/ 0 h 9350"/>
              <a:gd name="T10" fmla="*/ 0 w 10075"/>
              <a:gd name="T11" fmla="*/ 0 h 9350"/>
              <a:gd name="T12" fmla="*/ 0 w 10075"/>
              <a:gd name="T13" fmla="*/ 0 h 9350"/>
              <a:gd name="T14" fmla="*/ 0 w 10075"/>
              <a:gd name="T15" fmla="*/ 0 h 9350"/>
              <a:gd name="T16" fmla="*/ 0 w 10075"/>
              <a:gd name="T17" fmla="*/ 0 h 9350"/>
              <a:gd name="T18" fmla="*/ 0 w 10075"/>
              <a:gd name="T19" fmla="*/ 0 h 9350"/>
              <a:gd name="T20" fmla="*/ 0 w 10075"/>
              <a:gd name="T21" fmla="*/ 0 h 9350"/>
              <a:gd name="T22" fmla="*/ 0 w 10075"/>
              <a:gd name="T23" fmla="*/ 0 h 9350"/>
              <a:gd name="T24" fmla="*/ 0 w 10075"/>
              <a:gd name="T25" fmla="*/ 0 h 9350"/>
              <a:gd name="T26" fmla="*/ 0 w 10075"/>
              <a:gd name="T27" fmla="*/ 0 h 9350"/>
              <a:gd name="T28" fmla="*/ 0 w 10075"/>
              <a:gd name="T29" fmla="*/ 0 h 9350"/>
              <a:gd name="T30" fmla="*/ 0 w 10075"/>
              <a:gd name="T31" fmla="*/ 0 h 9350"/>
              <a:gd name="T32" fmla="*/ 0 w 10075"/>
              <a:gd name="T33" fmla="*/ 0 h 9350"/>
              <a:gd name="T34" fmla="*/ 0 w 10075"/>
              <a:gd name="T35" fmla="*/ 0 h 9350"/>
              <a:gd name="T36" fmla="*/ 0 w 10075"/>
              <a:gd name="T37" fmla="*/ 0 h 9350"/>
              <a:gd name="T38" fmla="*/ 0 w 10075"/>
              <a:gd name="T39" fmla="*/ 0 h 9350"/>
              <a:gd name="T40" fmla="*/ 0 w 10075"/>
              <a:gd name="T41" fmla="*/ 0 h 9350"/>
              <a:gd name="T42" fmla="*/ 0 w 10075"/>
              <a:gd name="T43" fmla="*/ 0 h 9350"/>
              <a:gd name="T44" fmla="*/ 0 w 10075"/>
              <a:gd name="T45" fmla="*/ 0 h 9350"/>
              <a:gd name="T46" fmla="*/ 0 w 10075"/>
              <a:gd name="T47" fmla="*/ 0 h 9350"/>
              <a:gd name="T48" fmla="*/ 0 w 10075"/>
              <a:gd name="T49" fmla="*/ 0 h 9350"/>
              <a:gd name="T50" fmla="*/ 0 w 10075"/>
              <a:gd name="T51" fmla="*/ 0 h 9350"/>
              <a:gd name="T52" fmla="*/ 0 w 10075"/>
              <a:gd name="T53" fmla="*/ 0 h 9350"/>
              <a:gd name="T54" fmla="*/ 0 w 10075"/>
              <a:gd name="T55" fmla="*/ 0 h 9350"/>
              <a:gd name="T56" fmla="*/ 0 w 10075"/>
              <a:gd name="T57" fmla="*/ 0 h 9350"/>
              <a:gd name="T58" fmla="*/ 0 w 10075"/>
              <a:gd name="T59" fmla="*/ 0 h 9350"/>
              <a:gd name="T60" fmla="*/ 0 w 10075"/>
              <a:gd name="T61" fmla="*/ 0 h 9350"/>
              <a:gd name="T62" fmla="*/ 0 w 10075"/>
              <a:gd name="T63" fmla="*/ 0 h 9350"/>
              <a:gd name="T64" fmla="*/ 0 w 10075"/>
              <a:gd name="T65" fmla="*/ 0 h 9350"/>
              <a:gd name="T66" fmla="*/ 0 w 10075"/>
              <a:gd name="T67" fmla="*/ 0 h 9350"/>
              <a:gd name="T68" fmla="*/ 0 w 10075"/>
              <a:gd name="T69" fmla="*/ 0 h 9350"/>
              <a:gd name="T70" fmla="*/ 0 w 10075"/>
              <a:gd name="T71" fmla="*/ 0 h 9350"/>
              <a:gd name="T72" fmla="*/ 0 w 10075"/>
              <a:gd name="T73" fmla="*/ 0 h 9350"/>
              <a:gd name="T74" fmla="*/ 0 w 10075"/>
              <a:gd name="T75" fmla="*/ 0 h 9350"/>
              <a:gd name="T76" fmla="*/ 0 w 10075"/>
              <a:gd name="T77" fmla="*/ 0 h 9350"/>
              <a:gd name="T78" fmla="*/ 0 w 10075"/>
              <a:gd name="T79" fmla="*/ 0 h 9350"/>
              <a:gd name="T80" fmla="*/ 0 w 10075"/>
              <a:gd name="T81" fmla="*/ 0 h 9350"/>
              <a:gd name="T82" fmla="*/ 0 w 10075"/>
              <a:gd name="T83" fmla="*/ 0 h 9350"/>
              <a:gd name="T84" fmla="*/ 0 w 10075"/>
              <a:gd name="T85" fmla="*/ 0 h 9350"/>
              <a:gd name="T86" fmla="*/ 0 w 10075"/>
              <a:gd name="T87" fmla="*/ 0 h 9350"/>
              <a:gd name="T88" fmla="*/ 0 w 10075"/>
              <a:gd name="T89" fmla="*/ 0 h 9350"/>
              <a:gd name="T90" fmla="*/ 0 w 10075"/>
              <a:gd name="T91" fmla="*/ 0 h 9350"/>
              <a:gd name="T92" fmla="*/ 0 w 10075"/>
              <a:gd name="T93" fmla="*/ 0 h 9350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w 10075"/>
              <a:gd name="T142" fmla="*/ 0 h 9350"/>
              <a:gd name="T143" fmla="*/ 10075 w 10075"/>
              <a:gd name="T144" fmla="*/ 9350 h 9350"/>
            </a:gdLst>
            <a:ahLst/>
            <a:cxnLst>
              <a:cxn ang="T94">
                <a:pos x="T0" y="T1"/>
              </a:cxn>
              <a:cxn ang="T95">
                <a:pos x="T2" y="T3"/>
              </a:cxn>
              <a:cxn ang="T96">
                <a:pos x="T4" y="T5"/>
              </a:cxn>
              <a:cxn ang="T97">
                <a:pos x="T6" y="T7"/>
              </a:cxn>
              <a:cxn ang="T98">
                <a:pos x="T8" y="T9"/>
              </a:cxn>
              <a:cxn ang="T99">
                <a:pos x="T10" y="T11"/>
              </a:cxn>
              <a:cxn ang="T100">
                <a:pos x="T12" y="T13"/>
              </a:cxn>
              <a:cxn ang="T101">
                <a:pos x="T14" y="T15"/>
              </a:cxn>
              <a:cxn ang="T102">
                <a:pos x="T16" y="T17"/>
              </a:cxn>
              <a:cxn ang="T103">
                <a:pos x="T18" y="T19"/>
              </a:cxn>
              <a:cxn ang="T104">
                <a:pos x="T20" y="T21"/>
              </a:cxn>
              <a:cxn ang="T105">
                <a:pos x="T22" y="T23"/>
              </a:cxn>
              <a:cxn ang="T106">
                <a:pos x="T24" y="T25"/>
              </a:cxn>
              <a:cxn ang="T107">
                <a:pos x="T26" y="T27"/>
              </a:cxn>
              <a:cxn ang="T108">
                <a:pos x="T28" y="T29"/>
              </a:cxn>
              <a:cxn ang="T109">
                <a:pos x="T30" y="T31"/>
              </a:cxn>
              <a:cxn ang="T110">
                <a:pos x="T32" y="T33"/>
              </a:cxn>
              <a:cxn ang="T111">
                <a:pos x="T34" y="T35"/>
              </a:cxn>
              <a:cxn ang="T112">
                <a:pos x="T36" y="T37"/>
              </a:cxn>
              <a:cxn ang="T113">
                <a:pos x="T38" y="T39"/>
              </a:cxn>
              <a:cxn ang="T114">
                <a:pos x="T40" y="T41"/>
              </a:cxn>
              <a:cxn ang="T115">
                <a:pos x="T42" y="T43"/>
              </a:cxn>
              <a:cxn ang="T116">
                <a:pos x="T44" y="T45"/>
              </a:cxn>
              <a:cxn ang="T117">
                <a:pos x="T46" y="T47"/>
              </a:cxn>
              <a:cxn ang="T118">
                <a:pos x="T48" y="T49"/>
              </a:cxn>
              <a:cxn ang="T119">
                <a:pos x="T50" y="T51"/>
              </a:cxn>
              <a:cxn ang="T120">
                <a:pos x="T52" y="T53"/>
              </a:cxn>
              <a:cxn ang="T121">
                <a:pos x="T54" y="T55"/>
              </a:cxn>
              <a:cxn ang="T122">
                <a:pos x="T56" y="T57"/>
              </a:cxn>
              <a:cxn ang="T123">
                <a:pos x="T58" y="T59"/>
              </a:cxn>
              <a:cxn ang="T124">
                <a:pos x="T60" y="T61"/>
              </a:cxn>
              <a:cxn ang="T125">
                <a:pos x="T62" y="T63"/>
              </a:cxn>
              <a:cxn ang="T126">
                <a:pos x="T64" y="T65"/>
              </a:cxn>
              <a:cxn ang="T127">
                <a:pos x="T66" y="T67"/>
              </a:cxn>
              <a:cxn ang="T128">
                <a:pos x="T68" y="T69"/>
              </a:cxn>
              <a:cxn ang="T129">
                <a:pos x="T70" y="T71"/>
              </a:cxn>
              <a:cxn ang="T130">
                <a:pos x="T72" y="T73"/>
              </a:cxn>
              <a:cxn ang="T131">
                <a:pos x="T74" y="T75"/>
              </a:cxn>
              <a:cxn ang="T132">
                <a:pos x="T76" y="T77"/>
              </a:cxn>
              <a:cxn ang="T133">
                <a:pos x="T78" y="T79"/>
              </a:cxn>
              <a:cxn ang="T134">
                <a:pos x="T80" y="T81"/>
              </a:cxn>
              <a:cxn ang="T135">
                <a:pos x="T82" y="T83"/>
              </a:cxn>
              <a:cxn ang="T136">
                <a:pos x="T84" y="T85"/>
              </a:cxn>
              <a:cxn ang="T137">
                <a:pos x="T86" y="T87"/>
              </a:cxn>
              <a:cxn ang="T138">
                <a:pos x="T88" y="T89"/>
              </a:cxn>
              <a:cxn ang="T139">
                <a:pos x="T90" y="T91"/>
              </a:cxn>
              <a:cxn ang="T140">
                <a:pos x="T92" y="T93"/>
              </a:cxn>
            </a:cxnLst>
            <a:rect l="T141" t="T142" r="T143" b="T144"/>
            <a:pathLst>
              <a:path w="10075" h="9350">
                <a:moveTo>
                  <a:pt x="10075" y="8770"/>
                </a:moveTo>
                <a:lnTo>
                  <a:pt x="9666" y="8045"/>
                </a:lnTo>
                <a:lnTo>
                  <a:pt x="9308" y="7608"/>
                </a:lnTo>
                <a:lnTo>
                  <a:pt x="8848" y="7901"/>
                </a:lnTo>
                <a:lnTo>
                  <a:pt x="8516" y="7393"/>
                </a:lnTo>
                <a:lnTo>
                  <a:pt x="8133" y="7464"/>
                </a:lnTo>
                <a:lnTo>
                  <a:pt x="7851" y="7464"/>
                </a:lnTo>
                <a:lnTo>
                  <a:pt x="7698" y="7393"/>
                </a:lnTo>
                <a:cubicBezTo>
                  <a:pt x="7656" y="7488"/>
                  <a:pt x="7612" y="7584"/>
                  <a:pt x="7569" y="7681"/>
                </a:cubicBezTo>
                <a:lnTo>
                  <a:pt x="7416" y="7901"/>
                </a:lnTo>
                <a:lnTo>
                  <a:pt x="7238" y="7826"/>
                </a:lnTo>
                <a:lnTo>
                  <a:pt x="6906" y="8189"/>
                </a:lnTo>
                <a:lnTo>
                  <a:pt x="6699" y="8407"/>
                </a:lnTo>
                <a:cubicBezTo>
                  <a:pt x="6648" y="8600"/>
                  <a:pt x="6599" y="8794"/>
                  <a:pt x="6545" y="8987"/>
                </a:cubicBezTo>
                <a:lnTo>
                  <a:pt x="6266" y="9204"/>
                </a:lnTo>
                <a:lnTo>
                  <a:pt x="5984" y="9204"/>
                </a:lnTo>
                <a:lnTo>
                  <a:pt x="5907" y="9204"/>
                </a:lnTo>
                <a:cubicBezTo>
                  <a:pt x="5881" y="9253"/>
                  <a:pt x="5856" y="9302"/>
                  <a:pt x="5831" y="9350"/>
                </a:cubicBezTo>
                <a:lnTo>
                  <a:pt x="5575" y="9133"/>
                </a:lnTo>
                <a:lnTo>
                  <a:pt x="5293" y="8915"/>
                </a:lnTo>
                <a:cubicBezTo>
                  <a:pt x="5243" y="8818"/>
                  <a:pt x="5193" y="8721"/>
                  <a:pt x="5139" y="8625"/>
                </a:cubicBezTo>
                <a:lnTo>
                  <a:pt x="4936" y="8625"/>
                </a:lnTo>
                <a:lnTo>
                  <a:pt x="4604" y="8333"/>
                </a:lnTo>
                <a:cubicBezTo>
                  <a:pt x="4500" y="8045"/>
                  <a:pt x="4400" y="7754"/>
                  <a:pt x="4297" y="7464"/>
                </a:cubicBezTo>
                <a:lnTo>
                  <a:pt x="4040" y="6811"/>
                </a:lnTo>
                <a:cubicBezTo>
                  <a:pt x="4007" y="6691"/>
                  <a:pt x="3974" y="6569"/>
                  <a:pt x="3939" y="6447"/>
                </a:cubicBezTo>
                <a:cubicBezTo>
                  <a:pt x="3922" y="6134"/>
                  <a:pt x="3905" y="5821"/>
                  <a:pt x="3887" y="5504"/>
                </a:cubicBezTo>
                <a:cubicBezTo>
                  <a:pt x="3853" y="5071"/>
                  <a:pt x="3820" y="4635"/>
                  <a:pt x="3786" y="4201"/>
                </a:cubicBezTo>
                <a:lnTo>
                  <a:pt x="3786" y="3909"/>
                </a:lnTo>
                <a:lnTo>
                  <a:pt x="3786" y="3547"/>
                </a:lnTo>
                <a:lnTo>
                  <a:pt x="3095" y="3039"/>
                </a:lnTo>
                <a:cubicBezTo>
                  <a:pt x="3027" y="3110"/>
                  <a:pt x="2959" y="3185"/>
                  <a:pt x="2891" y="3256"/>
                </a:cubicBezTo>
                <a:cubicBezTo>
                  <a:pt x="2848" y="3064"/>
                  <a:pt x="2804" y="2870"/>
                  <a:pt x="2762" y="2678"/>
                </a:cubicBezTo>
                <a:lnTo>
                  <a:pt x="2584" y="2603"/>
                </a:lnTo>
                <a:lnTo>
                  <a:pt x="2252" y="2097"/>
                </a:lnTo>
                <a:lnTo>
                  <a:pt x="2020" y="1733"/>
                </a:lnTo>
                <a:lnTo>
                  <a:pt x="1817" y="1877"/>
                </a:lnTo>
                <a:lnTo>
                  <a:pt x="1588" y="1951"/>
                </a:lnTo>
                <a:lnTo>
                  <a:pt x="1228" y="1733"/>
                </a:lnTo>
                <a:lnTo>
                  <a:pt x="1000" y="1515"/>
                </a:lnTo>
                <a:cubicBezTo>
                  <a:pt x="966" y="1443"/>
                  <a:pt x="929" y="1370"/>
                  <a:pt x="895" y="1298"/>
                </a:cubicBezTo>
                <a:cubicBezTo>
                  <a:pt x="853" y="1249"/>
                  <a:pt x="810" y="1201"/>
                  <a:pt x="768" y="1152"/>
                </a:cubicBezTo>
                <a:lnTo>
                  <a:pt x="540" y="1080"/>
                </a:lnTo>
                <a:lnTo>
                  <a:pt x="335" y="863"/>
                </a:lnTo>
                <a:cubicBezTo>
                  <a:pt x="283" y="790"/>
                  <a:pt x="233" y="718"/>
                  <a:pt x="182" y="645"/>
                </a:cubicBezTo>
                <a:cubicBezTo>
                  <a:pt x="146" y="549"/>
                  <a:pt x="111" y="452"/>
                  <a:pt x="79" y="356"/>
                </a:cubicBezTo>
                <a:cubicBezTo>
                  <a:pt x="45" y="259"/>
                  <a:pt x="34" y="97"/>
                  <a:pt x="0" y="0"/>
                </a:cubicBezTo>
              </a:path>
            </a:pathLst>
          </a:custGeom>
          <a:noFill/>
          <a:ln w="317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 wrap="none" lIns="32632" tIns="32632" rIns="32632" bIns="32632" anchor="ctr"/>
          <a:lstStyle/>
          <a:p>
            <a:pPr defTabSz="891045"/>
            <a:endParaRPr lang="en-US" sz="1700" dirty="0">
              <a:solidFill>
                <a:srgbClr val="003149"/>
              </a:solidFill>
              <a:cs typeface="Arial" panose="020B0604020202020204" pitchFamily="34" charset="0"/>
            </a:endParaRPr>
          </a:p>
        </p:txBody>
      </p:sp>
      <p:sp>
        <p:nvSpPr>
          <p:cNvPr id="175" name="Freeform 1025"/>
          <p:cNvSpPr>
            <a:spLocks noChangeAspect="1"/>
          </p:cNvSpPr>
          <p:nvPr/>
        </p:nvSpPr>
        <p:spPr bwMode="gray">
          <a:xfrm>
            <a:off x="4390363" y="4218134"/>
            <a:ext cx="409442" cy="160701"/>
          </a:xfrm>
          <a:custGeom>
            <a:avLst/>
            <a:gdLst>
              <a:gd name="T0" fmla="*/ 0 w 10060"/>
              <a:gd name="T1" fmla="*/ 0 h 10298"/>
              <a:gd name="T2" fmla="*/ 0 w 10060"/>
              <a:gd name="T3" fmla="*/ 0 h 10298"/>
              <a:gd name="T4" fmla="*/ 0 w 10060"/>
              <a:gd name="T5" fmla="*/ 0 h 10298"/>
              <a:gd name="T6" fmla="*/ 0 w 10060"/>
              <a:gd name="T7" fmla="*/ 0 h 10298"/>
              <a:gd name="T8" fmla="*/ 0 w 10060"/>
              <a:gd name="T9" fmla="*/ 0 h 10298"/>
              <a:gd name="T10" fmla="*/ 0 w 10060"/>
              <a:gd name="T11" fmla="*/ 0 h 10298"/>
              <a:gd name="T12" fmla="*/ 0 w 10060"/>
              <a:gd name="T13" fmla="*/ 0 h 10298"/>
              <a:gd name="T14" fmla="*/ 0 w 10060"/>
              <a:gd name="T15" fmla="*/ 0 h 10298"/>
              <a:gd name="T16" fmla="*/ 0 w 10060"/>
              <a:gd name="T17" fmla="*/ 0 h 10298"/>
              <a:gd name="T18" fmla="*/ 0 w 10060"/>
              <a:gd name="T19" fmla="*/ 0 h 10298"/>
              <a:gd name="T20" fmla="*/ 0 w 10060"/>
              <a:gd name="T21" fmla="*/ 0 h 10298"/>
              <a:gd name="T22" fmla="*/ 0 w 10060"/>
              <a:gd name="T23" fmla="*/ 0 h 10298"/>
              <a:gd name="T24" fmla="*/ 0 w 10060"/>
              <a:gd name="T25" fmla="*/ 0 h 10298"/>
              <a:gd name="T26" fmla="*/ 0 w 10060"/>
              <a:gd name="T27" fmla="*/ 0 h 10298"/>
              <a:gd name="T28" fmla="*/ 0 w 10060"/>
              <a:gd name="T29" fmla="*/ 0 h 10298"/>
              <a:gd name="T30" fmla="*/ 0 w 10060"/>
              <a:gd name="T31" fmla="*/ 0 h 10298"/>
              <a:gd name="T32" fmla="*/ 0 w 10060"/>
              <a:gd name="T33" fmla="*/ 0 h 10298"/>
              <a:gd name="T34" fmla="*/ 0 w 10060"/>
              <a:gd name="T35" fmla="*/ 0 h 10298"/>
              <a:gd name="T36" fmla="*/ 0 w 10060"/>
              <a:gd name="T37" fmla="*/ 0 h 10298"/>
              <a:gd name="T38" fmla="*/ 0 w 10060"/>
              <a:gd name="T39" fmla="*/ 0 h 10298"/>
              <a:gd name="T40" fmla="*/ 0 w 10060"/>
              <a:gd name="T41" fmla="*/ 0 h 10298"/>
              <a:gd name="T42" fmla="*/ 0 w 10060"/>
              <a:gd name="T43" fmla="*/ 0 h 10298"/>
              <a:gd name="T44" fmla="*/ 0 w 10060"/>
              <a:gd name="T45" fmla="*/ 0 h 10298"/>
              <a:gd name="T46" fmla="*/ 0 w 10060"/>
              <a:gd name="T47" fmla="*/ 0 h 10298"/>
              <a:gd name="T48" fmla="*/ 0 w 10060"/>
              <a:gd name="T49" fmla="*/ 0 h 10298"/>
              <a:gd name="T50" fmla="*/ 0 w 10060"/>
              <a:gd name="T51" fmla="*/ 0 h 10298"/>
              <a:gd name="T52" fmla="*/ 0 w 10060"/>
              <a:gd name="T53" fmla="*/ 0 h 10298"/>
              <a:gd name="T54" fmla="*/ 0 w 10060"/>
              <a:gd name="T55" fmla="*/ 0 h 10298"/>
              <a:gd name="T56" fmla="*/ 0 w 10060"/>
              <a:gd name="T57" fmla="*/ 0 h 10298"/>
              <a:gd name="T58" fmla="*/ 0 w 10060"/>
              <a:gd name="T59" fmla="*/ 0 h 10298"/>
              <a:gd name="T60" fmla="*/ 0 w 10060"/>
              <a:gd name="T61" fmla="*/ 0 h 10298"/>
              <a:gd name="T62" fmla="*/ 0 w 10060"/>
              <a:gd name="T63" fmla="*/ 0 h 10298"/>
              <a:gd name="T64" fmla="*/ 0 w 10060"/>
              <a:gd name="T65" fmla="*/ 0 h 10298"/>
              <a:gd name="T66" fmla="*/ 0 w 10060"/>
              <a:gd name="T67" fmla="*/ 0 h 10298"/>
              <a:gd name="T68" fmla="*/ 0 w 10060"/>
              <a:gd name="T69" fmla="*/ 0 h 10298"/>
              <a:gd name="T70" fmla="*/ 0 w 10060"/>
              <a:gd name="T71" fmla="*/ 0 h 10298"/>
              <a:gd name="T72" fmla="*/ 0 w 10060"/>
              <a:gd name="T73" fmla="*/ 0 h 10298"/>
              <a:gd name="T74" fmla="*/ 0 w 10060"/>
              <a:gd name="T75" fmla="*/ 0 h 10298"/>
              <a:gd name="T76" fmla="*/ 0 w 10060"/>
              <a:gd name="T77" fmla="*/ 0 h 10298"/>
              <a:gd name="T78" fmla="*/ 0 w 10060"/>
              <a:gd name="T79" fmla="*/ 0 h 10298"/>
              <a:gd name="T80" fmla="*/ 0 w 10060"/>
              <a:gd name="T81" fmla="*/ 0 h 10298"/>
              <a:gd name="T82" fmla="*/ 0 w 10060"/>
              <a:gd name="T83" fmla="*/ 0 h 10298"/>
              <a:gd name="T84" fmla="*/ 0 w 10060"/>
              <a:gd name="T85" fmla="*/ 0 h 10298"/>
              <a:gd name="T86" fmla="*/ 0 w 10060"/>
              <a:gd name="T87" fmla="*/ 0 h 10298"/>
              <a:gd name="T88" fmla="*/ 0 w 10060"/>
              <a:gd name="T89" fmla="*/ 0 h 10298"/>
              <a:gd name="T90" fmla="*/ 0 w 10060"/>
              <a:gd name="T91" fmla="*/ 0 h 10298"/>
              <a:gd name="T92" fmla="*/ 0 w 10060"/>
              <a:gd name="T93" fmla="*/ 0 h 10298"/>
              <a:gd name="T94" fmla="*/ 0 w 10060"/>
              <a:gd name="T95" fmla="*/ 0 h 10298"/>
              <a:gd name="T96" fmla="*/ 0 w 10060"/>
              <a:gd name="T97" fmla="*/ 0 h 10298"/>
              <a:gd name="T98" fmla="*/ 0 w 10060"/>
              <a:gd name="T99" fmla="*/ 0 h 10298"/>
              <a:gd name="T100" fmla="*/ 0 w 10060"/>
              <a:gd name="T101" fmla="*/ 0 h 10298"/>
              <a:gd name="T102" fmla="*/ 0 w 10060"/>
              <a:gd name="T103" fmla="*/ 0 h 10298"/>
              <a:gd name="T104" fmla="*/ 0 w 10060"/>
              <a:gd name="T105" fmla="*/ 0 h 10298"/>
              <a:gd name="T106" fmla="*/ 0 w 10060"/>
              <a:gd name="T107" fmla="*/ 0 h 10298"/>
              <a:gd name="T108" fmla="*/ 0 w 10060"/>
              <a:gd name="T109" fmla="*/ 0 h 10298"/>
              <a:gd name="T110" fmla="*/ 0 w 10060"/>
              <a:gd name="T111" fmla="*/ 0 h 10298"/>
              <a:gd name="T112" fmla="*/ 0 w 10060"/>
              <a:gd name="T113" fmla="*/ 0 h 10298"/>
              <a:gd name="T114" fmla="*/ 0 w 10060"/>
              <a:gd name="T115" fmla="*/ 0 h 10298"/>
              <a:gd name="T116" fmla="*/ 0 w 10060"/>
              <a:gd name="T117" fmla="*/ 0 h 10298"/>
              <a:gd name="T118" fmla="*/ 0 w 10060"/>
              <a:gd name="T119" fmla="*/ 0 h 10298"/>
              <a:gd name="T120" fmla="*/ 0 w 10060"/>
              <a:gd name="T121" fmla="*/ 0 h 10298"/>
              <a:gd name="T122" fmla="*/ 0 w 10060"/>
              <a:gd name="T123" fmla="*/ 0 h 10298"/>
              <a:gd name="T124" fmla="*/ 0 w 10060"/>
              <a:gd name="T125" fmla="*/ 0 h 10298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60000 65536"/>
              <a:gd name="T187" fmla="*/ 0 60000 65536"/>
              <a:gd name="T188" fmla="*/ 0 60000 65536"/>
              <a:gd name="T189" fmla="*/ 0 w 10060"/>
              <a:gd name="T190" fmla="*/ 0 h 10298"/>
              <a:gd name="T191" fmla="*/ 10060 w 10060"/>
              <a:gd name="T192" fmla="*/ 10298 h 10298"/>
            </a:gdLst>
            <a:ahLst/>
            <a:cxnLst>
              <a:cxn ang="T126">
                <a:pos x="T0" y="T1"/>
              </a:cxn>
              <a:cxn ang="T127">
                <a:pos x="T2" y="T3"/>
              </a:cxn>
              <a:cxn ang="T128">
                <a:pos x="T4" y="T5"/>
              </a:cxn>
              <a:cxn ang="T129">
                <a:pos x="T6" y="T7"/>
              </a:cxn>
              <a:cxn ang="T130">
                <a:pos x="T8" y="T9"/>
              </a:cxn>
              <a:cxn ang="T131">
                <a:pos x="T10" y="T11"/>
              </a:cxn>
              <a:cxn ang="T132">
                <a:pos x="T12" y="T13"/>
              </a:cxn>
              <a:cxn ang="T133">
                <a:pos x="T14" y="T15"/>
              </a:cxn>
              <a:cxn ang="T134">
                <a:pos x="T16" y="T17"/>
              </a:cxn>
              <a:cxn ang="T135">
                <a:pos x="T18" y="T19"/>
              </a:cxn>
              <a:cxn ang="T136">
                <a:pos x="T20" y="T21"/>
              </a:cxn>
              <a:cxn ang="T137">
                <a:pos x="T22" y="T23"/>
              </a:cxn>
              <a:cxn ang="T138">
                <a:pos x="T24" y="T25"/>
              </a:cxn>
              <a:cxn ang="T139">
                <a:pos x="T26" y="T27"/>
              </a:cxn>
              <a:cxn ang="T140">
                <a:pos x="T28" y="T29"/>
              </a:cxn>
              <a:cxn ang="T141">
                <a:pos x="T30" y="T31"/>
              </a:cxn>
              <a:cxn ang="T142">
                <a:pos x="T32" y="T33"/>
              </a:cxn>
              <a:cxn ang="T143">
                <a:pos x="T34" y="T35"/>
              </a:cxn>
              <a:cxn ang="T144">
                <a:pos x="T36" y="T37"/>
              </a:cxn>
              <a:cxn ang="T145">
                <a:pos x="T38" y="T39"/>
              </a:cxn>
              <a:cxn ang="T146">
                <a:pos x="T40" y="T41"/>
              </a:cxn>
              <a:cxn ang="T147">
                <a:pos x="T42" y="T43"/>
              </a:cxn>
              <a:cxn ang="T148">
                <a:pos x="T44" y="T45"/>
              </a:cxn>
              <a:cxn ang="T149">
                <a:pos x="T46" y="T47"/>
              </a:cxn>
              <a:cxn ang="T150">
                <a:pos x="T48" y="T49"/>
              </a:cxn>
              <a:cxn ang="T151">
                <a:pos x="T50" y="T51"/>
              </a:cxn>
              <a:cxn ang="T152">
                <a:pos x="T52" y="T53"/>
              </a:cxn>
              <a:cxn ang="T153">
                <a:pos x="T54" y="T55"/>
              </a:cxn>
              <a:cxn ang="T154">
                <a:pos x="T56" y="T57"/>
              </a:cxn>
              <a:cxn ang="T155">
                <a:pos x="T58" y="T59"/>
              </a:cxn>
              <a:cxn ang="T156">
                <a:pos x="T60" y="T61"/>
              </a:cxn>
              <a:cxn ang="T157">
                <a:pos x="T62" y="T63"/>
              </a:cxn>
              <a:cxn ang="T158">
                <a:pos x="T64" y="T65"/>
              </a:cxn>
              <a:cxn ang="T159">
                <a:pos x="T66" y="T67"/>
              </a:cxn>
              <a:cxn ang="T160">
                <a:pos x="T68" y="T69"/>
              </a:cxn>
              <a:cxn ang="T161">
                <a:pos x="T70" y="T71"/>
              </a:cxn>
              <a:cxn ang="T162">
                <a:pos x="T72" y="T73"/>
              </a:cxn>
              <a:cxn ang="T163">
                <a:pos x="T74" y="T75"/>
              </a:cxn>
              <a:cxn ang="T164">
                <a:pos x="T76" y="T77"/>
              </a:cxn>
              <a:cxn ang="T165">
                <a:pos x="T78" y="T79"/>
              </a:cxn>
              <a:cxn ang="T166">
                <a:pos x="T80" y="T81"/>
              </a:cxn>
              <a:cxn ang="T167">
                <a:pos x="T82" y="T83"/>
              </a:cxn>
              <a:cxn ang="T168">
                <a:pos x="T84" y="T85"/>
              </a:cxn>
              <a:cxn ang="T169">
                <a:pos x="T86" y="T87"/>
              </a:cxn>
              <a:cxn ang="T170">
                <a:pos x="T88" y="T89"/>
              </a:cxn>
              <a:cxn ang="T171">
                <a:pos x="T90" y="T91"/>
              </a:cxn>
              <a:cxn ang="T172">
                <a:pos x="T92" y="T93"/>
              </a:cxn>
              <a:cxn ang="T173">
                <a:pos x="T94" y="T95"/>
              </a:cxn>
              <a:cxn ang="T174">
                <a:pos x="T96" y="T97"/>
              </a:cxn>
              <a:cxn ang="T175">
                <a:pos x="T98" y="T99"/>
              </a:cxn>
              <a:cxn ang="T176">
                <a:pos x="T100" y="T101"/>
              </a:cxn>
              <a:cxn ang="T177">
                <a:pos x="T102" y="T103"/>
              </a:cxn>
              <a:cxn ang="T178">
                <a:pos x="T104" y="T105"/>
              </a:cxn>
              <a:cxn ang="T179">
                <a:pos x="T106" y="T107"/>
              </a:cxn>
              <a:cxn ang="T180">
                <a:pos x="T108" y="T109"/>
              </a:cxn>
              <a:cxn ang="T181">
                <a:pos x="T110" y="T111"/>
              </a:cxn>
              <a:cxn ang="T182">
                <a:pos x="T112" y="T113"/>
              </a:cxn>
              <a:cxn ang="T183">
                <a:pos x="T114" y="T115"/>
              </a:cxn>
              <a:cxn ang="T184">
                <a:pos x="T116" y="T117"/>
              </a:cxn>
              <a:cxn ang="T185">
                <a:pos x="T118" y="T119"/>
              </a:cxn>
              <a:cxn ang="T186">
                <a:pos x="T120" y="T121"/>
              </a:cxn>
              <a:cxn ang="T187">
                <a:pos x="T122" y="T123"/>
              </a:cxn>
              <a:cxn ang="T188">
                <a:pos x="T124" y="T125"/>
              </a:cxn>
            </a:cxnLst>
            <a:rect l="T189" t="T190" r="T191" b="T192"/>
            <a:pathLst>
              <a:path w="10060" h="10298">
                <a:moveTo>
                  <a:pt x="10060" y="0"/>
                </a:moveTo>
                <a:cubicBezTo>
                  <a:pt x="10030" y="134"/>
                  <a:pt x="10029" y="388"/>
                  <a:pt x="9999" y="522"/>
                </a:cubicBezTo>
                <a:cubicBezTo>
                  <a:pt x="9989" y="732"/>
                  <a:pt x="9979" y="940"/>
                  <a:pt x="9968" y="1150"/>
                </a:cubicBezTo>
                <a:cubicBezTo>
                  <a:pt x="9903" y="1270"/>
                  <a:pt x="9836" y="1389"/>
                  <a:pt x="9771" y="1509"/>
                </a:cubicBezTo>
                <a:lnTo>
                  <a:pt x="9558" y="1599"/>
                </a:lnTo>
                <a:cubicBezTo>
                  <a:pt x="9482" y="1972"/>
                  <a:pt x="9405" y="2346"/>
                  <a:pt x="9329" y="2720"/>
                </a:cubicBezTo>
                <a:lnTo>
                  <a:pt x="9208" y="2720"/>
                </a:lnTo>
                <a:cubicBezTo>
                  <a:pt x="9132" y="3272"/>
                  <a:pt x="9055" y="3826"/>
                  <a:pt x="8979" y="4379"/>
                </a:cubicBezTo>
                <a:cubicBezTo>
                  <a:pt x="8965" y="4589"/>
                  <a:pt x="8948" y="4797"/>
                  <a:pt x="8934" y="5007"/>
                </a:cubicBezTo>
                <a:lnTo>
                  <a:pt x="9162" y="5410"/>
                </a:lnTo>
                <a:cubicBezTo>
                  <a:pt x="9131" y="5679"/>
                  <a:pt x="9100" y="5948"/>
                  <a:pt x="9071" y="6217"/>
                </a:cubicBezTo>
                <a:cubicBezTo>
                  <a:pt x="9188" y="6575"/>
                  <a:pt x="9304" y="6935"/>
                  <a:pt x="9421" y="7293"/>
                </a:cubicBezTo>
                <a:cubicBezTo>
                  <a:pt x="9430" y="7592"/>
                  <a:pt x="9441" y="7892"/>
                  <a:pt x="9452" y="8191"/>
                </a:cubicBezTo>
                <a:cubicBezTo>
                  <a:pt x="9360" y="8580"/>
                  <a:pt x="9268" y="8968"/>
                  <a:pt x="9177" y="9356"/>
                </a:cubicBezTo>
                <a:lnTo>
                  <a:pt x="8887" y="9715"/>
                </a:lnTo>
                <a:lnTo>
                  <a:pt x="8613" y="9670"/>
                </a:lnTo>
                <a:cubicBezTo>
                  <a:pt x="8608" y="9835"/>
                  <a:pt x="8604" y="9999"/>
                  <a:pt x="8599" y="10164"/>
                </a:cubicBezTo>
                <a:lnTo>
                  <a:pt x="8218" y="10298"/>
                </a:lnTo>
                <a:lnTo>
                  <a:pt x="7899" y="9804"/>
                </a:lnTo>
                <a:lnTo>
                  <a:pt x="7654" y="9625"/>
                </a:lnTo>
                <a:lnTo>
                  <a:pt x="7319" y="9670"/>
                </a:lnTo>
                <a:cubicBezTo>
                  <a:pt x="7299" y="9745"/>
                  <a:pt x="7278" y="9820"/>
                  <a:pt x="7258" y="9895"/>
                </a:cubicBezTo>
                <a:lnTo>
                  <a:pt x="7137" y="9760"/>
                </a:lnTo>
                <a:cubicBezTo>
                  <a:pt x="7071" y="9625"/>
                  <a:pt x="7004" y="9491"/>
                  <a:pt x="6938" y="9356"/>
                </a:cubicBezTo>
                <a:cubicBezTo>
                  <a:pt x="6877" y="9282"/>
                  <a:pt x="6818" y="9207"/>
                  <a:pt x="6756" y="9132"/>
                </a:cubicBezTo>
                <a:lnTo>
                  <a:pt x="6375" y="9446"/>
                </a:lnTo>
                <a:lnTo>
                  <a:pt x="5948" y="9446"/>
                </a:lnTo>
                <a:lnTo>
                  <a:pt x="5675" y="9043"/>
                </a:lnTo>
                <a:lnTo>
                  <a:pt x="5355" y="8818"/>
                </a:lnTo>
                <a:cubicBezTo>
                  <a:pt x="5331" y="8699"/>
                  <a:pt x="5304" y="8579"/>
                  <a:pt x="5279" y="8460"/>
                </a:cubicBezTo>
                <a:cubicBezTo>
                  <a:pt x="5248" y="8220"/>
                  <a:pt x="5218" y="7981"/>
                  <a:pt x="5187" y="7742"/>
                </a:cubicBezTo>
                <a:cubicBezTo>
                  <a:pt x="5182" y="7339"/>
                  <a:pt x="5177" y="6935"/>
                  <a:pt x="5172" y="6532"/>
                </a:cubicBezTo>
                <a:lnTo>
                  <a:pt x="4761" y="6128"/>
                </a:lnTo>
                <a:lnTo>
                  <a:pt x="4274" y="5948"/>
                </a:lnTo>
                <a:lnTo>
                  <a:pt x="3923" y="5993"/>
                </a:lnTo>
                <a:lnTo>
                  <a:pt x="3695" y="5725"/>
                </a:lnTo>
                <a:cubicBezTo>
                  <a:pt x="3715" y="5560"/>
                  <a:pt x="3736" y="5396"/>
                  <a:pt x="3756" y="5231"/>
                </a:cubicBezTo>
                <a:cubicBezTo>
                  <a:pt x="3766" y="5141"/>
                  <a:pt x="3776" y="5052"/>
                  <a:pt x="3786" y="4962"/>
                </a:cubicBezTo>
                <a:lnTo>
                  <a:pt x="3665" y="4962"/>
                </a:lnTo>
                <a:cubicBezTo>
                  <a:pt x="3634" y="5052"/>
                  <a:pt x="3604" y="5141"/>
                  <a:pt x="3573" y="5231"/>
                </a:cubicBezTo>
                <a:lnTo>
                  <a:pt x="3391" y="5231"/>
                </a:lnTo>
                <a:cubicBezTo>
                  <a:pt x="3344" y="5081"/>
                  <a:pt x="3299" y="4932"/>
                  <a:pt x="3253" y="4782"/>
                </a:cubicBezTo>
                <a:cubicBezTo>
                  <a:pt x="3213" y="4708"/>
                  <a:pt x="3173" y="4632"/>
                  <a:pt x="3132" y="4558"/>
                </a:cubicBezTo>
                <a:cubicBezTo>
                  <a:pt x="3112" y="4708"/>
                  <a:pt x="3091" y="4857"/>
                  <a:pt x="3070" y="5007"/>
                </a:cubicBezTo>
                <a:lnTo>
                  <a:pt x="2873" y="5276"/>
                </a:lnTo>
                <a:lnTo>
                  <a:pt x="2599" y="5052"/>
                </a:lnTo>
                <a:lnTo>
                  <a:pt x="2476" y="5186"/>
                </a:lnTo>
                <a:cubicBezTo>
                  <a:pt x="2446" y="5336"/>
                  <a:pt x="2416" y="5485"/>
                  <a:pt x="2386" y="5635"/>
                </a:cubicBezTo>
                <a:lnTo>
                  <a:pt x="2249" y="5680"/>
                </a:lnTo>
                <a:lnTo>
                  <a:pt x="2065" y="5948"/>
                </a:lnTo>
                <a:lnTo>
                  <a:pt x="1928" y="6128"/>
                </a:lnTo>
                <a:lnTo>
                  <a:pt x="1792" y="6128"/>
                </a:lnTo>
                <a:lnTo>
                  <a:pt x="1503" y="6307"/>
                </a:lnTo>
                <a:cubicBezTo>
                  <a:pt x="1457" y="6412"/>
                  <a:pt x="1412" y="6516"/>
                  <a:pt x="1365" y="6621"/>
                </a:cubicBezTo>
                <a:cubicBezTo>
                  <a:pt x="1324" y="6740"/>
                  <a:pt x="1284" y="6861"/>
                  <a:pt x="1244" y="6980"/>
                </a:cubicBezTo>
                <a:lnTo>
                  <a:pt x="1030" y="6845"/>
                </a:lnTo>
                <a:cubicBezTo>
                  <a:pt x="1000" y="6920"/>
                  <a:pt x="969" y="6995"/>
                  <a:pt x="939" y="7069"/>
                </a:cubicBezTo>
                <a:lnTo>
                  <a:pt x="787" y="7204"/>
                </a:lnTo>
                <a:lnTo>
                  <a:pt x="604" y="7204"/>
                </a:lnTo>
                <a:cubicBezTo>
                  <a:pt x="584" y="7324"/>
                  <a:pt x="563" y="7443"/>
                  <a:pt x="542" y="7563"/>
                </a:cubicBezTo>
                <a:cubicBezTo>
                  <a:pt x="513" y="7652"/>
                  <a:pt x="482" y="7742"/>
                  <a:pt x="452" y="7832"/>
                </a:cubicBezTo>
                <a:cubicBezTo>
                  <a:pt x="422" y="7876"/>
                  <a:pt x="390" y="7921"/>
                  <a:pt x="360" y="7966"/>
                </a:cubicBezTo>
                <a:cubicBezTo>
                  <a:pt x="264" y="7951"/>
                  <a:pt x="96" y="8085"/>
                  <a:pt x="0" y="8070"/>
                </a:cubicBezTo>
              </a:path>
            </a:pathLst>
          </a:custGeom>
          <a:noFill/>
          <a:ln w="317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 wrap="none" lIns="32632" tIns="32632" rIns="32632" bIns="32632" anchor="ctr"/>
          <a:lstStyle/>
          <a:p>
            <a:pPr defTabSz="891045"/>
            <a:endParaRPr lang="en-US" sz="1700" dirty="0">
              <a:solidFill>
                <a:srgbClr val="003149"/>
              </a:solidFill>
              <a:cs typeface="Arial" panose="020B0604020202020204" pitchFamily="34" charset="0"/>
            </a:endParaRPr>
          </a:p>
        </p:txBody>
      </p:sp>
      <p:sp>
        <p:nvSpPr>
          <p:cNvPr id="176" name="Freeform 1026"/>
          <p:cNvSpPr>
            <a:spLocks noChangeAspect="1"/>
          </p:cNvSpPr>
          <p:nvPr/>
        </p:nvSpPr>
        <p:spPr bwMode="gray">
          <a:xfrm>
            <a:off x="5730986" y="3939756"/>
            <a:ext cx="154962" cy="33001"/>
          </a:xfrm>
          <a:custGeom>
            <a:avLst/>
            <a:gdLst>
              <a:gd name="T0" fmla="*/ 1376915163 w 170"/>
              <a:gd name="T1" fmla="*/ 1593293547 h 31"/>
              <a:gd name="T2" fmla="*/ 1376915163 w 170"/>
              <a:gd name="T3" fmla="*/ 1593293547 h 31"/>
              <a:gd name="T4" fmla="*/ 1376915163 w 170"/>
              <a:gd name="T5" fmla="*/ 1593293547 h 31"/>
              <a:gd name="T6" fmla="*/ 1376915163 w 170"/>
              <a:gd name="T7" fmla="*/ 1593293547 h 31"/>
              <a:gd name="T8" fmla="*/ 1376915163 w 170"/>
              <a:gd name="T9" fmla="*/ 1593293547 h 31"/>
              <a:gd name="T10" fmla="*/ 1376915163 w 170"/>
              <a:gd name="T11" fmla="*/ 1593293547 h 31"/>
              <a:gd name="T12" fmla="*/ 1376915163 w 170"/>
              <a:gd name="T13" fmla="*/ 1593293547 h 31"/>
              <a:gd name="T14" fmla="*/ 1376915163 w 170"/>
              <a:gd name="T15" fmla="*/ 1593293547 h 31"/>
              <a:gd name="T16" fmla="*/ 1376915163 w 170"/>
              <a:gd name="T17" fmla="*/ 1593293547 h 31"/>
              <a:gd name="T18" fmla="*/ 1376915163 w 170"/>
              <a:gd name="T19" fmla="*/ 1593293547 h 31"/>
              <a:gd name="T20" fmla="*/ 1376915163 w 170"/>
              <a:gd name="T21" fmla="*/ 1593293547 h 31"/>
              <a:gd name="T22" fmla="*/ 1376915163 w 170"/>
              <a:gd name="T23" fmla="*/ 1593293547 h 31"/>
              <a:gd name="T24" fmla="*/ 1376915163 w 170"/>
              <a:gd name="T25" fmla="*/ 1593293547 h 31"/>
              <a:gd name="T26" fmla="*/ 1376915163 w 170"/>
              <a:gd name="T27" fmla="*/ 1593293547 h 31"/>
              <a:gd name="T28" fmla="*/ 1376915163 w 170"/>
              <a:gd name="T29" fmla="*/ 0 h 31"/>
              <a:gd name="T30" fmla="*/ 1376915163 w 170"/>
              <a:gd name="T31" fmla="*/ 1593293547 h 31"/>
              <a:gd name="T32" fmla="*/ 1376915163 w 170"/>
              <a:gd name="T33" fmla="*/ 1593293547 h 31"/>
              <a:gd name="T34" fmla="*/ 1376915163 w 170"/>
              <a:gd name="T35" fmla="*/ 1593293547 h 31"/>
              <a:gd name="T36" fmla="*/ 1376915163 w 170"/>
              <a:gd name="T37" fmla="*/ 1593293547 h 31"/>
              <a:gd name="T38" fmla="*/ 1376915163 w 170"/>
              <a:gd name="T39" fmla="*/ 1593293547 h 31"/>
              <a:gd name="T40" fmla="*/ 1376915163 w 170"/>
              <a:gd name="T41" fmla="*/ 1593293547 h 31"/>
              <a:gd name="T42" fmla="*/ 1376915163 w 170"/>
              <a:gd name="T43" fmla="*/ 1593293547 h 31"/>
              <a:gd name="T44" fmla="*/ 1376915163 w 170"/>
              <a:gd name="T45" fmla="*/ 1593293547 h 31"/>
              <a:gd name="T46" fmla="*/ 1376915163 w 170"/>
              <a:gd name="T47" fmla="*/ 1593293547 h 31"/>
              <a:gd name="T48" fmla="*/ 1376915163 w 170"/>
              <a:gd name="T49" fmla="*/ 1593293547 h 31"/>
              <a:gd name="T50" fmla="*/ 1376915163 w 170"/>
              <a:gd name="T51" fmla="*/ 1593293547 h 31"/>
              <a:gd name="T52" fmla="*/ 1376915163 w 170"/>
              <a:gd name="T53" fmla="*/ 1593293547 h 31"/>
              <a:gd name="T54" fmla="*/ 1376915163 w 170"/>
              <a:gd name="T55" fmla="*/ 1593293547 h 31"/>
              <a:gd name="T56" fmla="*/ 1376915163 w 170"/>
              <a:gd name="T57" fmla="*/ 1593293547 h 31"/>
              <a:gd name="T58" fmla="*/ 1376915163 w 170"/>
              <a:gd name="T59" fmla="*/ 1593293547 h 31"/>
              <a:gd name="T60" fmla="*/ 1376915163 w 170"/>
              <a:gd name="T61" fmla="*/ 1593293547 h 31"/>
              <a:gd name="T62" fmla="*/ 1376915163 w 170"/>
              <a:gd name="T63" fmla="*/ 1593293547 h 31"/>
              <a:gd name="T64" fmla="*/ 1376915163 w 170"/>
              <a:gd name="T65" fmla="*/ 1593293547 h 31"/>
              <a:gd name="T66" fmla="*/ 1376915163 w 170"/>
              <a:gd name="T67" fmla="*/ 1593293547 h 31"/>
              <a:gd name="T68" fmla="*/ 1376915163 w 170"/>
              <a:gd name="T69" fmla="*/ 1593293547 h 31"/>
              <a:gd name="T70" fmla="*/ 1376915163 w 170"/>
              <a:gd name="T71" fmla="*/ 1593293547 h 31"/>
              <a:gd name="T72" fmla="*/ 1376915163 w 170"/>
              <a:gd name="T73" fmla="*/ 1593293547 h 31"/>
              <a:gd name="T74" fmla="*/ 1376915163 w 170"/>
              <a:gd name="T75" fmla="*/ 1593293547 h 31"/>
              <a:gd name="T76" fmla="*/ 1376915163 w 170"/>
              <a:gd name="T77" fmla="*/ 1593293547 h 31"/>
              <a:gd name="T78" fmla="*/ 1376915163 w 170"/>
              <a:gd name="T79" fmla="*/ 1593293547 h 31"/>
              <a:gd name="T80" fmla="*/ 1376915163 w 170"/>
              <a:gd name="T81" fmla="*/ 1593293547 h 31"/>
              <a:gd name="T82" fmla="*/ 1376915163 w 170"/>
              <a:gd name="T83" fmla="*/ 1593293547 h 31"/>
              <a:gd name="T84" fmla="*/ 1376915163 w 170"/>
              <a:gd name="T85" fmla="*/ 1593293547 h 31"/>
              <a:gd name="T86" fmla="*/ 1376915163 w 170"/>
              <a:gd name="T87" fmla="*/ 1593293547 h 31"/>
              <a:gd name="T88" fmla="*/ 1376915163 w 170"/>
              <a:gd name="T89" fmla="*/ 1593293547 h 31"/>
              <a:gd name="T90" fmla="*/ 1376915163 w 170"/>
              <a:gd name="T91" fmla="*/ 1593293547 h 31"/>
              <a:gd name="T92" fmla="*/ 1376915163 w 170"/>
              <a:gd name="T93" fmla="*/ 1593293547 h 31"/>
              <a:gd name="T94" fmla="*/ 1376915163 w 170"/>
              <a:gd name="T95" fmla="*/ 1593293547 h 31"/>
              <a:gd name="T96" fmla="*/ 1376915163 w 170"/>
              <a:gd name="T97" fmla="*/ 1593293547 h 31"/>
              <a:gd name="T98" fmla="*/ 1376915163 w 170"/>
              <a:gd name="T99" fmla="*/ 1593293547 h 31"/>
              <a:gd name="T100" fmla="*/ 1376915163 w 170"/>
              <a:gd name="T101" fmla="*/ 1593293547 h 31"/>
              <a:gd name="T102" fmla="*/ 1376915163 w 170"/>
              <a:gd name="T103" fmla="*/ 1593293547 h 31"/>
              <a:gd name="T104" fmla="*/ 0 w 170"/>
              <a:gd name="T105" fmla="*/ 1593293547 h 31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w 170"/>
              <a:gd name="T160" fmla="*/ 0 h 31"/>
              <a:gd name="T161" fmla="*/ 170 w 170"/>
              <a:gd name="T162" fmla="*/ 31 h 31"/>
            </a:gdLst>
            <a:ahLst/>
            <a:cxnLst>
              <a:cxn ang="T106">
                <a:pos x="T0" y="T1"/>
              </a:cxn>
              <a:cxn ang="T107">
                <a:pos x="T2" y="T3"/>
              </a:cxn>
              <a:cxn ang="T108">
                <a:pos x="T4" y="T5"/>
              </a:cxn>
              <a:cxn ang="T109">
                <a:pos x="T6" y="T7"/>
              </a:cxn>
              <a:cxn ang="T110">
                <a:pos x="T8" y="T9"/>
              </a:cxn>
              <a:cxn ang="T111">
                <a:pos x="T10" y="T11"/>
              </a:cxn>
              <a:cxn ang="T112">
                <a:pos x="T12" y="T13"/>
              </a:cxn>
              <a:cxn ang="T113">
                <a:pos x="T14" y="T15"/>
              </a:cxn>
              <a:cxn ang="T114">
                <a:pos x="T16" y="T17"/>
              </a:cxn>
              <a:cxn ang="T115">
                <a:pos x="T18" y="T19"/>
              </a:cxn>
              <a:cxn ang="T116">
                <a:pos x="T20" y="T21"/>
              </a:cxn>
              <a:cxn ang="T117">
                <a:pos x="T22" y="T23"/>
              </a:cxn>
              <a:cxn ang="T118">
                <a:pos x="T24" y="T25"/>
              </a:cxn>
              <a:cxn ang="T119">
                <a:pos x="T26" y="T27"/>
              </a:cxn>
              <a:cxn ang="T120">
                <a:pos x="T28" y="T29"/>
              </a:cxn>
              <a:cxn ang="T121">
                <a:pos x="T30" y="T31"/>
              </a:cxn>
              <a:cxn ang="T122">
                <a:pos x="T32" y="T33"/>
              </a:cxn>
              <a:cxn ang="T123">
                <a:pos x="T34" y="T35"/>
              </a:cxn>
              <a:cxn ang="T124">
                <a:pos x="T36" y="T37"/>
              </a:cxn>
              <a:cxn ang="T125">
                <a:pos x="T38" y="T39"/>
              </a:cxn>
              <a:cxn ang="T126">
                <a:pos x="T40" y="T41"/>
              </a:cxn>
              <a:cxn ang="T127">
                <a:pos x="T42" y="T43"/>
              </a:cxn>
              <a:cxn ang="T128">
                <a:pos x="T44" y="T45"/>
              </a:cxn>
              <a:cxn ang="T129">
                <a:pos x="T46" y="T47"/>
              </a:cxn>
              <a:cxn ang="T130">
                <a:pos x="T48" y="T49"/>
              </a:cxn>
              <a:cxn ang="T131">
                <a:pos x="T50" y="T51"/>
              </a:cxn>
              <a:cxn ang="T132">
                <a:pos x="T52" y="T53"/>
              </a:cxn>
              <a:cxn ang="T133">
                <a:pos x="T54" y="T55"/>
              </a:cxn>
              <a:cxn ang="T134">
                <a:pos x="T56" y="T57"/>
              </a:cxn>
              <a:cxn ang="T135">
                <a:pos x="T58" y="T59"/>
              </a:cxn>
              <a:cxn ang="T136">
                <a:pos x="T60" y="T61"/>
              </a:cxn>
              <a:cxn ang="T137">
                <a:pos x="T62" y="T63"/>
              </a:cxn>
              <a:cxn ang="T138">
                <a:pos x="T64" y="T65"/>
              </a:cxn>
              <a:cxn ang="T139">
                <a:pos x="T66" y="T67"/>
              </a:cxn>
              <a:cxn ang="T140">
                <a:pos x="T68" y="T69"/>
              </a:cxn>
              <a:cxn ang="T141">
                <a:pos x="T70" y="T71"/>
              </a:cxn>
              <a:cxn ang="T142">
                <a:pos x="T72" y="T73"/>
              </a:cxn>
              <a:cxn ang="T143">
                <a:pos x="T74" y="T75"/>
              </a:cxn>
              <a:cxn ang="T144">
                <a:pos x="T76" y="T77"/>
              </a:cxn>
              <a:cxn ang="T145">
                <a:pos x="T78" y="T79"/>
              </a:cxn>
              <a:cxn ang="T146">
                <a:pos x="T80" y="T81"/>
              </a:cxn>
              <a:cxn ang="T147">
                <a:pos x="T82" y="T83"/>
              </a:cxn>
              <a:cxn ang="T148">
                <a:pos x="T84" y="T85"/>
              </a:cxn>
              <a:cxn ang="T149">
                <a:pos x="T86" y="T87"/>
              </a:cxn>
              <a:cxn ang="T150">
                <a:pos x="T88" y="T89"/>
              </a:cxn>
              <a:cxn ang="T151">
                <a:pos x="T90" y="T91"/>
              </a:cxn>
              <a:cxn ang="T152">
                <a:pos x="T92" y="T93"/>
              </a:cxn>
              <a:cxn ang="T153">
                <a:pos x="T94" y="T95"/>
              </a:cxn>
              <a:cxn ang="T154">
                <a:pos x="T96" y="T97"/>
              </a:cxn>
              <a:cxn ang="T155">
                <a:pos x="T98" y="T99"/>
              </a:cxn>
              <a:cxn ang="T156">
                <a:pos x="T100" y="T101"/>
              </a:cxn>
              <a:cxn ang="T157">
                <a:pos x="T102" y="T103"/>
              </a:cxn>
              <a:cxn ang="T158">
                <a:pos x="T104" y="T105"/>
              </a:cxn>
            </a:cxnLst>
            <a:rect l="T159" t="T160" r="T161" b="T162"/>
            <a:pathLst>
              <a:path w="170" h="31">
                <a:moveTo>
                  <a:pt x="170" y="16"/>
                </a:moveTo>
                <a:lnTo>
                  <a:pt x="165" y="15"/>
                </a:lnTo>
                <a:lnTo>
                  <a:pt x="164" y="13"/>
                </a:lnTo>
                <a:lnTo>
                  <a:pt x="163" y="11"/>
                </a:lnTo>
                <a:lnTo>
                  <a:pt x="161" y="12"/>
                </a:lnTo>
                <a:lnTo>
                  <a:pt x="161" y="15"/>
                </a:lnTo>
                <a:lnTo>
                  <a:pt x="159" y="16"/>
                </a:lnTo>
                <a:lnTo>
                  <a:pt x="155" y="14"/>
                </a:lnTo>
                <a:lnTo>
                  <a:pt x="154" y="10"/>
                </a:lnTo>
                <a:lnTo>
                  <a:pt x="153" y="6"/>
                </a:lnTo>
                <a:lnTo>
                  <a:pt x="150" y="5"/>
                </a:lnTo>
                <a:lnTo>
                  <a:pt x="147" y="6"/>
                </a:lnTo>
                <a:lnTo>
                  <a:pt x="143" y="5"/>
                </a:lnTo>
                <a:lnTo>
                  <a:pt x="139" y="3"/>
                </a:lnTo>
                <a:lnTo>
                  <a:pt x="137" y="0"/>
                </a:lnTo>
                <a:lnTo>
                  <a:pt x="132" y="1"/>
                </a:lnTo>
                <a:lnTo>
                  <a:pt x="127" y="2"/>
                </a:lnTo>
                <a:lnTo>
                  <a:pt x="124" y="4"/>
                </a:lnTo>
                <a:lnTo>
                  <a:pt x="119" y="5"/>
                </a:lnTo>
                <a:lnTo>
                  <a:pt x="118" y="8"/>
                </a:lnTo>
                <a:lnTo>
                  <a:pt x="119" y="12"/>
                </a:lnTo>
                <a:lnTo>
                  <a:pt x="117" y="14"/>
                </a:lnTo>
                <a:lnTo>
                  <a:pt x="114" y="14"/>
                </a:lnTo>
                <a:lnTo>
                  <a:pt x="110" y="12"/>
                </a:lnTo>
                <a:lnTo>
                  <a:pt x="107" y="10"/>
                </a:lnTo>
                <a:lnTo>
                  <a:pt x="104" y="10"/>
                </a:lnTo>
                <a:lnTo>
                  <a:pt x="101" y="10"/>
                </a:lnTo>
                <a:lnTo>
                  <a:pt x="98" y="11"/>
                </a:lnTo>
                <a:lnTo>
                  <a:pt x="95" y="11"/>
                </a:lnTo>
                <a:lnTo>
                  <a:pt x="93" y="10"/>
                </a:lnTo>
                <a:lnTo>
                  <a:pt x="90" y="11"/>
                </a:lnTo>
                <a:lnTo>
                  <a:pt x="87" y="7"/>
                </a:lnTo>
                <a:lnTo>
                  <a:pt x="84" y="6"/>
                </a:lnTo>
                <a:lnTo>
                  <a:pt x="81" y="6"/>
                </a:lnTo>
                <a:lnTo>
                  <a:pt x="76" y="8"/>
                </a:lnTo>
                <a:lnTo>
                  <a:pt x="73" y="8"/>
                </a:lnTo>
                <a:lnTo>
                  <a:pt x="69" y="4"/>
                </a:lnTo>
                <a:lnTo>
                  <a:pt x="65" y="3"/>
                </a:lnTo>
                <a:lnTo>
                  <a:pt x="62" y="3"/>
                </a:lnTo>
                <a:lnTo>
                  <a:pt x="56" y="3"/>
                </a:lnTo>
                <a:lnTo>
                  <a:pt x="53" y="3"/>
                </a:lnTo>
                <a:lnTo>
                  <a:pt x="53" y="6"/>
                </a:lnTo>
                <a:lnTo>
                  <a:pt x="49" y="7"/>
                </a:lnTo>
                <a:lnTo>
                  <a:pt x="45" y="7"/>
                </a:lnTo>
                <a:lnTo>
                  <a:pt x="43" y="7"/>
                </a:lnTo>
                <a:lnTo>
                  <a:pt x="39" y="10"/>
                </a:lnTo>
                <a:lnTo>
                  <a:pt x="36" y="12"/>
                </a:lnTo>
                <a:lnTo>
                  <a:pt x="33" y="14"/>
                </a:lnTo>
                <a:lnTo>
                  <a:pt x="27" y="16"/>
                </a:lnTo>
                <a:lnTo>
                  <a:pt x="21" y="20"/>
                </a:lnTo>
                <a:lnTo>
                  <a:pt x="13" y="24"/>
                </a:lnTo>
                <a:lnTo>
                  <a:pt x="6" y="27"/>
                </a:lnTo>
                <a:lnTo>
                  <a:pt x="0" y="31"/>
                </a:lnTo>
              </a:path>
            </a:pathLst>
          </a:custGeom>
          <a:noFill/>
          <a:ln w="317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 wrap="none" lIns="32632" tIns="32632" rIns="32632" bIns="32632" anchor="ctr"/>
          <a:lstStyle/>
          <a:p>
            <a:pPr defTabSz="891045"/>
            <a:endParaRPr lang="en-US" sz="1700" dirty="0">
              <a:solidFill>
                <a:srgbClr val="003149"/>
              </a:solidFill>
              <a:cs typeface="Arial" panose="020B0604020202020204" pitchFamily="34" charset="0"/>
            </a:endParaRPr>
          </a:p>
        </p:txBody>
      </p:sp>
      <p:sp>
        <p:nvSpPr>
          <p:cNvPr id="177" name="Freeform 1027"/>
          <p:cNvSpPr>
            <a:spLocks noChangeAspect="1"/>
          </p:cNvSpPr>
          <p:nvPr/>
        </p:nvSpPr>
        <p:spPr bwMode="gray">
          <a:xfrm>
            <a:off x="5885951" y="3956985"/>
            <a:ext cx="263009" cy="173616"/>
          </a:xfrm>
          <a:custGeom>
            <a:avLst/>
            <a:gdLst>
              <a:gd name="T0" fmla="*/ 1389105631 w 286"/>
              <a:gd name="T1" fmla="*/ 1555960266 h 167"/>
              <a:gd name="T2" fmla="*/ 1389105631 w 286"/>
              <a:gd name="T3" fmla="*/ 1555960266 h 167"/>
              <a:gd name="T4" fmla="*/ 1389105631 w 286"/>
              <a:gd name="T5" fmla="*/ 1555960266 h 167"/>
              <a:gd name="T6" fmla="*/ 1389105631 w 286"/>
              <a:gd name="T7" fmla="*/ 1555960266 h 167"/>
              <a:gd name="T8" fmla="*/ 1389105631 w 286"/>
              <a:gd name="T9" fmla="*/ 1555960266 h 167"/>
              <a:gd name="T10" fmla="*/ 1389105631 w 286"/>
              <a:gd name="T11" fmla="*/ 1555960266 h 167"/>
              <a:gd name="T12" fmla="*/ 1389105631 w 286"/>
              <a:gd name="T13" fmla="*/ 1555960266 h 167"/>
              <a:gd name="T14" fmla="*/ 1389105631 w 286"/>
              <a:gd name="T15" fmla="*/ 1555960266 h 167"/>
              <a:gd name="T16" fmla="*/ 1389105631 w 286"/>
              <a:gd name="T17" fmla="*/ 1555960266 h 167"/>
              <a:gd name="T18" fmla="*/ 1389105631 w 286"/>
              <a:gd name="T19" fmla="*/ 1555960266 h 167"/>
              <a:gd name="T20" fmla="*/ 1389105631 w 286"/>
              <a:gd name="T21" fmla="*/ 1555960266 h 167"/>
              <a:gd name="T22" fmla="*/ 1389105631 w 286"/>
              <a:gd name="T23" fmla="*/ 1555960266 h 167"/>
              <a:gd name="T24" fmla="*/ 1389105631 w 286"/>
              <a:gd name="T25" fmla="*/ 1555960266 h 167"/>
              <a:gd name="T26" fmla="*/ 1389105631 w 286"/>
              <a:gd name="T27" fmla="*/ 1555960266 h 167"/>
              <a:gd name="T28" fmla="*/ 1389105631 w 286"/>
              <a:gd name="T29" fmla="*/ 1555960266 h 167"/>
              <a:gd name="T30" fmla="*/ 1389105631 w 286"/>
              <a:gd name="T31" fmla="*/ 1555960266 h 167"/>
              <a:gd name="T32" fmla="*/ 1389105631 w 286"/>
              <a:gd name="T33" fmla="*/ 1555960266 h 167"/>
              <a:gd name="T34" fmla="*/ 1389105631 w 286"/>
              <a:gd name="T35" fmla="*/ 1555960266 h 167"/>
              <a:gd name="T36" fmla="*/ 1389105631 w 286"/>
              <a:gd name="T37" fmla="*/ 1555960266 h 167"/>
              <a:gd name="T38" fmla="*/ 1389105631 w 286"/>
              <a:gd name="T39" fmla="*/ 1555960266 h 167"/>
              <a:gd name="T40" fmla="*/ 1389105631 w 286"/>
              <a:gd name="T41" fmla="*/ 1555960266 h 167"/>
              <a:gd name="T42" fmla="*/ 1389105631 w 286"/>
              <a:gd name="T43" fmla="*/ 1555960266 h 167"/>
              <a:gd name="T44" fmla="*/ 1389105631 w 286"/>
              <a:gd name="T45" fmla="*/ 1555960266 h 167"/>
              <a:gd name="T46" fmla="*/ 1389105631 w 286"/>
              <a:gd name="T47" fmla="*/ 1555960266 h 167"/>
              <a:gd name="T48" fmla="*/ 1389105631 w 286"/>
              <a:gd name="T49" fmla="*/ 1555960266 h 167"/>
              <a:gd name="T50" fmla="*/ 1389105631 w 286"/>
              <a:gd name="T51" fmla="*/ 1555960266 h 167"/>
              <a:gd name="T52" fmla="*/ 1389105631 w 286"/>
              <a:gd name="T53" fmla="*/ 1555960266 h 167"/>
              <a:gd name="T54" fmla="*/ 1389105631 w 286"/>
              <a:gd name="T55" fmla="*/ 1555960266 h 167"/>
              <a:gd name="T56" fmla="*/ 1389105631 w 286"/>
              <a:gd name="T57" fmla="*/ 1555960266 h 167"/>
              <a:gd name="T58" fmla="*/ 1389105631 w 286"/>
              <a:gd name="T59" fmla="*/ 1555960266 h 167"/>
              <a:gd name="T60" fmla="*/ 1389105631 w 286"/>
              <a:gd name="T61" fmla="*/ 1555960266 h 167"/>
              <a:gd name="T62" fmla="*/ 1389105631 w 286"/>
              <a:gd name="T63" fmla="*/ 1555960266 h 167"/>
              <a:gd name="T64" fmla="*/ 1389105631 w 286"/>
              <a:gd name="T65" fmla="*/ 1555960266 h 167"/>
              <a:gd name="T66" fmla="*/ 1389105631 w 286"/>
              <a:gd name="T67" fmla="*/ 1555960266 h 167"/>
              <a:gd name="T68" fmla="*/ 1389105631 w 286"/>
              <a:gd name="T69" fmla="*/ 1555960266 h 167"/>
              <a:gd name="T70" fmla="*/ 1389105631 w 286"/>
              <a:gd name="T71" fmla="*/ 1555960266 h 167"/>
              <a:gd name="T72" fmla="*/ 1389105631 w 286"/>
              <a:gd name="T73" fmla="*/ 1555960266 h 167"/>
              <a:gd name="T74" fmla="*/ 1389105631 w 286"/>
              <a:gd name="T75" fmla="*/ 1555960266 h 167"/>
              <a:gd name="T76" fmla="*/ 1389105631 w 286"/>
              <a:gd name="T77" fmla="*/ 1555960266 h 167"/>
              <a:gd name="T78" fmla="*/ 1389105631 w 286"/>
              <a:gd name="T79" fmla="*/ 1555960266 h 167"/>
              <a:gd name="T80" fmla="*/ 1389105631 w 286"/>
              <a:gd name="T81" fmla="*/ 1555960266 h 167"/>
              <a:gd name="T82" fmla="*/ 1389105631 w 286"/>
              <a:gd name="T83" fmla="*/ 1555960266 h 167"/>
              <a:gd name="T84" fmla="*/ 1389105631 w 286"/>
              <a:gd name="T85" fmla="*/ 1555960266 h 167"/>
              <a:gd name="T86" fmla="*/ 1389105631 w 286"/>
              <a:gd name="T87" fmla="*/ 1555960266 h 167"/>
              <a:gd name="T88" fmla="*/ 1389105631 w 286"/>
              <a:gd name="T89" fmla="*/ 1555960266 h 167"/>
              <a:gd name="T90" fmla="*/ 1389105631 w 286"/>
              <a:gd name="T91" fmla="*/ 1555960266 h 167"/>
              <a:gd name="T92" fmla="*/ 1389105631 w 286"/>
              <a:gd name="T93" fmla="*/ 1555960266 h 167"/>
              <a:gd name="T94" fmla="*/ 1389105631 w 286"/>
              <a:gd name="T95" fmla="*/ 1555960266 h 167"/>
              <a:gd name="T96" fmla="*/ 1389105631 w 286"/>
              <a:gd name="T97" fmla="*/ 1555960266 h 167"/>
              <a:gd name="T98" fmla="*/ 0 w 286"/>
              <a:gd name="T99" fmla="*/ 0 h 167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w 286"/>
              <a:gd name="T151" fmla="*/ 0 h 167"/>
              <a:gd name="T152" fmla="*/ 286 w 286"/>
              <a:gd name="T153" fmla="*/ 167 h 167"/>
            </a:gdLst>
            <a:ahLst/>
            <a:cxnLst>
              <a:cxn ang="T100">
                <a:pos x="T0" y="T1"/>
              </a:cxn>
              <a:cxn ang="T101">
                <a:pos x="T2" y="T3"/>
              </a:cxn>
              <a:cxn ang="T102">
                <a:pos x="T4" y="T5"/>
              </a:cxn>
              <a:cxn ang="T103">
                <a:pos x="T6" y="T7"/>
              </a:cxn>
              <a:cxn ang="T104">
                <a:pos x="T8" y="T9"/>
              </a:cxn>
              <a:cxn ang="T105">
                <a:pos x="T10" y="T11"/>
              </a:cxn>
              <a:cxn ang="T106">
                <a:pos x="T12" y="T13"/>
              </a:cxn>
              <a:cxn ang="T107">
                <a:pos x="T14" y="T15"/>
              </a:cxn>
              <a:cxn ang="T108">
                <a:pos x="T16" y="T17"/>
              </a:cxn>
              <a:cxn ang="T109">
                <a:pos x="T18" y="T19"/>
              </a:cxn>
              <a:cxn ang="T110">
                <a:pos x="T20" y="T21"/>
              </a:cxn>
              <a:cxn ang="T111">
                <a:pos x="T22" y="T23"/>
              </a:cxn>
              <a:cxn ang="T112">
                <a:pos x="T24" y="T25"/>
              </a:cxn>
              <a:cxn ang="T113">
                <a:pos x="T26" y="T27"/>
              </a:cxn>
              <a:cxn ang="T114">
                <a:pos x="T28" y="T29"/>
              </a:cxn>
              <a:cxn ang="T115">
                <a:pos x="T30" y="T31"/>
              </a:cxn>
              <a:cxn ang="T116">
                <a:pos x="T32" y="T33"/>
              </a:cxn>
              <a:cxn ang="T117">
                <a:pos x="T34" y="T35"/>
              </a:cxn>
              <a:cxn ang="T118">
                <a:pos x="T36" y="T37"/>
              </a:cxn>
              <a:cxn ang="T119">
                <a:pos x="T38" y="T39"/>
              </a:cxn>
              <a:cxn ang="T120">
                <a:pos x="T40" y="T41"/>
              </a:cxn>
              <a:cxn ang="T121">
                <a:pos x="T42" y="T43"/>
              </a:cxn>
              <a:cxn ang="T122">
                <a:pos x="T44" y="T45"/>
              </a:cxn>
              <a:cxn ang="T123">
                <a:pos x="T46" y="T47"/>
              </a:cxn>
              <a:cxn ang="T124">
                <a:pos x="T48" y="T49"/>
              </a:cxn>
              <a:cxn ang="T125">
                <a:pos x="T50" y="T51"/>
              </a:cxn>
              <a:cxn ang="T126">
                <a:pos x="T52" y="T53"/>
              </a:cxn>
              <a:cxn ang="T127">
                <a:pos x="T54" y="T55"/>
              </a:cxn>
              <a:cxn ang="T128">
                <a:pos x="T56" y="T57"/>
              </a:cxn>
              <a:cxn ang="T129">
                <a:pos x="T58" y="T59"/>
              </a:cxn>
              <a:cxn ang="T130">
                <a:pos x="T60" y="T61"/>
              </a:cxn>
              <a:cxn ang="T131">
                <a:pos x="T62" y="T63"/>
              </a:cxn>
              <a:cxn ang="T132">
                <a:pos x="T64" y="T65"/>
              </a:cxn>
              <a:cxn ang="T133">
                <a:pos x="T66" y="T67"/>
              </a:cxn>
              <a:cxn ang="T134">
                <a:pos x="T68" y="T69"/>
              </a:cxn>
              <a:cxn ang="T135">
                <a:pos x="T70" y="T71"/>
              </a:cxn>
              <a:cxn ang="T136">
                <a:pos x="T72" y="T73"/>
              </a:cxn>
              <a:cxn ang="T137">
                <a:pos x="T74" y="T75"/>
              </a:cxn>
              <a:cxn ang="T138">
                <a:pos x="T76" y="T77"/>
              </a:cxn>
              <a:cxn ang="T139">
                <a:pos x="T78" y="T79"/>
              </a:cxn>
              <a:cxn ang="T140">
                <a:pos x="T80" y="T81"/>
              </a:cxn>
              <a:cxn ang="T141">
                <a:pos x="T82" y="T83"/>
              </a:cxn>
              <a:cxn ang="T142">
                <a:pos x="T84" y="T85"/>
              </a:cxn>
              <a:cxn ang="T143">
                <a:pos x="T86" y="T87"/>
              </a:cxn>
              <a:cxn ang="T144">
                <a:pos x="T88" y="T89"/>
              </a:cxn>
              <a:cxn ang="T145">
                <a:pos x="T90" y="T91"/>
              </a:cxn>
              <a:cxn ang="T146">
                <a:pos x="T92" y="T93"/>
              </a:cxn>
              <a:cxn ang="T147">
                <a:pos x="T94" y="T95"/>
              </a:cxn>
              <a:cxn ang="T148">
                <a:pos x="T96" y="T97"/>
              </a:cxn>
              <a:cxn ang="T149">
                <a:pos x="T98" y="T99"/>
              </a:cxn>
            </a:cxnLst>
            <a:rect l="T150" t="T151" r="T152" b="T153"/>
            <a:pathLst>
              <a:path w="286" h="167">
                <a:moveTo>
                  <a:pt x="286" y="163"/>
                </a:moveTo>
                <a:lnTo>
                  <a:pt x="280" y="160"/>
                </a:lnTo>
                <a:lnTo>
                  <a:pt x="273" y="158"/>
                </a:lnTo>
                <a:lnTo>
                  <a:pt x="270" y="156"/>
                </a:lnTo>
                <a:lnTo>
                  <a:pt x="265" y="154"/>
                </a:lnTo>
                <a:lnTo>
                  <a:pt x="261" y="153"/>
                </a:lnTo>
                <a:lnTo>
                  <a:pt x="258" y="151"/>
                </a:lnTo>
                <a:lnTo>
                  <a:pt x="257" y="149"/>
                </a:lnTo>
                <a:lnTo>
                  <a:pt x="253" y="148"/>
                </a:lnTo>
                <a:lnTo>
                  <a:pt x="249" y="148"/>
                </a:lnTo>
                <a:lnTo>
                  <a:pt x="247" y="150"/>
                </a:lnTo>
                <a:lnTo>
                  <a:pt x="247" y="153"/>
                </a:lnTo>
                <a:lnTo>
                  <a:pt x="243" y="154"/>
                </a:lnTo>
                <a:lnTo>
                  <a:pt x="240" y="157"/>
                </a:lnTo>
                <a:lnTo>
                  <a:pt x="237" y="158"/>
                </a:lnTo>
                <a:lnTo>
                  <a:pt x="233" y="159"/>
                </a:lnTo>
                <a:lnTo>
                  <a:pt x="231" y="156"/>
                </a:lnTo>
                <a:lnTo>
                  <a:pt x="228" y="157"/>
                </a:lnTo>
                <a:lnTo>
                  <a:pt x="225" y="157"/>
                </a:lnTo>
                <a:lnTo>
                  <a:pt x="220" y="158"/>
                </a:lnTo>
                <a:lnTo>
                  <a:pt x="216" y="158"/>
                </a:lnTo>
                <a:lnTo>
                  <a:pt x="215" y="154"/>
                </a:lnTo>
                <a:lnTo>
                  <a:pt x="212" y="151"/>
                </a:lnTo>
                <a:lnTo>
                  <a:pt x="208" y="153"/>
                </a:lnTo>
                <a:lnTo>
                  <a:pt x="205" y="156"/>
                </a:lnTo>
                <a:lnTo>
                  <a:pt x="200" y="158"/>
                </a:lnTo>
                <a:lnTo>
                  <a:pt x="197" y="159"/>
                </a:lnTo>
                <a:lnTo>
                  <a:pt x="194" y="162"/>
                </a:lnTo>
                <a:lnTo>
                  <a:pt x="191" y="165"/>
                </a:lnTo>
                <a:lnTo>
                  <a:pt x="187" y="165"/>
                </a:lnTo>
                <a:lnTo>
                  <a:pt x="181" y="166"/>
                </a:lnTo>
                <a:lnTo>
                  <a:pt x="176" y="167"/>
                </a:lnTo>
                <a:lnTo>
                  <a:pt x="171" y="167"/>
                </a:lnTo>
                <a:lnTo>
                  <a:pt x="166" y="165"/>
                </a:lnTo>
                <a:lnTo>
                  <a:pt x="161" y="162"/>
                </a:lnTo>
                <a:lnTo>
                  <a:pt x="154" y="159"/>
                </a:lnTo>
                <a:lnTo>
                  <a:pt x="152" y="156"/>
                </a:lnTo>
                <a:lnTo>
                  <a:pt x="151" y="153"/>
                </a:lnTo>
                <a:lnTo>
                  <a:pt x="148" y="148"/>
                </a:lnTo>
                <a:lnTo>
                  <a:pt x="147" y="143"/>
                </a:lnTo>
                <a:lnTo>
                  <a:pt x="146" y="137"/>
                </a:lnTo>
                <a:lnTo>
                  <a:pt x="144" y="135"/>
                </a:lnTo>
                <a:lnTo>
                  <a:pt x="140" y="134"/>
                </a:lnTo>
                <a:lnTo>
                  <a:pt x="137" y="134"/>
                </a:lnTo>
                <a:lnTo>
                  <a:pt x="133" y="131"/>
                </a:lnTo>
                <a:lnTo>
                  <a:pt x="129" y="128"/>
                </a:lnTo>
                <a:lnTo>
                  <a:pt x="126" y="125"/>
                </a:lnTo>
                <a:lnTo>
                  <a:pt x="124" y="120"/>
                </a:lnTo>
                <a:lnTo>
                  <a:pt x="125" y="113"/>
                </a:lnTo>
                <a:lnTo>
                  <a:pt x="120" y="111"/>
                </a:lnTo>
                <a:lnTo>
                  <a:pt x="117" y="107"/>
                </a:lnTo>
                <a:lnTo>
                  <a:pt x="114" y="103"/>
                </a:lnTo>
                <a:lnTo>
                  <a:pt x="110" y="99"/>
                </a:lnTo>
                <a:lnTo>
                  <a:pt x="104" y="97"/>
                </a:lnTo>
                <a:lnTo>
                  <a:pt x="99" y="96"/>
                </a:lnTo>
                <a:lnTo>
                  <a:pt x="93" y="93"/>
                </a:lnTo>
                <a:lnTo>
                  <a:pt x="89" y="90"/>
                </a:lnTo>
                <a:lnTo>
                  <a:pt x="87" y="86"/>
                </a:lnTo>
                <a:lnTo>
                  <a:pt x="86" y="78"/>
                </a:lnTo>
                <a:lnTo>
                  <a:pt x="84" y="74"/>
                </a:lnTo>
                <a:lnTo>
                  <a:pt x="83" y="77"/>
                </a:lnTo>
                <a:lnTo>
                  <a:pt x="82" y="80"/>
                </a:lnTo>
                <a:lnTo>
                  <a:pt x="80" y="82"/>
                </a:lnTo>
                <a:lnTo>
                  <a:pt x="77" y="83"/>
                </a:lnTo>
                <a:lnTo>
                  <a:pt x="74" y="81"/>
                </a:lnTo>
                <a:lnTo>
                  <a:pt x="76" y="78"/>
                </a:lnTo>
                <a:lnTo>
                  <a:pt x="77" y="75"/>
                </a:lnTo>
                <a:lnTo>
                  <a:pt x="77" y="72"/>
                </a:lnTo>
                <a:lnTo>
                  <a:pt x="74" y="70"/>
                </a:lnTo>
                <a:lnTo>
                  <a:pt x="72" y="70"/>
                </a:lnTo>
                <a:lnTo>
                  <a:pt x="71" y="67"/>
                </a:lnTo>
                <a:lnTo>
                  <a:pt x="71" y="64"/>
                </a:lnTo>
                <a:lnTo>
                  <a:pt x="67" y="62"/>
                </a:lnTo>
                <a:lnTo>
                  <a:pt x="62" y="58"/>
                </a:lnTo>
                <a:lnTo>
                  <a:pt x="58" y="55"/>
                </a:lnTo>
                <a:lnTo>
                  <a:pt x="53" y="53"/>
                </a:lnTo>
                <a:lnTo>
                  <a:pt x="52" y="51"/>
                </a:lnTo>
                <a:lnTo>
                  <a:pt x="50" y="48"/>
                </a:lnTo>
                <a:lnTo>
                  <a:pt x="47" y="48"/>
                </a:lnTo>
                <a:lnTo>
                  <a:pt x="44" y="47"/>
                </a:lnTo>
                <a:lnTo>
                  <a:pt x="42" y="42"/>
                </a:lnTo>
                <a:lnTo>
                  <a:pt x="43" y="38"/>
                </a:lnTo>
                <a:lnTo>
                  <a:pt x="45" y="35"/>
                </a:lnTo>
                <a:lnTo>
                  <a:pt x="42" y="32"/>
                </a:lnTo>
                <a:lnTo>
                  <a:pt x="38" y="31"/>
                </a:lnTo>
                <a:lnTo>
                  <a:pt x="34" y="31"/>
                </a:lnTo>
                <a:lnTo>
                  <a:pt x="30" y="30"/>
                </a:lnTo>
                <a:lnTo>
                  <a:pt x="30" y="26"/>
                </a:lnTo>
                <a:lnTo>
                  <a:pt x="34" y="23"/>
                </a:lnTo>
                <a:lnTo>
                  <a:pt x="34" y="20"/>
                </a:lnTo>
                <a:lnTo>
                  <a:pt x="31" y="20"/>
                </a:lnTo>
                <a:lnTo>
                  <a:pt x="27" y="20"/>
                </a:lnTo>
                <a:lnTo>
                  <a:pt x="22" y="16"/>
                </a:lnTo>
                <a:lnTo>
                  <a:pt x="21" y="14"/>
                </a:lnTo>
                <a:lnTo>
                  <a:pt x="19" y="11"/>
                </a:lnTo>
                <a:lnTo>
                  <a:pt x="15" y="10"/>
                </a:lnTo>
                <a:lnTo>
                  <a:pt x="9" y="10"/>
                </a:lnTo>
                <a:lnTo>
                  <a:pt x="6" y="6"/>
                </a:lnTo>
                <a:lnTo>
                  <a:pt x="3" y="2"/>
                </a:lnTo>
                <a:lnTo>
                  <a:pt x="0" y="0"/>
                </a:lnTo>
              </a:path>
            </a:pathLst>
          </a:custGeom>
          <a:noFill/>
          <a:ln w="317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 wrap="none" lIns="32632" tIns="32632" rIns="32632" bIns="32632" anchor="ctr"/>
          <a:lstStyle/>
          <a:p>
            <a:pPr defTabSz="891045"/>
            <a:endParaRPr lang="en-US" sz="1700" dirty="0">
              <a:solidFill>
                <a:srgbClr val="003149"/>
              </a:solidFill>
              <a:cs typeface="Arial" panose="020B0604020202020204" pitchFamily="34" charset="0"/>
            </a:endParaRPr>
          </a:p>
        </p:txBody>
      </p:sp>
      <p:sp>
        <p:nvSpPr>
          <p:cNvPr id="178" name="Freeform 1029"/>
          <p:cNvSpPr>
            <a:spLocks noChangeAspect="1"/>
          </p:cNvSpPr>
          <p:nvPr/>
        </p:nvSpPr>
        <p:spPr bwMode="gray">
          <a:xfrm>
            <a:off x="6305339" y="4087579"/>
            <a:ext cx="27012" cy="28697"/>
          </a:xfrm>
          <a:custGeom>
            <a:avLst/>
            <a:gdLst>
              <a:gd name="T0" fmla="*/ 0 w 9044"/>
              <a:gd name="T1" fmla="*/ 0 h 9657"/>
              <a:gd name="T2" fmla="*/ 0 w 9044"/>
              <a:gd name="T3" fmla="*/ 0 h 9657"/>
              <a:gd name="T4" fmla="*/ 0 w 9044"/>
              <a:gd name="T5" fmla="*/ 0 h 9657"/>
              <a:gd name="T6" fmla="*/ 0 w 9044"/>
              <a:gd name="T7" fmla="*/ 0 h 9657"/>
              <a:gd name="T8" fmla="*/ 0 w 9044"/>
              <a:gd name="T9" fmla="*/ 0 h 9657"/>
              <a:gd name="T10" fmla="*/ 0 w 9044"/>
              <a:gd name="T11" fmla="*/ 0 h 9657"/>
              <a:gd name="T12" fmla="*/ 0 w 9044"/>
              <a:gd name="T13" fmla="*/ 0 h 9657"/>
              <a:gd name="T14" fmla="*/ 0 w 9044"/>
              <a:gd name="T15" fmla="*/ 0 h 9657"/>
              <a:gd name="T16" fmla="*/ 0 w 9044"/>
              <a:gd name="T17" fmla="*/ 0 h 9657"/>
              <a:gd name="T18" fmla="*/ 0 w 9044"/>
              <a:gd name="T19" fmla="*/ 0 h 9657"/>
              <a:gd name="T20" fmla="*/ 0 w 9044"/>
              <a:gd name="T21" fmla="*/ 0 h 9657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9044"/>
              <a:gd name="T34" fmla="*/ 0 h 9657"/>
              <a:gd name="T35" fmla="*/ 9044 w 9044"/>
              <a:gd name="T36" fmla="*/ 9657 h 9657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9044" h="9657">
                <a:moveTo>
                  <a:pt x="8721" y="0"/>
                </a:moveTo>
                <a:cubicBezTo>
                  <a:pt x="8825" y="911"/>
                  <a:pt x="8941" y="1815"/>
                  <a:pt x="9044" y="2729"/>
                </a:cubicBezTo>
                <a:lnTo>
                  <a:pt x="8087" y="3401"/>
                </a:lnTo>
                <a:lnTo>
                  <a:pt x="6807" y="4771"/>
                </a:lnTo>
                <a:lnTo>
                  <a:pt x="5856" y="4771"/>
                </a:lnTo>
                <a:lnTo>
                  <a:pt x="5856" y="6130"/>
                </a:lnTo>
                <a:lnTo>
                  <a:pt x="4890" y="7497"/>
                </a:lnTo>
                <a:lnTo>
                  <a:pt x="2978" y="8180"/>
                </a:lnTo>
                <a:lnTo>
                  <a:pt x="2346" y="8523"/>
                </a:lnTo>
                <a:lnTo>
                  <a:pt x="1389" y="8860"/>
                </a:lnTo>
                <a:lnTo>
                  <a:pt x="0" y="9657"/>
                </a:lnTo>
              </a:path>
            </a:pathLst>
          </a:custGeom>
          <a:noFill/>
          <a:ln w="317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 wrap="none" lIns="32632" tIns="32632" rIns="32632" bIns="32632" anchor="ctr"/>
          <a:lstStyle/>
          <a:p>
            <a:pPr defTabSz="891045"/>
            <a:endParaRPr lang="en-US" sz="1700" dirty="0">
              <a:solidFill>
                <a:srgbClr val="003149"/>
              </a:solidFill>
              <a:cs typeface="Arial" panose="020B0604020202020204" pitchFamily="34" charset="0"/>
            </a:endParaRPr>
          </a:p>
        </p:txBody>
      </p:sp>
      <p:sp>
        <p:nvSpPr>
          <p:cNvPr id="179" name="Freeform 1030"/>
          <p:cNvSpPr>
            <a:spLocks noChangeAspect="1"/>
          </p:cNvSpPr>
          <p:nvPr/>
        </p:nvSpPr>
        <p:spPr bwMode="gray">
          <a:xfrm>
            <a:off x="6150378" y="4116261"/>
            <a:ext cx="154962" cy="73177"/>
          </a:xfrm>
          <a:custGeom>
            <a:avLst/>
            <a:gdLst>
              <a:gd name="T0" fmla="*/ 0 w 8778"/>
              <a:gd name="T1" fmla="*/ 0 h 11131"/>
              <a:gd name="T2" fmla="*/ 0 w 8778"/>
              <a:gd name="T3" fmla="*/ 0 h 11131"/>
              <a:gd name="T4" fmla="*/ 0 w 8778"/>
              <a:gd name="T5" fmla="*/ 0 h 11131"/>
              <a:gd name="T6" fmla="*/ 0 w 8778"/>
              <a:gd name="T7" fmla="*/ 0 h 11131"/>
              <a:gd name="T8" fmla="*/ 0 w 8778"/>
              <a:gd name="T9" fmla="*/ 0 h 11131"/>
              <a:gd name="T10" fmla="*/ 0 w 8778"/>
              <a:gd name="T11" fmla="*/ 0 h 11131"/>
              <a:gd name="T12" fmla="*/ 0 w 8778"/>
              <a:gd name="T13" fmla="*/ 0 h 11131"/>
              <a:gd name="T14" fmla="*/ 0 w 8778"/>
              <a:gd name="T15" fmla="*/ 0 h 11131"/>
              <a:gd name="T16" fmla="*/ 0 w 8778"/>
              <a:gd name="T17" fmla="*/ 0 h 11131"/>
              <a:gd name="T18" fmla="*/ 0 w 8778"/>
              <a:gd name="T19" fmla="*/ 0 h 11131"/>
              <a:gd name="T20" fmla="*/ 0 w 8778"/>
              <a:gd name="T21" fmla="*/ 0 h 11131"/>
              <a:gd name="T22" fmla="*/ 0 w 8778"/>
              <a:gd name="T23" fmla="*/ 0 h 11131"/>
              <a:gd name="T24" fmla="*/ 0 w 8778"/>
              <a:gd name="T25" fmla="*/ 0 h 11131"/>
              <a:gd name="T26" fmla="*/ 0 w 8778"/>
              <a:gd name="T27" fmla="*/ 0 h 11131"/>
              <a:gd name="T28" fmla="*/ 0 w 8778"/>
              <a:gd name="T29" fmla="*/ 0 h 11131"/>
              <a:gd name="T30" fmla="*/ 0 w 8778"/>
              <a:gd name="T31" fmla="*/ 0 h 11131"/>
              <a:gd name="T32" fmla="*/ 0 w 8778"/>
              <a:gd name="T33" fmla="*/ 0 h 11131"/>
              <a:gd name="T34" fmla="*/ 0 w 8778"/>
              <a:gd name="T35" fmla="*/ 0 h 11131"/>
              <a:gd name="T36" fmla="*/ 0 w 8778"/>
              <a:gd name="T37" fmla="*/ 0 h 11131"/>
              <a:gd name="T38" fmla="*/ 0 w 8778"/>
              <a:gd name="T39" fmla="*/ 0 h 11131"/>
              <a:gd name="T40" fmla="*/ 0 w 8778"/>
              <a:gd name="T41" fmla="*/ 0 h 11131"/>
              <a:gd name="T42" fmla="*/ 0 w 8778"/>
              <a:gd name="T43" fmla="*/ 0 h 11131"/>
              <a:gd name="T44" fmla="*/ 0 w 8778"/>
              <a:gd name="T45" fmla="*/ 0 h 11131"/>
              <a:gd name="T46" fmla="*/ 0 w 8778"/>
              <a:gd name="T47" fmla="*/ 0 h 11131"/>
              <a:gd name="T48" fmla="*/ 0 w 8778"/>
              <a:gd name="T49" fmla="*/ 0 h 11131"/>
              <a:gd name="T50" fmla="*/ 0 w 8778"/>
              <a:gd name="T51" fmla="*/ 0 h 11131"/>
              <a:gd name="T52" fmla="*/ 0 w 8778"/>
              <a:gd name="T53" fmla="*/ 0 h 11131"/>
              <a:gd name="T54" fmla="*/ 0 w 8778"/>
              <a:gd name="T55" fmla="*/ 0 h 11131"/>
              <a:gd name="T56" fmla="*/ 0 w 8778"/>
              <a:gd name="T57" fmla="*/ 0 h 11131"/>
              <a:gd name="T58" fmla="*/ 0 w 8778"/>
              <a:gd name="T59" fmla="*/ 0 h 11131"/>
              <a:gd name="T60" fmla="*/ 0 w 8778"/>
              <a:gd name="T61" fmla="*/ 0 h 11131"/>
              <a:gd name="T62" fmla="*/ 0 w 8778"/>
              <a:gd name="T63" fmla="*/ 0 h 11131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w 8778"/>
              <a:gd name="T97" fmla="*/ 0 h 11131"/>
              <a:gd name="T98" fmla="*/ 8778 w 8778"/>
              <a:gd name="T99" fmla="*/ 11131 h 11131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T96" t="T97" r="T98" b="T99"/>
            <a:pathLst>
              <a:path w="8778" h="11131">
                <a:moveTo>
                  <a:pt x="8778" y="0"/>
                </a:moveTo>
                <a:lnTo>
                  <a:pt x="8709" y="1287"/>
                </a:lnTo>
                <a:cubicBezTo>
                  <a:pt x="8675" y="1392"/>
                  <a:pt x="8640" y="1495"/>
                  <a:pt x="8607" y="1600"/>
                </a:cubicBezTo>
                <a:lnTo>
                  <a:pt x="8607" y="2068"/>
                </a:lnTo>
                <a:lnTo>
                  <a:pt x="8607" y="2538"/>
                </a:lnTo>
                <a:lnTo>
                  <a:pt x="8451" y="3163"/>
                </a:lnTo>
                <a:cubicBezTo>
                  <a:pt x="8434" y="3267"/>
                  <a:pt x="8418" y="3371"/>
                  <a:pt x="8400" y="3475"/>
                </a:cubicBezTo>
                <a:cubicBezTo>
                  <a:pt x="8349" y="3631"/>
                  <a:pt x="8296" y="3787"/>
                  <a:pt x="8245" y="3944"/>
                </a:cubicBezTo>
                <a:cubicBezTo>
                  <a:pt x="8211" y="4048"/>
                  <a:pt x="8176" y="4152"/>
                  <a:pt x="8142" y="4256"/>
                </a:cubicBezTo>
                <a:cubicBezTo>
                  <a:pt x="8176" y="4464"/>
                  <a:pt x="8211" y="4672"/>
                  <a:pt x="8245" y="4880"/>
                </a:cubicBezTo>
                <a:cubicBezTo>
                  <a:pt x="8211" y="5037"/>
                  <a:pt x="8176" y="5193"/>
                  <a:pt x="8142" y="5349"/>
                </a:cubicBezTo>
                <a:lnTo>
                  <a:pt x="7988" y="5662"/>
                </a:lnTo>
                <a:cubicBezTo>
                  <a:pt x="7937" y="5819"/>
                  <a:pt x="7885" y="5976"/>
                  <a:pt x="7833" y="6132"/>
                </a:cubicBezTo>
                <a:cubicBezTo>
                  <a:pt x="7764" y="6340"/>
                  <a:pt x="7696" y="6548"/>
                  <a:pt x="7627" y="6756"/>
                </a:cubicBezTo>
                <a:lnTo>
                  <a:pt x="7473" y="7069"/>
                </a:lnTo>
                <a:lnTo>
                  <a:pt x="7266" y="7538"/>
                </a:lnTo>
                <a:lnTo>
                  <a:pt x="7112" y="7225"/>
                </a:lnTo>
                <a:lnTo>
                  <a:pt x="7112" y="8006"/>
                </a:lnTo>
                <a:lnTo>
                  <a:pt x="6751" y="8318"/>
                </a:lnTo>
                <a:lnTo>
                  <a:pt x="6494" y="8475"/>
                </a:lnTo>
                <a:lnTo>
                  <a:pt x="6390" y="8475"/>
                </a:lnTo>
                <a:cubicBezTo>
                  <a:pt x="6356" y="8631"/>
                  <a:pt x="6321" y="8787"/>
                  <a:pt x="6287" y="8944"/>
                </a:cubicBezTo>
                <a:lnTo>
                  <a:pt x="6029" y="8944"/>
                </a:lnTo>
                <a:lnTo>
                  <a:pt x="5823" y="9099"/>
                </a:lnTo>
                <a:lnTo>
                  <a:pt x="5617" y="9255"/>
                </a:lnTo>
                <a:cubicBezTo>
                  <a:pt x="5583" y="9307"/>
                  <a:pt x="5549" y="9361"/>
                  <a:pt x="5514" y="9413"/>
                </a:cubicBezTo>
                <a:cubicBezTo>
                  <a:pt x="5463" y="9517"/>
                  <a:pt x="5411" y="9621"/>
                  <a:pt x="5360" y="9725"/>
                </a:cubicBezTo>
                <a:cubicBezTo>
                  <a:pt x="5308" y="9830"/>
                  <a:pt x="5256" y="9933"/>
                  <a:pt x="5205" y="10038"/>
                </a:cubicBezTo>
                <a:cubicBezTo>
                  <a:pt x="5171" y="10090"/>
                  <a:pt x="5136" y="10142"/>
                  <a:pt x="5102" y="10194"/>
                </a:cubicBezTo>
                <a:cubicBezTo>
                  <a:pt x="5084" y="10298"/>
                  <a:pt x="5068" y="10402"/>
                  <a:pt x="5051" y="10506"/>
                </a:cubicBezTo>
                <a:lnTo>
                  <a:pt x="4895" y="10818"/>
                </a:lnTo>
                <a:lnTo>
                  <a:pt x="4793" y="10975"/>
                </a:lnTo>
                <a:lnTo>
                  <a:pt x="4638" y="11131"/>
                </a:lnTo>
                <a:lnTo>
                  <a:pt x="4484" y="11131"/>
                </a:lnTo>
                <a:cubicBezTo>
                  <a:pt x="4432" y="10975"/>
                  <a:pt x="4380" y="10818"/>
                  <a:pt x="4329" y="10662"/>
                </a:cubicBezTo>
                <a:cubicBezTo>
                  <a:pt x="4295" y="10506"/>
                  <a:pt x="4260" y="10350"/>
                  <a:pt x="4226" y="10194"/>
                </a:cubicBezTo>
                <a:cubicBezTo>
                  <a:pt x="4208" y="10090"/>
                  <a:pt x="4192" y="9986"/>
                  <a:pt x="4174" y="9882"/>
                </a:cubicBezTo>
                <a:cubicBezTo>
                  <a:pt x="4140" y="9725"/>
                  <a:pt x="4106" y="9569"/>
                  <a:pt x="4072" y="9413"/>
                </a:cubicBezTo>
                <a:lnTo>
                  <a:pt x="3865" y="9255"/>
                </a:lnTo>
                <a:lnTo>
                  <a:pt x="3659" y="8944"/>
                </a:lnTo>
                <a:lnTo>
                  <a:pt x="3505" y="8631"/>
                </a:lnTo>
                <a:lnTo>
                  <a:pt x="3350" y="8475"/>
                </a:lnTo>
                <a:lnTo>
                  <a:pt x="3143" y="8162"/>
                </a:lnTo>
                <a:lnTo>
                  <a:pt x="3143" y="7693"/>
                </a:lnTo>
                <a:cubicBezTo>
                  <a:pt x="3126" y="7433"/>
                  <a:pt x="3109" y="7172"/>
                  <a:pt x="3092" y="6913"/>
                </a:cubicBezTo>
                <a:lnTo>
                  <a:pt x="3092" y="6444"/>
                </a:lnTo>
                <a:lnTo>
                  <a:pt x="3247" y="6444"/>
                </a:lnTo>
                <a:lnTo>
                  <a:pt x="3247" y="5506"/>
                </a:lnTo>
                <a:cubicBezTo>
                  <a:pt x="3212" y="5246"/>
                  <a:pt x="3178" y="4985"/>
                  <a:pt x="3143" y="4725"/>
                </a:cubicBezTo>
                <a:lnTo>
                  <a:pt x="2886" y="4725"/>
                </a:lnTo>
                <a:cubicBezTo>
                  <a:pt x="2835" y="4569"/>
                  <a:pt x="2783" y="4413"/>
                  <a:pt x="2731" y="4256"/>
                </a:cubicBezTo>
                <a:lnTo>
                  <a:pt x="2525" y="4413"/>
                </a:lnTo>
                <a:lnTo>
                  <a:pt x="2371" y="4413"/>
                </a:lnTo>
                <a:cubicBezTo>
                  <a:pt x="2319" y="4308"/>
                  <a:pt x="2267" y="4205"/>
                  <a:pt x="2216" y="4100"/>
                </a:cubicBezTo>
                <a:lnTo>
                  <a:pt x="1906" y="3475"/>
                </a:lnTo>
                <a:lnTo>
                  <a:pt x="1906" y="3007"/>
                </a:lnTo>
                <a:cubicBezTo>
                  <a:pt x="1889" y="2694"/>
                  <a:pt x="1872" y="2382"/>
                  <a:pt x="1855" y="2068"/>
                </a:cubicBezTo>
                <a:cubicBezTo>
                  <a:pt x="1838" y="1755"/>
                  <a:pt x="1821" y="1444"/>
                  <a:pt x="1804" y="1131"/>
                </a:cubicBezTo>
                <a:lnTo>
                  <a:pt x="1392" y="1287"/>
                </a:lnTo>
                <a:lnTo>
                  <a:pt x="1030" y="1600"/>
                </a:lnTo>
                <a:lnTo>
                  <a:pt x="567" y="1756"/>
                </a:lnTo>
                <a:lnTo>
                  <a:pt x="258" y="1756"/>
                </a:lnTo>
                <a:lnTo>
                  <a:pt x="103" y="1600"/>
                </a:lnTo>
                <a:cubicBezTo>
                  <a:pt x="69" y="1548"/>
                  <a:pt x="34" y="1496"/>
                  <a:pt x="0" y="1444"/>
                </a:cubicBezTo>
              </a:path>
            </a:pathLst>
          </a:custGeom>
          <a:noFill/>
          <a:ln w="317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 wrap="none" lIns="32632" tIns="32632" rIns="32632" bIns="32632" anchor="ctr"/>
          <a:lstStyle/>
          <a:p>
            <a:pPr defTabSz="891045"/>
            <a:endParaRPr lang="en-US" sz="1700" dirty="0">
              <a:solidFill>
                <a:srgbClr val="003149"/>
              </a:solidFill>
              <a:cs typeface="Arial" panose="020B0604020202020204" pitchFamily="34" charset="0"/>
            </a:endParaRPr>
          </a:p>
        </p:txBody>
      </p:sp>
      <p:sp>
        <p:nvSpPr>
          <p:cNvPr id="180" name="Freeform 1031"/>
          <p:cNvSpPr>
            <a:spLocks noChangeAspect="1"/>
          </p:cNvSpPr>
          <p:nvPr/>
        </p:nvSpPr>
        <p:spPr bwMode="gray">
          <a:xfrm>
            <a:off x="3404368" y="2358812"/>
            <a:ext cx="115155" cy="37306"/>
          </a:xfrm>
          <a:custGeom>
            <a:avLst/>
            <a:gdLst>
              <a:gd name="T0" fmla="*/ 1358953524 w 128"/>
              <a:gd name="T1" fmla="*/ 0 h 36"/>
              <a:gd name="T2" fmla="*/ 1358953524 w 128"/>
              <a:gd name="T3" fmla="*/ 1550959385 h 36"/>
              <a:gd name="T4" fmla="*/ 1358953524 w 128"/>
              <a:gd name="T5" fmla="*/ 1550959385 h 36"/>
              <a:gd name="T6" fmla="*/ 1358953524 w 128"/>
              <a:gd name="T7" fmla="*/ 1550959385 h 36"/>
              <a:gd name="T8" fmla="*/ 1358953524 w 128"/>
              <a:gd name="T9" fmla="*/ 1550959385 h 36"/>
              <a:gd name="T10" fmla="*/ 1358953524 w 128"/>
              <a:gd name="T11" fmla="*/ 1550959385 h 36"/>
              <a:gd name="T12" fmla="*/ 1358953524 w 128"/>
              <a:gd name="T13" fmla="*/ 1550959385 h 36"/>
              <a:gd name="T14" fmla="*/ 1358953524 w 128"/>
              <a:gd name="T15" fmla="*/ 1550959385 h 36"/>
              <a:gd name="T16" fmla="*/ 1358953524 w 128"/>
              <a:gd name="T17" fmla="*/ 1550959385 h 36"/>
              <a:gd name="T18" fmla="*/ 1358953524 w 128"/>
              <a:gd name="T19" fmla="*/ 1550959385 h 36"/>
              <a:gd name="T20" fmla="*/ 1358953524 w 128"/>
              <a:gd name="T21" fmla="*/ 1550959385 h 36"/>
              <a:gd name="T22" fmla="*/ 1358953524 w 128"/>
              <a:gd name="T23" fmla="*/ 1550959385 h 36"/>
              <a:gd name="T24" fmla="*/ 1358953524 w 128"/>
              <a:gd name="T25" fmla="*/ 1550959385 h 36"/>
              <a:gd name="T26" fmla="*/ 1358953524 w 128"/>
              <a:gd name="T27" fmla="*/ 1550959385 h 36"/>
              <a:gd name="T28" fmla="*/ 1358953524 w 128"/>
              <a:gd name="T29" fmla="*/ 1550959385 h 36"/>
              <a:gd name="T30" fmla="*/ 1358953524 w 128"/>
              <a:gd name="T31" fmla="*/ 1550959385 h 36"/>
              <a:gd name="T32" fmla="*/ 1358953524 w 128"/>
              <a:gd name="T33" fmla="*/ 1550959385 h 36"/>
              <a:gd name="T34" fmla="*/ 1358953524 w 128"/>
              <a:gd name="T35" fmla="*/ 1550959385 h 36"/>
              <a:gd name="T36" fmla="*/ 0 w 128"/>
              <a:gd name="T37" fmla="*/ 1550959385 h 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w 128"/>
              <a:gd name="T58" fmla="*/ 0 h 36"/>
              <a:gd name="T59" fmla="*/ 128 w 128"/>
              <a:gd name="T60" fmla="*/ 36 h 36"/>
            </a:gdLst>
            <a:ahLst/>
            <a:cxnLst>
              <a:cxn ang="T38">
                <a:pos x="T0" y="T1"/>
              </a:cxn>
              <a:cxn ang="T39">
                <a:pos x="T2" y="T3"/>
              </a:cxn>
              <a:cxn ang="T40">
                <a:pos x="T4" y="T5"/>
              </a:cxn>
              <a:cxn ang="T41">
                <a:pos x="T6" y="T7"/>
              </a:cxn>
              <a:cxn ang="T42">
                <a:pos x="T8" y="T9"/>
              </a:cxn>
              <a:cxn ang="T43">
                <a:pos x="T10" y="T11"/>
              </a:cxn>
              <a:cxn ang="T44">
                <a:pos x="T12" y="T13"/>
              </a:cxn>
              <a:cxn ang="T45">
                <a:pos x="T14" y="T15"/>
              </a:cxn>
              <a:cxn ang="T46">
                <a:pos x="T16" y="T17"/>
              </a:cxn>
              <a:cxn ang="T47">
                <a:pos x="T18" y="T19"/>
              </a:cxn>
              <a:cxn ang="T48">
                <a:pos x="T20" y="T21"/>
              </a:cxn>
              <a:cxn ang="T49">
                <a:pos x="T22" y="T23"/>
              </a:cxn>
              <a:cxn ang="T50">
                <a:pos x="T24" y="T25"/>
              </a:cxn>
              <a:cxn ang="T51">
                <a:pos x="T26" y="T27"/>
              </a:cxn>
              <a:cxn ang="T52">
                <a:pos x="T28" y="T29"/>
              </a:cxn>
              <a:cxn ang="T53">
                <a:pos x="T30" y="T31"/>
              </a:cxn>
              <a:cxn ang="T54">
                <a:pos x="T32" y="T33"/>
              </a:cxn>
              <a:cxn ang="T55">
                <a:pos x="T34" y="T35"/>
              </a:cxn>
              <a:cxn ang="T56">
                <a:pos x="T36" y="T37"/>
              </a:cxn>
            </a:cxnLst>
            <a:rect l="T57" t="T58" r="T59" b="T60"/>
            <a:pathLst>
              <a:path w="128" h="36">
                <a:moveTo>
                  <a:pt x="125" y="0"/>
                </a:moveTo>
                <a:lnTo>
                  <a:pt x="127" y="5"/>
                </a:lnTo>
                <a:lnTo>
                  <a:pt x="128" y="12"/>
                </a:lnTo>
                <a:lnTo>
                  <a:pt x="124" y="14"/>
                </a:lnTo>
                <a:lnTo>
                  <a:pt x="115" y="18"/>
                </a:lnTo>
                <a:lnTo>
                  <a:pt x="105" y="18"/>
                </a:lnTo>
                <a:lnTo>
                  <a:pt x="102" y="20"/>
                </a:lnTo>
                <a:lnTo>
                  <a:pt x="97" y="24"/>
                </a:lnTo>
                <a:lnTo>
                  <a:pt x="89" y="20"/>
                </a:lnTo>
                <a:lnTo>
                  <a:pt x="83" y="19"/>
                </a:lnTo>
                <a:lnTo>
                  <a:pt x="84" y="25"/>
                </a:lnTo>
                <a:lnTo>
                  <a:pt x="71" y="21"/>
                </a:lnTo>
                <a:lnTo>
                  <a:pt x="62" y="19"/>
                </a:lnTo>
                <a:lnTo>
                  <a:pt x="52" y="20"/>
                </a:lnTo>
                <a:lnTo>
                  <a:pt x="46" y="25"/>
                </a:lnTo>
                <a:lnTo>
                  <a:pt x="43" y="33"/>
                </a:lnTo>
                <a:lnTo>
                  <a:pt x="25" y="35"/>
                </a:lnTo>
                <a:lnTo>
                  <a:pt x="8" y="36"/>
                </a:lnTo>
                <a:lnTo>
                  <a:pt x="0" y="34"/>
                </a:lnTo>
              </a:path>
            </a:pathLst>
          </a:custGeom>
          <a:noFill/>
          <a:ln w="317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 wrap="none" lIns="32632" tIns="32632" rIns="32632" bIns="32632" anchor="ctr"/>
          <a:lstStyle/>
          <a:p>
            <a:pPr defTabSz="891045"/>
            <a:endParaRPr lang="en-US" sz="1700" dirty="0">
              <a:solidFill>
                <a:srgbClr val="003149"/>
              </a:solidFill>
              <a:cs typeface="Arial" panose="020B0604020202020204" pitchFamily="34" charset="0"/>
            </a:endParaRPr>
          </a:p>
        </p:txBody>
      </p:sp>
      <p:sp>
        <p:nvSpPr>
          <p:cNvPr id="181" name="Freeform 939"/>
          <p:cNvSpPr>
            <a:spLocks noChangeAspect="1"/>
          </p:cNvSpPr>
          <p:nvPr/>
        </p:nvSpPr>
        <p:spPr bwMode="gray">
          <a:xfrm>
            <a:off x="2556392" y="2702958"/>
            <a:ext cx="85300" cy="130569"/>
          </a:xfrm>
          <a:custGeom>
            <a:avLst/>
            <a:gdLst>
              <a:gd name="T0" fmla="*/ 0 w 10075"/>
              <a:gd name="T1" fmla="*/ 0 h 10036"/>
              <a:gd name="T2" fmla="*/ 0 w 10075"/>
              <a:gd name="T3" fmla="*/ 0 h 10036"/>
              <a:gd name="T4" fmla="*/ 0 w 10075"/>
              <a:gd name="T5" fmla="*/ 0 h 10036"/>
              <a:gd name="T6" fmla="*/ 0 w 10075"/>
              <a:gd name="T7" fmla="*/ 0 h 10036"/>
              <a:gd name="T8" fmla="*/ 0 w 10075"/>
              <a:gd name="T9" fmla="*/ 0 h 10036"/>
              <a:gd name="T10" fmla="*/ 0 w 10075"/>
              <a:gd name="T11" fmla="*/ 0 h 10036"/>
              <a:gd name="T12" fmla="*/ 0 w 10075"/>
              <a:gd name="T13" fmla="*/ 0 h 10036"/>
              <a:gd name="T14" fmla="*/ 0 w 10075"/>
              <a:gd name="T15" fmla="*/ 0 h 10036"/>
              <a:gd name="T16" fmla="*/ 0 w 10075"/>
              <a:gd name="T17" fmla="*/ 0 h 10036"/>
              <a:gd name="T18" fmla="*/ 0 w 10075"/>
              <a:gd name="T19" fmla="*/ 0 h 10036"/>
              <a:gd name="T20" fmla="*/ 0 w 10075"/>
              <a:gd name="T21" fmla="*/ 0 h 10036"/>
              <a:gd name="T22" fmla="*/ 0 w 10075"/>
              <a:gd name="T23" fmla="*/ 0 h 10036"/>
              <a:gd name="T24" fmla="*/ 0 w 10075"/>
              <a:gd name="T25" fmla="*/ 0 h 10036"/>
              <a:gd name="T26" fmla="*/ 0 w 10075"/>
              <a:gd name="T27" fmla="*/ 0 h 10036"/>
              <a:gd name="T28" fmla="*/ 0 w 10075"/>
              <a:gd name="T29" fmla="*/ 0 h 10036"/>
              <a:gd name="T30" fmla="*/ 0 w 10075"/>
              <a:gd name="T31" fmla="*/ 0 h 10036"/>
              <a:gd name="T32" fmla="*/ 0 w 10075"/>
              <a:gd name="T33" fmla="*/ 0 h 10036"/>
              <a:gd name="T34" fmla="*/ 0 w 10075"/>
              <a:gd name="T35" fmla="*/ 0 h 10036"/>
              <a:gd name="T36" fmla="*/ 0 w 10075"/>
              <a:gd name="T37" fmla="*/ 0 h 10036"/>
              <a:gd name="T38" fmla="*/ 0 w 10075"/>
              <a:gd name="T39" fmla="*/ 0 h 10036"/>
              <a:gd name="T40" fmla="*/ 0 w 10075"/>
              <a:gd name="T41" fmla="*/ 0 h 10036"/>
              <a:gd name="T42" fmla="*/ 0 w 10075"/>
              <a:gd name="T43" fmla="*/ 0 h 10036"/>
              <a:gd name="T44" fmla="*/ 0 w 10075"/>
              <a:gd name="T45" fmla="*/ 0 h 10036"/>
              <a:gd name="T46" fmla="*/ 0 w 10075"/>
              <a:gd name="T47" fmla="*/ 0 h 100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w 10075"/>
              <a:gd name="T73" fmla="*/ 0 h 10036"/>
              <a:gd name="T74" fmla="*/ 10075 w 10075"/>
              <a:gd name="T75" fmla="*/ 10036 h 10036"/>
            </a:gdLst>
            <a:ahLst/>
            <a:cxnLst>
              <a:cxn ang="T48">
                <a:pos x="T0" y="T1"/>
              </a:cxn>
              <a:cxn ang="T49">
                <a:pos x="T2" y="T3"/>
              </a:cxn>
              <a:cxn ang="T50">
                <a:pos x="T4" y="T5"/>
              </a:cxn>
              <a:cxn ang="T51">
                <a:pos x="T6" y="T7"/>
              </a:cxn>
              <a:cxn ang="T52">
                <a:pos x="T8" y="T9"/>
              </a:cxn>
              <a:cxn ang="T53">
                <a:pos x="T10" y="T11"/>
              </a:cxn>
              <a:cxn ang="T54">
                <a:pos x="T12" y="T13"/>
              </a:cxn>
              <a:cxn ang="T55">
                <a:pos x="T14" y="T15"/>
              </a:cxn>
              <a:cxn ang="T56">
                <a:pos x="T16" y="T17"/>
              </a:cxn>
              <a:cxn ang="T57">
                <a:pos x="T18" y="T19"/>
              </a:cxn>
              <a:cxn ang="T58">
                <a:pos x="T20" y="T21"/>
              </a:cxn>
              <a:cxn ang="T59">
                <a:pos x="T22" y="T23"/>
              </a:cxn>
              <a:cxn ang="T60">
                <a:pos x="T24" y="T25"/>
              </a:cxn>
              <a:cxn ang="T61">
                <a:pos x="T26" y="T27"/>
              </a:cxn>
              <a:cxn ang="T62">
                <a:pos x="T28" y="T29"/>
              </a:cxn>
              <a:cxn ang="T63">
                <a:pos x="T30" y="T31"/>
              </a:cxn>
              <a:cxn ang="T64">
                <a:pos x="T32" y="T33"/>
              </a:cxn>
              <a:cxn ang="T65">
                <a:pos x="T34" y="T35"/>
              </a:cxn>
              <a:cxn ang="T66">
                <a:pos x="T36" y="T37"/>
              </a:cxn>
              <a:cxn ang="T67">
                <a:pos x="T38" y="T39"/>
              </a:cxn>
              <a:cxn ang="T68">
                <a:pos x="T40" y="T41"/>
              </a:cxn>
              <a:cxn ang="T69">
                <a:pos x="T42" y="T43"/>
              </a:cxn>
              <a:cxn ang="T70">
                <a:pos x="T44" y="T45"/>
              </a:cxn>
              <a:cxn ang="T71">
                <a:pos x="T46" y="T47"/>
              </a:cxn>
            </a:cxnLst>
            <a:rect l="T72" t="T73" r="T74" b="T75"/>
            <a:pathLst>
              <a:path w="10075" h="10036">
                <a:moveTo>
                  <a:pt x="10075" y="0"/>
                </a:moveTo>
                <a:lnTo>
                  <a:pt x="9423" y="640"/>
                </a:lnTo>
                <a:lnTo>
                  <a:pt x="8227" y="480"/>
                </a:lnTo>
                <a:lnTo>
                  <a:pt x="7358" y="1120"/>
                </a:lnTo>
                <a:lnTo>
                  <a:pt x="6705" y="1440"/>
                </a:lnTo>
                <a:lnTo>
                  <a:pt x="5292" y="1760"/>
                </a:lnTo>
                <a:lnTo>
                  <a:pt x="4423" y="1920"/>
                </a:lnTo>
                <a:lnTo>
                  <a:pt x="3553" y="2400"/>
                </a:lnTo>
                <a:lnTo>
                  <a:pt x="4097" y="3040"/>
                </a:lnTo>
                <a:lnTo>
                  <a:pt x="3336" y="3360"/>
                </a:lnTo>
                <a:lnTo>
                  <a:pt x="2466" y="4160"/>
                </a:lnTo>
                <a:lnTo>
                  <a:pt x="1597" y="4960"/>
                </a:lnTo>
                <a:lnTo>
                  <a:pt x="1597" y="5600"/>
                </a:lnTo>
                <a:cubicBezTo>
                  <a:pt x="1669" y="5893"/>
                  <a:pt x="1742" y="6187"/>
                  <a:pt x="1814" y="6480"/>
                </a:cubicBezTo>
                <a:cubicBezTo>
                  <a:pt x="1887" y="6720"/>
                  <a:pt x="1959" y="6960"/>
                  <a:pt x="2032" y="7200"/>
                </a:cubicBezTo>
                <a:lnTo>
                  <a:pt x="1379" y="7040"/>
                </a:lnTo>
                <a:lnTo>
                  <a:pt x="510" y="7040"/>
                </a:lnTo>
                <a:lnTo>
                  <a:pt x="75" y="7440"/>
                </a:lnTo>
                <a:cubicBezTo>
                  <a:pt x="147" y="7600"/>
                  <a:pt x="220" y="7760"/>
                  <a:pt x="292" y="7920"/>
                </a:cubicBezTo>
                <a:lnTo>
                  <a:pt x="727" y="8320"/>
                </a:lnTo>
                <a:lnTo>
                  <a:pt x="945" y="8640"/>
                </a:lnTo>
                <a:cubicBezTo>
                  <a:pt x="872" y="8800"/>
                  <a:pt x="800" y="8960"/>
                  <a:pt x="727" y="9120"/>
                </a:cubicBezTo>
                <a:lnTo>
                  <a:pt x="1053" y="9440"/>
                </a:lnTo>
                <a:cubicBezTo>
                  <a:pt x="799" y="9627"/>
                  <a:pt x="254" y="9849"/>
                  <a:pt x="0" y="10036"/>
                </a:cubicBezTo>
              </a:path>
            </a:pathLst>
          </a:custGeom>
          <a:solidFill>
            <a:srgbClr val="70B0DF"/>
          </a:solidFill>
          <a:ln w="317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 wrap="none" lIns="32632" tIns="32632" rIns="32632" bIns="32632" anchor="ctr"/>
          <a:lstStyle/>
          <a:p>
            <a:pPr defTabSz="891045"/>
            <a:endParaRPr lang="en-US" sz="1700" dirty="0">
              <a:solidFill>
                <a:srgbClr val="003149"/>
              </a:solidFill>
              <a:cs typeface="Arial" panose="020B0604020202020204" pitchFamily="34" charset="0"/>
            </a:endParaRPr>
          </a:p>
        </p:txBody>
      </p:sp>
      <p:sp>
        <p:nvSpPr>
          <p:cNvPr id="182" name="Freeform 941"/>
          <p:cNvSpPr>
            <a:spLocks noChangeAspect="1"/>
          </p:cNvSpPr>
          <p:nvPr/>
        </p:nvSpPr>
        <p:spPr bwMode="gray">
          <a:xfrm>
            <a:off x="2465432" y="2809102"/>
            <a:ext cx="90987" cy="37306"/>
          </a:xfrm>
          <a:custGeom>
            <a:avLst/>
            <a:gdLst>
              <a:gd name="T0" fmla="*/ 1374388788 w 100"/>
              <a:gd name="T1" fmla="*/ 1509041581 h 37"/>
              <a:gd name="T2" fmla="*/ 1374388788 w 100"/>
              <a:gd name="T3" fmla="*/ 1509041581 h 37"/>
              <a:gd name="T4" fmla="*/ 1374388788 w 100"/>
              <a:gd name="T5" fmla="*/ 1509041581 h 37"/>
              <a:gd name="T6" fmla="*/ 1374388788 w 100"/>
              <a:gd name="T7" fmla="*/ 1509041581 h 37"/>
              <a:gd name="T8" fmla="*/ 1374388788 w 100"/>
              <a:gd name="T9" fmla="*/ 1509041581 h 37"/>
              <a:gd name="T10" fmla="*/ 1374388788 w 100"/>
              <a:gd name="T11" fmla="*/ 1509041581 h 37"/>
              <a:gd name="T12" fmla="*/ 1374388788 w 100"/>
              <a:gd name="T13" fmla="*/ 1509041581 h 37"/>
              <a:gd name="T14" fmla="*/ 1374388788 w 100"/>
              <a:gd name="T15" fmla="*/ 1509041581 h 37"/>
              <a:gd name="T16" fmla="*/ 1374388788 w 100"/>
              <a:gd name="T17" fmla="*/ 1509041581 h 37"/>
              <a:gd name="T18" fmla="*/ 1374388788 w 100"/>
              <a:gd name="T19" fmla="*/ 1509041581 h 37"/>
              <a:gd name="T20" fmla="*/ 1374388788 w 100"/>
              <a:gd name="T21" fmla="*/ 0 h 37"/>
              <a:gd name="T22" fmla="*/ 1374388788 w 100"/>
              <a:gd name="T23" fmla="*/ 0 h 37"/>
              <a:gd name="T24" fmla="*/ 1374388788 w 100"/>
              <a:gd name="T25" fmla="*/ 1509041581 h 37"/>
              <a:gd name="T26" fmla="*/ 1374388788 w 100"/>
              <a:gd name="T27" fmla="*/ 1509041581 h 37"/>
              <a:gd name="T28" fmla="*/ 1374388788 w 100"/>
              <a:gd name="T29" fmla="*/ 1509041581 h 37"/>
              <a:gd name="T30" fmla="*/ 1374388788 w 100"/>
              <a:gd name="T31" fmla="*/ 1509041581 h 37"/>
              <a:gd name="T32" fmla="*/ 0 w 100"/>
              <a:gd name="T33" fmla="*/ 1509041581 h 37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w 100"/>
              <a:gd name="T52" fmla="*/ 0 h 37"/>
              <a:gd name="T53" fmla="*/ 100 w 100"/>
              <a:gd name="T54" fmla="*/ 37 h 37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T51" t="T52" r="T53" b="T54"/>
            <a:pathLst>
              <a:path w="100" h="37">
                <a:moveTo>
                  <a:pt x="100" y="24"/>
                </a:moveTo>
                <a:lnTo>
                  <a:pt x="100" y="32"/>
                </a:lnTo>
                <a:lnTo>
                  <a:pt x="98" y="37"/>
                </a:lnTo>
                <a:lnTo>
                  <a:pt x="88" y="37"/>
                </a:lnTo>
                <a:lnTo>
                  <a:pt x="84" y="31"/>
                </a:lnTo>
                <a:lnTo>
                  <a:pt x="76" y="32"/>
                </a:lnTo>
                <a:lnTo>
                  <a:pt x="66" y="28"/>
                </a:lnTo>
                <a:lnTo>
                  <a:pt x="60" y="25"/>
                </a:lnTo>
                <a:lnTo>
                  <a:pt x="54" y="17"/>
                </a:lnTo>
                <a:lnTo>
                  <a:pt x="59" y="11"/>
                </a:lnTo>
                <a:lnTo>
                  <a:pt x="55" y="0"/>
                </a:lnTo>
                <a:lnTo>
                  <a:pt x="42" y="0"/>
                </a:lnTo>
                <a:lnTo>
                  <a:pt x="34" y="6"/>
                </a:lnTo>
                <a:lnTo>
                  <a:pt x="32" y="13"/>
                </a:lnTo>
                <a:lnTo>
                  <a:pt x="23" y="22"/>
                </a:lnTo>
                <a:lnTo>
                  <a:pt x="9" y="31"/>
                </a:lnTo>
                <a:lnTo>
                  <a:pt x="0" y="37"/>
                </a:lnTo>
              </a:path>
            </a:pathLst>
          </a:custGeom>
          <a:solidFill>
            <a:srgbClr val="70B0DF"/>
          </a:solidFill>
          <a:ln w="317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 wrap="none" lIns="32632" tIns="32632" rIns="32632" bIns="32632" anchor="ctr"/>
          <a:lstStyle/>
          <a:p>
            <a:pPr defTabSz="891045"/>
            <a:endParaRPr lang="en-US" sz="1700" dirty="0">
              <a:solidFill>
                <a:srgbClr val="003149"/>
              </a:solidFill>
              <a:cs typeface="Arial" panose="020B0604020202020204" pitchFamily="34" charset="0"/>
            </a:endParaRPr>
          </a:p>
        </p:txBody>
      </p:sp>
      <p:sp>
        <p:nvSpPr>
          <p:cNvPr id="183" name="Freeform 919"/>
          <p:cNvSpPr>
            <a:spLocks noChangeAspect="1"/>
          </p:cNvSpPr>
          <p:nvPr/>
        </p:nvSpPr>
        <p:spPr bwMode="gray">
          <a:xfrm>
            <a:off x="2446923" y="2958332"/>
            <a:ext cx="81035" cy="305620"/>
          </a:xfrm>
          <a:custGeom>
            <a:avLst/>
            <a:gdLst>
              <a:gd name="T0" fmla="*/ 0 w 10050"/>
              <a:gd name="T1" fmla="*/ 0 h 10077"/>
              <a:gd name="T2" fmla="*/ 0 w 10050"/>
              <a:gd name="T3" fmla="*/ 0 h 10077"/>
              <a:gd name="T4" fmla="*/ 0 w 10050"/>
              <a:gd name="T5" fmla="*/ 0 h 10077"/>
              <a:gd name="T6" fmla="*/ 0 w 10050"/>
              <a:gd name="T7" fmla="*/ 0 h 10077"/>
              <a:gd name="T8" fmla="*/ 0 w 10050"/>
              <a:gd name="T9" fmla="*/ 0 h 10077"/>
              <a:gd name="T10" fmla="*/ 0 w 10050"/>
              <a:gd name="T11" fmla="*/ 0 h 10077"/>
              <a:gd name="T12" fmla="*/ 0 w 10050"/>
              <a:gd name="T13" fmla="*/ 0 h 10077"/>
              <a:gd name="T14" fmla="*/ 0 w 10050"/>
              <a:gd name="T15" fmla="*/ 0 h 10077"/>
              <a:gd name="T16" fmla="*/ 0 w 10050"/>
              <a:gd name="T17" fmla="*/ 0 h 10077"/>
              <a:gd name="T18" fmla="*/ 0 w 10050"/>
              <a:gd name="T19" fmla="*/ 0 h 10077"/>
              <a:gd name="T20" fmla="*/ 0 w 10050"/>
              <a:gd name="T21" fmla="*/ 0 h 10077"/>
              <a:gd name="T22" fmla="*/ 0 w 10050"/>
              <a:gd name="T23" fmla="*/ 0 h 10077"/>
              <a:gd name="T24" fmla="*/ 0 w 10050"/>
              <a:gd name="T25" fmla="*/ 0 h 10077"/>
              <a:gd name="T26" fmla="*/ 0 w 10050"/>
              <a:gd name="T27" fmla="*/ 0 h 10077"/>
              <a:gd name="T28" fmla="*/ 0 w 10050"/>
              <a:gd name="T29" fmla="*/ 0 h 10077"/>
              <a:gd name="T30" fmla="*/ 0 w 10050"/>
              <a:gd name="T31" fmla="*/ 0 h 10077"/>
              <a:gd name="T32" fmla="*/ 0 w 10050"/>
              <a:gd name="T33" fmla="*/ 0 h 10077"/>
              <a:gd name="T34" fmla="*/ 0 w 10050"/>
              <a:gd name="T35" fmla="*/ 0 h 10077"/>
              <a:gd name="T36" fmla="*/ 0 w 10050"/>
              <a:gd name="T37" fmla="*/ 0 h 10077"/>
              <a:gd name="T38" fmla="*/ 0 w 10050"/>
              <a:gd name="T39" fmla="*/ 0 h 10077"/>
              <a:gd name="T40" fmla="*/ 0 w 10050"/>
              <a:gd name="T41" fmla="*/ 0 h 10077"/>
              <a:gd name="T42" fmla="*/ 0 w 10050"/>
              <a:gd name="T43" fmla="*/ 0 h 10077"/>
              <a:gd name="T44" fmla="*/ 0 w 10050"/>
              <a:gd name="T45" fmla="*/ 0 h 10077"/>
              <a:gd name="T46" fmla="*/ 0 w 10050"/>
              <a:gd name="T47" fmla="*/ 0 h 10077"/>
              <a:gd name="T48" fmla="*/ 0 w 10050"/>
              <a:gd name="T49" fmla="*/ 0 h 10077"/>
              <a:gd name="T50" fmla="*/ 0 w 10050"/>
              <a:gd name="T51" fmla="*/ 0 h 10077"/>
              <a:gd name="T52" fmla="*/ 0 w 10050"/>
              <a:gd name="T53" fmla="*/ 0 h 10077"/>
              <a:gd name="T54" fmla="*/ 0 w 10050"/>
              <a:gd name="T55" fmla="*/ 0 h 10077"/>
              <a:gd name="T56" fmla="*/ 0 w 10050"/>
              <a:gd name="T57" fmla="*/ 0 h 10077"/>
              <a:gd name="T58" fmla="*/ 0 w 10050"/>
              <a:gd name="T59" fmla="*/ 0 h 10077"/>
              <a:gd name="T60" fmla="*/ 0 w 10050"/>
              <a:gd name="T61" fmla="*/ 0 h 10077"/>
              <a:gd name="T62" fmla="*/ 0 w 10050"/>
              <a:gd name="T63" fmla="*/ 0 h 10077"/>
              <a:gd name="T64" fmla="*/ 0 w 10050"/>
              <a:gd name="T65" fmla="*/ 0 h 10077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w 10050"/>
              <a:gd name="T100" fmla="*/ 0 h 10077"/>
              <a:gd name="T101" fmla="*/ 10050 w 10050"/>
              <a:gd name="T102" fmla="*/ 10077 h 10077"/>
            </a:gdLst>
            <a:ahLst/>
            <a:cxnLst>
              <a:cxn ang="T66">
                <a:pos x="T0" y="T1"/>
              </a:cxn>
              <a:cxn ang="T67">
                <a:pos x="T2" y="T3"/>
              </a:cxn>
              <a:cxn ang="T68">
                <a:pos x="T4" y="T5"/>
              </a:cxn>
              <a:cxn ang="T69">
                <a:pos x="T6" y="T7"/>
              </a:cxn>
              <a:cxn ang="T70">
                <a:pos x="T8" y="T9"/>
              </a:cxn>
              <a:cxn ang="T71">
                <a:pos x="T10" y="T11"/>
              </a:cxn>
              <a:cxn ang="T72">
                <a:pos x="T12" y="T13"/>
              </a:cxn>
              <a:cxn ang="T73">
                <a:pos x="T14" y="T15"/>
              </a:cxn>
              <a:cxn ang="T74">
                <a:pos x="T16" y="T17"/>
              </a:cxn>
              <a:cxn ang="T75">
                <a:pos x="T18" y="T19"/>
              </a:cxn>
              <a:cxn ang="T76">
                <a:pos x="T20" y="T21"/>
              </a:cxn>
              <a:cxn ang="T77">
                <a:pos x="T22" y="T23"/>
              </a:cxn>
              <a:cxn ang="T78">
                <a:pos x="T24" y="T25"/>
              </a:cxn>
              <a:cxn ang="T79">
                <a:pos x="T26" y="T27"/>
              </a:cxn>
              <a:cxn ang="T80">
                <a:pos x="T28" y="T29"/>
              </a:cxn>
              <a:cxn ang="T81">
                <a:pos x="T30" y="T31"/>
              </a:cxn>
              <a:cxn ang="T82">
                <a:pos x="T32" y="T33"/>
              </a:cxn>
              <a:cxn ang="T83">
                <a:pos x="T34" y="T35"/>
              </a:cxn>
              <a:cxn ang="T84">
                <a:pos x="T36" y="T37"/>
              </a:cxn>
              <a:cxn ang="T85">
                <a:pos x="T38" y="T39"/>
              </a:cxn>
              <a:cxn ang="T86">
                <a:pos x="T40" y="T41"/>
              </a:cxn>
              <a:cxn ang="T87">
                <a:pos x="T42" y="T43"/>
              </a:cxn>
              <a:cxn ang="T88">
                <a:pos x="T44" y="T45"/>
              </a:cxn>
              <a:cxn ang="T89">
                <a:pos x="T46" y="T47"/>
              </a:cxn>
              <a:cxn ang="T90">
                <a:pos x="T48" y="T49"/>
              </a:cxn>
              <a:cxn ang="T91">
                <a:pos x="T50" y="T51"/>
              </a:cxn>
              <a:cxn ang="T92">
                <a:pos x="T52" y="T53"/>
              </a:cxn>
              <a:cxn ang="T93">
                <a:pos x="T54" y="T55"/>
              </a:cxn>
              <a:cxn ang="T94">
                <a:pos x="T56" y="T57"/>
              </a:cxn>
              <a:cxn ang="T95">
                <a:pos x="T58" y="T59"/>
              </a:cxn>
              <a:cxn ang="T96">
                <a:pos x="T60" y="T61"/>
              </a:cxn>
              <a:cxn ang="T97">
                <a:pos x="T62" y="T63"/>
              </a:cxn>
              <a:cxn ang="T98">
                <a:pos x="T64" y="T65"/>
              </a:cxn>
            </a:cxnLst>
            <a:rect l="T99" t="T100" r="T101" b="T102"/>
            <a:pathLst>
              <a:path w="10050" h="10077">
                <a:moveTo>
                  <a:pt x="6819" y="0"/>
                </a:moveTo>
                <a:cubicBezTo>
                  <a:pt x="6857" y="46"/>
                  <a:pt x="6894" y="93"/>
                  <a:pt x="6932" y="139"/>
                </a:cubicBezTo>
                <a:lnTo>
                  <a:pt x="6591" y="242"/>
                </a:lnTo>
                <a:lnTo>
                  <a:pt x="6136" y="277"/>
                </a:lnTo>
                <a:lnTo>
                  <a:pt x="5455" y="139"/>
                </a:lnTo>
                <a:lnTo>
                  <a:pt x="4886" y="208"/>
                </a:lnTo>
                <a:lnTo>
                  <a:pt x="4659" y="380"/>
                </a:lnTo>
                <a:lnTo>
                  <a:pt x="4432" y="485"/>
                </a:lnTo>
                <a:lnTo>
                  <a:pt x="3636" y="519"/>
                </a:lnTo>
                <a:lnTo>
                  <a:pt x="3296" y="623"/>
                </a:lnTo>
                <a:lnTo>
                  <a:pt x="2727" y="657"/>
                </a:lnTo>
                <a:lnTo>
                  <a:pt x="2500" y="899"/>
                </a:lnTo>
                <a:lnTo>
                  <a:pt x="3181" y="1004"/>
                </a:lnTo>
                <a:lnTo>
                  <a:pt x="3409" y="1212"/>
                </a:lnTo>
                <a:lnTo>
                  <a:pt x="3636" y="1418"/>
                </a:lnTo>
                <a:lnTo>
                  <a:pt x="4546" y="1730"/>
                </a:lnTo>
                <a:lnTo>
                  <a:pt x="5001" y="1869"/>
                </a:lnTo>
                <a:lnTo>
                  <a:pt x="4659" y="2076"/>
                </a:lnTo>
                <a:lnTo>
                  <a:pt x="4090" y="2214"/>
                </a:lnTo>
                <a:lnTo>
                  <a:pt x="4432" y="2353"/>
                </a:lnTo>
                <a:lnTo>
                  <a:pt x="4886" y="2422"/>
                </a:lnTo>
                <a:lnTo>
                  <a:pt x="4659" y="2561"/>
                </a:lnTo>
                <a:lnTo>
                  <a:pt x="3864" y="2526"/>
                </a:lnTo>
                <a:lnTo>
                  <a:pt x="3181" y="2768"/>
                </a:lnTo>
                <a:lnTo>
                  <a:pt x="2727" y="3080"/>
                </a:lnTo>
                <a:lnTo>
                  <a:pt x="1818" y="3149"/>
                </a:lnTo>
                <a:lnTo>
                  <a:pt x="909" y="3322"/>
                </a:lnTo>
                <a:lnTo>
                  <a:pt x="0" y="3391"/>
                </a:lnTo>
                <a:lnTo>
                  <a:pt x="0" y="3772"/>
                </a:lnTo>
                <a:lnTo>
                  <a:pt x="454" y="3945"/>
                </a:lnTo>
                <a:lnTo>
                  <a:pt x="1363" y="3980"/>
                </a:lnTo>
                <a:lnTo>
                  <a:pt x="2272" y="3980"/>
                </a:lnTo>
                <a:lnTo>
                  <a:pt x="2500" y="4117"/>
                </a:lnTo>
                <a:lnTo>
                  <a:pt x="2500" y="4325"/>
                </a:lnTo>
                <a:lnTo>
                  <a:pt x="2272" y="4533"/>
                </a:lnTo>
                <a:lnTo>
                  <a:pt x="2727" y="4637"/>
                </a:lnTo>
                <a:lnTo>
                  <a:pt x="2955" y="4879"/>
                </a:lnTo>
                <a:lnTo>
                  <a:pt x="2727" y="5156"/>
                </a:lnTo>
                <a:lnTo>
                  <a:pt x="4432" y="5156"/>
                </a:lnTo>
                <a:lnTo>
                  <a:pt x="5455" y="5571"/>
                </a:lnTo>
                <a:lnTo>
                  <a:pt x="6591" y="5640"/>
                </a:lnTo>
                <a:lnTo>
                  <a:pt x="7045" y="5779"/>
                </a:lnTo>
                <a:lnTo>
                  <a:pt x="6705" y="5883"/>
                </a:lnTo>
                <a:lnTo>
                  <a:pt x="6477" y="6056"/>
                </a:lnTo>
                <a:lnTo>
                  <a:pt x="6136" y="6263"/>
                </a:lnTo>
                <a:lnTo>
                  <a:pt x="5682" y="6402"/>
                </a:lnTo>
                <a:cubicBezTo>
                  <a:pt x="5720" y="6448"/>
                  <a:pt x="5757" y="6495"/>
                  <a:pt x="5795" y="6541"/>
                </a:cubicBezTo>
                <a:lnTo>
                  <a:pt x="6136" y="6678"/>
                </a:lnTo>
                <a:lnTo>
                  <a:pt x="6023" y="6747"/>
                </a:lnTo>
                <a:lnTo>
                  <a:pt x="5682" y="6921"/>
                </a:lnTo>
                <a:lnTo>
                  <a:pt x="5341" y="7163"/>
                </a:lnTo>
                <a:lnTo>
                  <a:pt x="5910" y="7335"/>
                </a:lnTo>
                <a:lnTo>
                  <a:pt x="7045" y="7335"/>
                </a:lnTo>
                <a:lnTo>
                  <a:pt x="7045" y="7578"/>
                </a:lnTo>
                <a:lnTo>
                  <a:pt x="7386" y="7890"/>
                </a:lnTo>
                <a:lnTo>
                  <a:pt x="7841" y="8305"/>
                </a:lnTo>
                <a:cubicBezTo>
                  <a:pt x="7879" y="8374"/>
                  <a:pt x="7916" y="8444"/>
                  <a:pt x="7954" y="8513"/>
                </a:cubicBezTo>
                <a:lnTo>
                  <a:pt x="8637" y="8582"/>
                </a:lnTo>
                <a:lnTo>
                  <a:pt x="8637" y="8720"/>
                </a:lnTo>
                <a:lnTo>
                  <a:pt x="8409" y="8893"/>
                </a:lnTo>
                <a:lnTo>
                  <a:pt x="8523" y="9066"/>
                </a:lnTo>
                <a:lnTo>
                  <a:pt x="9091" y="8997"/>
                </a:lnTo>
                <a:lnTo>
                  <a:pt x="9091" y="9204"/>
                </a:lnTo>
                <a:lnTo>
                  <a:pt x="8637" y="9412"/>
                </a:lnTo>
                <a:cubicBezTo>
                  <a:pt x="8675" y="9516"/>
                  <a:pt x="8712" y="9619"/>
                  <a:pt x="8750" y="9723"/>
                </a:cubicBezTo>
                <a:lnTo>
                  <a:pt x="9091" y="9931"/>
                </a:lnTo>
                <a:lnTo>
                  <a:pt x="10050" y="10077"/>
                </a:lnTo>
              </a:path>
            </a:pathLst>
          </a:custGeom>
          <a:solidFill>
            <a:srgbClr val="70B0DF"/>
          </a:solidFill>
          <a:ln w="317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 wrap="none" lIns="32632" tIns="32632" rIns="32632" bIns="32632" anchor="ctr"/>
          <a:lstStyle/>
          <a:p>
            <a:pPr defTabSz="891045"/>
            <a:endParaRPr lang="en-US" sz="1700" dirty="0">
              <a:solidFill>
                <a:srgbClr val="003149"/>
              </a:solidFill>
              <a:cs typeface="Arial" panose="020B0604020202020204" pitchFamily="34" charset="0"/>
            </a:endParaRPr>
          </a:p>
        </p:txBody>
      </p:sp>
      <p:sp>
        <p:nvSpPr>
          <p:cNvPr id="184" name="Freeform 1641"/>
          <p:cNvSpPr>
            <a:spLocks/>
          </p:cNvSpPr>
          <p:nvPr/>
        </p:nvSpPr>
        <p:spPr bwMode="gray">
          <a:xfrm>
            <a:off x="3267228" y="3731716"/>
            <a:ext cx="0" cy="12913"/>
          </a:xfrm>
          <a:custGeom>
            <a:avLst/>
            <a:gdLst>
              <a:gd name="T0" fmla="*/ 0 w 4762"/>
              <a:gd name="T1" fmla="*/ 0 h 69056"/>
              <a:gd name="T2" fmla="*/ 0 w 4762"/>
              <a:gd name="T3" fmla="*/ 0 h 69056"/>
              <a:gd name="T4" fmla="*/ 0 60000 65536"/>
              <a:gd name="T5" fmla="*/ 0 60000 65536"/>
              <a:gd name="T6" fmla="*/ 0 w 4762"/>
              <a:gd name="T7" fmla="*/ 0 h 69056"/>
              <a:gd name="T8" fmla="*/ 0 w 4762"/>
              <a:gd name="T9" fmla="*/ 69056 h 69056"/>
            </a:gdLst>
            <a:ahLst/>
            <a:cxnLst>
              <a:cxn ang="T4">
                <a:pos x="T0" y="T1"/>
              </a:cxn>
              <a:cxn ang="T5">
                <a:pos x="T2" y="T3"/>
              </a:cxn>
            </a:cxnLst>
            <a:rect l="T6" t="T7" r="T8" b="T9"/>
            <a:pathLst>
              <a:path w="4762" h="69056">
                <a:moveTo>
                  <a:pt x="0" y="0"/>
                </a:moveTo>
                <a:lnTo>
                  <a:pt x="4762" y="69056"/>
                </a:lnTo>
              </a:path>
            </a:pathLst>
          </a:custGeom>
          <a:noFill/>
          <a:ln w="9525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sm" len="sm"/>
          </a:ln>
        </p:spPr>
        <p:txBody>
          <a:bodyPr wrap="none" lIns="32632" tIns="32632" rIns="32632" bIns="32632"/>
          <a:lstStyle/>
          <a:p>
            <a:pPr defTabSz="891045"/>
            <a:endParaRPr lang="en-US" sz="1700" dirty="0">
              <a:solidFill>
                <a:srgbClr val="003149"/>
              </a:solidFill>
              <a:cs typeface="Arial" panose="020B0604020202020204" pitchFamily="34" charset="0"/>
            </a:endParaRPr>
          </a:p>
        </p:txBody>
      </p:sp>
      <p:sp>
        <p:nvSpPr>
          <p:cNvPr id="185" name="Freeform 339"/>
          <p:cNvSpPr>
            <a:spLocks noChangeAspect="1"/>
          </p:cNvSpPr>
          <p:nvPr/>
        </p:nvSpPr>
        <p:spPr bwMode="gray">
          <a:xfrm>
            <a:off x="2276324" y="3664282"/>
            <a:ext cx="22746" cy="68872"/>
          </a:xfrm>
          <a:custGeom>
            <a:avLst/>
            <a:gdLst>
              <a:gd name="T0" fmla="*/ 0 w 9586"/>
              <a:gd name="T1" fmla="*/ 0 h 8290"/>
              <a:gd name="T2" fmla="*/ 0 w 9586"/>
              <a:gd name="T3" fmla="*/ 0 h 8290"/>
              <a:gd name="T4" fmla="*/ 0 w 9586"/>
              <a:gd name="T5" fmla="*/ 0 h 8290"/>
              <a:gd name="T6" fmla="*/ 0 w 9586"/>
              <a:gd name="T7" fmla="*/ 0 h 8290"/>
              <a:gd name="T8" fmla="*/ 0 w 9586"/>
              <a:gd name="T9" fmla="*/ 0 h 8290"/>
              <a:gd name="T10" fmla="*/ 0 w 9586"/>
              <a:gd name="T11" fmla="*/ 0 h 8290"/>
              <a:gd name="T12" fmla="*/ 0 w 9586"/>
              <a:gd name="T13" fmla="*/ 0 h 8290"/>
              <a:gd name="T14" fmla="*/ 0 w 9586"/>
              <a:gd name="T15" fmla="*/ 0 h 8290"/>
              <a:gd name="T16" fmla="*/ 0 w 9586"/>
              <a:gd name="T17" fmla="*/ 0 h 8290"/>
              <a:gd name="T18" fmla="*/ 0 w 9586"/>
              <a:gd name="T19" fmla="*/ 0 h 8290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w 9586"/>
              <a:gd name="T31" fmla="*/ 0 h 8290"/>
              <a:gd name="T32" fmla="*/ 9586 w 9586"/>
              <a:gd name="T33" fmla="*/ 8290 h 8290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T30" t="T31" r="T32" b="T33"/>
            <a:pathLst>
              <a:path w="9586" h="8290">
                <a:moveTo>
                  <a:pt x="428" y="0"/>
                </a:moveTo>
                <a:cubicBezTo>
                  <a:pt x="579" y="441"/>
                  <a:pt x="728" y="912"/>
                  <a:pt x="823" y="1376"/>
                </a:cubicBezTo>
                <a:cubicBezTo>
                  <a:pt x="1056" y="1712"/>
                  <a:pt x="1275" y="2059"/>
                  <a:pt x="1465" y="2417"/>
                </a:cubicBezTo>
                <a:cubicBezTo>
                  <a:pt x="1845" y="2899"/>
                  <a:pt x="2297" y="3389"/>
                  <a:pt x="2675" y="3884"/>
                </a:cubicBezTo>
                <a:cubicBezTo>
                  <a:pt x="3040" y="4282"/>
                  <a:pt x="3314" y="4691"/>
                  <a:pt x="3640" y="5117"/>
                </a:cubicBezTo>
                <a:cubicBezTo>
                  <a:pt x="3335" y="5381"/>
                  <a:pt x="3040" y="5627"/>
                  <a:pt x="2675" y="5877"/>
                </a:cubicBezTo>
                <a:lnTo>
                  <a:pt x="1218" y="6167"/>
                </a:lnTo>
                <a:lnTo>
                  <a:pt x="0" y="6362"/>
                </a:lnTo>
                <a:lnTo>
                  <a:pt x="3292" y="7628"/>
                </a:lnTo>
                <a:lnTo>
                  <a:pt x="9586" y="8290"/>
                </a:lnTo>
              </a:path>
            </a:pathLst>
          </a:custGeom>
          <a:noFill/>
          <a:ln w="317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 wrap="none" lIns="32632" tIns="32632" rIns="32632" bIns="32632" anchor="ctr"/>
          <a:lstStyle/>
          <a:p>
            <a:pPr defTabSz="891045"/>
            <a:endParaRPr lang="en-US" sz="1700" dirty="0">
              <a:solidFill>
                <a:srgbClr val="003149"/>
              </a:solidFill>
              <a:cs typeface="Arial" panose="020B0604020202020204" pitchFamily="34" charset="0"/>
            </a:endParaRPr>
          </a:p>
        </p:txBody>
      </p:sp>
      <p:sp>
        <p:nvSpPr>
          <p:cNvPr id="186" name="Freeform 852"/>
          <p:cNvSpPr>
            <a:spLocks noChangeAspect="1"/>
          </p:cNvSpPr>
          <p:nvPr/>
        </p:nvSpPr>
        <p:spPr bwMode="gray">
          <a:xfrm>
            <a:off x="2685764" y="3479170"/>
            <a:ext cx="79614" cy="41611"/>
          </a:xfrm>
          <a:custGeom>
            <a:avLst/>
            <a:gdLst>
              <a:gd name="T0" fmla="*/ 0 w 8911"/>
              <a:gd name="T1" fmla="*/ 0 h 9428"/>
              <a:gd name="T2" fmla="*/ 0 w 8911"/>
              <a:gd name="T3" fmla="*/ 0 h 9428"/>
              <a:gd name="T4" fmla="*/ 0 w 8911"/>
              <a:gd name="T5" fmla="*/ 0 h 9428"/>
              <a:gd name="T6" fmla="*/ 0 w 8911"/>
              <a:gd name="T7" fmla="*/ 0 h 9428"/>
              <a:gd name="T8" fmla="*/ 0 w 8911"/>
              <a:gd name="T9" fmla="*/ 0 h 9428"/>
              <a:gd name="T10" fmla="*/ 0 w 8911"/>
              <a:gd name="T11" fmla="*/ 0 h 9428"/>
              <a:gd name="T12" fmla="*/ 0 w 8911"/>
              <a:gd name="T13" fmla="*/ 0 h 9428"/>
              <a:gd name="T14" fmla="*/ 0 w 8911"/>
              <a:gd name="T15" fmla="*/ 0 h 9428"/>
              <a:gd name="T16" fmla="*/ 0 w 8911"/>
              <a:gd name="T17" fmla="*/ 0 h 9428"/>
              <a:gd name="T18" fmla="*/ 0 w 8911"/>
              <a:gd name="T19" fmla="*/ 0 h 9428"/>
              <a:gd name="T20" fmla="*/ 0 w 8911"/>
              <a:gd name="T21" fmla="*/ 0 h 9428"/>
              <a:gd name="T22" fmla="*/ 0 w 8911"/>
              <a:gd name="T23" fmla="*/ 0 h 9428"/>
              <a:gd name="T24" fmla="*/ 0 w 8911"/>
              <a:gd name="T25" fmla="*/ 0 h 9428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w 8911"/>
              <a:gd name="T40" fmla="*/ 0 h 9428"/>
              <a:gd name="T41" fmla="*/ 8911 w 8911"/>
              <a:gd name="T42" fmla="*/ 9428 h 9428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T39" t="T40" r="T41" b="T42"/>
            <a:pathLst>
              <a:path w="8911" h="9428">
                <a:moveTo>
                  <a:pt x="0" y="9428"/>
                </a:moveTo>
                <a:lnTo>
                  <a:pt x="426" y="9300"/>
                </a:lnTo>
                <a:lnTo>
                  <a:pt x="1740" y="9071"/>
                </a:lnTo>
                <a:lnTo>
                  <a:pt x="2546" y="9071"/>
                </a:lnTo>
                <a:lnTo>
                  <a:pt x="3150" y="7445"/>
                </a:lnTo>
                <a:cubicBezTo>
                  <a:pt x="3186" y="6908"/>
                  <a:pt x="3219" y="6357"/>
                  <a:pt x="3255" y="5812"/>
                </a:cubicBezTo>
                <a:cubicBezTo>
                  <a:pt x="3286" y="5268"/>
                  <a:pt x="3320" y="4725"/>
                  <a:pt x="3354" y="4178"/>
                </a:cubicBezTo>
                <a:cubicBezTo>
                  <a:pt x="3489" y="3712"/>
                  <a:pt x="3625" y="3249"/>
                  <a:pt x="3759" y="2783"/>
                </a:cubicBezTo>
                <a:lnTo>
                  <a:pt x="4666" y="1853"/>
                </a:lnTo>
                <a:lnTo>
                  <a:pt x="5679" y="231"/>
                </a:lnTo>
                <a:lnTo>
                  <a:pt x="7092" y="0"/>
                </a:lnTo>
                <a:lnTo>
                  <a:pt x="8103" y="231"/>
                </a:lnTo>
                <a:lnTo>
                  <a:pt x="8911" y="0"/>
                </a:lnTo>
              </a:path>
            </a:pathLst>
          </a:custGeom>
          <a:noFill/>
          <a:ln w="3175" cap="flat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wrap="none" lIns="32632" tIns="32632" rIns="32632" bIns="32632" anchor="ctr"/>
          <a:lstStyle/>
          <a:p>
            <a:pPr defTabSz="891045"/>
            <a:endParaRPr lang="en-US" sz="1700" dirty="0">
              <a:solidFill>
                <a:srgbClr val="003149"/>
              </a:solidFill>
              <a:cs typeface="Arial" panose="020B0604020202020204" pitchFamily="34" charset="0"/>
            </a:endParaRPr>
          </a:p>
        </p:txBody>
      </p:sp>
      <p:sp>
        <p:nvSpPr>
          <p:cNvPr id="187" name="Freeform 852"/>
          <p:cNvSpPr>
            <a:spLocks noChangeAspect="1"/>
          </p:cNvSpPr>
          <p:nvPr/>
        </p:nvSpPr>
        <p:spPr bwMode="gray">
          <a:xfrm>
            <a:off x="2640287" y="3520795"/>
            <a:ext cx="45494" cy="205182"/>
          </a:xfrm>
          <a:custGeom>
            <a:avLst/>
            <a:gdLst>
              <a:gd name="T0" fmla="*/ 0 w 9205"/>
              <a:gd name="T1" fmla="*/ 0 h 9972"/>
              <a:gd name="T2" fmla="*/ 0 w 9205"/>
              <a:gd name="T3" fmla="*/ 0 h 9972"/>
              <a:gd name="T4" fmla="*/ 0 w 9205"/>
              <a:gd name="T5" fmla="*/ 0 h 9972"/>
              <a:gd name="T6" fmla="*/ 0 w 9205"/>
              <a:gd name="T7" fmla="*/ 0 h 9972"/>
              <a:gd name="T8" fmla="*/ 0 w 9205"/>
              <a:gd name="T9" fmla="*/ 0 h 9972"/>
              <a:gd name="T10" fmla="*/ 0 w 9205"/>
              <a:gd name="T11" fmla="*/ 0 h 9972"/>
              <a:gd name="T12" fmla="*/ 0 w 9205"/>
              <a:gd name="T13" fmla="*/ 0 h 9972"/>
              <a:gd name="T14" fmla="*/ 0 w 9205"/>
              <a:gd name="T15" fmla="*/ 0 h 9972"/>
              <a:gd name="T16" fmla="*/ 0 w 9205"/>
              <a:gd name="T17" fmla="*/ 0 h 9972"/>
              <a:gd name="T18" fmla="*/ 0 w 9205"/>
              <a:gd name="T19" fmla="*/ 0 h 9972"/>
              <a:gd name="T20" fmla="*/ 0 w 9205"/>
              <a:gd name="T21" fmla="*/ 0 h 9972"/>
              <a:gd name="T22" fmla="*/ 0 w 9205"/>
              <a:gd name="T23" fmla="*/ 0 h 9972"/>
              <a:gd name="T24" fmla="*/ 0 w 9205"/>
              <a:gd name="T25" fmla="*/ 0 h 9972"/>
              <a:gd name="T26" fmla="*/ 0 w 9205"/>
              <a:gd name="T27" fmla="*/ 0 h 9972"/>
              <a:gd name="T28" fmla="*/ 0 w 9205"/>
              <a:gd name="T29" fmla="*/ 0 h 9972"/>
              <a:gd name="T30" fmla="*/ 0 w 9205"/>
              <a:gd name="T31" fmla="*/ 0 h 9972"/>
              <a:gd name="T32" fmla="*/ 0 w 9205"/>
              <a:gd name="T33" fmla="*/ 0 h 9972"/>
              <a:gd name="T34" fmla="*/ 0 w 9205"/>
              <a:gd name="T35" fmla="*/ 0 h 9972"/>
              <a:gd name="T36" fmla="*/ 0 w 9205"/>
              <a:gd name="T37" fmla="*/ 0 h 9972"/>
              <a:gd name="T38" fmla="*/ 0 w 9205"/>
              <a:gd name="T39" fmla="*/ 0 h 9972"/>
              <a:gd name="T40" fmla="*/ 0 w 9205"/>
              <a:gd name="T41" fmla="*/ 0 h 9972"/>
              <a:gd name="T42" fmla="*/ 0 w 9205"/>
              <a:gd name="T43" fmla="*/ 0 h 9972"/>
              <a:gd name="T44" fmla="*/ 0 w 9205"/>
              <a:gd name="T45" fmla="*/ 0 h 9972"/>
              <a:gd name="T46" fmla="*/ 0 w 9205"/>
              <a:gd name="T47" fmla="*/ 0 h 9972"/>
              <a:gd name="T48" fmla="*/ 0 w 9205"/>
              <a:gd name="T49" fmla="*/ 0 h 9972"/>
              <a:gd name="T50" fmla="*/ 0 w 9205"/>
              <a:gd name="T51" fmla="*/ 0 h 9972"/>
              <a:gd name="T52" fmla="*/ 0 w 9205"/>
              <a:gd name="T53" fmla="*/ 0 h 9972"/>
              <a:gd name="T54" fmla="*/ 0 w 9205"/>
              <a:gd name="T55" fmla="*/ 0 h 9972"/>
              <a:gd name="T56" fmla="*/ 0 w 9205"/>
              <a:gd name="T57" fmla="*/ 0 h 9972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w 9205"/>
              <a:gd name="T88" fmla="*/ 0 h 9972"/>
              <a:gd name="T89" fmla="*/ 9205 w 9205"/>
              <a:gd name="T90" fmla="*/ 9972 h 9972"/>
            </a:gdLst>
            <a:ahLst/>
            <a:cxnLst>
              <a:cxn ang="T58">
                <a:pos x="T0" y="T1"/>
              </a:cxn>
              <a:cxn ang="T59">
                <a:pos x="T2" y="T3"/>
              </a:cxn>
              <a:cxn ang="T60">
                <a:pos x="T4" y="T5"/>
              </a:cxn>
              <a:cxn ang="T61">
                <a:pos x="T6" y="T7"/>
              </a:cxn>
              <a:cxn ang="T62">
                <a:pos x="T8" y="T9"/>
              </a:cxn>
              <a:cxn ang="T63">
                <a:pos x="T10" y="T11"/>
              </a:cxn>
              <a:cxn ang="T64">
                <a:pos x="T12" y="T13"/>
              </a:cxn>
              <a:cxn ang="T65">
                <a:pos x="T14" y="T15"/>
              </a:cxn>
              <a:cxn ang="T66">
                <a:pos x="T16" y="T17"/>
              </a:cxn>
              <a:cxn ang="T67">
                <a:pos x="T18" y="T19"/>
              </a:cxn>
              <a:cxn ang="T68">
                <a:pos x="T20" y="T21"/>
              </a:cxn>
              <a:cxn ang="T69">
                <a:pos x="T22" y="T23"/>
              </a:cxn>
              <a:cxn ang="T70">
                <a:pos x="T24" y="T25"/>
              </a:cxn>
              <a:cxn ang="T71">
                <a:pos x="T26" y="T27"/>
              </a:cxn>
              <a:cxn ang="T72">
                <a:pos x="T28" y="T29"/>
              </a:cxn>
              <a:cxn ang="T73">
                <a:pos x="T30" y="T31"/>
              </a:cxn>
              <a:cxn ang="T74">
                <a:pos x="T32" y="T33"/>
              </a:cxn>
              <a:cxn ang="T75">
                <a:pos x="T34" y="T35"/>
              </a:cxn>
              <a:cxn ang="T76">
                <a:pos x="T36" y="T37"/>
              </a:cxn>
              <a:cxn ang="T77">
                <a:pos x="T38" y="T39"/>
              </a:cxn>
              <a:cxn ang="T78">
                <a:pos x="T40" y="T41"/>
              </a:cxn>
              <a:cxn ang="T79">
                <a:pos x="T42" y="T43"/>
              </a:cxn>
              <a:cxn ang="T80">
                <a:pos x="T44" y="T45"/>
              </a:cxn>
              <a:cxn ang="T81">
                <a:pos x="T46" y="T47"/>
              </a:cxn>
              <a:cxn ang="T82">
                <a:pos x="T48" y="T49"/>
              </a:cxn>
              <a:cxn ang="T83">
                <a:pos x="T50" y="T51"/>
              </a:cxn>
              <a:cxn ang="T84">
                <a:pos x="T52" y="T53"/>
              </a:cxn>
              <a:cxn ang="T85">
                <a:pos x="T54" y="T55"/>
              </a:cxn>
              <a:cxn ang="T86">
                <a:pos x="T56" y="T57"/>
              </a:cxn>
            </a:cxnLst>
            <a:rect l="T87" t="T88" r="T89" b="T90"/>
            <a:pathLst>
              <a:path w="9205" h="9972">
                <a:moveTo>
                  <a:pt x="1884" y="9972"/>
                </a:moveTo>
                <a:lnTo>
                  <a:pt x="756" y="9062"/>
                </a:lnTo>
                <a:lnTo>
                  <a:pt x="0" y="8557"/>
                </a:lnTo>
                <a:cubicBezTo>
                  <a:pt x="60" y="8458"/>
                  <a:pt x="126" y="8354"/>
                  <a:pt x="192" y="8254"/>
                </a:cubicBezTo>
                <a:lnTo>
                  <a:pt x="1698" y="8254"/>
                </a:lnTo>
                <a:lnTo>
                  <a:pt x="2262" y="8509"/>
                </a:lnTo>
                <a:lnTo>
                  <a:pt x="3585" y="8912"/>
                </a:lnTo>
                <a:lnTo>
                  <a:pt x="4906" y="8811"/>
                </a:lnTo>
                <a:lnTo>
                  <a:pt x="5851" y="7649"/>
                </a:lnTo>
                <a:lnTo>
                  <a:pt x="6985" y="6284"/>
                </a:lnTo>
                <a:lnTo>
                  <a:pt x="7738" y="5630"/>
                </a:lnTo>
                <a:cubicBezTo>
                  <a:pt x="7863" y="5511"/>
                  <a:pt x="7990" y="5393"/>
                  <a:pt x="8114" y="5276"/>
                </a:cubicBezTo>
                <a:lnTo>
                  <a:pt x="8114" y="4870"/>
                </a:lnTo>
                <a:lnTo>
                  <a:pt x="6985" y="4415"/>
                </a:lnTo>
                <a:lnTo>
                  <a:pt x="5851" y="4112"/>
                </a:lnTo>
                <a:lnTo>
                  <a:pt x="4343" y="3809"/>
                </a:lnTo>
                <a:lnTo>
                  <a:pt x="3585" y="3659"/>
                </a:lnTo>
                <a:lnTo>
                  <a:pt x="2454" y="3758"/>
                </a:lnTo>
                <a:lnTo>
                  <a:pt x="2075" y="3555"/>
                </a:lnTo>
                <a:cubicBezTo>
                  <a:pt x="2202" y="3457"/>
                  <a:pt x="2327" y="3356"/>
                  <a:pt x="2454" y="3254"/>
                </a:cubicBezTo>
                <a:lnTo>
                  <a:pt x="3959" y="2800"/>
                </a:lnTo>
                <a:lnTo>
                  <a:pt x="5285" y="2497"/>
                </a:lnTo>
                <a:lnTo>
                  <a:pt x="6415" y="2192"/>
                </a:lnTo>
                <a:cubicBezTo>
                  <a:pt x="6352" y="2007"/>
                  <a:pt x="6288" y="1823"/>
                  <a:pt x="6227" y="1635"/>
                </a:cubicBezTo>
                <a:lnTo>
                  <a:pt x="4906" y="1183"/>
                </a:lnTo>
                <a:lnTo>
                  <a:pt x="4154" y="779"/>
                </a:lnTo>
                <a:lnTo>
                  <a:pt x="4906" y="477"/>
                </a:lnTo>
                <a:lnTo>
                  <a:pt x="7172" y="123"/>
                </a:lnTo>
                <a:lnTo>
                  <a:pt x="9205" y="0"/>
                </a:lnTo>
              </a:path>
            </a:pathLst>
          </a:custGeom>
          <a:noFill/>
          <a:ln w="317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 wrap="none" lIns="32632" tIns="32632" rIns="32632" bIns="32632" anchor="ctr"/>
          <a:lstStyle/>
          <a:p>
            <a:pPr defTabSz="891045"/>
            <a:endParaRPr lang="en-US" sz="1700" dirty="0">
              <a:solidFill>
                <a:srgbClr val="003149"/>
              </a:solidFill>
              <a:cs typeface="Arial" panose="020B0604020202020204" pitchFamily="34" charset="0"/>
            </a:endParaRPr>
          </a:p>
        </p:txBody>
      </p:sp>
      <p:sp>
        <p:nvSpPr>
          <p:cNvPr id="188" name="Freeform 340"/>
          <p:cNvSpPr>
            <a:spLocks noChangeAspect="1"/>
          </p:cNvSpPr>
          <p:nvPr/>
        </p:nvSpPr>
        <p:spPr bwMode="gray">
          <a:xfrm>
            <a:off x="2317554" y="3779051"/>
            <a:ext cx="98095" cy="165006"/>
          </a:xfrm>
          <a:custGeom>
            <a:avLst/>
            <a:gdLst>
              <a:gd name="T0" fmla="*/ 0 w 10000"/>
              <a:gd name="T1" fmla="*/ 0 h 10000"/>
              <a:gd name="T2" fmla="*/ 0 w 10000"/>
              <a:gd name="T3" fmla="*/ 0 h 10000"/>
              <a:gd name="T4" fmla="*/ 0 w 10000"/>
              <a:gd name="T5" fmla="*/ 0 h 10000"/>
              <a:gd name="T6" fmla="*/ 0 w 10000"/>
              <a:gd name="T7" fmla="*/ 0 h 10000"/>
              <a:gd name="T8" fmla="*/ 0 w 10000"/>
              <a:gd name="T9" fmla="*/ 0 h 10000"/>
              <a:gd name="T10" fmla="*/ 0 w 10000"/>
              <a:gd name="T11" fmla="*/ 0 h 10000"/>
              <a:gd name="T12" fmla="*/ 0 w 10000"/>
              <a:gd name="T13" fmla="*/ 0 h 10000"/>
              <a:gd name="T14" fmla="*/ 0 w 10000"/>
              <a:gd name="T15" fmla="*/ 0 h 10000"/>
              <a:gd name="T16" fmla="*/ 0 w 10000"/>
              <a:gd name="T17" fmla="*/ 0 h 10000"/>
              <a:gd name="T18" fmla="*/ 0 w 10000"/>
              <a:gd name="T19" fmla="*/ 0 h 10000"/>
              <a:gd name="T20" fmla="*/ 0 w 10000"/>
              <a:gd name="T21" fmla="*/ 0 h 10000"/>
              <a:gd name="T22" fmla="*/ 0 w 10000"/>
              <a:gd name="T23" fmla="*/ 0 h 10000"/>
              <a:gd name="T24" fmla="*/ 0 w 10000"/>
              <a:gd name="T25" fmla="*/ 0 h 10000"/>
              <a:gd name="T26" fmla="*/ 0 w 10000"/>
              <a:gd name="T27" fmla="*/ 0 h 10000"/>
              <a:gd name="T28" fmla="*/ 0 w 10000"/>
              <a:gd name="T29" fmla="*/ 0 h 10000"/>
              <a:gd name="T30" fmla="*/ 0 w 10000"/>
              <a:gd name="T31" fmla="*/ 0 h 10000"/>
              <a:gd name="T32" fmla="*/ 0 w 10000"/>
              <a:gd name="T33" fmla="*/ 0 h 10000"/>
              <a:gd name="T34" fmla="*/ 0 w 10000"/>
              <a:gd name="T35" fmla="*/ 0 h 10000"/>
              <a:gd name="T36" fmla="*/ 0 w 10000"/>
              <a:gd name="T37" fmla="*/ 0 h 10000"/>
              <a:gd name="T38" fmla="*/ 0 w 10000"/>
              <a:gd name="T39" fmla="*/ 0 h 10000"/>
              <a:gd name="T40" fmla="*/ 0 w 10000"/>
              <a:gd name="T41" fmla="*/ 0 h 10000"/>
              <a:gd name="T42" fmla="*/ 0 w 10000"/>
              <a:gd name="T43" fmla="*/ 0 h 10000"/>
              <a:gd name="T44" fmla="*/ 0 w 10000"/>
              <a:gd name="T45" fmla="*/ 0 h 10000"/>
              <a:gd name="T46" fmla="*/ 0 w 10000"/>
              <a:gd name="T47" fmla="*/ 0 h 10000"/>
              <a:gd name="T48" fmla="*/ 0 w 10000"/>
              <a:gd name="T49" fmla="*/ 0 h 10000"/>
              <a:gd name="T50" fmla="*/ 0 w 10000"/>
              <a:gd name="T51" fmla="*/ 0 h 10000"/>
              <a:gd name="T52" fmla="*/ 0 w 10000"/>
              <a:gd name="T53" fmla="*/ 0 h 10000"/>
              <a:gd name="T54" fmla="*/ 0 w 10000"/>
              <a:gd name="T55" fmla="*/ 0 h 10000"/>
              <a:gd name="T56" fmla="*/ 0 w 10000"/>
              <a:gd name="T57" fmla="*/ 0 h 10000"/>
              <a:gd name="T58" fmla="*/ 0 w 10000"/>
              <a:gd name="T59" fmla="*/ 0 h 10000"/>
              <a:gd name="T60" fmla="*/ 0 w 10000"/>
              <a:gd name="T61" fmla="*/ 0 h 10000"/>
              <a:gd name="T62" fmla="*/ 0 w 10000"/>
              <a:gd name="T63" fmla="*/ 0 h 10000"/>
              <a:gd name="T64" fmla="*/ 0 w 10000"/>
              <a:gd name="T65" fmla="*/ 0 h 10000"/>
              <a:gd name="T66" fmla="*/ 0 w 10000"/>
              <a:gd name="T67" fmla="*/ 0 h 10000"/>
              <a:gd name="T68" fmla="*/ 0 w 10000"/>
              <a:gd name="T69" fmla="*/ 0 h 10000"/>
              <a:gd name="T70" fmla="*/ 0 w 10000"/>
              <a:gd name="T71" fmla="*/ 0 h 10000"/>
              <a:gd name="T72" fmla="*/ 0 w 10000"/>
              <a:gd name="T73" fmla="*/ 0 h 10000"/>
              <a:gd name="T74" fmla="*/ 0 w 10000"/>
              <a:gd name="T75" fmla="*/ 0 h 10000"/>
              <a:gd name="T76" fmla="*/ 0 w 10000"/>
              <a:gd name="T77" fmla="*/ 0 h 10000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w 10000"/>
              <a:gd name="T118" fmla="*/ 0 h 10000"/>
              <a:gd name="T119" fmla="*/ 10000 w 10000"/>
              <a:gd name="T120" fmla="*/ 10000 h 10000"/>
            </a:gdLst>
            <a:ahLst/>
            <a:cxnLst>
              <a:cxn ang="T78">
                <a:pos x="T0" y="T1"/>
              </a:cxn>
              <a:cxn ang="T79">
                <a:pos x="T2" y="T3"/>
              </a:cxn>
              <a:cxn ang="T80">
                <a:pos x="T4" y="T5"/>
              </a:cxn>
              <a:cxn ang="T81">
                <a:pos x="T6" y="T7"/>
              </a:cxn>
              <a:cxn ang="T82">
                <a:pos x="T8" y="T9"/>
              </a:cxn>
              <a:cxn ang="T83">
                <a:pos x="T10" y="T11"/>
              </a:cxn>
              <a:cxn ang="T84">
                <a:pos x="T12" y="T13"/>
              </a:cxn>
              <a:cxn ang="T85">
                <a:pos x="T14" y="T15"/>
              </a:cxn>
              <a:cxn ang="T86">
                <a:pos x="T16" y="T17"/>
              </a:cxn>
              <a:cxn ang="T87">
                <a:pos x="T18" y="T19"/>
              </a:cxn>
              <a:cxn ang="T88">
                <a:pos x="T20" y="T21"/>
              </a:cxn>
              <a:cxn ang="T89">
                <a:pos x="T22" y="T23"/>
              </a:cxn>
              <a:cxn ang="T90">
                <a:pos x="T24" y="T25"/>
              </a:cxn>
              <a:cxn ang="T91">
                <a:pos x="T26" y="T27"/>
              </a:cxn>
              <a:cxn ang="T92">
                <a:pos x="T28" y="T29"/>
              </a:cxn>
              <a:cxn ang="T93">
                <a:pos x="T30" y="T31"/>
              </a:cxn>
              <a:cxn ang="T94">
                <a:pos x="T32" y="T33"/>
              </a:cxn>
              <a:cxn ang="T95">
                <a:pos x="T34" y="T35"/>
              </a:cxn>
              <a:cxn ang="T96">
                <a:pos x="T36" y="T37"/>
              </a:cxn>
              <a:cxn ang="T97">
                <a:pos x="T38" y="T39"/>
              </a:cxn>
              <a:cxn ang="T98">
                <a:pos x="T40" y="T41"/>
              </a:cxn>
              <a:cxn ang="T99">
                <a:pos x="T42" y="T43"/>
              </a:cxn>
              <a:cxn ang="T100">
                <a:pos x="T44" y="T45"/>
              </a:cxn>
              <a:cxn ang="T101">
                <a:pos x="T46" y="T47"/>
              </a:cxn>
              <a:cxn ang="T102">
                <a:pos x="T48" y="T49"/>
              </a:cxn>
              <a:cxn ang="T103">
                <a:pos x="T50" y="T51"/>
              </a:cxn>
              <a:cxn ang="T104">
                <a:pos x="T52" y="T53"/>
              </a:cxn>
              <a:cxn ang="T105">
                <a:pos x="T54" y="T55"/>
              </a:cxn>
              <a:cxn ang="T106">
                <a:pos x="T56" y="T57"/>
              </a:cxn>
              <a:cxn ang="T107">
                <a:pos x="T58" y="T59"/>
              </a:cxn>
              <a:cxn ang="T108">
                <a:pos x="T60" y="T61"/>
              </a:cxn>
              <a:cxn ang="T109">
                <a:pos x="T62" y="T63"/>
              </a:cxn>
              <a:cxn ang="T110">
                <a:pos x="T64" y="T65"/>
              </a:cxn>
              <a:cxn ang="T111">
                <a:pos x="T66" y="T67"/>
              </a:cxn>
              <a:cxn ang="T112">
                <a:pos x="T68" y="T69"/>
              </a:cxn>
              <a:cxn ang="T113">
                <a:pos x="T70" y="T71"/>
              </a:cxn>
              <a:cxn ang="T114">
                <a:pos x="T72" y="T73"/>
              </a:cxn>
              <a:cxn ang="T115">
                <a:pos x="T74" y="T75"/>
              </a:cxn>
              <a:cxn ang="T116">
                <a:pos x="T76" y="T77"/>
              </a:cxn>
            </a:cxnLst>
            <a:rect l="T117" t="T118" r="T119" b="T120"/>
            <a:pathLst>
              <a:path w="10000" h="10000">
                <a:moveTo>
                  <a:pt x="1371" y="0"/>
                </a:moveTo>
                <a:cubicBezTo>
                  <a:pt x="1378" y="150"/>
                  <a:pt x="1267" y="103"/>
                  <a:pt x="1402" y="225"/>
                </a:cubicBezTo>
                <a:cubicBezTo>
                  <a:pt x="1676" y="387"/>
                  <a:pt x="1931" y="554"/>
                  <a:pt x="2193" y="721"/>
                </a:cubicBezTo>
                <a:cubicBezTo>
                  <a:pt x="2337" y="870"/>
                  <a:pt x="2455" y="1021"/>
                  <a:pt x="2565" y="1166"/>
                </a:cubicBezTo>
                <a:cubicBezTo>
                  <a:pt x="2527" y="1227"/>
                  <a:pt x="2501" y="1291"/>
                  <a:pt x="2455" y="1350"/>
                </a:cubicBezTo>
                <a:lnTo>
                  <a:pt x="1910" y="1373"/>
                </a:lnTo>
                <a:cubicBezTo>
                  <a:pt x="1819" y="1439"/>
                  <a:pt x="1730" y="1497"/>
                  <a:pt x="1628" y="1569"/>
                </a:cubicBezTo>
                <a:cubicBezTo>
                  <a:pt x="1545" y="1619"/>
                  <a:pt x="1485" y="1676"/>
                  <a:pt x="1402" y="1730"/>
                </a:cubicBezTo>
                <a:lnTo>
                  <a:pt x="655" y="1757"/>
                </a:lnTo>
                <a:lnTo>
                  <a:pt x="171" y="1757"/>
                </a:lnTo>
                <a:cubicBezTo>
                  <a:pt x="121" y="1833"/>
                  <a:pt x="59" y="1913"/>
                  <a:pt x="0" y="1981"/>
                </a:cubicBezTo>
                <a:cubicBezTo>
                  <a:pt x="107" y="2082"/>
                  <a:pt x="199" y="2188"/>
                  <a:pt x="286" y="2303"/>
                </a:cubicBezTo>
                <a:cubicBezTo>
                  <a:pt x="434" y="2512"/>
                  <a:pt x="528" y="2723"/>
                  <a:pt x="671" y="2936"/>
                </a:cubicBezTo>
                <a:cubicBezTo>
                  <a:pt x="867" y="3105"/>
                  <a:pt x="1041" y="3283"/>
                  <a:pt x="1225" y="3461"/>
                </a:cubicBezTo>
                <a:cubicBezTo>
                  <a:pt x="1303" y="3544"/>
                  <a:pt x="1402" y="3622"/>
                  <a:pt x="1505" y="3713"/>
                </a:cubicBezTo>
                <a:cubicBezTo>
                  <a:pt x="1616" y="3818"/>
                  <a:pt x="1724" y="3917"/>
                  <a:pt x="1819" y="4030"/>
                </a:cubicBezTo>
                <a:cubicBezTo>
                  <a:pt x="1867" y="4102"/>
                  <a:pt x="1915" y="4178"/>
                  <a:pt x="1973" y="4259"/>
                </a:cubicBezTo>
                <a:cubicBezTo>
                  <a:pt x="1886" y="4407"/>
                  <a:pt x="1804" y="4556"/>
                  <a:pt x="1731" y="4700"/>
                </a:cubicBezTo>
                <a:lnTo>
                  <a:pt x="1731" y="5103"/>
                </a:lnTo>
                <a:lnTo>
                  <a:pt x="2275" y="5218"/>
                </a:lnTo>
                <a:cubicBezTo>
                  <a:pt x="2405" y="5293"/>
                  <a:pt x="2532" y="5349"/>
                  <a:pt x="2679" y="5412"/>
                </a:cubicBezTo>
                <a:cubicBezTo>
                  <a:pt x="2696" y="5541"/>
                  <a:pt x="2708" y="5664"/>
                  <a:pt x="2738" y="5794"/>
                </a:cubicBezTo>
                <a:cubicBezTo>
                  <a:pt x="2672" y="5938"/>
                  <a:pt x="2558" y="6080"/>
                  <a:pt x="2491" y="6235"/>
                </a:cubicBezTo>
                <a:cubicBezTo>
                  <a:pt x="2427" y="6338"/>
                  <a:pt x="2358" y="6452"/>
                  <a:pt x="2308" y="6548"/>
                </a:cubicBezTo>
                <a:cubicBezTo>
                  <a:pt x="2337" y="6672"/>
                  <a:pt x="2358" y="6786"/>
                  <a:pt x="2391" y="6900"/>
                </a:cubicBezTo>
                <a:cubicBezTo>
                  <a:pt x="2485" y="6953"/>
                  <a:pt x="2584" y="7004"/>
                  <a:pt x="2679" y="7056"/>
                </a:cubicBezTo>
                <a:cubicBezTo>
                  <a:pt x="2653" y="7196"/>
                  <a:pt x="2608" y="7337"/>
                  <a:pt x="2565" y="7477"/>
                </a:cubicBezTo>
                <a:lnTo>
                  <a:pt x="1973" y="7853"/>
                </a:lnTo>
                <a:cubicBezTo>
                  <a:pt x="2021" y="8086"/>
                  <a:pt x="2052" y="8322"/>
                  <a:pt x="2079" y="8549"/>
                </a:cubicBezTo>
                <a:cubicBezTo>
                  <a:pt x="2168" y="8731"/>
                  <a:pt x="2301" y="8925"/>
                  <a:pt x="2391" y="9115"/>
                </a:cubicBezTo>
                <a:lnTo>
                  <a:pt x="3412" y="9494"/>
                </a:lnTo>
                <a:cubicBezTo>
                  <a:pt x="3477" y="9604"/>
                  <a:pt x="3537" y="9707"/>
                  <a:pt x="3607" y="9814"/>
                </a:cubicBezTo>
                <a:cubicBezTo>
                  <a:pt x="3789" y="9861"/>
                  <a:pt x="3945" y="9911"/>
                  <a:pt x="4107" y="9972"/>
                </a:cubicBezTo>
                <a:lnTo>
                  <a:pt x="5025" y="9647"/>
                </a:lnTo>
                <a:lnTo>
                  <a:pt x="6278" y="9453"/>
                </a:lnTo>
                <a:lnTo>
                  <a:pt x="7602" y="9680"/>
                </a:lnTo>
                <a:lnTo>
                  <a:pt x="8674" y="9889"/>
                </a:lnTo>
                <a:lnTo>
                  <a:pt x="9546" y="10000"/>
                </a:lnTo>
                <a:cubicBezTo>
                  <a:pt x="9701" y="9950"/>
                  <a:pt x="9848" y="9881"/>
                  <a:pt x="10000" y="9833"/>
                </a:cubicBezTo>
              </a:path>
            </a:pathLst>
          </a:custGeom>
          <a:noFill/>
          <a:ln w="317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 wrap="none" lIns="32632" tIns="32632" rIns="32632" bIns="32632" anchor="ctr"/>
          <a:lstStyle/>
          <a:p>
            <a:pPr defTabSz="891045"/>
            <a:endParaRPr lang="en-US" sz="1700" dirty="0">
              <a:solidFill>
                <a:srgbClr val="003149"/>
              </a:solidFill>
              <a:cs typeface="Arial" panose="020B0604020202020204" pitchFamily="34" charset="0"/>
            </a:endParaRPr>
          </a:p>
        </p:txBody>
      </p:sp>
      <p:sp>
        <p:nvSpPr>
          <p:cNvPr id="189" name="Freeform 340"/>
          <p:cNvSpPr>
            <a:spLocks noChangeAspect="1"/>
          </p:cNvSpPr>
          <p:nvPr/>
        </p:nvSpPr>
        <p:spPr bwMode="gray">
          <a:xfrm>
            <a:off x="2326106" y="3753225"/>
            <a:ext cx="5687" cy="25827"/>
          </a:xfrm>
          <a:custGeom>
            <a:avLst/>
            <a:gdLst>
              <a:gd name="T0" fmla="*/ 0 w 5648"/>
              <a:gd name="T1" fmla="*/ 0 h 9818"/>
              <a:gd name="T2" fmla="*/ 0 w 5648"/>
              <a:gd name="T3" fmla="*/ 0 h 9818"/>
              <a:gd name="T4" fmla="*/ 0 w 5648"/>
              <a:gd name="T5" fmla="*/ 0 h 9818"/>
              <a:gd name="T6" fmla="*/ 0 w 5648"/>
              <a:gd name="T7" fmla="*/ 0 h 9818"/>
              <a:gd name="T8" fmla="*/ 0 60000 65536"/>
              <a:gd name="T9" fmla="*/ 0 60000 65536"/>
              <a:gd name="T10" fmla="*/ 0 60000 65536"/>
              <a:gd name="T11" fmla="*/ 0 60000 65536"/>
              <a:gd name="T12" fmla="*/ 0 w 5648"/>
              <a:gd name="T13" fmla="*/ 0 h 9818"/>
              <a:gd name="T14" fmla="*/ 5648 w 5648"/>
              <a:gd name="T15" fmla="*/ 9818 h 9818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5648" h="9818">
                <a:moveTo>
                  <a:pt x="0" y="0"/>
                </a:moveTo>
                <a:cubicBezTo>
                  <a:pt x="557" y="849"/>
                  <a:pt x="1195" y="1586"/>
                  <a:pt x="2055" y="2405"/>
                </a:cubicBezTo>
                <a:cubicBezTo>
                  <a:pt x="3040" y="3421"/>
                  <a:pt x="4276" y="4371"/>
                  <a:pt x="5296" y="5359"/>
                </a:cubicBezTo>
                <a:cubicBezTo>
                  <a:pt x="5898" y="6570"/>
                  <a:pt x="5520" y="8839"/>
                  <a:pt x="5635" y="9818"/>
                </a:cubicBezTo>
              </a:path>
            </a:pathLst>
          </a:custGeom>
          <a:noFill/>
          <a:ln w="3175">
            <a:solidFill>
              <a:srgbClr val="FFFFFF"/>
            </a:solidFill>
            <a:round/>
            <a:headEnd/>
            <a:tailEnd/>
          </a:ln>
        </p:spPr>
        <p:txBody>
          <a:bodyPr wrap="none" lIns="32632" tIns="32632" rIns="32632" bIns="32632" anchor="ctr"/>
          <a:lstStyle/>
          <a:p>
            <a:pPr defTabSz="891045"/>
            <a:endParaRPr lang="en-US" sz="1700" dirty="0">
              <a:solidFill>
                <a:srgbClr val="003149"/>
              </a:solidFill>
              <a:cs typeface="Arial" panose="020B0604020202020204" pitchFamily="34" charset="0"/>
            </a:endParaRPr>
          </a:p>
        </p:txBody>
      </p:sp>
      <p:sp>
        <p:nvSpPr>
          <p:cNvPr id="190" name="Freeform 391"/>
          <p:cNvSpPr>
            <a:spLocks noChangeAspect="1"/>
          </p:cNvSpPr>
          <p:nvPr/>
        </p:nvSpPr>
        <p:spPr bwMode="gray">
          <a:xfrm>
            <a:off x="2957304" y="2261001"/>
            <a:ext cx="312768" cy="195137"/>
          </a:xfrm>
          <a:custGeom>
            <a:avLst/>
            <a:gdLst>
              <a:gd name="T0" fmla="*/ 0 w 9731"/>
              <a:gd name="T1" fmla="*/ 0 h 10000"/>
              <a:gd name="T2" fmla="*/ 0 w 9731"/>
              <a:gd name="T3" fmla="*/ 0 h 10000"/>
              <a:gd name="T4" fmla="*/ 0 w 9731"/>
              <a:gd name="T5" fmla="*/ 0 h 10000"/>
              <a:gd name="T6" fmla="*/ 0 w 9731"/>
              <a:gd name="T7" fmla="*/ 0 h 10000"/>
              <a:gd name="T8" fmla="*/ 0 w 9731"/>
              <a:gd name="T9" fmla="*/ 0 h 10000"/>
              <a:gd name="T10" fmla="*/ 0 w 9731"/>
              <a:gd name="T11" fmla="*/ 0 h 10000"/>
              <a:gd name="T12" fmla="*/ 0 w 9731"/>
              <a:gd name="T13" fmla="*/ 0 h 10000"/>
              <a:gd name="T14" fmla="*/ 0 w 9731"/>
              <a:gd name="T15" fmla="*/ 0 h 10000"/>
              <a:gd name="T16" fmla="*/ 0 w 9731"/>
              <a:gd name="T17" fmla="*/ 0 h 10000"/>
              <a:gd name="T18" fmla="*/ 0 w 9731"/>
              <a:gd name="T19" fmla="*/ 0 h 10000"/>
              <a:gd name="T20" fmla="*/ 0 w 9731"/>
              <a:gd name="T21" fmla="*/ 0 h 10000"/>
              <a:gd name="T22" fmla="*/ 0 w 9731"/>
              <a:gd name="T23" fmla="*/ 0 h 10000"/>
              <a:gd name="T24" fmla="*/ 0 w 9731"/>
              <a:gd name="T25" fmla="*/ 0 h 10000"/>
              <a:gd name="T26" fmla="*/ 0 w 9731"/>
              <a:gd name="T27" fmla="*/ 0 h 10000"/>
              <a:gd name="T28" fmla="*/ 0 w 9731"/>
              <a:gd name="T29" fmla="*/ 0 h 10000"/>
              <a:gd name="T30" fmla="*/ 0 w 9731"/>
              <a:gd name="T31" fmla="*/ 0 h 10000"/>
              <a:gd name="T32" fmla="*/ 0 w 9731"/>
              <a:gd name="T33" fmla="*/ 0 h 10000"/>
              <a:gd name="T34" fmla="*/ 0 w 9731"/>
              <a:gd name="T35" fmla="*/ 0 h 10000"/>
              <a:gd name="T36" fmla="*/ 0 w 9731"/>
              <a:gd name="T37" fmla="*/ 0 h 10000"/>
              <a:gd name="T38" fmla="*/ 0 w 9731"/>
              <a:gd name="T39" fmla="*/ 0 h 10000"/>
              <a:gd name="T40" fmla="*/ 0 w 9731"/>
              <a:gd name="T41" fmla="*/ 0 h 10000"/>
              <a:gd name="T42" fmla="*/ 0 w 9731"/>
              <a:gd name="T43" fmla="*/ 0 h 10000"/>
              <a:gd name="T44" fmla="*/ 0 w 9731"/>
              <a:gd name="T45" fmla="*/ 0 h 10000"/>
              <a:gd name="T46" fmla="*/ 0 w 9731"/>
              <a:gd name="T47" fmla="*/ 0 h 10000"/>
              <a:gd name="T48" fmla="*/ 0 w 9731"/>
              <a:gd name="T49" fmla="*/ 0 h 10000"/>
              <a:gd name="T50" fmla="*/ 0 w 9731"/>
              <a:gd name="T51" fmla="*/ 0 h 10000"/>
              <a:gd name="T52" fmla="*/ 0 w 9731"/>
              <a:gd name="T53" fmla="*/ 0 h 10000"/>
              <a:gd name="T54" fmla="*/ 0 w 9731"/>
              <a:gd name="T55" fmla="*/ 0 h 10000"/>
              <a:gd name="T56" fmla="*/ 0 w 9731"/>
              <a:gd name="T57" fmla="*/ 0 h 10000"/>
              <a:gd name="T58" fmla="*/ 0 w 9731"/>
              <a:gd name="T59" fmla="*/ 0 h 10000"/>
              <a:gd name="T60" fmla="*/ 0 w 9731"/>
              <a:gd name="T61" fmla="*/ 0 h 10000"/>
              <a:gd name="T62" fmla="*/ 0 w 9731"/>
              <a:gd name="T63" fmla="*/ 0 h 10000"/>
              <a:gd name="T64" fmla="*/ 0 w 9731"/>
              <a:gd name="T65" fmla="*/ 0 h 10000"/>
              <a:gd name="T66" fmla="*/ 0 w 9731"/>
              <a:gd name="T67" fmla="*/ 0 h 10000"/>
              <a:gd name="T68" fmla="*/ 0 w 9731"/>
              <a:gd name="T69" fmla="*/ 0 h 10000"/>
              <a:gd name="T70" fmla="*/ 0 w 9731"/>
              <a:gd name="T71" fmla="*/ 0 h 10000"/>
              <a:gd name="T72" fmla="*/ 0 w 9731"/>
              <a:gd name="T73" fmla="*/ 0 h 10000"/>
              <a:gd name="T74" fmla="*/ 0 w 9731"/>
              <a:gd name="T75" fmla="*/ 0 h 10000"/>
              <a:gd name="T76" fmla="*/ 0 w 9731"/>
              <a:gd name="T77" fmla="*/ 0 h 10000"/>
              <a:gd name="T78" fmla="*/ 0 w 9731"/>
              <a:gd name="T79" fmla="*/ 0 h 10000"/>
              <a:gd name="T80" fmla="*/ 0 w 9731"/>
              <a:gd name="T81" fmla="*/ 0 h 10000"/>
              <a:gd name="T82" fmla="*/ 0 w 9731"/>
              <a:gd name="T83" fmla="*/ 0 h 10000"/>
              <a:gd name="T84" fmla="*/ 0 w 9731"/>
              <a:gd name="T85" fmla="*/ 0 h 10000"/>
              <a:gd name="T86" fmla="*/ 0 w 9731"/>
              <a:gd name="T87" fmla="*/ 0 h 10000"/>
              <a:gd name="T88" fmla="*/ 0 w 9731"/>
              <a:gd name="T89" fmla="*/ 0 h 10000"/>
              <a:gd name="T90" fmla="*/ 0 w 9731"/>
              <a:gd name="T91" fmla="*/ 0 h 10000"/>
              <a:gd name="T92" fmla="*/ 0 w 9731"/>
              <a:gd name="T93" fmla="*/ 0 h 10000"/>
              <a:gd name="T94" fmla="*/ 0 w 9731"/>
              <a:gd name="T95" fmla="*/ 0 h 10000"/>
              <a:gd name="T96" fmla="*/ 0 w 9731"/>
              <a:gd name="T97" fmla="*/ 0 h 10000"/>
              <a:gd name="T98" fmla="*/ 0 w 9731"/>
              <a:gd name="T99" fmla="*/ 0 h 10000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w 9731"/>
              <a:gd name="T151" fmla="*/ 0 h 10000"/>
              <a:gd name="T152" fmla="*/ 9731 w 9731"/>
              <a:gd name="T153" fmla="*/ 10000 h 10000"/>
            </a:gdLst>
            <a:ahLst/>
            <a:cxnLst>
              <a:cxn ang="T100">
                <a:pos x="T0" y="T1"/>
              </a:cxn>
              <a:cxn ang="T101">
                <a:pos x="T2" y="T3"/>
              </a:cxn>
              <a:cxn ang="T102">
                <a:pos x="T4" y="T5"/>
              </a:cxn>
              <a:cxn ang="T103">
                <a:pos x="T6" y="T7"/>
              </a:cxn>
              <a:cxn ang="T104">
                <a:pos x="T8" y="T9"/>
              </a:cxn>
              <a:cxn ang="T105">
                <a:pos x="T10" y="T11"/>
              </a:cxn>
              <a:cxn ang="T106">
                <a:pos x="T12" y="T13"/>
              </a:cxn>
              <a:cxn ang="T107">
                <a:pos x="T14" y="T15"/>
              </a:cxn>
              <a:cxn ang="T108">
                <a:pos x="T16" y="T17"/>
              </a:cxn>
              <a:cxn ang="T109">
                <a:pos x="T18" y="T19"/>
              </a:cxn>
              <a:cxn ang="T110">
                <a:pos x="T20" y="T21"/>
              </a:cxn>
              <a:cxn ang="T111">
                <a:pos x="T22" y="T23"/>
              </a:cxn>
              <a:cxn ang="T112">
                <a:pos x="T24" y="T25"/>
              </a:cxn>
              <a:cxn ang="T113">
                <a:pos x="T26" y="T27"/>
              </a:cxn>
              <a:cxn ang="T114">
                <a:pos x="T28" y="T29"/>
              </a:cxn>
              <a:cxn ang="T115">
                <a:pos x="T30" y="T31"/>
              </a:cxn>
              <a:cxn ang="T116">
                <a:pos x="T32" y="T33"/>
              </a:cxn>
              <a:cxn ang="T117">
                <a:pos x="T34" y="T35"/>
              </a:cxn>
              <a:cxn ang="T118">
                <a:pos x="T36" y="T37"/>
              </a:cxn>
              <a:cxn ang="T119">
                <a:pos x="T38" y="T39"/>
              </a:cxn>
              <a:cxn ang="T120">
                <a:pos x="T40" y="T41"/>
              </a:cxn>
              <a:cxn ang="T121">
                <a:pos x="T42" y="T43"/>
              </a:cxn>
              <a:cxn ang="T122">
                <a:pos x="T44" y="T45"/>
              </a:cxn>
              <a:cxn ang="T123">
                <a:pos x="T46" y="T47"/>
              </a:cxn>
              <a:cxn ang="T124">
                <a:pos x="T48" y="T49"/>
              </a:cxn>
              <a:cxn ang="T125">
                <a:pos x="T50" y="T51"/>
              </a:cxn>
              <a:cxn ang="T126">
                <a:pos x="T52" y="T53"/>
              </a:cxn>
              <a:cxn ang="T127">
                <a:pos x="T54" y="T55"/>
              </a:cxn>
              <a:cxn ang="T128">
                <a:pos x="T56" y="T57"/>
              </a:cxn>
              <a:cxn ang="T129">
                <a:pos x="T58" y="T59"/>
              </a:cxn>
              <a:cxn ang="T130">
                <a:pos x="T60" y="T61"/>
              </a:cxn>
              <a:cxn ang="T131">
                <a:pos x="T62" y="T63"/>
              </a:cxn>
              <a:cxn ang="T132">
                <a:pos x="T64" y="T65"/>
              </a:cxn>
              <a:cxn ang="T133">
                <a:pos x="T66" y="T67"/>
              </a:cxn>
              <a:cxn ang="T134">
                <a:pos x="T68" y="T69"/>
              </a:cxn>
              <a:cxn ang="T135">
                <a:pos x="T70" y="T71"/>
              </a:cxn>
              <a:cxn ang="T136">
                <a:pos x="T72" y="T73"/>
              </a:cxn>
              <a:cxn ang="T137">
                <a:pos x="T74" y="T75"/>
              </a:cxn>
              <a:cxn ang="T138">
                <a:pos x="T76" y="T77"/>
              </a:cxn>
              <a:cxn ang="T139">
                <a:pos x="T78" y="T79"/>
              </a:cxn>
              <a:cxn ang="T140">
                <a:pos x="T80" y="T81"/>
              </a:cxn>
              <a:cxn ang="T141">
                <a:pos x="T82" y="T83"/>
              </a:cxn>
              <a:cxn ang="T142">
                <a:pos x="T84" y="T85"/>
              </a:cxn>
              <a:cxn ang="T143">
                <a:pos x="T86" y="T87"/>
              </a:cxn>
              <a:cxn ang="T144">
                <a:pos x="T88" y="T89"/>
              </a:cxn>
              <a:cxn ang="T145">
                <a:pos x="T90" y="T91"/>
              </a:cxn>
              <a:cxn ang="T146">
                <a:pos x="T92" y="T93"/>
              </a:cxn>
              <a:cxn ang="T147">
                <a:pos x="T94" y="T95"/>
              </a:cxn>
              <a:cxn ang="T148">
                <a:pos x="T96" y="T97"/>
              </a:cxn>
              <a:cxn ang="T149">
                <a:pos x="T98" y="T99"/>
              </a:cxn>
            </a:cxnLst>
            <a:rect l="T150" t="T151" r="T152" b="T153"/>
            <a:pathLst>
              <a:path w="9731" h="10000">
                <a:moveTo>
                  <a:pt x="9731" y="0"/>
                </a:moveTo>
                <a:cubicBezTo>
                  <a:pt x="9655" y="143"/>
                  <a:pt x="9576" y="286"/>
                  <a:pt x="9499" y="429"/>
                </a:cubicBezTo>
                <a:lnTo>
                  <a:pt x="9269" y="750"/>
                </a:lnTo>
                <a:cubicBezTo>
                  <a:pt x="9206" y="905"/>
                  <a:pt x="9140" y="1059"/>
                  <a:pt x="9077" y="1214"/>
                </a:cubicBezTo>
                <a:cubicBezTo>
                  <a:pt x="8986" y="1380"/>
                  <a:pt x="8897" y="1547"/>
                  <a:pt x="8807" y="1713"/>
                </a:cubicBezTo>
                <a:cubicBezTo>
                  <a:pt x="8751" y="1855"/>
                  <a:pt x="8692" y="1999"/>
                  <a:pt x="8634" y="2142"/>
                </a:cubicBezTo>
                <a:cubicBezTo>
                  <a:pt x="8558" y="2226"/>
                  <a:pt x="8479" y="2309"/>
                  <a:pt x="8402" y="2393"/>
                </a:cubicBezTo>
                <a:lnTo>
                  <a:pt x="8230" y="2393"/>
                </a:lnTo>
                <a:lnTo>
                  <a:pt x="8036" y="2073"/>
                </a:lnTo>
                <a:cubicBezTo>
                  <a:pt x="7986" y="2203"/>
                  <a:pt x="7934" y="2333"/>
                  <a:pt x="7882" y="2463"/>
                </a:cubicBezTo>
                <a:lnTo>
                  <a:pt x="7632" y="2607"/>
                </a:lnTo>
                <a:lnTo>
                  <a:pt x="7402" y="2572"/>
                </a:lnTo>
                <a:lnTo>
                  <a:pt x="7228" y="2715"/>
                </a:lnTo>
                <a:lnTo>
                  <a:pt x="7228" y="2998"/>
                </a:lnTo>
                <a:lnTo>
                  <a:pt x="7055" y="3035"/>
                </a:lnTo>
                <a:lnTo>
                  <a:pt x="6824" y="3108"/>
                </a:lnTo>
                <a:cubicBezTo>
                  <a:pt x="6767" y="3179"/>
                  <a:pt x="6708" y="3249"/>
                  <a:pt x="6652" y="3322"/>
                </a:cubicBezTo>
                <a:cubicBezTo>
                  <a:pt x="6612" y="3428"/>
                  <a:pt x="6574" y="3537"/>
                  <a:pt x="6536" y="3642"/>
                </a:cubicBezTo>
                <a:lnTo>
                  <a:pt x="6536" y="3964"/>
                </a:lnTo>
                <a:cubicBezTo>
                  <a:pt x="6523" y="4047"/>
                  <a:pt x="6509" y="4132"/>
                  <a:pt x="6497" y="4213"/>
                </a:cubicBezTo>
                <a:cubicBezTo>
                  <a:pt x="6453" y="4286"/>
                  <a:pt x="6407" y="4355"/>
                  <a:pt x="6363" y="4427"/>
                </a:cubicBezTo>
                <a:lnTo>
                  <a:pt x="6034" y="4536"/>
                </a:lnTo>
                <a:lnTo>
                  <a:pt x="6034" y="4856"/>
                </a:lnTo>
                <a:cubicBezTo>
                  <a:pt x="5997" y="4951"/>
                  <a:pt x="5958" y="5046"/>
                  <a:pt x="5919" y="5142"/>
                </a:cubicBezTo>
                <a:cubicBezTo>
                  <a:pt x="5899" y="5260"/>
                  <a:pt x="5881" y="5381"/>
                  <a:pt x="5862" y="5501"/>
                </a:cubicBezTo>
                <a:cubicBezTo>
                  <a:pt x="5841" y="5606"/>
                  <a:pt x="5823" y="5714"/>
                  <a:pt x="5804" y="5821"/>
                </a:cubicBezTo>
                <a:lnTo>
                  <a:pt x="5370" y="6037"/>
                </a:lnTo>
                <a:lnTo>
                  <a:pt x="5141" y="6106"/>
                </a:lnTo>
                <a:lnTo>
                  <a:pt x="4986" y="6037"/>
                </a:lnTo>
                <a:lnTo>
                  <a:pt x="4852" y="5999"/>
                </a:lnTo>
                <a:lnTo>
                  <a:pt x="4697" y="5892"/>
                </a:lnTo>
                <a:cubicBezTo>
                  <a:pt x="4671" y="6047"/>
                  <a:pt x="4646" y="6202"/>
                  <a:pt x="4621" y="6357"/>
                </a:cubicBezTo>
                <a:cubicBezTo>
                  <a:pt x="4600" y="6523"/>
                  <a:pt x="4581" y="6690"/>
                  <a:pt x="4563" y="6856"/>
                </a:cubicBezTo>
                <a:cubicBezTo>
                  <a:pt x="4531" y="6976"/>
                  <a:pt x="4498" y="7093"/>
                  <a:pt x="4466" y="7213"/>
                </a:cubicBezTo>
                <a:cubicBezTo>
                  <a:pt x="4446" y="7416"/>
                  <a:pt x="4428" y="7620"/>
                  <a:pt x="4409" y="7822"/>
                </a:cubicBezTo>
                <a:cubicBezTo>
                  <a:pt x="4351" y="8011"/>
                  <a:pt x="4293" y="8201"/>
                  <a:pt x="4236" y="8390"/>
                </a:cubicBezTo>
                <a:cubicBezTo>
                  <a:pt x="4191" y="8570"/>
                  <a:pt x="4144" y="8748"/>
                  <a:pt x="4101" y="8926"/>
                </a:cubicBezTo>
                <a:lnTo>
                  <a:pt x="3945" y="9320"/>
                </a:lnTo>
                <a:cubicBezTo>
                  <a:pt x="3907" y="9403"/>
                  <a:pt x="3869" y="9488"/>
                  <a:pt x="3830" y="9570"/>
                </a:cubicBezTo>
                <a:lnTo>
                  <a:pt x="3524" y="9784"/>
                </a:lnTo>
                <a:lnTo>
                  <a:pt x="3175" y="10000"/>
                </a:lnTo>
                <a:lnTo>
                  <a:pt x="2715" y="9891"/>
                </a:lnTo>
                <a:lnTo>
                  <a:pt x="2271" y="9748"/>
                </a:lnTo>
                <a:lnTo>
                  <a:pt x="1963" y="9678"/>
                </a:lnTo>
                <a:lnTo>
                  <a:pt x="1501" y="9570"/>
                </a:lnTo>
                <a:lnTo>
                  <a:pt x="1039" y="9464"/>
                </a:lnTo>
                <a:lnTo>
                  <a:pt x="712" y="9428"/>
                </a:lnTo>
                <a:lnTo>
                  <a:pt x="424" y="9428"/>
                </a:lnTo>
                <a:lnTo>
                  <a:pt x="173" y="9355"/>
                </a:lnTo>
                <a:lnTo>
                  <a:pt x="0" y="9320"/>
                </a:lnTo>
              </a:path>
            </a:pathLst>
          </a:custGeom>
          <a:noFill/>
          <a:ln w="317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 wrap="none" lIns="32632" tIns="32632" rIns="32632" bIns="32632" anchor="ctr"/>
          <a:lstStyle/>
          <a:p>
            <a:pPr defTabSz="891045"/>
            <a:endParaRPr lang="en-US" sz="1700" dirty="0">
              <a:solidFill>
                <a:srgbClr val="003149"/>
              </a:solidFill>
              <a:cs typeface="Arial" panose="020B0604020202020204" pitchFamily="34" charset="0"/>
            </a:endParaRPr>
          </a:p>
        </p:txBody>
      </p:sp>
      <p:sp>
        <p:nvSpPr>
          <p:cNvPr id="191" name="Freeform 396"/>
          <p:cNvSpPr>
            <a:spLocks noChangeAspect="1"/>
          </p:cNvSpPr>
          <p:nvPr/>
        </p:nvSpPr>
        <p:spPr bwMode="gray">
          <a:xfrm>
            <a:off x="2779619" y="2469046"/>
            <a:ext cx="36963" cy="18653"/>
          </a:xfrm>
          <a:custGeom>
            <a:avLst/>
            <a:gdLst>
              <a:gd name="T0" fmla="*/ 0 w 11622"/>
              <a:gd name="T1" fmla="*/ 0 h 8919"/>
              <a:gd name="T2" fmla="*/ 0 w 11622"/>
              <a:gd name="T3" fmla="*/ 0 h 8919"/>
              <a:gd name="T4" fmla="*/ 0 w 11622"/>
              <a:gd name="T5" fmla="*/ 0 h 8919"/>
              <a:gd name="T6" fmla="*/ 0 w 11622"/>
              <a:gd name="T7" fmla="*/ 0 h 8919"/>
              <a:gd name="T8" fmla="*/ 0 w 11622"/>
              <a:gd name="T9" fmla="*/ 0 h 8919"/>
              <a:gd name="T10" fmla="*/ 0 w 11622"/>
              <a:gd name="T11" fmla="*/ 0 h 8919"/>
              <a:gd name="T12" fmla="*/ 0 w 11622"/>
              <a:gd name="T13" fmla="*/ 0 h 8919"/>
              <a:gd name="T14" fmla="*/ 0 w 11622"/>
              <a:gd name="T15" fmla="*/ 0 h 8919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11622"/>
              <a:gd name="T25" fmla="*/ 0 h 8919"/>
              <a:gd name="T26" fmla="*/ 11622 w 11622"/>
              <a:gd name="T27" fmla="*/ 8919 h 8919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11622" h="8919">
                <a:moveTo>
                  <a:pt x="11622" y="0"/>
                </a:moveTo>
                <a:cubicBezTo>
                  <a:pt x="11347" y="1245"/>
                  <a:pt x="11086" y="2481"/>
                  <a:pt x="10809" y="3720"/>
                </a:cubicBezTo>
                <a:lnTo>
                  <a:pt x="10809" y="8919"/>
                </a:lnTo>
                <a:lnTo>
                  <a:pt x="7956" y="8919"/>
                </a:lnTo>
                <a:cubicBezTo>
                  <a:pt x="7540" y="7932"/>
                  <a:pt x="7136" y="6938"/>
                  <a:pt x="6723" y="5952"/>
                </a:cubicBezTo>
                <a:lnTo>
                  <a:pt x="6723" y="1493"/>
                </a:lnTo>
                <a:lnTo>
                  <a:pt x="2858" y="2237"/>
                </a:lnTo>
                <a:cubicBezTo>
                  <a:pt x="2176" y="3429"/>
                  <a:pt x="682" y="5116"/>
                  <a:pt x="0" y="6308"/>
                </a:cubicBezTo>
              </a:path>
            </a:pathLst>
          </a:custGeom>
          <a:noFill/>
          <a:ln w="3175" cap="flat" cmpd="sng">
            <a:solidFill>
              <a:srgbClr val="FFFFFF"/>
            </a:solidFill>
            <a:prstDash val="solid"/>
            <a:round/>
            <a:headEnd type="none" w="med" len="med"/>
            <a:tailEnd type="none" w="sm" len="sm"/>
          </a:ln>
        </p:spPr>
        <p:txBody>
          <a:bodyPr wrap="none" lIns="32632" tIns="32632" rIns="32632" bIns="32632" anchor="ctr"/>
          <a:lstStyle/>
          <a:p>
            <a:pPr defTabSz="891045"/>
            <a:endParaRPr lang="en-US" sz="1700" dirty="0">
              <a:solidFill>
                <a:srgbClr val="003149"/>
              </a:solidFill>
              <a:cs typeface="Arial" panose="020B0604020202020204" pitchFamily="34" charset="0"/>
            </a:endParaRPr>
          </a:p>
        </p:txBody>
      </p:sp>
      <p:sp>
        <p:nvSpPr>
          <p:cNvPr id="192" name="Freeform 854"/>
          <p:cNvSpPr>
            <a:spLocks noChangeAspect="1"/>
          </p:cNvSpPr>
          <p:nvPr/>
        </p:nvSpPr>
        <p:spPr bwMode="gray">
          <a:xfrm>
            <a:off x="3474807" y="3685801"/>
            <a:ext cx="204720" cy="43044"/>
          </a:xfrm>
          <a:custGeom>
            <a:avLst/>
            <a:gdLst>
              <a:gd name="T0" fmla="*/ 0 w 9533"/>
              <a:gd name="T1" fmla="*/ 0 h 9147"/>
              <a:gd name="T2" fmla="*/ 0 w 9533"/>
              <a:gd name="T3" fmla="*/ 0 h 9147"/>
              <a:gd name="T4" fmla="*/ 0 w 9533"/>
              <a:gd name="T5" fmla="*/ 0 h 9147"/>
              <a:gd name="T6" fmla="*/ 0 w 9533"/>
              <a:gd name="T7" fmla="*/ 0 h 9147"/>
              <a:gd name="T8" fmla="*/ 0 w 9533"/>
              <a:gd name="T9" fmla="*/ 0 h 9147"/>
              <a:gd name="T10" fmla="*/ 0 w 9533"/>
              <a:gd name="T11" fmla="*/ 0 h 9147"/>
              <a:gd name="T12" fmla="*/ 0 w 9533"/>
              <a:gd name="T13" fmla="*/ 0 h 9147"/>
              <a:gd name="T14" fmla="*/ 0 w 9533"/>
              <a:gd name="T15" fmla="*/ 0 h 9147"/>
              <a:gd name="T16" fmla="*/ 0 w 9533"/>
              <a:gd name="T17" fmla="*/ 0 h 9147"/>
              <a:gd name="T18" fmla="*/ 0 w 9533"/>
              <a:gd name="T19" fmla="*/ 0 h 9147"/>
              <a:gd name="T20" fmla="*/ 0 w 9533"/>
              <a:gd name="T21" fmla="*/ 0 h 9147"/>
              <a:gd name="T22" fmla="*/ 0 w 9533"/>
              <a:gd name="T23" fmla="*/ 0 h 9147"/>
              <a:gd name="T24" fmla="*/ 0 w 9533"/>
              <a:gd name="T25" fmla="*/ 0 h 9147"/>
              <a:gd name="T26" fmla="*/ 0 w 9533"/>
              <a:gd name="T27" fmla="*/ 0 h 9147"/>
              <a:gd name="T28" fmla="*/ 0 w 9533"/>
              <a:gd name="T29" fmla="*/ 0 h 9147"/>
              <a:gd name="T30" fmla="*/ 0 w 9533"/>
              <a:gd name="T31" fmla="*/ 0 h 9147"/>
              <a:gd name="T32" fmla="*/ 0 w 9533"/>
              <a:gd name="T33" fmla="*/ 0 h 9147"/>
              <a:gd name="T34" fmla="*/ 0 w 9533"/>
              <a:gd name="T35" fmla="*/ 0 h 9147"/>
              <a:gd name="T36" fmla="*/ 0 w 9533"/>
              <a:gd name="T37" fmla="*/ 0 h 9147"/>
              <a:gd name="T38" fmla="*/ 0 w 9533"/>
              <a:gd name="T39" fmla="*/ 0 h 9147"/>
              <a:gd name="T40" fmla="*/ 0 w 9533"/>
              <a:gd name="T41" fmla="*/ 0 h 9147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w 9533"/>
              <a:gd name="T64" fmla="*/ 0 h 9147"/>
              <a:gd name="T65" fmla="*/ 9533 w 9533"/>
              <a:gd name="T66" fmla="*/ 9147 h 9147"/>
            </a:gdLst>
            <a:ahLst/>
            <a:cxnLst>
              <a:cxn ang="T42">
                <a:pos x="T0" y="T1"/>
              </a:cxn>
              <a:cxn ang="T43">
                <a:pos x="T2" y="T3"/>
              </a:cxn>
              <a:cxn ang="T44">
                <a:pos x="T4" y="T5"/>
              </a:cxn>
              <a:cxn ang="T45">
                <a:pos x="T6" y="T7"/>
              </a:cxn>
              <a:cxn ang="T46">
                <a:pos x="T8" y="T9"/>
              </a:cxn>
              <a:cxn ang="T47">
                <a:pos x="T10" y="T11"/>
              </a:cxn>
              <a:cxn ang="T48">
                <a:pos x="T12" y="T13"/>
              </a:cxn>
              <a:cxn ang="T49">
                <a:pos x="T14" y="T15"/>
              </a:cxn>
              <a:cxn ang="T50">
                <a:pos x="T16" y="T17"/>
              </a:cxn>
              <a:cxn ang="T51">
                <a:pos x="T18" y="T19"/>
              </a:cxn>
              <a:cxn ang="T52">
                <a:pos x="T20" y="T21"/>
              </a:cxn>
              <a:cxn ang="T53">
                <a:pos x="T22" y="T23"/>
              </a:cxn>
              <a:cxn ang="T54">
                <a:pos x="T24" y="T25"/>
              </a:cxn>
              <a:cxn ang="T55">
                <a:pos x="T26" y="T27"/>
              </a:cxn>
              <a:cxn ang="T56">
                <a:pos x="T28" y="T29"/>
              </a:cxn>
              <a:cxn ang="T57">
                <a:pos x="T30" y="T31"/>
              </a:cxn>
              <a:cxn ang="T58">
                <a:pos x="T32" y="T33"/>
              </a:cxn>
              <a:cxn ang="T59">
                <a:pos x="T34" y="T35"/>
              </a:cxn>
              <a:cxn ang="T60">
                <a:pos x="T36" y="T37"/>
              </a:cxn>
              <a:cxn ang="T61">
                <a:pos x="T38" y="T39"/>
              </a:cxn>
              <a:cxn ang="T62">
                <a:pos x="T40" y="T41"/>
              </a:cxn>
            </a:cxnLst>
            <a:rect l="T63" t="T64" r="T65" b="T66"/>
            <a:pathLst>
              <a:path w="9533" h="9147">
                <a:moveTo>
                  <a:pt x="0" y="0"/>
                </a:moveTo>
                <a:cubicBezTo>
                  <a:pt x="95" y="422"/>
                  <a:pt x="193" y="849"/>
                  <a:pt x="292" y="1274"/>
                </a:cubicBezTo>
                <a:lnTo>
                  <a:pt x="973" y="422"/>
                </a:lnTo>
                <a:cubicBezTo>
                  <a:pt x="1062" y="849"/>
                  <a:pt x="1145" y="1274"/>
                  <a:pt x="1230" y="1697"/>
                </a:cubicBezTo>
                <a:cubicBezTo>
                  <a:pt x="1317" y="2196"/>
                  <a:pt x="1399" y="2692"/>
                  <a:pt x="1485" y="3188"/>
                </a:cubicBezTo>
                <a:lnTo>
                  <a:pt x="2083" y="3188"/>
                </a:lnTo>
                <a:cubicBezTo>
                  <a:pt x="2209" y="3685"/>
                  <a:pt x="2344" y="4180"/>
                  <a:pt x="2466" y="4676"/>
                </a:cubicBezTo>
                <a:cubicBezTo>
                  <a:pt x="2603" y="4253"/>
                  <a:pt x="2750" y="3828"/>
                  <a:pt x="2894" y="3402"/>
                </a:cubicBezTo>
                <a:lnTo>
                  <a:pt x="3705" y="3402"/>
                </a:lnTo>
                <a:cubicBezTo>
                  <a:pt x="3827" y="3756"/>
                  <a:pt x="3952" y="4110"/>
                  <a:pt x="4080" y="4462"/>
                </a:cubicBezTo>
                <a:lnTo>
                  <a:pt x="4764" y="5103"/>
                </a:lnTo>
                <a:lnTo>
                  <a:pt x="5617" y="6380"/>
                </a:lnTo>
                <a:lnTo>
                  <a:pt x="6678" y="7234"/>
                </a:lnTo>
                <a:lnTo>
                  <a:pt x="7107" y="8084"/>
                </a:lnTo>
                <a:lnTo>
                  <a:pt x="7662" y="7234"/>
                </a:lnTo>
                <a:cubicBezTo>
                  <a:pt x="7759" y="7871"/>
                  <a:pt x="7857" y="8509"/>
                  <a:pt x="7953" y="9147"/>
                </a:cubicBezTo>
                <a:lnTo>
                  <a:pt x="8468" y="8084"/>
                </a:lnTo>
                <a:lnTo>
                  <a:pt x="8468" y="6380"/>
                </a:lnTo>
                <a:lnTo>
                  <a:pt x="8980" y="6596"/>
                </a:lnTo>
                <a:lnTo>
                  <a:pt x="9316" y="6596"/>
                </a:lnTo>
                <a:cubicBezTo>
                  <a:pt x="9392" y="6638"/>
                  <a:pt x="9457" y="6684"/>
                  <a:pt x="9533" y="6729"/>
                </a:cubicBezTo>
              </a:path>
            </a:pathLst>
          </a:custGeom>
          <a:noFill/>
          <a:ln w="317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 wrap="none" lIns="32632" tIns="32632" rIns="32632" bIns="32632" anchor="ctr"/>
          <a:lstStyle/>
          <a:p>
            <a:pPr defTabSz="891045"/>
            <a:endParaRPr lang="en-US" sz="1700" dirty="0">
              <a:solidFill>
                <a:srgbClr val="003149"/>
              </a:solidFill>
              <a:cs typeface="Arial" panose="020B0604020202020204" pitchFamily="34" charset="0"/>
            </a:endParaRPr>
          </a:p>
        </p:txBody>
      </p:sp>
      <p:sp>
        <p:nvSpPr>
          <p:cNvPr id="193" name="Freeform 854"/>
          <p:cNvSpPr>
            <a:spLocks noChangeAspect="1"/>
          </p:cNvSpPr>
          <p:nvPr/>
        </p:nvSpPr>
        <p:spPr bwMode="gray">
          <a:xfrm>
            <a:off x="3267244" y="3639877"/>
            <a:ext cx="204720" cy="100439"/>
          </a:xfrm>
          <a:custGeom>
            <a:avLst/>
            <a:gdLst>
              <a:gd name="T0" fmla="*/ 0 w 10437"/>
              <a:gd name="T1" fmla="*/ 0 h 10000"/>
              <a:gd name="T2" fmla="*/ 0 w 10437"/>
              <a:gd name="T3" fmla="*/ 0 h 10000"/>
              <a:gd name="T4" fmla="*/ 0 w 10437"/>
              <a:gd name="T5" fmla="*/ 0 h 10000"/>
              <a:gd name="T6" fmla="*/ 0 w 10437"/>
              <a:gd name="T7" fmla="*/ 0 h 10000"/>
              <a:gd name="T8" fmla="*/ 0 w 10437"/>
              <a:gd name="T9" fmla="*/ 0 h 10000"/>
              <a:gd name="T10" fmla="*/ 0 w 10437"/>
              <a:gd name="T11" fmla="*/ 0 h 10000"/>
              <a:gd name="T12" fmla="*/ 0 w 10437"/>
              <a:gd name="T13" fmla="*/ 0 h 10000"/>
              <a:gd name="T14" fmla="*/ 0 w 10437"/>
              <a:gd name="T15" fmla="*/ 0 h 10000"/>
              <a:gd name="T16" fmla="*/ 0 w 10437"/>
              <a:gd name="T17" fmla="*/ 0 h 10000"/>
              <a:gd name="T18" fmla="*/ 0 w 10437"/>
              <a:gd name="T19" fmla="*/ 0 h 10000"/>
              <a:gd name="T20" fmla="*/ 0 w 10437"/>
              <a:gd name="T21" fmla="*/ 0 h 10000"/>
              <a:gd name="T22" fmla="*/ 0 w 10437"/>
              <a:gd name="T23" fmla="*/ 0 h 10000"/>
              <a:gd name="T24" fmla="*/ 0 w 10437"/>
              <a:gd name="T25" fmla="*/ 0 h 10000"/>
              <a:gd name="T26" fmla="*/ 0 w 10437"/>
              <a:gd name="T27" fmla="*/ 0 h 10000"/>
              <a:gd name="T28" fmla="*/ 0 w 10437"/>
              <a:gd name="T29" fmla="*/ 0 h 10000"/>
              <a:gd name="T30" fmla="*/ 0 w 10437"/>
              <a:gd name="T31" fmla="*/ 0 h 10000"/>
              <a:gd name="T32" fmla="*/ 0 w 10437"/>
              <a:gd name="T33" fmla="*/ 0 h 10000"/>
              <a:gd name="T34" fmla="*/ 0 w 10437"/>
              <a:gd name="T35" fmla="*/ 0 h 10000"/>
              <a:gd name="T36" fmla="*/ 0 w 10437"/>
              <a:gd name="T37" fmla="*/ 0 h 10000"/>
              <a:gd name="T38" fmla="*/ 0 w 10437"/>
              <a:gd name="T39" fmla="*/ 0 h 10000"/>
              <a:gd name="T40" fmla="*/ 0 w 10437"/>
              <a:gd name="T41" fmla="*/ 0 h 10000"/>
              <a:gd name="T42" fmla="*/ 0 w 10437"/>
              <a:gd name="T43" fmla="*/ 0 h 10000"/>
              <a:gd name="T44" fmla="*/ 0 w 10437"/>
              <a:gd name="T45" fmla="*/ 0 h 10000"/>
              <a:gd name="T46" fmla="*/ 0 w 10437"/>
              <a:gd name="T47" fmla="*/ 0 h 10000"/>
              <a:gd name="T48" fmla="*/ 0 w 10437"/>
              <a:gd name="T49" fmla="*/ 0 h 10000"/>
              <a:gd name="T50" fmla="*/ 0 w 10437"/>
              <a:gd name="T51" fmla="*/ 0 h 10000"/>
              <a:gd name="T52" fmla="*/ 0 w 10437"/>
              <a:gd name="T53" fmla="*/ 0 h 10000"/>
              <a:gd name="T54" fmla="*/ 0 w 10437"/>
              <a:gd name="T55" fmla="*/ 0 h 10000"/>
              <a:gd name="T56" fmla="*/ 0 w 10437"/>
              <a:gd name="T57" fmla="*/ 0 h 10000"/>
              <a:gd name="T58" fmla="*/ 0 w 10437"/>
              <a:gd name="T59" fmla="*/ 0 h 10000"/>
              <a:gd name="T60" fmla="*/ 0 w 10437"/>
              <a:gd name="T61" fmla="*/ 0 h 10000"/>
              <a:gd name="T62" fmla="*/ 0 w 10437"/>
              <a:gd name="T63" fmla="*/ 0 h 10000"/>
              <a:gd name="T64" fmla="*/ 0 w 10437"/>
              <a:gd name="T65" fmla="*/ 0 h 10000"/>
              <a:gd name="T66" fmla="*/ 0 w 10437"/>
              <a:gd name="T67" fmla="*/ 0 h 10000"/>
              <a:gd name="T68" fmla="*/ 0 w 10437"/>
              <a:gd name="T69" fmla="*/ 0 h 10000"/>
              <a:gd name="T70" fmla="*/ 0 w 10437"/>
              <a:gd name="T71" fmla="*/ 0 h 10000"/>
              <a:gd name="T72" fmla="*/ 0 w 10437"/>
              <a:gd name="T73" fmla="*/ 0 h 10000"/>
              <a:gd name="T74" fmla="*/ 0 w 10437"/>
              <a:gd name="T75" fmla="*/ 0 h 10000"/>
              <a:gd name="T76" fmla="*/ 0 w 10437"/>
              <a:gd name="T77" fmla="*/ 0 h 10000"/>
              <a:gd name="T78" fmla="*/ 0 w 10437"/>
              <a:gd name="T79" fmla="*/ 0 h 10000"/>
              <a:gd name="T80" fmla="*/ 0 w 10437"/>
              <a:gd name="T81" fmla="*/ 0 h 10000"/>
              <a:gd name="T82" fmla="*/ 0 w 10437"/>
              <a:gd name="T83" fmla="*/ 0 h 10000"/>
              <a:gd name="T84" fmla="*/ 0 w 10437"/>
              <a:gd name="T85" fmla="*/ 0 h 10000"/>
              <a:gd name="T86" fmla="*/ 0 w 10437"/>
              <a:gd name="T87" fmla="*/ 0 h 10000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w 10437"/>
              <a:gd name="T133" fmla="*/ 0 h 10000"/>
              <a:gd name="T134" fmla="*/ 10437 w 10437"/>
              <a:gd name="T135" fmla="*/ 10000 h 10000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T132" t="T133" r="T134" b="T135"/>
            <a:pathLst>
              <a:path w="10437" h="10000">
                <a:moveTo>
                  <a:pt x="0" y="9167"/>
                </a:moveTo>
                <a:lnTo>
                  <a:pt x="789" y="9791"/>
                </a:lnTo>
                <a:lnTo>
                  <a:pt x="1862" y="10000"/>
                </a:lnTo>
                <a:lnTo>
                  <a:pt x="2560" y="8855"/>
                </a:lnTo>
                <a:cubicBezTo>
                  <a:pt x="2523" y="8438"/>
                  <a:pt x="2494" y="8022"/>
                  <a:pt x="2465" y="7605"/>
                </a:cubicBezTo>
                <a:cubicBezTo>
                  <a:pt x="2523" y="7258"/>
                  <a:pt x="2588" y="6909"/>
                  <a:pt x="2649" y="6562"/>
                </a:cubicBezTo>
                <a:lnTo>
                  <a:pt x="3300" y="6249"/>
                </a:lnTo>
                <a:lnTo>
                  <a:pt x="3859" y="6354"/>
                </a:lnTo>
                <a:lnTo>
                  <a:pt x="4184" y="6562"/>
                </a:lnTo>
                <a:cubicBezTo>
                  <a:pt x="4231" y="6805"/>
                  <a:pt x="4278" y="7049"/>
                  <a:pt x="4325" y="7291"/>
                </a:cubicBezTo>
                <a:cubicBezTo>
                  <a:pt x="4507" y="7501"/>
                  <a:pt x="4696" y="7709"/>
                  <a:pt x="4882" y="7918"/>
                </a:cubicBezTo>
                <a:lnTo>
                  <a:pt x="5435" y="8542"/>
                </a:lnTo>
                <a:cubicBezTo>
                  <a:pt x="5549" y="8229"/>
                  <a:pt x="5656" y="7918"/>
                  <a:pt x="5763" y="7605"/>
                </a:cubicBezTo>
                <a:cubicBezTo>
                  <a:pt x="5656" y="7397"/>
                  <a:pt x="5549" y="7187"/>
                  <a:pt x="5435" y="6979"/>
                </a:cubicBezTo>
                <a:cubicBezTo>
                  <a:pt x="5396" y="6771"/>
                  <a:pt x="5347" y="6562"/>
                  <a:pt x="5304" y="6354"/>
                </a:cubicBezTo>
                <a:cubicBezTo>
                  <a:pt x="5145" y="6076"/>
                  <a:pt x="4989" y="5799"/>
                  <a:pt x="4836" y="5521"/>
                </a:cubicBezTo>
                <a:cubicBezTo>
                  <a:pt x="4729" y="5174"/>
                  <a:pt x="4619" y="4827"/>
                  <a:pt x="4518" y="4480"/>
                </a:cubicBezTo>
                <a:cubicBezTo>
                  <a:pt x="4557" y="4272"/>
                  <a:pt x="4603" y="4063"/>
                  <a:pt x="4645" y="3855"/>
                </a:cubicBezTo>
                <a:lnTo>
                  <a:pt x="4970" y="3646"/>
                </a:lnTo>
                <a:lnTo>
                  <a:pt x="5533" y="3855"/>
                </a:lnTo>
                <a:cubicBezTo>
                  <a:pt x="5549" y="3646"/>
                  <a:pt x="5560" y="3438"/>
                  <a:pt x="5575" y="3229"/>
                </a:cubicBezTo>
                <a:cubicBezTo>
                  <a:pt x="5487" y="3021"/>
                  <a:pt x="5396" y="2813"/>
                  <a:pt x="5304" y="2605"/>
                </a:cubicBezTo>
                <a:cubicBezTo>
                  <a:pt x="5206" y="2501"/>
                  <a:pt x="5119" y="2397"/>
                  <a:pt x="5023" y="2293"/>
                </a:cubicBezTo>
                <a:cubicBezTo>
                  <a:pt x="4926" y="2049"/>
                  <a:pt x="4836" y="1806"/>
                  <a:pt x="4739" y="1562"/>
                </a:cubicBezTo>
                <a:lnTo>
                  <a:pt x="5255" y="1666"/>
                </a:lnTo>
                <a:cubicBezTo>
                  <a:pt x="5271" y="1389"/>
                  <a:pt x="5279" y="1112"/>
                  <a:pt x="5304" y="834"/>
                </a:cubicBezTo>
                <a:lnTo>
                  <a:pt x="5678" y="625"/>
                </a:lnTo>
                <a:cubicBezTo>
                  <a:pt x="5795" y="417"/>
                  <a:pt x="5922" y="208"/>
                  <a:pt x="6045" y="0"/>
                </a:cubicBezTo>
                <a:cubicBezTo>
                  <a:pt x="6118" y="139"/>
                  <a:pt x="6201" y="278"/>
                  <a:pt x="6279" y="417"/>
                </a:cubicBezTo>
                <a:cubicBezTo>
                  <a:pt x="6246" y="764"/>
                  <a:pt x="6218" y="1112"/>
                  <a:pt x="6185" y="1458"/>
                </a:cubicBezTo>
                <a:lnTo>
                  <a:pt x="6787" y="1145"/>
                </a:lnTo>
                <a:cubicBezTo>
                  <a:pt x="6731" y="1424"/>
                  <a:pt x="6662" y="1701"/>
                  <a:pt x="6603" y="1979"/>
                </a:cubicBezTo>
                <a:cubicBezTo>
                  <a:pt x="6731" y="1771"/>
                  <a:pt x="6853" y="1562"/>
                  <a:pt x="6977" y="1354"/>
                </a:cubicBezTo>
                <a:lnTo>
                  <a:pt x="6977" y="2187"/>
                </a:lnTo>
                <a:cubicBezTo>
                  <a:pt x="7041" y="2222"/>
                  <a:pt x="7097" y="2257"/>
                  <a:pt x="7161" y="2293"/>
                </a:cubicBezTo>
                <a:cubicBezTo>
                  <a:pt x="7258" y="2223"/>
                  <a:pt x="7346" y="2153"/>
                  <a:pt x="7440" y="2083"/>
                </a:cubicBezTo>
                <a:lnTo>
                  <a:pt x="7717" y="2083"/>
                </a:lnTo>
                <a:lnTo>
                  <a:pt x="7717" y="2707"/>
                </a:lnTo>
                <a:lnTo>
                  <a:pt x="7717" y="3438"/>
                </a:lnTo>
                <a:lnTo>
                  <a:pt x="8188" y="3229"/>
                </a:lnTo>
                <a:lnTo>
                  <a:pt x="8647" y="3229"/>
                </a:lnTo>
                <a:lnTo>
                  <a:pt x="9070" y="3646"/>
                </a:lnTo>
                <a:cubicBezTo>
                  <a:pt x="9299" y="3803"/>
                  <a:pt x="9570" y="3822"/>
                  <a:pt x="9799" y="3979"/>
                </a:cubicBezTo>
                <a:lnTo>
                  <a:pt x="10437" y="4482"/>
                </a:lnTo>
              </a:path>
            </a:pathLst>
          </a:custGeom>
          <a:solidFill>
            <a:srgbClr val="70B0DF"/>
          </a:solidFill>
          <a:ln w="3175" cap="flat" cmpd="sng">
            <a:noFill/>
            <a:prstDash val="solid"/>
            <a:round/>
            <a:headEnd type="none" w="med" len="med"/>
            <a:tailEnd type="none" w="med" len="med"/>
          </a:ln>
        </p:spPr>
        <p:txBody>
          <a:bodyPr wrap="none" lIns="32632" tIns="32632" rIns="32632" bIns="32632" anchor="ctr"/>
          <a:lstStyle/>
          <a:p>
            <a:pPr defTabSz="891045"/>
            <a:endParaRPr lang="en-US" sz="1700" dirty="0">
              <a:solidFill>
                <a:srgbClr val="003149"/>
              </a:solidFill>
              <a:cs typeface="Arial" panose="020B0604020202020204" pitchFamily="34" charset="0"/>
            </a:endParaRPr>
          </a:p>
        </p:txBody>
      </p:sp>
      <p:sp>
        <p:nvSpPr>
          <p:cNvPr id="194" name="Freeform 856"/>
          <p:cNvSpPr>
            <a:spLocks noChangeAspect="1"/>
          </p:cNvSpPr>
          <p:nvPr/>
        </p:nvSpPr>
        <p:spPr bwMode="gray">
          <a:xfrm>
            <a:off x="3892779" y="3898169"/>
            <a:ext cx="59710" cy="80351"/>
          </a:xfrm>
          <a:custGeom>
            <a:avLst/>
            <a:gdLst>
              <a:gd name="T0" fmla="*/ 0 w 11288"/>
              <a:gd name="T1" fmla="*/ 0 h 10000"/>
              <a:gd name="T2" fmla="*/ 0 w 11288"/>
              <a:gd name="T3" fmla="*/ 0 h 10000"/>
              <a:gd name="T4" fmla="*/ 0 w 11288"/>
              <a:gd name="T5" fmla="*/ 0 h 10000"/>
              <a:gd name="T6" fmla="*/ 0 w 11288"/>
              <a:gd name="T7" fmla="*/ 0 h 10000"/>
              <a:gd name="T8" fmla="*/ 0 w 11288"/>
              <a:gd name="T9" fmla="*/ 0 h 10000"/>
              <a:gd name="T10" fmla="*/ 0 w 11288"/>
              <a:gd name="T11" fmla="*/ 0 h 10000"/>
              <a:gd name="T12" fmla="*/ 0 w 11288"/>
              <a:gd name="T13" fmla="*/ 0 h 10000"/>
              <a:gd name="T14" fmla="*/ 0 w 11288"/>
              <a:gd name="T15" fmla="*/ 0 h 10000"/>
              <a:gd name="T16" fmla="*/ 0 w 11288"/>
              <a:gd name="T17" fmla="*/ 0 h 10000"/>
              <a:gd name="T18" fmla="*/ 0 w 11288"/>
              <a:gd name="T19" fmla="*/ 0 h 10000"/>
              <a:gd name="T20" fmla="*/ 0 w 11288"/>
              <a:gd name="T21" fmla="*/ 0 h 10000"/>
              <a:gd name="T22" fmla="*/ 0 w 11288"/>
              <a:gd name="T23" fmla="*/ 0 h 10000"/>
              <a:gd name="T24" fmla="*/ 0 w 11288"/>
              <a:gd name="T25" fmla="*/ 0 h 10000"/>
              <a:gd name="T26" fmla="*/ 0 w 11288"/>
              <a:gd name="T27" fmla="*/ 0 h 10000"/>
              <a:gd name="T28" fmla="*/ 0 w 11288"/>
              <a:gd name="T29" fmla="*/ 0 h 10000"/>
              <a:gd name="T30" fmla="*/ 0 w 11288"/>
              <a:gd name="T31" fmla="*/ 0 h 10000"/>
              <a:gd name="T32" fmla="*/ 0 w 11288"/>
              <a:gd name="T33" fmla="*/ 0 h 10000"/>
              <a:gd name="T34" fmla="*/ 0 w 11288"/>
              <a:gd name="T35" fmla="*/ 0 h 10000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w 11288"/>
              <a:gd name="T55" fmla="*/ 0 h 10000"/>
              <a:gd name="T56" fmla="*/ 11288 w 11288"/>
              <a:gd name="T57" fmla="*/ 10000 h 10000"/>
            </a:gdLst>
            <a:ahLst/>
            <a:cxnLst>
              <a:cxn ang="T36">
                <a:pos x="T0" y="T1"/>
              </a:cxn>
              <a:cxn ang="T37">
                <a:pos x="T2" y="T3"/>
              </a:cxn>
              <a:cxn ang="T38">
                <a:pos x="T4" y="T5"/>
              </a:cxn>
              <a:cxn ang="T39">
                <a:pos x="T6" y="T7"/>
              </a:cxn>
              <a:cxn ang="T40">
                <a:pos x="T8" y="T9"/>
              </a:cxn>
              <a:cxn ang="T41">
                <a:pos x="T10" y="T11"/>
              </a:cxn>
              <a:cxn ang="T42">
                <a:pos x="T12" y="T13"/>
              </a:cxn>
              <a:cxn ang="T43">
                <a:pos x="T14" y="T15"/>
              </a:cxn>
              <a:cxn ang="T44">
                <a:pos x="T16" y="T17"/>
              </a:cxn>
              <a:cxn ang="T45">
                <a:pos x="T18" y="T19"/>
              </a:cxn>
              <a:cxn ang="T46">
                <a:pos x="T20" y="T21"/>
              </a:cxn>
              <a:cxn ang="T47">
                <a:pos x="T22" y="T23"/>
              </a:cxn>
              <a:cxn ang="T48">
                <a:pos x="T24" y="T25"/>
              </a:cxn>
              <a:cxn ang="T49">
                <a:pos x="T26" y="T27"/>
              </a:cxn>
              <a:cxn ang="T50">
                <a:pos x="T28" y="T29"/>
              </a:cxn>
              <a:cxn ang="T51">
                <a:pos x="T30" y="T31"/>
              </a:cxn>
              <a:cxn ang="T52">
                <a:pos x="T32" y="T33"/>
              </a:cxn>
              <a:cxn ang="T53">
                <a:pos x="T34" y="T35"/>
              </a:cxn>
            </a:cxnLst>
            <a:rect l="T54" t="T55" r="T56" b="T57"/>
            <a:pathLst>
              <a:path w="11288" h="10000">
                <a:moveTo>
                  <a:pt x="11288" y="10000"/>
                </a:moveTo>
                <a:lnTo>
                  <a:pt x="9763" y="8158"/>
                </a:lnTo>
                <a:lnTo>
                  <a:pt x="8071" y="6316"/>
                </a:lnTo>
                <a:lnTo>
                  <a:pt x="6884" y="4342"/>
                </a:lnTo>
                <a:lnTo>
                  <a:pt x="6038" y="3158"/>
                </a:lnTo>
                <a:cubicBezTo>
                  <a:pt x="5982" y="2939"/>
                  <a:pt x="5925" y="2719"/>
                  <a:pt x="5869" y="2500"/>
                </a:cubicBezTo>
                <a:lnTo>
                  <a:pt x="6546" y="1842"/>
                </a:lnTo>
                <a:lnTo>
                  <a:pt x="8240" y="2368"/>
                </a:lnTo>
                <a:lnTo>
                  <a:pt x="9763" y="1711"/>
                </a:lnTo>
                <a:lnTo>
                  <a:pt x="9934" y="658"/>
                </a:lnTo>
                <a:lnTo>
                  <a:pt x="10780" y="658"/>
                </a:lnTo>
                <a:lnTo>
                  <a:pt x="10780" y="132"/>
                </a:lnTo>
                <a:lnTo>
                  <a:pt x="9086" y="263"/>
                </a:lnTo>
                <a:lnTo>
                  <a:pt x="7393" y="658"/>
                </a:lnTo>
                <a:lnTo>
                  <a:pt x="5869" y="0"/>
                </a:lnTo>
                <a:lnTo>
                  <a:pt x="4515" y="658"/>
                </a:lnTo>
                <a:lnTo>
                  <a:pt x="1636" y="1053"/>
                </a:lnTo>
                <a:lnTo>
                  <a:pt x="0" y="952"/>
                </a:lnTo>
              </a:path>
            </a:pathLst>
          </a:custGeom>
          <a:noFill/>
          <a:ln w="317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 wrap="none" lIns="32632" tIns="32632" rIns="32632" bIns="32632" anchor="ctr"/>
          <a:lstStyle/>
          <a:p>
            <a:pPr defTabSz="891045"/>
            <a:endParaRPr lang="en-US" sz="1700" dirty="0">
              <a:solidFill>
                <a:srgbClr val="003149"/>
              </a:solidFill>
              <a:cs typeface="Arial" panose="020B0604020202020204" pitchFamily="34" charset="0"/>
            </a:endParaRPr>
          </a:p>
        </p:txBody>
      </p:sp>
      <p:sp>
        <p:nvSpPr>
          <p:cNvPr id="195" name="Freeform 1029"/>
          <p:cNvSpPr>
            <a:spLocks noChangeAspect="1"/>
          </p:cNvSpPr>
          <p:nvPr/>
        </p:nvSpPr>
        <p:spPr bwMode="gray">
          <a:xfrm>
            <a:off x="6332354" y="4070328"/>
            <a:ext cx="51180" cy="93265"/>
          </a:xfrm>
          <a:custGeom>
            <a:avLst/>
            <a:gdLst>
              <a:gd name="T0" fmla="*/ 0 w 10000"/>
              <a:gd name="T1" fmla="*/ 0 h 10000"/>
              <a:gd name="T2" fmla="*/ 0 w 10000"/>
              <a:gd name="T3" fmla="*/ 0 h 10000"/>
              <a:gd name="T4" fmla="*/ 0 w 10000"/>
              <a:gd name="T5" fmla="*/ 0 h 10000"/>
              <a:gd name="T6" fmla="*/ 0 w 10000"/>
              <a:gd name="T7" fmla="*/ 0 h 10000"/>
              <a:gd name="T8" fmla="*/ 0 w 10000"/>
              <a:gd name="T9" fmla="*/ 0 h 10000"/>
              <a:gd name="T10" fmla="*/ 0 w 10000"/>
              <a:gd name="T11" fmla="*/ 0 h 10000"/>
              <a:gd name="T12" fmla="*/ 0 w 10000"/>
              <a:gd name="T13" fmla="*/ 0 h 10000"/>
              <a:gd name="T14" fmla="*/ 0 w 10000"/>
              <a:gd name="T15" fmla="*/ 0 h 10000"/>
              <a:gd name="T16" fmla="*/ 0 w 10000"/>
              <a:gd name="T17" fmla="*/ 0 h 10000"/>
              <a:gd name="T18" fmla="*/ 0 w 10000"/>
              <a:gd name="T19" fmla="*/ 0 h 10000"/>
              <a:gd name="T20" fmla="*/ 0 w 10000"/>
              <a:gd name="T21" fmla="*/ 0 h 10000"/>
              <a:gd name="T22" fmla="*/ 0 w 10000"/>
              <a:gd name="T23" fmla="*/ 0 h 10000"/>
              <a:gd name="T24" fmla="*/ 0 w 10000"/>
              <a:gd name="T25" fmla="*/ 0 h 10000"/>
              <a:gd name="T26" fmla="*/ 0 w 10000"/>
              <a:gd name="T27" fmla="*/ 0 h 10000"/>
              <a:gd name="T28" fmla="*/ 0 w 10000"/>
              <a:gd name="T29" fmla="*/ 0 h 10000"/>
              <a:gd name="T30" fmla="*/ 0 w 10000"/>
              <a:gd name="T31" fmla="*/ 0 h 10000"/>
              <a:gd name="T32" fmla="*/ 0 w 10000"/>
              <a:gd name="T33" fmla="*/ 0 h 10000"/>
              <a:gd name="T34" fmla="*/ 0 w 10000"/>
              <a:gd name="T35" fmla="*/ 0 h 10000"/>
              <a:gd name="T36" fmla="*/ 0 w 10000"/>
              <a:gd name="T37" fmla="*/ 0 h 10000"/>
              <a:gd name="T38" fmla="*/ 0 w 10000"/>
              <a:gd name="T39" fmla="*/ 0 h 10000"/>
              <a:gd name="T40" fmla="*/ 0 w 10000"/>
              <a:gd name="T41" fmla="*/ 0 h 10000"/>
              <a:gd name="T42" fmla="*/ 0 w 10000"/>
              <a:gd name="T43" fmla="*/ 0 h 10000"/>
              <a:gd name="T44" fmla="*/ 0 w 10000"/>
              <a:gd name="T45" fmla="*/ 0 h 10000"/>
              <a:gd name="T46" fmla="*/ 0 w 10000"/>
              <a:gd name="T47" fmla="*/ 0 h 10000"/>
              <a:gd name="T48" fmla="*/ 0 w 10000"/>
              <a:gd name="T49" fmla="*/ 0 h 10000"/>
              <a:gd name="T50" fmla="*/ 0 w 10000"/>
              <a:gd name="T51" fmla="*/ 0 h 10000"/>
              <a:gd name="T52" fmla="*/ 0 w 10000"/>
              <a:gd name="T53" fmla="*/ 0 h 10000"/>
              <a:gd name="T54" fmla="*/ 0 w 10000"/>
              <a:gd name="T55" fmla="*/ 0 h 10000"/>
              <a:gd name="T56" fmla="*/ 0 w 10000"/>
              <a:gd name="T57" fmla="*/ 0 h 10000"/>
              <a:gd name="T58" fmla="*/ 0 w 10000"/>
              <a:gd name="T59" fmla="*/ 0 h 10000"/>
              <a:gd name="T60" fmla="*/ 0 w 10000"/>
              <a:gd name="T61" fmla="*/ 0 h 10000"/>
              <a:gd name="T62" fmla="*/ 0 w 10000"/>
              <a:gd name="T63" fmla="*/ 0 h 10000"/>
              <a:gd name="T64" fmla="*/ 0 w 10000"/>
              <a:gd name="T65" fmla="*/ 0 h 10000"/>
              <a:gd name="T66" fmla="*/ 0 w 10000"/>
              <a:gd name="T67" fmla="*/ 0 h 10000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w 10000"/>
              <a:gd name="T103" fmla="*/ 0 h 10000"/>
              <a:gd name="T104" fmla="*/ 10000 w 10000"/>
              <a:gd name="T105" fmla="*/ 10000 h 10000"/>
            </a:gdLst>
            <a:ahLst/>
            <a:cxnLst>
              <a:cxn ang="T68">
                <a:pos x="T0" y="T1"/>
              </a:cxn>
              <a:cxn ang="T69">
                <a:pos x="T2" y="T3"/>
              </a:cxn>
              <a:cxn ang="T70">
                <a:pos x="T4" y="T5"/>
              </a:cxn>
              <a:cxn ang="T71">
                <a:pos x="T6" y="T7"/>
              </a:cxn>
              <a:cxn ang="T72">
                <a:pos x="T8" y="T9"/>
              </a:cxn>
              <a:cxn ang="T73">
                <a:pos x="T10" y="T11"/>
              </a:cxn>
              <a:cxn ang="T74">
                <a:pos x="T12" y="T13"/>
              </a:cxn>
              <a:cxn ang="T75">
                <a:pos x="T14" y="T15"/>
              </a:cxn>
              <a:cxn ang="T76">
                <a:pos x="T16" y="T17"/>
              </a:cxn>
              <a:cxn ang="T77">
                <a:pos x="T18" y="T19"/>
              </a:cxn>
              <a:cxn ang="T78">
                <a:pos x="T20" y="T21"/>
              </a:cxn>
              <a:cxn ang="T79">
                <a:pos x="T22" y="T23"/>
              </a:cxn>
              <a:cxn ang="T80">
                <a:pos x="T24" y="T25"/>
              </a:cxn>
              <a:cxn ang="T81">
                <a:pos x="T26" y="T27"/>
              </a:cxn>
              <a:cxn ang="T82">
                <a:pos x="T28" y="T29"/>
              </a:cxn>
              <a:cxn ang="T83">
                <a:pos x="T30" y="T31"/>
              </a:cxn>
              <a:cxn ang="T84">
                <a:pos x="T32" y="T33"/>
              </a:cxn>
              <a:cxn ang="T85">
                <a:pos x="T34" y="T35"/>
              </a:cxn>
              <a:cxn ang="T86">
                <a:pos x="T36" y="T37"/>
              </a:cxn>
              <a:cxn ang="T87">
                <a:pos x="T38" y="T39"/>
              </a:cxn>
              <a:cxn ang="T88">
                <a:pos x="T40" y="T41"/>
              </a:cxn>
              <a:cxn ang="T89">
                <a:pos x="T42" y="T43"/>
              </a:cxn>
              <a:cxn ang="T90">
                <a:pos x="T44" y="T45"/>
              </a:cxn>
              <a:cxn ang="T91">
                <a:pos x="T46" y="T47"/>
              </a:cxn>
              <a:cxn ang="T92">
                <a:pos x="T48" y="T49"/>
              </a:cxn>
              <a:cxn ang="T93">
                <a:pos x="T50" y="T51"/>
              </a:cxn>
              <a:cxn ang="T94">
                <a:pos x="T52" y="T53"/>
              </a:cxn>
              <a:cxn ang="T95">
                <a:pos x="T54" y="T55"/>
              </a:cxn>
              <a:cxn ang="T96">
                <a:pos x="T56" y="T57"/>
              </a:cxn>
              <a:cxn ang="T97">
                <a:pos x="T58" y="T59"/>
              </a:cxn>
              <a:cxn ang="T98">
                <a:pos x="T60" y="T61"/>
              </a:cxn>
              <a:cxn ang="T99">
                <a:pos x="T62" y="T63"/>
              </a:cxn>
              <a:cxn ang="T100">
                <a:pos x="T64" y="T65"/>
              </a:cxn>
              <a:cxn ang="T101">
                <a:pos x="T66" y="T67"/>
              </a:cxn>
            </a:cxnLst>
            <a:rect l="T102" t="T103" r="T104" b="T105"/>
            <a:pathLst>
              <a:path w="10000" h="10000">
                <a:moveTo>
                  <a:pt x="9712" y="10000"/>
                </a:moveTo>
                <a:cubicBezTo>
                  <a:pt x="9636" y="9872"/>
                  <a:pt x="9558" y="9743"/>
                  <a:pt x="9484" y="9615"/>
                </a:cubicBezTo>
                <a:lnTo>
                  <a:pt x="8965" y="9391"/>
                </a:lnTo>
                <a:cubicBezTo>
                  <a:pt x="9080" y="9205"/>
                  <a:pt x="9193" y="9018"/>
                  <a:pt x="9310" y="8832"/>
                </a:cubicBezTo>
                <a:lnTo>
                  <a:pt x="8965" y="8274"/>
                </a:lnTo>
                <a:lnTo>
                  <a:pt x="8277" y="7826"/>
                </a:lnTo>
                <a:cubicBezTo>
                  <a:pt x="8221" y="7751"/>
                  <a:pt x="8162" y="7677"/>
                  <a:pt x="8104" y="7602"/>
                </a:cubicBezTo>
                <a:lnTo>
                  <a:pt x="8104" y="6931"/>
                </a:lnTo>
                <a:lnTo>
                  <a:pt x="8448" y="6261"/>
                </a:lnTo>
                <a:lnTo>
                  <a:pt x="9484" y="5925"/>
                </a:lnTo>
                <a:lnTo>
                  <a:pt x="10000" y="5255"/>
                </a:lnTo>
                <a:lnTo>
                  <a:pt x="10000" y="4584"/>
                </a:lnTo>
                <a:cubicBezTo>
                  <a:pt x="9944" y="4398"/>
                  <a:pt x="9884" y="4211"/>
                  <a:pt x="9829" y="4025"/>
                </a:cubicBezTo>
                <a:cubicBezTo>
                  <a:pt x="9711" y="3839"/>
                  <a:pt x="9599" y="3652"/>
                  <a:pt x="9484" y="3466"/>
                </a:cubicBezTo>
                <a:lnTo>
                  <a:pt x="9137" y="3019"/>
                </a:lnTo>
                <a:lnTo>
                  <a:pt x="8448" y="2906"/>
                </a:lnTo>
                <a:lnTo>
                  <a:pt x="8104" y="2684"/>
                </a:lnTo>
                <a:lnTo>
                  <a:pt x="7587" y="2460"/>
                </a:lnTo>
                <a:lnTo>
                  <a:pt x="7240" y="2460"/>
                </a:lnTo>
                <a:lnTo>
                  <a:pt x="6552" y="2348"/>
                </a:lnTo>
                <a:cubicBezTo>
                  <a:pt x="6495" y="1938"/>
                  <a:pt x="6435" y="1528"/>
                  <a:pt x="6377" y="1118"/>
                </a:cubicBezTo>
                <a:cubicBezTo>
                  <a:pt x="6322" y="895"/>
                  <a:pt x="6264" y="671"/>
                  <a:pt x="6207" y="447"/>
                </a:cubicBezTo>
                <a:lnTo>
                  <a:pt x="5688" y="111"/>
                </a:lnTo>
                <a:lnTo>
                  <a:pt x="5174" y="0"/>
                </a:lnTo>
                <a:lnTo>
                  <a:pt x="4311" y="0"/>
                </a:lnTo>
                <a:lnTo>
                  <a:pt x="3792" y="224"/>
                </a:lnTo>
                <a:lnTo>
                  <a:pt x="3103" y="224"/>
                </a:lnTo>
                <a:lnTo>
                  <a:pt x="2243" y="447"/>
                </a:lnTo>
                <a:lnTo>
                  <a:pt x="1554" y="1006"/>
                </a:lnTo>
                <a:cubicBezTo>
                  <a:pt x="1494" y="1117"/>
                  <a:pt x="1436" y="1230"/>
                  <a:pt x="1381" y="1341"/>
                </a:cubicBezTo>
                <a:lnTo>
                  <a:pt x="1033" y="1565"/>
                </a:lnTo>
                <a:lnTo>
                  <a:pt x="689" y="1230"/>
                </a:lnTo>
                <a:lnTo>
                  <a:pt x="689" y="1677"/>
                </a:lnTo>
                <a:lnTo>
                  <a:pt x="0" y="1789"/>
                </a:lnTo>
              </a:path>
            </a:pathLst>
          </a:custGeom>
          <a:noFill/>
          <a:ln w="317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 wrap="none" lIns="32632" tIns="32632" rIns="32632" bIns="32632" anchor="ctr"/>
          <a:lstStyle/>
          <a:p>
            <a:pPr defTabSz="891045"/>
            <a:endParaRPr lang="en-US" sz="1700" dirty="0">
              <a:solidFill>
                <a:srgbClr val="003149"/>
              </a:solidFill>
              <a:cs typeface="Arial" panose="020B0604020202020204" pitchFamily="34" charset="0"/>
            </a:endParaRPr>
          </a:p>
        </p:txBody>
      </p:sp>
      <p:sp>
        <p:nvSpPr>
          <p:cNvPr id="196" name="Freeform 1032"/>
          <p:cNvSpPr>
            <a:spLocks noChangeAspect="1"/>
          </p:cNvSpPr>
          <p:nvPr/>
        </p:nvSpPr>
        <p:spPr bwMode="gray">
          <a:xfrm>
            <a:off x="6312472" y="4259721"/>
            <a:ext cx="90987" cy="278358"/>
          </a:xfrm>
          <a:custGeom>
            <a:avLst/>
            <a:gdLst>
              <a:gd name="T0" fmla="*/ 1388271498 w 99"/>
              <a:gd name="T1" fmla="*/ 1554520667 h 268"/>
              <a:gd name="T2" fmla="*/ 1388271498 w 99"/>
              <a:gd name="T3" fmla="*/ 1554520667 h 268"/>
              <a:gd name="T4" fmla="*/ 1388271498 w 99"/>
              <a:gd name="T5" fmla="*/ 1554520667 h 268"/>
              <a:gd name="T6" fmla="*/ 1388271498 w 99"/>
              <a:gd name="T7" fmla="*/ 1554520667 h 268"/>
              <a:gd name="T8" fmla="*/ 1388271498 w 99"/>
              <a:gd name="T9" fmla="*/ 1554520667 h 268"/>
              <a:gd name="T10" fmla="*/ 1388271498 w 99"/>
              <a:gd name="T11" fmla="*/ 1554520667 h 268"/>
              <a:gd name="T12" fmla="*/ 1388271498 w 99"/>
              <a:gd name="T13" fmla="*/ 1554520667 h 268"/>
              <a:gd name="T14" fmla="*/ 1388271498 w 99"/>
              <a:gd name="T15" fmla="*/ 1554520667 h 268"/>
              <a:gd name="T16" fmla="*/ 1388271498 w 99"/>
              <a:gd name="T17" fmla="*/ 1554520667 h 268"/>
              <a:gd name="T18" fmla="*/ 1388271498 w 99"/>
              <a:gd name="T19" fmla="*/ 1554520667 h 268"/>
              <a:gd name="T20" fmla="*/ 1388271498 w 99"/>
              <a:gd name="T21" fmla="*/ 1554520667 h 268"/>
              <a:gd name="T22" fmla="*/ 1388271498 w 99"/>
              <a:gd name="T23" fmla="*/ 1554520667 h 268"/>
              <a:gd name="T24" fmla="*/ 1388271498 w 99"/>
              <a:gd name="T25" fmla="*/ 1554520667 h 268"/>
              <a:gd name="T26" fmla="*/ 1388271498 w 99"/>
              <a:gd name="T27" fmla="*/ 1554520667 h 268"/>
              <a:gd name="T28" fmla="*/ 1388271498 w 99"/>
              <a:gd name="T29" fmla="*/ 1554520667 h 268"/>
              <a:gd name="T30" fmla="*/ 1388271498 w 99"/>
              <a:gd name="T31" fmla="*/ 1554520667 h 268"/>
              <a:gd name="T32" fmla="*/ 1388271498 w 99"/>
              <a:gd name="T33" fmla="*/ 1554520667 h 268"/>
              <a:gd name="T34" fmla="*/ 1388271498 w 99"/>
              <a:gd name="T35" fmla="*/ 1554520667 h 268"/>
              <a:gd name="T36" fmla="*/ 1388271498 w 99"/>
              <a:gd name="T37" fmla="*/ 1554520667 h 268"/>
              <a:gd name="T38" fmla="*/ 1388271498 w 99"/>
              <a:gd name="T39" fmla="*/ 1554520667 h 268"/>
              <a:gd name="T40" fmla="*/ 1388271498 w 99"/>
              <a:gd name="T41" fmla="*/ 1554520667 h 268"/>
              <a:gd name="T42" fmla="*/ 1388271498 w 99"/>
              <a:gd name="T43" fmla="*/ 1554520667 h 268"/>
              <a:gd name="T44" fmla="*/ 1388271498 w 99"/>
              <a:gd name="T45" fmla="*/ 1554520667 h 268"/>
              <a:gd name="T46" fmla="*/ 1388271498 w 99"/>
              <a:gd name="T47" fmla="*/ 1554520667 h 268"/>
              <a:gd name="T48" fmla="*/ 1388271498 w 99"/>
              <a:gd name="T49" fmla="*/ 1554520667 h 268"/>
              <a:gd name="T50" fmla="*/ 1388271498 w 99"/>
              <a:gd name="T51" fmla="*/ 1554520667 h 268"/>
              <a:gd name="T52" fmla="*/ 1388271498 w 99"/>
              <a:gd name="T53" fmla="*/ 1554520667 h 268"/>
              <a:gd name="T54" fmla="*/ 1388271498 w 99"/>
              <a:gd name="T55" fmla="*/ 1554520667 h 268"/>
              <a:gd name="T56" fmla="*/ 1388271498 w 99"/>
              <a:gd name="T57" fmla="*/ 1554520667 h 268"/>
              <a:gd name="T58" fmla="*/ 1388271498 w 99"/>
              <a:gd name="T59" fmla="*/ 1554520667 h 268"/>
              <a:gd name="T60" fmla="*/ 0 w 99"/>
              <a:gd name="T61" fmla="*/ 1554520667 h 268"/>
              <a:gd name="T62" fmla="*/ 1388271498 w 99"/>
              <a:gd name="T63" fmla="*/ 1554520667 h 268"/>
              <a:gd name="T64" fmla="*/ 1388271498 w 99"/>
              <a:gd name="T65" fmla="*/ 1554520667 h 268"/>
              <a:gd name="T66" fmla="*/ 1388271498 w 99"/>
              <a:gd name="T67" fmla="*/ 1554520667 h 268"/>
              <a:gd name="T68" fmla="*/ 1388271498 w 99"/>
              <a:gd name="T69" fmla="*/ 1554520667 h 268"/>
              <a:gd name="T70" fmla="*/ 1388271498 w 99"/>
              <a:gd name="T71" fmla="*/ 1554520667 h 268"/>
              <a:gd name="T72" fmla="*/ 1388271498 w 99"/>
              <a:gd name="T73" fmla="*/ 1554520667 h 268"/>
              <a:gd name="T74" fmla="*/ 1388271498 w 99"/>
              <a:gd name="T75" fmla="*/ 1554520667 h 268"/>
              <a:gd name="T76" fmla="*/ 1388271498 w 99"/>
              <a:gd name="T77" fmla="*/ 1554520667 h 268"/>
              <a:gd name="T78" fmla="*/ 1388271498 w 99"/>
              <a:gd name="T79" fmla="*/ 1554520667 h 268"/>
              <a:gd name="T80" fmla="*/ 1388271498 w 99"/>
              <a:gd name="T81" fmla="*/ 1554520667 h 268"/>
              <a:gd name="T82" fmla="*/ 1388271498 w 99"/>
              <a:gd name="T83" fmla="*/ 1554520667 h 268"/>
              <a:gd name="T84" fmla="*/ 1388271498 w 99"/>
              <a:gd name="T85" fmla="*/ 1554520667 h 268"/>
              <a:gd name="T86" fmla="*/ 1388271498 w 99"/>
              <a:gd name="T87" fmla="*/ 1554520667 h 268"/>
              <a:gd name="T88" fmla="*/ 1388271498 w 99"/>
              <a:gd name="T89" fmla="*/ 1554520667 h 268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w 99"/>
              <a:gd name="T136" fmla="*/ 0 h 268"/>
              <a:gd name="T137" fmla="*/ 99 w 99"/>
              <a:gd name="T138" fmla="*/ 268 h 268"/>
            </a:gdLst>
            <a:ahLst/>
            <a:cxnLst>
              <a:cxn ang="T90">
                <a:pos x="T0" y="T1"/>
              </a:cxn>
              <a:cxn ang="T91">
                <a:pos x="T2" y="T3"/>
              </a:cxn>
              <a:cxn ang="T92">
                <a:pos x="T4" y="T5"/>
              </a:cxn>
              <a:cxn ang="T93">
                <a:pos x="T6" y="T7"/>
              </a:cxn>
              <a:cxn ang="T94">
                <a:pos x="T8" y="T9"/>
              </a:cxn>
              <a:cxn ang="T95">
                <a:pos x="T10" y="T11"/>
              </a:cxn>
              <a:cxn ang="T96">
                <a:pos x="T12" y="T13"/>
              </a:cxn>
              <a:cxn ang="T97">
                <a:pos x="T14" y="T15"/>
              </a:cxn>
              <a:cxn ang="T98">
                <a:pos x="T16" y="T17"/>
              </a:cxn>
              <a:cxn ang="T99">
                <a:pos x="T18" y="T19"/>
              </a:cxn>
              <a:cxn ang="T100">
                <a:pos x="T20" y="T21"/>
              </a:cxn>
              <a:cxn ang="T101">
                <a:pos x="T22" y="T23"/>
              </a:cxn>
              <a:cxn ang="T102">
                <a:pos x="T24" y="T25"/>
              </a:cxn>
              <a:cxn ang="T103">
                <a:pos x="T26" y="T27"/>
              </a:cxn>
              <a:cxn ang="T104">
                <a:pos x="T28" y="T29"/>
              </a:cxn>
              <a:cxn ang="T105">
                <a:pos x="T30" y="T31"/>
              </a:cxn>
              <a:cxn ang="T106">
                <a:pos x="T32" y="T33"/>
              </a:cxn>
              <a:cxn ang="T107">
                <a:pos x="T34" y="T35"/>
              </a:cxn>
              <a:cxn ang="T108">
                <a:pos x="T36" y="T37"/>
              </a:cxn>
              <a:cxn ang="T109">
                <a:pos x="T38" y="T39"/>
              </a:cxn>
              <a:cxn ang="T110">
                <a:pos x="T40" y="T41"/>
              </a:cxn>
              <a:cxn ang="T111">
                <a:pos x="T42" y="T43"/>
              </a:cxn>
              <a:cxn ang="T112">
                <a:pos x="T44" y="T45"/>
              </a:cxn>
              <a:cxn ang="T113">
                <a:pos x="T46" y="T47"/>
              </a:cxn>
              <a:cxn ang="T114">
                <a:pos x="T48" y="T49"/>
              </a:cxn>
              <a:cxn ang="T115">
                <a:pos x="T50" y="T51"/>
              </a:cxn>
              <a:cxn ang="T116">
                <a:pos x="T52" y="T53"/>
              </a:cxn>
              <a:cxn ang="T117">
                <a:pos x="T54" y="T55"/>
              </a:cxn>
              <a:cxn ang="T118">
                <a:pos x="T56" y="T57"/>
              </a:cxn>
              <a:cxn ang="T119">
                <a:pos x="T58" y="T59"/>
              </a:cxn>
              <a:cxn ang="T120">
                <a:pos x="T60" y="T61"/>
              </a:cxn>
              <a:cxn ang="T121">
                <a:pos x="T62" y="T63"/>
              </a:cxn>
              <a:cxn ang="T122">
                <a:pos x="T64" y="T65"/>
              </a:cxn>
              <a:cxn ang="T123">
                <a:pos x="T66" y="T67"/>
              </a:cxn>
              <a:cxn ang="T124">
                <a:pos x="T68" y="T69"/>
              </a:cxn>
              <a:cxn ang="T125">
                <a:pos x="T70" y="T71"/>
              </a:cxn>
              <a:cxn ang="T126">
                <a:pos x="T72" y="T73"/>
              </a:cxn>
              <a:cxn ang="T127">
                <a:pos x="T74" y="T75"/>
              </a:cxn>
              <a:cxn ang="T128">
                <a:pos x="T76" y="T77"/>
              </a:cxn>
              <a:cxn ang="T129">
                <a:pos x="T78" y="T79"/>
              </a:cxn>
              <a:cxn ang="T130">
                <a:pos x="T80" y="T81"/>
              </a:cxn>
              <a:cxn ang="T131">
                <a:pos x="T82" y="T83"/>
              </a:cxn>
              <a:cxn ang="T132">
                <a:pos x="T84" y="T85"/>
              </a:cxn>
              <a:cxn ang="T133">
                <a:pos x="T86" y="T87"/>
              </a:cxn>
              <a:cxn ang="T134">
                <a:pos x="T88" y="T89"/>
              </a:cxn>
            </a:cxnLst>
            <a:rect l="T135" t="T136" r="T137" b="T138"/>
            <a:pathLst>
              <a:path w="99" h="268">
                <a:moveTo>
                  <a:pt x="81" y="268"/>
                </a:moveTo>
                <a:lnTo>
                  <a:pt x="78" y="268"/>
                </a:lnTo>
                <a:lnTo>
                  <a:pt x="75" y="265"/>
                </a:lnTo>
                <a:lnTo>
                  <a:pt x="70" y="261"/>
                </a:lnTo>
                <a:lnTo>
                  <a:pt x="65" y="256"/>
                </a:lnTo>
                <a:lnTo>
                  <a:pt x="63" y="252"/>
                </a:lnTo>
                <a:lnTo>
                  <a:pt x="60" y="249"/>
                </a:lnTo>
                <a:lnTo>
                  <a:pt x="56" y="248"/>
                </a:lnTo>
                <a:lnTo>
                  <a:pt x="52" y="245"/>
                </a:lnTo>
                <a:lnTo>
                  <a:pt x="48" y="243"/>
                </a:lnTo>
                <a:lnTo>
                  <a:pt x="50" y="242"/>
                </a:lnTo>
                <a:lnTo>
                  <a:pt x="50" y="238"/>
                </a:lnTo>
                <a:lnTo>
                  <a:pt x="54" y="238"/>
                </a:lnTo>
                <a:lnTo>
                  <a:pt x="56" y="234"/>
                </a:lnTo>
                <a:lnTo>
                  <a:pt x="57" y="232"/>
                </a:lnTo>
                <a:lnTo>
                  <a:pt x="59" y="230"/>
                </a:lnTo>
                <a:lnTo>
                  <a:pt x="63" y="230"/>
                </a:lnTo>
                <a:lnTo>
                  <a:pt x="65" y="228"/>
                </a:lnTo>
                <a:lnTo>
                  <a:pt x="68" y="228"/>
                </a:lnTo>
                <a:lnTo>
                  <a:pt x="70" y="226"/>
                </a:lnTo>
                <a:lnTo>
                  <a:pt x="71" y="225"/>
                </a:lnTo>
                <a:lnTo>
                  <a:pt x="74" y="223"/>
                </a:lnTo>
                <a:lnTo>
                  <a:pt x="74" y="220"/>
                </a:lnTo>
                <a:lnTo>
                  <a:pt x="74" y="216"/>
                </a:lnTo>
                <a:lnTo>
                  <a:pt x="72" y="210"/>
                </a:lnTo>
                <a:lnTo>
                  <a:pt x="72" y="204"/>
                </a:lnTo>
                <a:lnTo>
                  <a:pt x="72" y="198"/>
                </a:lnTo>
                <a:lnTo>
                  <a:pt x="73" y="194"/>
                </a:lnTo>
                <a:lnTo>
                  <a:pt x="72" y="191"/>
                </a:lnTo>
                <a:lnTo>
                  <a:pt x="74" y="188"/>
                </a:lnTo>
                <a:lnTo>
                  <a:pt x="71" y="186"/>
                </a:lnTo>
                <a:lnTo>
                  <a:pt x="69" y="184"/>
                </a:lnTo>
                <a:lnTo>
                  <a:pt x="66" y="182"/>
                </a:lnTo>
                <a:lnTo>
                  <a:pt x="63" y="180"/>
                </a:lnTo>
                <a:lnTo>
                  <a:pt x="60" y="177"/>
                </a:lnTo>
                <a:lnTo>
                  <a:pt x="57" y="176"/>
                </a:lnTo>
                <a:lnTo>
                  <a:pt x="56" y="173"/>
                </a:lnTo>
                <a:lnTo>
                  <a:pt x="52" y="171"/>
                </a:lnTo>
                <a:lnTo>
                  <a:pt x="52" y="167"/>
                </a:lnTo>
                <a:lnTo>
                  <a:pt x="50" y="163"/>
                </a:lnTo>
                <a:lnTo>
                  <a:pt x="48" y="161"/>
                </a:lnTo>
                <a:lnTo>
                  <a:pt x="48" y="155"/>
                </a:lnTo>
                <a:lnTo>
                  <a:pt x="44" y="151"/>
                </a:lnTo>
                <a:lnTo>
                  <a:pt x="44" y="146"/>
                </a:lnTo>
                <a:lnTo>
                  <a:pt x="43" y="142"/>
                </a:lnTo>
                <a:lnTo>
                  <a:pt x="41" y="141"/>
                </a:lnTo>
                <a:lnTo>
                  <a:pt x="39" y="137"/>
                </a:lnTo>
                <a:lnTo>
                  <a:pt x="36" y="134"/>
                </a:lnTo>
                <a:lnTo>
                  <a:pt x="34" y="132"/>
                </a:lnTo>
                <a:lnTo>
                  <a:pt x="32" y="129"/>
                </a:lnTo>
                <a:lnTo>
                  <a:pt x="30" y="126"/>
                </a:lnTo>
                <a:lnTo>
                  <a:pt x="27" y="124"/>
                </a:lnTo>
                <a:lnTo>
                  <a:pt x="27" y="120"/>
                </a:lnTo>
                <a:lnTo>
                  <a:pt x="23" y="119"/>
                </a:lnTo>
                <a:lnTo>
                  <a:pt x="21" y="117"/>
                </a:lnTo>
                <a:lnTo>
                  <a:pt x="18" y="114"/>
                </a:lnTo>
                <a:lnTo>
                  <a:pt x="16" y="112"/>
                </a:lnTo>
                <a:lnTo>
                  <a:pt x="14" y="111"/>
                </a:lnTo>
                <a:lnTo>
                  <a:pt x="10" y="109"/>
                </a:lnTo>
                <a:lnTo>
                  <a:pt x="3" y="108"/>
                </a:lnTo>
                <a:lnTo>
                  <a:pt x="1" y="107"/>
                </a:lnTo>
                <a:lnTo>
                  <a:pt x="0" y="103"/>
                </a:lnTo>
                <a:lnTo>
                  <a:pt x="5" y="98"/>
                </a:lnTo>
                <a:lnTo>
                  <a:pt x="11" y="94"/>
                </a:lnTo>
                <a:lnTo>
                  <a:pt x="17" y="91"/>
                </a:lnTo>
                <a:lnTo>
                  <a:pt x="20" y="87"/>
                </a:lnTo>
                <a:lnTo>
                  <a:pt x="25" y="84"/>
                </a:lnTo>
                <a:lnTo>
                  <a:pt x="27" y="81"/>
                </a:lnTo>
                <a:lnTo>
                  <a:pt x="28" y="77"/>
                </a:lnTo>
                <a:lnTo>
                  <a:pt x="28" y="70"/>
                </a:lnTo>
                <a:lnTo>
                  <a:pt x="27" y="67"/>
                </a:lnTo>
                <a:lnTo>
                  <a:pt x="29" y="61"/>
                </a:lnTo>
                <a:lnTo>
                  <a:pt x="32" y="56"/>
                </a:lnTo>
                <a:lnTo>
                  <a:pt x="33" y="53"/>
                </a:lnTo>
                <a:lnTo>
                  <a:pt x="38" y="53"/>
                </a:lnTo>
                <a:lnTo>
                  <a:pt x="42" y="54"/>
                </a:lnTo>
                <a:lnTo>
                  <a:pt x="52" y="55"/>
                </a:lnTo>
                <a:lnTo>
                  <a:pt x="62" y="52"/>
                </a:lnTo>
                <a:lnTo>
                  <a:pt x="83" y="48"/>
                </a:lnTo>
                <a:lnTo>
                  <a:pt x="94" y="46"/>
                </a:lnTo>
                <a:lnTo>
                  <a:pt x="99" y="43"/>
                </a:lnTo>
                <a:lnTo>
                  <a:pt x="99" y="38"/>
                </a:lnTo>
                <a:lnTo>
                  <a:pt x="98" y="32"/>
                </a:lnTo>
                <a:lnTo>
                  <a:pt x="97" y="29"/>
                </a:lnTo>
                <a:lnTo>
                  <a:pt x="94" y="26"/>
                </a:lnTo>
                <a:lnTo>
                  <a:pt x="92" y="20"/>
                </a:lnTo>
                <a:lnTo>
                  <a:pt x="91" y="16"/>
                </a:lnTo>
                <a:lnTo>
                  <a:pt x="92" y="11"/>
                </a:lnTo>
                <a:lnTo>
                  <a:pt x="94" y="9"/>
                </a:lnTo>
                <a:lnTo>
                  <a:pt x="95" y="4"/>
                </a:lnTo>
                <a:lnTo>
                  <a:pt x="95" y="0"/>
                </a:lnTo>
              </a:path>
            </a:pathLst>
          </a:custGeom>
          <a:noFill/>
          <a:ln w="317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 wrap="none" lIns="32632" tIns="32632" rIns="32632" bIns="32632" anchor="ctr"/>
          <a:lstStyle/>
          <a:p>
            <a:pPr defTabSz="891045"/>
            <a:endParaRPr lang="en-US" sz="1700" dirty="0">
              <a:solidFill>
                <a:srgbClr val="003149"/>
              </a:solidFill>
              <a:cs typeface="Arial" panose="020B0604020202020204" pitchFamily="34" charset="0"/>
            </a:endParaRPr>
          </a:p>
        </p:txBody>
      </p:sp>
      <p:sp>
        <p:nvSpPr>
          <p:cNvPr id="197" name="Freeform 1028"/>
          <p:cNvSpPr>
            <a:spLocks noChangeAspect="1"/>
          </p:cNvSpPr>
          <p:nvPr/>
        </p:nvSpPr>
        <p:spPr bwMode="gray">
          <a:xfrm>
            <a:off x="6382112" y="4163587"/>
            <a:ext cx="17060" cy="96134"/>
          </a:xfrm>
          <a:custGeom>
            <a:avLst/>
            <a:gdLst>
              <a:gd name="T0" fmla="*/ 1356304594 w 19"/>
              <a:gd name="T1" fmla="*/ 1563927417 h 92"/>
              <a:gd name="T2" fmla="*/ 1356304594 w 19"/>
              <a:gd name="T3" fmla="*/ 1563927417 h 92"/>
              <a:gd name="T4" fmla="*/ 1356304594 w 19"/>
              <a:gd name="T5" fmla="*/ 1563927417 h 92"/>
              <a:gd name="T6" fmla="*/ 1356304594 w 19"/>
              <a:gd name="T7" fmla="*/ 1563927417 h 92"/>
              <a:gd name="T8" fmla="*/ 1356304594 w 19"/>
              <a:gd name="T9" fmla="*/ 1563927417 h 92"/>
              <a:gd name="T10" fmla="*/ 1356304594 w 19"/>
              <a:gd name="T11" fmla="*/ 1563927417 h 92"/>
              <a:gd name="T12" fmla="*/ 1356304594 w 19"/>
              <a:gd name="T13" fmla="*/ 1563927417 h 92"/>
              <a:gd name="T14" fmla="*/ 1356304594 w 19"/>
              <a:gd name="T15" fmla="*/ 1563927417 h 92"/>
              <a:gd name="T16" fmla="*/ 1356304594 w 19"/>
              <a:gd name="T17" fmla="*/ 1563927417 h 92"/>
              <a:gd name="T18" fmla="*/ 1356304594 w 19"/>
              <a:gd name="T19" fmla="*/ 1563927417 h 92"/>
              <a:gd name="T20" fmla="*/ 1356304594 w 19"/>
              <a:gd name="T21" fmla="*/ 1563927417 h 92"/>
              <a:gd name="T22" fmla="*/ 1356304594 w 19"/>
              <a:gd name="T23" fmla="*/ 1563927417 h 92"/>
              <a:gd name="T24" fmla="*/ 1356304594 w 19"/>
              <a:gd name="T25" fmla="*/ 1563927417 h 92"/>
              <a:gd name="T26" fmla="*/ 1356304594 w 19"/>
              <a:gd name="T27" fmla="*/ 1563927417 h 92"/>
              <a:gd name="T28" fmla="*/ 1356304594 w 19"/>
              <a:gd name="T29" fmla="*/ 1563927417 h 92"/>
              <a:gd name="T30" fmla="*/ 1356304594 w 19"/>
              <a:gd name="T31" fmla="*/ 1563927417 h 92"/>
              <a:gd name="T32" fmla="*/ 1356304594 w 19"/>
              <a:gd name="T33" fmla="*/ 1563927417 h 92"/>
              <a:gd name="T34" fmla="*/ 1356304594 w 19"/>
              <a:gd name="T35" fmla="*/ 1563927417 h 92"/>
              <a:gd name="T36" fmla="*/ 1356304594 w 19"/>
              <a:gd name="T37" fmla="*/ 1563927417 h 92"/>
              <a:gd name="T38" fmla="*/ 1356304594 w 19"/>
              <a:gd name="T39" fmla="*/ 1563927417 h 92"/>
              <a:gd name="T40" fmla="*/ 1356304594 w 19"/>
              <a:gd name="T41" fmla="*/ 1563927417 h 92"/>
              <a:gd name="T42" fmla="*/ 1356304594 w 19"/>
              <a:gd name="T43" fmla="*/ 1563927417 h 92"/>
              <a:gd name="T44" fmla="*/ 1356304594 w 19"/>
              <a:gd name="T45" fmla="*/ 1563927417 h 92"/>
              <a:gd name="T46" fmla="*/ 1356304594 w 19"/>
              <a:gd name="T47" fmla="*/ 1563927417 h 92"/>
              <a:gd name="T48" fmla="*/ 1356304594 w 19"/>
              <a:gd name="T49" fmla="*/ 1563927417 h 92"/>
              <a:gd name="T50" fmla="*/ 0 w 19"/>
              <a:gd name="T51" fmla="*/ 0 h 92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w 19"/>
              <a:gd name="T79" fmla="*/ 0 h 92"/>
              <a:gd name="T80" fmla="*/ 19 w 19"/>
              <a:gd name="T81" fmla="*/ 92 h 92"/>
            </a:gdLst>
            <a:ahLst/>
            <a:cxnLst>
              <a:cxn ang="T52">
                <a:pos x="T0" y="T1"/>
              </a:cxn>
              <a:cxn ang="T53">
                <a:pos x="T2" y="T3"/>
              </a:cxn>
              <a:cxn ang="T54">
                <a:pos x="T4" y="T5"/>
              </a:cxn>
              <a:cxn ang="T55">
                <a:pos x="T6" y="T7"/>
              </a:cxn>
              <a:cxn ang="T56">
                <a:pos x="T8" y="T9"/>
              </a:cxn>
              <a:cxn ang="T57">
                <a:pos x="T10" y="T11"/>
              </a:cxn>
              <a:cxn ang="T58">
                <a:pos x="T12" y="T13"/>
              </a:cxn>
              <a:cxn ang="T59">
                <a:pos x="T14" y="T15"/>
              </a:cxn>
              <a:cxn ang="T60">
                <a:pos x="T16" y="T17"/>
              </a:cxn>
              <a:cxn ang="T61">
                <a:pos x="T18" y="T19"/>
              </a:cxn>
              <a:cxn ang="T62">
                <a:pos x="T20" y="T21"/>
              </a:cxn>
              <a:cxn ang="T63">
                <a:pos x="T22" y="T23"/>
              </a:cxn>
              <a:cxn ang="T64">
                <a:pos x="T24" y="T25"/>
              </a:cxn>
              <a:cxn ang="T65">
                <a:pos x="T26" y="T27"/>
              </a:cxn>
              <a:cxn ang="T66">
                <a:pos x="T28" y="T29"/>
              </a:cxn>
              <a:cxn ang="T67">
                <a:pos x="T30" y="T31"/>
              </a:cxn>
              <a:cxn ang="T68">
                <a:pos x="T32" y="T33"/>
              </a:cxn>
              <a:cxn ang="T69">
                <a:pos x="T34" y="T35"/>
              </a:cxn>
              <a:cxn ang="T70">
                <a:pos x="T36" y="T37"/>
              </a:cxn>
              <a:cxn ang="T71">
                <a:pos x="T38" y="T39"/>
              </a:cxn>
              <a:cxn ang="T72">
                <a:pos x="T40" y="T41"/>
              </a:cxn>
              <a:cxn ang="T73">
                <a:pos x="T42" y="T43"/>
              </a:cxn>
              <a:cxn ang="T74">
                <a:pos x="T44" y="T45"/>
              </a:cxn>
              <a:cxn ang="T75">
                <a:pos x="T46" y="T47"/>
              </a:cxn>
              <a:cxn ang="T76">
                <a:pos x="T48" y="T49"/>
              </a:cxn>
              <a:cxn ang="T77">
                <a:pos x="T50" y="T51"/>
              </a:cxn>
            </a:cxnLst>
            <a:rect l="T78" t="T79" r="T80" b="T81"/>
            <a:pathLst>
              <a:path w="19" h="92">
                <a:moveTo>
                  <a:pt x="19" y="92"/>
                </a:moveTo>
                <a:lnTo>
                  <a:pt x="17" y="88"/>
                </a:lnTo>
                <a:lnTo>
                  <a:pt x="14" y="84"/>
                </a:lnTo>
                <a:lnTo>
                  <a:pt x="13" y="79"/>
                </a:lnTo>
                <a:lnTo>
                  <a:pt x="15" y="72"/>
                </a:lnTo>
                <a:lnTo>
                  <a:pt x="17" y="67"/>
                </a:lnTo>
                <a:lnTo>
                  <a:pt x="16" y="64"/>
                </a:lnTo>
                <a:lnTo>
                  <a:pt x="14" y="62"/>
                </a:lnTo>
                <a:lnTo>
                  <a:pt x="12" y="59"/>
                </a:lnTo>
                <a:lnTo>
                  <a:pt x="12" y="56"/>
                </a:lnTo>
                <a:lnTo>
                  <a:pt x="13" y="52"/>
                </a:lnTo>
                <a:lnTo>
                  <a:pt x="15" y="51"/>
                </a:lnTo>
                <a:lnTo>
                  <a:pt x="16" y="48"/>
                </a:lnTo>
                <a:lnTo>
                  <a:pt x="15" y="43"/>
                </a:lnTo>
                <a:lnTo>
                  <a:pt x="13" y="41"/>
                </a:lnTo>
                <a:lnTo>
                  <a:pt x="10" y="38"/>
                </a:lnTo>
                <a:lnTo>
                  <a:pt x="9" y="36"/>
                </a:lnTo>
                <a:lnTo>
                  <a:pt x="6" y="34"/>
                </a:lnTo>
                <a:lnTo>
                  <a:pt x="6" y="29"/>
                </a:lnTo>
                <a:lnTo>
                  <a:pt x="7" y="23"/>
                </a:lnTo>
                <a:lnTo>
                  <a:pt x="7" y="18"/>
                </a:lnTo>
                <a:lnTo>
                  <a:pt x="6" y="14"/>
                </a:lnTo>
                <a:lnTo>
                  <a:pt x="4" y="10"/>
                </a:lnTo>
                <a:lnTo>
                  <a:pt x="1" y="8"/>
                </a:lnTo>
                <a:lnTo>
                  <a:pt x="1" y="4"/>
                </a:lnTo>
                <a:lnTo>
                  <a:pt x="0" y="0"/>
                </a:lnTo>
              </a:path>
            </a:pathLst>
          </a:custGeom>
          <a:noFill/>
          <a:ln w="317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 wrap="none" lIns="32632" tIns="32632" rIns="32632" bIns="32632" anchor="ctr"/>
          <a:lstStyle/>
          <a:p>
            <a:pPr defTabSz="891045"/>
            <a:endParaRPr lang="en-US" sz="1700" dirty="0">
              <a:solidFill>
                <a:srgbClr val="003149"/>
              </a:solidFill>
              <a:cs typeface="Arial" panose="020B0604020202020204" pitchFamily="34" charset="0"/>
            </a:endParaRPr>
          </a:p>
        </p:txBody>
      </p:sp>
      <p:sp>
        <p:nvSpPr>
          <p:cNvPr id="198" name="Freeform 339"/>
          <p:cNvSpPr>
            <a:spLocks noChangeAspect="1"/>
          </p:cNvSpPr>
          <p:nvPr/>
        </p:nvSpPr>
        <p:spPr bwMode="gray">
          <a:xfrm>
            <a:off x="2189625" y="3525106"/>
            <a:ext cx="24169" cy="12913"/>
          </a:xfrm>
          <a:custGeom>
            <a:avLst/>
            <a:gdLst>
              <a:gd name="T0" fmla="*/ 0 w 10000"/>
              <a:gd name="T1" fmla="*/ 0 h 6693"/>
              <a:gd name="T2" fmla="*/ 0 w 10000"/>
              <a:gd name="T3" fmla="*/ 0 h 6693"/>
              <a:gd name="T4" fmla="*/ 0 w 10000"/>
              <a:gd name="T5" fmla="*/ 0 h 6693"/>
              <a:gd name="T6" fmla="*/ 0 w 10000"/>
              <a:gd name="T7" fmla="*/ 0 h 6693"/>
              <a:gd name="T8" fmla="*/ 0 w 10000"/>
              <a:gd name="T9" fmla="*/ 0 h 6693"/>
              <a:gd name="T10" fmla="*/ 0 w 10000"/>
              <a:gd name="T11" fmla="*/ 0 h 6693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10000"/>
              <a:gd name="T19" fmla="*/ 0 h 6693"/>
              <a:gd name="T20" fmla="*/ 10000 w 10000"/>
              <a:gd name="T21" fmla="*/ 6693 h 6693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10000" h="6693">
                <a:moveTo>
                  <a:pt x="0" y="0"/>
                </a:moveTo>
                <a:lnTo>
                  <a:pt x="1489" y="1098"/>
                </a:lnTo>
                <a:lnTo>
                  <a:pt x="5193" y="448"/>
                </a:lnTo>
                <a:lnTo>
                  <a:pt x="8003" y="3031"/>
                </a:lnTo>
                <a:lnTo>
                  <a:pt x="9592" y="5001"/>
                </a:lnTo>
                <a:cubicBezTo>
                  <a:pt x="9913" y="5620"/>
                  <a:pt x="9817" y="6137"/>
                  <a:pt x="10000" y="6693"/>
                </a:cubicBezTo>
              </a:path>
            </a:pathLst>
          </a:custGeom>
          <a:noFill/>
          <a:ln w="317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 wrap="none" lIns="32632" tIns="32632" rIns="32632" bIns="32632" anchor="ctr"/>
          <a:lstStyle/>
          <a:p>
            <a:pPr defTabSz="891045"/>
            <a:endParaRPr lang="en-US" sz="1700" dirty="0">
              <a:solidFill>
                <a:srgbClr val="003149"/>
              </a:solidFill>
              <a:cs typeface="Arial" panose="020B0604020202020204" pitchFamily="34" charset="0"/>
            </a:endParaRPr>
          </a:p>
        </p:txBody>
      </p:sp>
      <p:sp>
        <p:nvSpPr>
          <p:cNvPr id="199" name="Freeform 340"/>
          <p:cNvSpPr>
            <a:spLocks noChangeAspect="1"/>
          </p:cNvSpPr>
          <p:nvPr/>
        </p:nvSpPr>
        <p:spPr bwMode="gray">
          <a:xfrm>
            <a:off x="2299070" y="3733135"/>
            <a:ext cx="27012" cy="20088"/>
          </a:xfrm>
          <a:custGeom>
            <a:avLst/>
            <a:gdLst>
              <a:gd name="T0" fmla="*/ 0 w 10000"/>
              <a:gd name="T1" fmla="*/ 0 h 10000"/>
              <a:gd name="T2" fmla="*/ 0 w 10000"/>
              <a:gd name="T3" fmla="*/ 0 h 10000"/>
              <a:gd name="T4" fmla="*/ 0 w 10000"/>
              <a:gd name="T5" fmla="*/ 0 h 10000"/>
              <a:gd name="T6" fmla="*/ 0 w 10000"/>
              <a:gd name="T7" fmla="*/ 0 h 10000"/>
              <a:gd name="T8" fmla="*/ 0 w 10000"/>
              <a:gd name="T9" fmla="*/ 0 h 10000"/>
              <a:gd name="T10" fmla="*/ 0 w 10000"/>
              <a:gd name="T11" fmla="*/ 0 h 10000"/>
              <a:gd name="T12" fmla="*/ 0 w 10000"/>
              <a:gd name="T13" fmla="*/ 0 h 10000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10000"/>
              <a:gd name="T22" fmla="*/ 0 h 10000"/>
              <a:gd name="T23" fmla="*/ 10000 w 10000"/>
              <a:gd name="T24" fmla="*/ 10000 h 10000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10000" h="10000">
                <a:moveTo>
                  <a:pt x="0" y="0"/>
                </a:moveTo>
                <a:lnTo>
                  <a:pt x="2440" y="1533"/>
                </a:lnTo>
                <a:lnTo>
                  <a:pt x="4221" y="3944"/>
                </a:lnTo>
                <a:lnTo>
                  <a:pt x="5088" y="7936"/>
                </a:lnTo>
                <a:cubicBezTo>
                  <a:pt x="5275" y="8613"/>
                  <a:pt x="5580" y="9249"/>
                  <a:pt x="5783" y="9784"/>
                </a:cubicBezTo>
                <a:lnTo>
                  <a:pt x="8510" y="9784"/>
                </a:lnTo>
                <a:cubicBezTo>
                  <a:pt x="9020" y="9817"/>
                  <a:pt x="9452" y="9983"/>
                  <a:pt x="10000" y="10000"/>
                </a:cubicBezTo>
              </a:path>
            </a:pathLst>
          </a:custGeom>
          <a:noFill/>
          <a:ln w="317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 wrap="none" lIns="32632" tIns="32632" rIns="32632" bIns="32632" anchor="ctr"/>
          <a:lstStyle/>
          <a:p>
            <a:pPr defTabSz="891045"/>
            <a:endParaRPr lang="en-US" sz="1700" dirty="0">
              <a:solidFill>
                <a:srgbClr val="003149"/>
              </a:solidFill>
              <a:cs typeface="Arial" panose="020B0604020202020204" pitchFamily="34" charset="0"/>
            </a:endParaRPr>
          </a:p>
        </p:txBody>
      </p:sp>
      <p:sp>
        <p:nvSpPr>
          <p:cNvPr id="200" name="Freeform 984"/>
          <p:cNvSpPr>
            <a:spLocks noChangeAspect="1"/>
          </p:cNvSpPr>
          <p:nvPr/>
        </p:nvSpPr>
        <p:spPr bwMode="gray">
          <a:xfrm>
            <a:off x="2627516" y="2510681"/>
            <a:ext cx="63975" cy="71741"/>
          </a:xfrm>
          <a:custGeom>
            <a:avLst/>
            <a:gdLst>
              <a:gd name="T0" fmla="*/ 0 w 9230"/>
              <a:gd name="T1" fmla="*/ 0 h 9856"/>
              <a:gd name="T2" fmla="*/ 0 w 9230"/>
              <a:gd name="T3" fmla="*/ 0 h 9856"/>
              <a:gd name="T4" fmla="*/ 0 w 9230"/>
              <a:gd name="T5" fmla="*/ 0 h 9856"/>
              <a:gd name="T6" fmla="*/ 0 w 9230"/>
              <a:gd name="T7" fmla="*/ 0 h 9856"/>
              <a:gd name="T8" fmla="*/ 0 w 9230"/>
              <a:gd name="T9" fmla="*/ 0 h 9856"/>
              <a:gd name="T10" fmla="*/ 0 w 9230"/>
              <a:gd name="T11" fmla="*/ 0 h 9856"/>
              <a:gd name="T12" fmla="*/ 0 w 9230"/>
              <a:gd name="T13" fmla="*/ 0 h 9856"/>
              <a:gd name="T14" fmla="*/ 0 w 9230"/>
              <a:gd name="T15" fmla="*/ 0 h 9856"/>
              <a:gd name="T16" fmla="*/ 0 w 9230"/>
              <a:gd name="T17" fmla="*/ 0 h 9856"/>
              <a:gd name="T18" fmla="*/ 0 w 9230"/>
              <a:gd name="T19" fmla="*/ 0 h 9856"/>
              <a:gd name="T20" fmla="*/ 0 w 9230"/>
              <a:gd name="T21" fmla="*/ 0 h 9856"/>
              <a:gd name="T22" fmla="*/ 0 w 9230"/>
              <a:gd name="T23" fmla="*/ 0 h 9856"/>
              <a:gd name="T24" fmla="*/ 0 w 9230"/>
              <a:gd name="T25" fmla="*/ 0 h 985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w 9230"/>
              <a:gd name="T40" fmla="*/ 0 h 9856"/>
              <a:gd name="T41" fmla="*/ 9230 w 9230"/>
              <a:gd name="T42" fmla="*/ 9856 h 985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T39" t="T40" r="T41" b="T42"/>
            <a:pathLst>
              <a:path w="9230" h="9856">
                <a:moveTo>
                  <a:pt x="8976" y="0"/>
                </a:moveTo>
                <a:cubicBezTo>
                  <a:pt x="9059" y="336"/>
                  <a:pt x="9147" y="676"/>
                  <a:pt x="9230" y="1013"/>
                </a:cubicBezTo>
                <a:lnTo>
                  <a:pt x="8848" y="1885"/>
                </a:lnTo>
                <a:cubicBezTo>
                  <a:pt x="8802" y="2223"/>
                  <a:pt x="8762" y="2562"/>
                  <a:pt x="8719" y="2899"/>
                </a:cubicBezTo>
                <a:cubicBezTo>
                  <a:pt x="8591" y="3235"/>
                  <a:pt x="8459" y="3574"/>
                  <a:pt x="8333" y="3912"/>
                </a:cubicBezTo>
                <a:lnTo>
                  <a:pt x="7051" y="4638"/>
                </a:lnTo>
                <a:lnTo>
                  <a:pt x="4999" y="4638"/>
                </a:lnTo>
                <a:lnTo>
                  <a:pt x="4485" y="5363"/>
                </a:lnTo>
                <a:lnTo>
                  <a:pt x="3973" y="6667"/>
                </a:lnTo>
                <a:lnTo>
                  <a:pt x="3461" y="7538"/>
                </a:lnTo>
                <a:lnTo>
                  <a:pt x="2179" y="8987"/>
                </a:lnTo>
                <a:lnTo>
                  <a:pt x="897" y="9856"/>
                </a:lnTo>
                <a:lnTo>
                  <a:pt x="0" y="9856"/>
                </a:lnTo>
              </a:path>
            </a:pathLst>
          </a:custGeom>
          <a:noFill/>
          <a:ln w="317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 wrap="none" lIns="32632" tIns="32632" rIns="32632" bIns="32632" anchor="ctr"/>
          <a:lstStyle/>
          <a:p>
            <a:pPr defTabSz="891045"/>
            <a:endParaRPr lang="en-US" sz="1700" dirty="0">
              <a:solidFill>
                <a:srgbClr val="003149"/>
              </a:solidFill>
              <a:cs typeface="Arial" panose="020B0604020202020204" pitchFamily="34" charset="0"/>
            </a:endParaRPr>
          </a:p>
        </p:txBody>
      </p:sp>
      <p:sp>
        <p:nvSpPr>
          <p:cNvPr id="201" name="Freeform 945"/>
          <p:cNvSpPr>
            <a:spLocks noChangeAspect="1"/>
          </p:cNvSpPr>
          <p:nvPr/>
        </p:nvSpPr>
        <p:spPr bwMode="gray">
          <a:xfrm>
            <a:off x="2570612" y="2535053"/>
            <a:ext cx="56867" cy="47350"/>
          </a:xfrm>
          <a:custGeom>
            <a:avLst/>
            <a:gdLst>
              <a:gd name="T0" fmla="*/ 0 w 11206"/>
              <a:gd name="T1" fmla="*/ 0 h 7914"/>
              <a:gd name="T2" fmla="*/ 0 w 11206"/>
              <a:gd name="T3" fmla="*/ 0 h 7914"/>
              <a:gd name="T4" fmla="*/ 0 w 11206"/>
              <a:gd name="T5" fmla="*/ 0 h 7914"/>
              <a:gd name="T6" fmla="*/ 0 w 11206"/>
              <a:gd name="T7" fmla="*/ 0 h 7914"/>
              <a:gd name="T8" fmla="*/ 0 w 11206"/>
              <a:gd name="T9" fmla="*/ 0 h 7914"/>
              <a:gd name="T10" fmla="*/ 0 w 11206"/>
              <a:gd name="T11" fmla="*/ 0 h 7914"/>
              <a:gd name="T12" fmla="*/ 0 w 11206"/>
              <a:gd name="T13" fmla="*/ 0 h 7914"/>
              <a:gd name="T14" fmla="*/ 0 w 11206"/>
              <a:gd name="T15" fmla="*/ 0 h 7914"/>
              <a:gd name="T16" fmla="*/ 0 w 11206"/>
              <a:gd name="T17" fmla="*/ 0 h 7914"/>
              <a:gd name="T18" fmla="*/ 0 w 11206"/>
              <a:gd name="T19" fmla="*/ 0 h 7914"/>
              <a:gd name="T20" fmla="*/ 0 w 11206"/>
              <a:gd name="T21" fmla="*/ 0 h 7914"/>
              <a:gd name="T22" fmla="*/ 0 w 11206"/>
              <a:gd name="T23" fmla="*/ 0 h 7914"/>
              <a:gd name="T24" fmla="*/ 0 w 11206"/>
              <a:gd name="T25" fmla="*/ 0 h 7914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w 11206"/>
              <a:gd name="T40" fmla="*/ 0 h 7914"/>
              <a:gd name="T41" fmla="*/ 11206 w 11206"/>
              <a:gd name="T42" fmla="*/ 7914 h 7914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T39" t="T40" r="T41" b="T42"/>
            <a:pathLst>
              <a:path w="11206" h="7914">
                <a:moveTo>
                  <a:pt x="11206" y="7914"/>
                </a:moveTo>
                <a:lnTo>
                  <a:pt x="10123" y="7900"/>
                </a:lnTo>
                <a:cubicBezTo>
                  <a:pt x="9853" y="7433"/>
                  <a:pt x="8924" y="7119"/>
                  <a:pt x="8653" y="6653"/>
                </a:cubicBezTo>
                <a:cubicBezTo>
                  <a:pt x="8565" y="6167"/>
                  <a:pt x="8478" y="5683"/>
                  <a:pt x="8390" y="5198"/>
                </a:cubicBezTo>
                <a:lnTo>
                  <a:pt x="7100" y="5198"/>
                </a:lnTo>
                <a:lnTo>
                  <a:pt x="5443" y="4852"/>
                </a:lnTo>
                <a:lnTo>
                  <a:pt x="4153" y="4332"/>
                </a:lnTo>
                <a:lnTo>
                  <a:pt x="3601" y="3811"/>
                </a:lnTo>
                <a:lnTo>
                  <a:pt x="3601" y="2772"/>
                </a:lnTo>
                <a:lnTo>
                  <a:pt x="3048" y="2080"/>
                </a:lnTo>
                <a:lnTo>
                  <a:pt x="2128" y="2080"/>
                </a:lnTo>
                <a:lnTo>
                  <a:pt x="1206" y="1213"/>
                </a:lnTo>
                <a:lnTo>
                  <a:pt x="0" y="0"/>
                </a:lnTo>
              </a:path>
            </a:pathLst>
          </a:custGeom>
          <a:noFill/>
          <a:ln w="317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 wrap="none" lIns="32632" tIns="32632" rIns="32632" bIns="32632" anchor="ctr"/>
          <a:lstStyle/>
          <a:p>
            <a:pPr defTabSz="891045"/>
            <a:endParaRPr lang="en-US" sz="1700" dirty="0">
              <a:solidFill>
                <a:srgbClr val="003149"/>
              </a:solidFill>
              <a:cs typeface="Arial" panose="020B0604020202020204" pitchFamily="34" charset="0"/>
            </a:endParaRPr>
          </a:p>
        </p:txBody>
      </p:sp>
      <p:sp>
        <p:nvSpPr>
          <p:cNvPr id="202" name="Freeform 808"/>
          <p:cNvSpPr>
            <a:spLocks noChangeAspect="1"/>
          </p:cNvSpPr>
          <p:nvPr>
            <p:custDataLst>
              <p:tags r:id="rId102"/>
            </p:custDataLst>
          </p:nvPr>
        </p:nvSpPr>
        <p:spPr bwMode="gray">
          <a:xfrm>
            <a:off x="6103478" y="3816379"/>
            <a:ext cx="167758" cy="261140"/>
          </a:xfrm>
          <a:custGeom>
            <a:avLst/>
            <a:gdLst>
              <a:gd name="T0" fmla="*/ 0 w 10000"/>
              <a:gd name="T1" fmla="*/ 0 h 9976"/>
              <a:gd name="T2" fmla="*/ 0 w 10000"/>
              <a:gd name="T3" fmla="*/ 0 h 9976"/>
              <a:gd name="T4" fmla="*/ 0 w 10000"/>
              <a:gd name="T5" fmla="*/ 0 h 9976"/>
              <a:gd name="T6" fmla="*/ 0 w 10000"/>
              <a:gd name="T7" fmla="*/ 0 h 9976"/>
              <a:gd name="T8" fmla="*/ 0 w 10000"/>
              <a:gd name="T9" fmla="*/ 0 h 9976"/>
              <a:gd name="T10" fmla="*/ 0 w 10000"/>
              <a:gd name="T11" fmla="*/ 0 h 9976"/>
              <a:gd name="T12" fmla="*/ 0 w 10000"/>
              <a:gd name="T13" fmla="*/ 0 h 9976"/>
              <a:gd name="T14" fmla="*/ 0 w 10000"/>
              <a:gd name="T15" fmla="*/ 0 h 9976"/>
              <a:gd name="T16" fmla="*/ 0 w 10000"/>
              <a:gd name="T17" fmla="*/ 0 h 9976"/>
              <a:gd name="T18" fmla="*/ 0 w 10000"/>
              <a:gd name="T19" fmla="*/ 0 h 9976"/>
              <a:gd name="T20" fmla="*/ 0 w 10000"/>
              <a:gd name="T21" fmla="*/ 0 h 9976"/>
              <a:gd name="T22" fmla="*/ 0 w 10000"/>
              <a:gd name="T23" fmla="*/ 0 h 9976"/>
              <a:gd name="T24" fmla="*/ 0 w 10000"/>
              <a:gd name="T25" fmla="*/ 0 h 9976"/>
              <a:gd name="T26" fmla="*/ 0 w 10000"/>
              <a:gd name="T27" fmla="*/ 0 h 9976"/>
              <a:gd name="T28" fmla="*/ 0 w 10000"/>
              <a:gd name="T29" fmla="*/ 0 h 9976"/>
              <a:gd name="T30" fmla="*/ 0 w 10000"/>
              <a:gd name="T31" fmla="*/ 0 h 9976"/>
              <a:gd name="T32" fmla="*/ 0 w 10000"/>
              <a:gd name="T33" fmla="*/ 0 h 9976"/>
              <a:gd name="T34" fmla="*/ 0 w 10000"/>
              <a:gd name="T35" fmla="*/ 0 h 9976"/>
              <a:gd name="T36" fmla="*/ 0 w 10000"/>
              <a:gd name="T37" fmla="*/ 0 h 9976"/>
              <a:gd name="T38" fmla="*/ 0 w 10000"/>
              <a:gd name="T39" fmla="*/ 0 h 9976"/>
              <a:gd name="T40" fmla="*/ 0 w 10000"/>
              <a:gd name="T41" fmla="*/ 0 h 9976"/>
              <a:gd name="T42" fmla="*/ 0 w 10000"/>
              <a:gd name="T43" fmla="*/ 0 h 9976"/>
              <a:gd name="T44" fmla="*/ 0 w 10000"/>
              <a:gd name="T45" fmla="*/ 0 h 9976"/>
              <a:gd name="T46" fmla="*/ 0 w 10000"/>
              <a:gd name="T47" fmla="*/ 0 h 9976"/>
              <a:gd name="T48" fmla="*/ 0 w 10000"/>
              <a:gd name="T49" fmla="*/ 0 h 9976"/>
              <a:gd name="T50" fmla="*/ 0 w 10000"/>
              <a:gd name="T51" fmla="*/ 0 h 9976"/>
              <a:gd name="T52" fmla="*/ 0 w 10000"/>
              <a:gd name="T53" fmla="*/ 0 h 9976"/>
              <a:gd name="T54" fmla="*/ 0 w 10000"/>
              <a:gd name="T55" fmla="*/ 0 h 9976"/>
              <a:gd name="T56" fmla="*/ 0 w 10000"/>
              <a:gd name="T57" fmla="*/ 0 h 9976"/>
              <a:gd name="T58" fmla="*/ 0 w 10000"/>
              <a:gd name="T59" fmla="*/ 0 h 9976"/>
              <a:gd name="T60" fmla="*/ 0 w 10000"/>
              <a:gd name="T61" fmla="*/ 0 h 9976"/>
              <a:gd name="T62" fmla="*/ 0 w 10000"/>
              <a:gd name="T63" fmla="*/ 0 h 9976"/>
              <a:gd name="T64" fmla="*/ 0 w 10000"/>
              <a:gd name="T65" fmla="*/ 0 h 9976"/>
              <a:gd name="T66" fmla="*/ 0 w 10000"/>
              <a:gd name="T67" fmla="*/ 0 h 9976"/>
              <a:gd name="T68" fmla="*/ 0 w 10000"/>
              <a:gd name="T69" fmla="*/ 0 h 9976"/>
              <a:gd name="T70" fmla="*/ 0 w 10000"/>
              <a:gd name="T71" fmla="*/ 0 h 9976"/>
              <a:gd name="T72" fmla="*/ 0 w 10000"/>
              <a:gd name="T73" fmla="*/ 0 h 9976"/>
              <a:gd name="T74" fmla="*/ 0 w 10000"/>
              <a:gd name="T75" fmla="*/ 0 h 9976"/>
              <a:gd name="T76" fmla="*/ 0 w 10000"/>
              <a:gd name="T77" fmla="*/ 0 h 9976"/>
              <a:gd name="T78" fmla="*/ 0 w 10000"/>
              <a:gd name="T79" fmla="*/ 0 h 9976"/>
              <a:gd name="T80" fmla="*/ 0 w 10000"/>
              <a:gd name="T81" fmla="*/ 0 h 9976"/>
              <a:gd name="T82" fmla="*/ 0 w 10000"/>
              <a:gd name="T83" fmla="*/ 0 h 9976"/>
              <a:gd name="T84" fmla="*/ 0 w 10000"/>
              <a:gd name="T85" fmla="*/ 0 h 9976"/>
              <a:gd name="T86" fmla="*/ 0 w 10000"/>
              <a:gd name="T87" fmla="*/ 0 h 9976"/>
              <a:gd name="T88" fmla="*/ 0 w 10000"/>
              <a:gd name="T89" fmla="*/ 0 h 997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w 10000"/>
              <a:gd name="T136" fmla="*/ 0 h 9976"/>
              <a:gd name="T137" fmla="*/ 10000 w 10000"/>
              <a:gd name="T138" fmla="*/ 9976 h 9976"/>
            </a:gdLst>
            <a:ahLst/>
            <a:cxnLst>
              <a:cxn ang="T90">
                <a:pos x="T0" y="T1"/>
              </a:cxn>
              <a:cxn ang="T91">
                <a:pos x="T2" y="T3"/>
              </a:cxn>
              <a:cxn ang="T92">
                <a:pos x="T4" y="T5"/>
              </a:cxn>
              <a:cxn ang="T93">
                <a:pos x="T6" y="T7"/>
              </a:cxn>
              <a:cxn ang="T94">
                <a:pos x="T8" y="T9"/>
              </a:cxn>
              <a:cxn ang="T95">
                <a:pos x="T10" y="T11"/>
              </a:cxn>
              <a:cxn ang="T96">
                <a:pos x="T12" y="T13"/>
              </a:cxn>
              <a:cxn ang="T97">
                <a:pos x="T14" y="T15"/>
              </a:cxn>
              <a:cxn ang="T98">
                <a:pos x="T16" y="T17"/>
              </a:cxn>
              <a:cxn ang="T99">
                <a:pos x="T18" y="T19"/>
              </a:cxn>
              <a:cxn ang="T100">
                <a:pos x="T20" y="T21"/>
              </a:cxn>
              <a:cxn ang="T101">
                <a:pos x="T22" y="T23"/>
              </a:cxn>
              <a:cxn ang="T102">
                <a:pos x="T24" y="T25"/>
              </a:cxn>
              <a:cxn ang="T103">
                <a:pos x="T26" y="T27"/>
              </a:cxn>
              <a:cxn ang="T104">
                <a:pos x="T28" y="T29"/>
              </a:cxn>
              <a:cxn ang="T105">
                <a:pos x="T30" y="T31"/>
              </a:cxn>
              <a:cxn ang="T106">
                <a:pos x="T32" y="T33"/>
              </a:cxn>
              <a:cxn ang="T107">
                <a:pos x="T34" y="T35"/>
              </a:cxn>
              <a:cxn ang="T108">
                <a:pos x="T36" y="T37"/>
              </a:cxn>
              <a:cxn ang="T109">
                <a:pos x="T38" y="T39"/>
              </a:cxn>
              <a:cxn ang="T110">
                <a:pos x="T40" y="T41"/>
              </a:cxn>
              <a:cxn ang="T111">
                <a:pos x="T42" y="T43"/>
              </a:cxn>
              <a:cxn ang="T112">
                <a:pos x="T44" y="T45"/>
              </a:cxn>
              <a:cxn ang="T113">
                <a:pos x="T46" y="T47"/>
              </a:cxn>
              <a:cxn ang="T114">
                <a:pos x="T48" y="T49"/>
              </a:cxn>
              <a:cxn ang="T115">
                <a:pos x="T50" y="T51"/>
              </a:cxn>
              <a:cxn ang="T116">
                <a:pos x="T52" y="T53"/>
              </a:cxn>
              <a:cxn ang="T117">
                <a:pos x="T54" y="T55"/>
              </a:cxn>
              <a:cxn ang="T118">
                <a:pos x="T56" y="T57"/>
              </a:cxn>
              <a:cxn ang="T119">
                <a:pos x="T58" y="T59"/>
              </a:cxn>
              <a:cxn ang="T120">
                <a:pos x="T60" y="T61"/>
              </a:cxn>
              <a:cxn ang="T121">
                <a:pos x="T62" y="T63"/>
              </a:cxn>
              <a:cxn ang="T122">
                <a:pos x="T64" y="T65"/>
              </a:cxn>
              <a:cxn ang="T123">
                <a:pos x="T66" y="T67"/>
              </a:cxn>
              <a:cxn ang="T124">
                <a:pos x="T68" y="T69"/>
              </a:cxn>
              <a:cxn ang="T125">
                <a:pos x="T70" y="T71"/>
              </a:cxn>
              <a:cxn ang="T126">
                <a:pos x="T72" y="T73"/>
              </a:cxn>
              <a:cxn ang="T127">
                <a:pos x="T74" y="T75"/>
              </a:cxn>
              <a:cxn ang="T128">
                <a:pos x="T76" y="T77"/>
              </a:cxn>
              <a:cxn ang="T129">
                <a:pos x="T78" y="T79"/>
              </a:cxn>
              <a:cxn ang="T130">
                <a:pos x="T80" y="T81"/>
              </a:cxn>
              <a:cxn ang="T131">
                <a:pos x="T82" y="T83"/>
              </a:cxn>
              <a:cxn ang="T132">
                <a:pos x="T84" y="T85"/>
              </a:cxn>
              <a:cxn ang="T133">
                <a:pos x="T86" y="T87"/>
              </a:cxn>
              <a:cxn ang="T134">
                <a:pos x="T88" y="T89"/>
              </a:cxn>
            </a:cxnLst>
            <a:rect l="T135" t="T136" r="T137" b="T138"/>
            <a:pathLst>
              <a:path w="10000" h="9976">
                <a:moveTo>
                  <a:pt x="4286" y="9976"/>
                </a:moveTo>
                <a:lnTo>
                  <a:pt x="3854" y="9710"/>
                </a:lnTo>
                <a:lnTo>
                  <a:pt x="3189" y="9347"/>
                </a:lnTo>
                <a:lnTo>
                  <a:pt x="2857" y="9228"/>
                </a:lnTo>
                <a:lnTo>
                  <a:pt x="2558" y="8986"/>
                </a:lnTo>
                <a:lnTo>
                  <a:pt x="2093" y="8865"/>
                </a:lnTo>
                <a:lnTo>
                  <a:pt x="1860" y="8817"/>
                </a:lnTo>
                <a:lnTo>
                  <a:pt x="1528" y="8792"/>
                </a:lnTo>
                <a:cubicBezTo>
                  <a:pt x="1517" y="8695"/>
                  <a:pt x="1506" y="8599"/>
                  <a:pt x="1495" y="8502"/>
                </a:cubicBezTo>
                <a:lnTo>
                  <a:pt x="1063" y="8212"/>
                </a:lnTo>
                <a:lnTo>
                  <a:pt x="631" y="7947"/>
                </a:lnTo>
                <a:lnTo>
                  <a:pt x="465" y="7706"/>
                </a:lnTo>
                <a:cubicBezTo>
                  <a:pt x="399" y="7617"/>
                  <a:pt x="332" y="7529"/>
                  <a:pt x="266" y="7440"/>
                </a:cubicBezTo>
                <a:lnTo>
                  <a:pt x="0" y="7246"/>
                </a:lnTo>
                <a:lnTo>
                  <a:pt x="66" y="6835"/>
                </a:lnTo>
                <a:cubicBezTo>
                  <a:pt x="55" y="6666"/>
                  <a:pt x="44" y="6498"/>
                  <a:pt x="33" y="6329"/>
                </a:cubicBezTo>
                <a:lnTo>
                  <a:pt x="66" y="5990"/>
                </a:lnTo>
                <a:lnTo>
                  <a:pt x="664" y="5532"/>
                </a:lnTo>
                <a:cubicBezTo>
                  <a:pt x="675" y="5419"/>
                  <a:pt x="687" y="5306"/>
                  <a:pt x="698" y="5194"/>
                </a:cubicBezTo>
                <a:lnTo>
                  <a:pt x="930" y="4879"/>
                </a:lnTo>
                <a:lnTo>
                  <a:pt x="1296" y="4589"/>
                </a:lnTo>
                <a:lnTo>
                  <a:pt x="1794" y="4155"/>
                </a:lnTo>
                <a:lnTo>
                  <a:pt x="2425" y="4179"/>
                </a:lnTo>
                <a:lnTo>
                  <a:pt x="2890" y="4058"/>
                </a:lnTo>
                <a:lnTo>
                  <a:pt x="3555" y="3744"/>
                </a:lnTo>
                <a:lnTo>
                  <a:pt x="4252" y="3527"/>
                </a:lnTo>
                <a:lnTo>
                  <a:pt x="4817" y="3188"/>
                </a:lnTo>
                <a:lnTo>
                  <a:pt x="5116" y="2827"/>
                </a:lnTo>
                <a:lnTo>
                  <a:pt x="5482" y="2681"/>
                </a:lnTo>
                <a:lnTo>
                  <a:pt x="6047" y="2367"/>
                </a:lnTo>
                <a:lnTo>
                  <a:pt x="5847" y="2198"/>
                </a:lnTo>
                <a:cubicBezTo>
                  <a:pt x="5781" y="2125"/>
                  <a:pt x="5714" y="2053"/>
                  <a:pt x="5648" y="1980"/>
                </a:cubicBezTo>
                <a:cubicBezTo>
                  <a:pt x="5604" y="1884"/>
                  <a:pt x="5559" y="1788"/>
                  <a:pt x="5515" y="1691"/>
                </a:cubicBezTo>
                <a:cubicBezTo>
                  <a:pt x="5482" y="1570"/>
                  <a:pt x="5448" y="1450"/>
                  <a:pt x="5415" y="1329"/>
                </a:cubicBezTo>
                <a:cubicBezTo>
                  <a:pt x="5448" y="1208"/>
                  <a:pt x="5482" y="1087"/>
                  <a:pt x="5515" y="966"/>
                </a:cubicBezTo>
                <a:lnTo>
                  <a:pt x="6080" y="966"/>
                </a:lnTo>
                <a:lnTo>
                  <a:pt x="6844" y="845"/>
                </a:lnTo>
                <a:lnTo>
                  <a:pt x="7243" y="652"/>
                </a:lnTo>
                <a:lnTo>
                  <a:pt x="8007" y="749"/>
                </a:lnTo>
                <a:lnTo>
                  <a:pt x="8538" y="700"/>
                </a:lnTo>
                <a:lnTo>
                  <a:pt x="9535" y="484"/>
                </a:lnTo>
                <a:lnTo>
                  <a:pt x="10000" y="411"/>
                </a:lnTo>
                <a:lnTo>
                  <a:pt x="9900" y="218"/>
                </a:lnTo>
                <a:lnTo>
                  <a:pt x="9635" y="97"/>
                </a:lnTo>
                <a:lnTo>
                  <a:pt x="9100" y="0"/>
                </a:lnTo>
              </a:path>
            </a:pathLst>
          </a:custGeom>
          <a:noFill/>
          <a:ln w="3175" cap="flat" cmpd="sng">
            <a:solidFill>
              <a:srgbClr val="D9EAF7"/>
            </a:solidFill>
            <a:prstDash val="solid"/>
            <a:round/>
            <a:headEnd type="none" w="med" len="med"/>
            <a:tailEnd type="none" w="med" len="med"/>
          </a:ln>
        </p:spPr>
        <p:txBody>
          <a:bodyPr wrap="none" lIns="32632" tIns="32632" rIns="32632" bIns="32632" anchor="ctr"/>
          <a:lstStyle/>
          <a:p>
            <a:pPr defTabSz="891045"/>
            <a:endParaRPr lang="en-US" sz="1700" dirty="0">
              <a:solidFill>
                <a:srgbClr val="003149"/>
              </a:solidFill>
              <a:cs typeface="Arial" panose="020B0604020202020204" pitchFamily="34" charset="0"/>
            </a:endParaRPr>
          </a:p>
        </p:txBody>
      </p:sp>
      <p:sp>
        <p:nvSpPr>
          <p:cNvPr id="203" name="Freeform 811"/>
          <p:cNvSpPr>
            <a:spLocks noChangeAspect="1"/>
          </p:cNvSpPr>
          <p:nvPr>
            <p:custDataLst>
              <p:tags r:id="rId103"/>
            </p:custDataLst>
          </p:nvPr>
        </p:nvSpPr>
        <p:spPr bwMode="gray">
          <a:xfrm>
            <a:off x="6174570" y="4077496"/>
            <a:ext cx="157805" cy="18653"/>
          </a:xfrm>
          <a:custGeom>
            <a:avLst/>
            <a:gdLst>
              <a:gd name="T0" fmla="*/ 0 w 852"/>
              <a:gd name="T1" fmla="*/ 0 h 105"/>
              <a:gd name="T2" fmla="*/ 0 w 852"/>
              <a:gd name="T3" fmla="*/ 0 h 105"/>
              <a:gd name="T4" fmla="*/ 0 w 852"/>
              <a:gd name="T5" fmla="*/ 0 h 105"/>
              <a:gd name="T6" fmla="*/ 0 w 852"/>
              <a:gd name="T7" fmla="*/ 0 h 105"/>
              <a:gd name="T8" fmla="*/ 0 w 852"/>
              <a:gd name="T9" fmla="*/ 0 h 105"/>
              <a:gd name="T10" fmla="*/ 0 w 852"/>
              <a:gd name="T11" fmla="*/ 0 h 105"/>
              <a:gd name="T12" fmla="*/ 0 w 852"/>
              <a:gd name="T13" fmla="*/ 0 h 105"/>
              <a:gd name="T14" fmla="*/ 0 w 852"/>
              <a:gd name="T15" fmla="*/ 0 h 105"/>
              <a:gd name="T16" fmla="*/ 0 w 852"/>
              <a:gd name="T17" fmla="*/ 0 h 105"/>
              <a:gd name="T18" fmla="*/ 0 w 852"/>
              <a:gd name="T19" fmla="*/ 0 h 105"/>
              <a:gd name="T20" fmla="*/ 0 w 852"/>
              <a:gd name="T21" fmla="*/ 0 h 105"/>
              <a:gd name="T22" fmla="*/ 0 w 852"/>
              <a:gd name="T23" fmla="*/ 0 h 105"/>
              <a:gd name="T24" fmla="*/ 0 w 852"/>
              <a:gd name="T25" fmla="*/ 0 h 105"/>
              <a:gd name="T26" fmla="*/ 0 w 852"/>
              <a:gd name="T27" fmla="*/ 0 h 105"/>
              <a:gd name="T28" fmla="*/ 0 w 852"/>
              <a:gd name="T29" fmla="*/ 0 h 105"/>
              <a:gd name="T30" fmla="*/ 0 w 852"/>
              <a:gd name="T31" fmla="*/ 0 h 105"/>
              <a:gd name="T32" fmla="*/ 0 w 852"/>
              <a:gd name="T33" fmla="*/ 0 h 105"/>
              <a:gd name="T34" fmla="*/ 0 w 852"/>
              <a:gd name="T35" fmla="*/ 0 h 105"/>
              <a:gd name="T36" fmla="*/ 0 w 852"/>
              <a:gd name="T37" fmla="*/ 0 h 105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w 852"/>
              <a:gd name="T58" fmla="*/ 0 h 105"/>
              <a:gd name="T59" fmla="*/ 852 w 852"/>
              <a:gd name="T60" fmla="*/ 105 h 105"/>
            </a:gdLst>
            <a:ahLst/>
            <a:cxnLst>
              <a:cxn ang="T38">
                <a:pos x="T0" y="T1"/>
              </a:cxn>
              <a:cxn ang="T39">
                <a:pos x="T2" y="T3"/>
              </a:cxn>
              <a:cxn ang="T40">
                <a:pos x="T4" y="T5"/>
              </a:cxn>
              <a:cxn ang="T41">
                <a:pos x="T6" y="T7"/>
              </a:cxn>
              <a:cxn ang="T42">
                <a:pos x="T8" y="T9"/>
              </a:cxn>
              <a:cxn ang="T43">
                <a:pos x="T10" y="T11"/>
              </a:cxn>
              <a:cxn ang="T44">
                <a:pos x="T12" y="T13"/>
              </a:cxn>
              <a:cxn ang="T45">
                <a:pos x="T14" y="T15"/>
              </a:cxn>
              <a:cxn ang="T46">
                <a:pos x="T16" y="T17"/>
              </a:cxn>
              <a:cxn ang="T47">
                <a:pos x="T18" y="T19"/>
              </a:cxn>
              <a:cxn ang="T48">
                <a:pos x="T20" y="T21"/>
              </a:cxn>
              <a:cxn ang="T49">
                <a:pos x="T22" y="T23"/>
              </a:cxn>
              <a:cxn ang="T50">
                <a:pos x="T24" y="T25"/>
              </a:cxn>
              <a:cxn ang="T51">
                <a:pos x="T26" y="T27"/>
              </a:cxn>
              <a:cxn ang="T52">
                <a:pos x="T28" y="T29"/>
              </a:cxn>
              <a:cxn ang="T53">
                <a:pos x="T30" y="T31"/>
              </a:cxn>
              <a:cxn ang="T54">
                <a:pos x="T32" y="T33"/>
              </a:cxn>
              <a:cxn ang="T55">
                <a:pos x="T34" y="T35"/>
              </a:cxn>
              <a:cxn ang="T56">
                <a:pos x="T36" y="T37"/>
              </a:cxn>
            </a:cxnLst>
            <a:rect l="T57" t="T58" r="T59" b="T60"/>
            <a:pathLst>
              <a:path w="852" h="105">
                <a:moveTo>
                  <a:pt x="852" y="57"/>
                </a:moveTo>
                <a:lnTo>
                  <a:pt x="819" y="24"/>
                </a:lnTo>
                <a:lnTo>
                  <a:pt x="771" y="57"/>
                </a:lnTo>
                <a:lnTo>
                  <a:pt x="702" y="93"/>
                </a:lnTo>
                <a:lnTo>
                  <a:pt x="645" y="105"/>
                </a:lnTo>
                <a:lnTo>
                  <a:pt x="558" y="93"/>
                </a:lnTo>
                <a:lnTo>
                  <a:pt x="495" y="69"/>
                </a:lnTo>
                <a:lnTo>
                  <a:pt x="456" y="48"/>
                </a:lnTo>
                <a:lnTo>
                  <a:pt x="426" y="48"/>
                </a:lnTo>
                <a:lnTo>
                  <a:pt x="378" y="27"/>
                </a:lnTo>
                <a:lnTo>
                  <a:pt x="333" y="15"/>
                </a:lnTo>
                <a:lnTo>
                  <a:pt x="276" y="6"/>
                </a:lnTo>
                <a:lnTo>
                  <a:pt x="201" y="6"/>
                </a:lnTo>
                <a:lnTo>
                  <a:pt x="141" y="15"/>
                </a:lnTo>
                <a:lnTo>
                  <a:pt x="99" y="21"/>
                </a:lnTo>
                <a:lnTo>
                  <a:pt x="60" y="21"/>
                </a:lnTo>
                <a:lnTo>
                  <a:pt x="36" y="21"/>
                </a:lnTo>
                <a:lnTo>
                  <a:pt x="15" y="15"/>
                </a:lnTo>
                <a:lnTo>
                  <a:pt x="0" y="0"/>
                </a:lnTo>
              </a:path>
            </a:pathLst>
          </a:custGeom>
          <a:noFill/>
          <a:ln w="3175" cap="flat" cmpd="sng">
            <a:solidFill>
              <a:srgbClr val="D9EAF7"/>
            </a:solidFill>
            <a:prstDash val="solid"/>
            <a:round/>
            <a:headEnd type="none" w="med" len="med"/>
            <a:tailEnd type="none" w="med" len="med"/>
          </a:ln>
        </p:spPr>
        <p:txBody>
          <a:bodyPr wrap="none" lIns="32632" tIns="32632" rIns="32632" bIns="32632" anchor="ctr"/>
          <a:lstStyle/>
          <a:p>
            <a:pPr defTabSz="891045"/>
            <a:endParaRPr lang="en-US" sz="1700" dirty="0">
              <a:solidFill>
                <a:srgbClr val="003149"/>
              </a:solidFill>
              <a:cs typeface="Arial" panose="020B0604020202020204" pitchFamily="34" charset="0"/>
            </a:endParaRPr>
          </a:p>
        </p:txBody>
      </p:sp>
      <p:sp>
        <p:nvSpPr>
          <p:cNvPr id="204" name="Freeform 814"/>
          <p:cNvSpPr>
            <a:spLocks noChangeAspect="1"/>
          </p:cNvSpPr>
          <p:nvPr>
            <p:custDataLst>
              <p:tags r:id="rId104"/>
            </p:custDataLst>
          </p:nvPr>
        </p:nvSpPr>
        <p:spPr bwMode="gray">
          <a:xfrm>
            <a:off x="5567495" y="3685791"/>
            <a:ext cx="410863" cy="88960"/>
          </a:xfrm>
          <a:custGeom>
            <a:avLst/>
            <a:gdLst>
              <a:gd name="T0" fmla="*/ 1382232645 w 449"/>
              <a:gd name="T1" fmla="*/ 1566398902 h 85"/>
              <a:gd name="T2" fmla="*/ 1382232645 w 449"/>
              <a:gd name="T3" fmla="*/ 1566398902 h 85"/>
              <a:gd name="T4" fmla="*/ 1382232645 w 449"/>
              <a:gd name="T5" fmla="*/ 1566398902 h 85"/>
              <a:gd name="T6" fmla="*/ 1382232645 w 449"/>
              <a:gd name="T7" fmla="*/ 1566398902 h 85"/>
              <a:gd name="T8" fmla="*/ 1382232645 w 449"/>
              <a:gd name="T9" fmla="*/ 1566398902 h 85"/>
              <a:gd name="T10" fmla="*/ 1382232645 w 449"/>
              <a:gd name="T11" fmla="*/ 1566398902 h 85"/>
              <a:gd name="T12" fmla="*/ 1382232645 w 449"/>
              <a:gd name="T13" fmla="*/ 1566398902 h 85"/>
              <a:gd name="T14" fmla="*/ 1382232645 w 449"/>
              <a:gd name="T15" fmla="*/ 1566398902 h 85"/>
              <a:gd name="T16" fmla="*/ 1382232645 w 449"/>
              <a:gd name="T17" fmla="*/ 1566398902 h 85"/>
              <a:gd name="T18" fmla="*/ 1382232645 w 449"/>
              <a:gd name="T19" fmla="*/ 1566398902 h 85"/>
              <a:gd name="T20" fmla="*/ 1382232645 w 449"/>
              <a:gd name="T21" fmla="*/ 1566398902 h 85"/>
              <a:gd name="T22" fmla="*/ 1382232645 w 449"/>
              <a:gd name="T23" fmla="*/ 1566398902 h 85"/>
              <a:gd name="T24" fmla="*/ 1382232645 w 449"/>
              <a:gd name="T25" fmla="*/ 1566398902 h 85"/>
              <a:gd name="T26" fmla="*/ 1382232645 w 449"/>
              <a:gd name="T27" fmla="*/ 1566398902 h 85"/>
              <a:gd name="T28" fmla="*/ 1382232645 w 449"/>
              <a:gd name="T29" fmla="*/ 1566398902 h 85"/>
              <a:gd name="T30" fmla="*/ 1382232645 w 449"/>
              <a:gd name="T31" fmla="*/ 1566398902 h 85"/>
              <a:gd name="T32" fmla="*/ 1382232645 w 449"/>
              <a:gd name="T33" fmla="*/ 1566398902 h 85"/>
              <a:gd name="T34" fmla="*/ 1382232645 w 449"/>
              <a:gd name="T35" fmla="*/ 1566398902 h 85"/>
              <a:gd name="T36" fmla="*/ 1382232645 w 449"/>
              <a:gd name="T37" fmla="*/ 1566398902 h 85"/>
              <a:gd name="T38" fmla="*/ 1382232645 w 449"/>
              <a:gd name="T39" fmla="*/ 1566398902 h 85"/>
              <a:gd name="T40" fmla="*/ 1382232645 w 449"/>
              <a:gd name="T41" fmla="*/ 1566398902 h 85"/>
              <a:gd name="T42" fmla="*/ 1382232645 w 449"/>
              <a:gd name="T43" fmla="*/ 1566398902 h 85"/>
              <a:gd name="T44" fmla="*/ 1382232645 w 449"/>
              <a:gd name="T45" fmla="*/ 1566398902 h 85"/>
              <a:gd name="T46" fmla="*/ 1382232645 w 449"/>
              <a:gd name="T47" fmla="*/ 1566398902 h 85"/>
              <a:gd name="T48" fmla="*/ 1382232645 w 449"/>
              <a:gd name="T49" fmla="*/ 1566398902 h 85"/>
              <a:gd name="T50" fmla="*/ 1382232645 w 449"/>
              <a:gd name="T51" fmla="*/ 1566398902 h 85"/>
              <a:gd name="T52" fmla="*/ 1382232645 w 449"/>
              <a:gd name="T53" fmla="*/ 1566398902 h 85"/>
              <a:gd name="T54" fmla="*/ 1382232645 w 449"/>
              <a:gd name="T55" fmla="*/ 1566398902 h 85"/>
              <a:gd name="T56" fmla="*/ 1382232645 w 449"/>
              <a:gd name="T57" fmla="*/ 1566398902 h 85"/>
              <a:gd name="T58" fmla="*/ 1382232645 w 449"/>
              <a:gd name="T59" fmla="*/ 1566398902 h 85"/>
              <a:gd name="T60" fmla="*/ 1382232645 w 449"/>
              <a:gd name="T61" fmla="*/ 1566398902 h 85"/>
              <a:gd name="T62" fmla="*/ 1382232645 w 449"/>
              <a:gd name="T63" fmla="*/ 1566398902 h 85"/>
              <a:gd name="T64" fmla="*/ 1382232645 w 449"/>
              <a:gd name="T65" fmla="*/ 1566398902 h 85"/>
              <a:gd name="T66" fmla="*/ 1382232645 w 449"/>
              <a:gd name="T67" fmla="*/ 0 h 85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w 449"/>
              <a:gd name="T103" fmla="*/ 0 h 85"/>
              <a:gd name="T104" fmla="*/ 449 w 449"/>
              <a:gd name="T105" fmla="*/ 85 h 85"/>
            </a:gdLst>
            <a:ahLst/>
            <a:cxnLst>
              <a:cxn ang="T68">
                <a:pos x="T0" y="T1"/>
              </a:cxn>
              <a:cxn ang="T69">
                <a:pos x="T2" y="T3"/>
              </a:cxn>
              <a:cxn ang="T70">
                <a:pos x="T4" y="T5"/>
              </a:cxn>
              <a:cxn ang="T71">
                <a:pos x="T6" y="T7"/>
              </a:cxn>
              <a:cxn ang="T72">
                <a:pos x="T8" y="T9"/>
              </a:cxn>
              <a:cxn ang="T73">
                <a:pos x="T10" y="T11"/>
              </a:cxn>
              <a:cxn ang="T74">
                <a:pos x="T12" y="T13"/>
              </a:cxn>
              <a:cxn ang="T75">
                <a:pos x="T14" y="T15"/>
              </a:cxn>
              <a:cxn ang="T76">
                <a:pos x="T16" y="T17"/>
              </a:cxn>
              <a:cxn ang="T77">
                <a:pos x="T18" y="T19"/>
              </a:cxn>
              <a:cxn ang="T78">
                <a:pos x="T20" y="T21"/>
              </a:cxn>
              <a:cxn ang="T79">
                <a:pos x="T22" y="T23"/>
              </a:cxn>
              <a:cxn ang="T80">
                <a:pos x="T24" y="T25"/>
              </a:cxn>
              <a:cxn ang="T81">
                <a:pos x="T26" y="T27"/>
              </a:cxn>
              <a:cxn ang="T82">
                <a:pos x="T28" y="T29"/>
              </a:cxn>
              <a:cxn ang="T83">
                <a:pos x="T30" y="T31"/>
              </a:cxn>
              <a:cxn ang="T84">
                <a:pos x="T32" y="T33"/>
              </a:cxn>
              <a:cxn ang="T85">
                <a:pos x="T34" y="T35"/>
              </a:cxn>
              <a:cxn ang="T86">
                <a:pos x="T36" y="T37"/>
              </a:cxn>
              <a:cxn ang="T87">
                <a:pos x="T38" y="T39"/>
              </a:cxn>
              <a:cxn ang="T88">
                <a:pos x="T40" y="T41"/>
              </a:cxn>
              <a:cxn ang="T89">
                <a:pos x="T42" y="T43"/>
              </a:cxn>
              <a:cxn ang="T90">
                <a:pos x="T44" y="T45"/>
              </a:cxn>
              <a:cxn ang="T91">
                <a:pos x="T46" y="T47"/>
              </a:cxn>
              <a:cxn ang="T92">
                <a:pos x="T48" y="T49"/>
              </a:cxn>
              <a:cxn ang="T93">
                <a:pos x="T50" y="T51"/>
              </a:cxn>
              <a:cxn ang="T94">
                <a:pos x="T52" y="T53"/>
              </a:cxn>
              <a:cxn ang="T95">
                <a:pos x="T54" y="T55"/>
              </a:cxn>
              <a:cxn ang="T96">
                <a:pos x="T56" y="T57"/>
              </a:cxn>
              <a:cxn ang="T97">
                <a:pos x="T58" y="T59"/>
              </a:cxn>
              <a:cxn ang="T98">
                <a:pos x="T60" y="T61"/>
              </a:cxn>
              <a:cxn ang="T99">
                <a:pos x="T62" y="T63"/>
              </a:cxn>
              <a:cxn ang="T100">
                <a:pos x="T64" y="T65"/>
              </a:cxn>
              <a:cxn ang="T101">
                <a:pos x="T66" y="T67"/>
              </a:cxn>
            </a:cxnLst>
            <a:rect l="T102" t="T103" r="T104" b="T105"/>
            <a:pathLst>
              <a:path w="449" h="85">
                <a:moveTo>
                  <a:pt x="0" y="77"/>
                </a:moveTo>
                <a:lnTo>
                  <a:pt x="7" y="71"/>
                </a:lnTo>
                <a:lnTo>
                  <a:pt x="14" y="63"/>
                </a:lnTo>
                <a:lnTo>
                  <a:pt x="28" y="59"/>
                </a:lnTo>
                <a:lnTo>
                  <a:pt x="34" y="57"/>
                </a:lnTo>
                <a:lnTo>
                  <a:pt x="38" y="54"/>
                </a:lnTo>
                <a:lnTo>
                  <a:pt x="44" y="56"/>
                </a:lnTo>
                <a:lnTo>
                  <a:pt x="54" y="54"/>
                </a:lnTo>
                <a:lnTo>
                  <a:pt x="66" y="59"/>
                </a:lnTo>
                <a:lnTo>
                  <a:pt x="72" y="64"/>
                </a:lnTo>
                <a:lnTo>
                  <a:pt x="83" y="63"/>
                </a:lnTo>
                <a:lnTo>
                  <a:pt x="94" y="62"/>
                </a:lnTo>
                <a:lnTo>
                  <a:pt x="108" y="68"/>
                </a:lnTo>
                <a:lnTo>
                  <a:pt x="116" y="72"/>
                </a:lnTo>
                <a:lnTo>
                  <a:pt x="120" y="68"/>
                </a:lnTo>
                <a:lnTo>
                  <a:pt x="119" y="63"/>
                </a:lnTo>
                <a:lnTo>
                  <a:pt x="122" y="60"/>
                </a:lnTo>
                <a:lnTo>
                  <a:pt x="131" y="65"/>
                </a:lnTo>
                <a:lnTo>
                  <a:pt x="143" y="67"/>
                </a:lnTo>
                <a:lnTo>
                  <a:pt x="151" y="64"/>
                </a:lnTo>
                <a:lnTo>
                  <a:pt x="158" y="61"/>
                </a:lnTo>
                <a:lnTo>
                  <a:pt x="166" y="60"/>
                </a:lnTo>
                <a:lnTo>
                  <a:pt x="171" y="62"/>
                </a:lnTo>
                <a:lnTo>
                  <a:pt x="182" y="69"/>
                </a:lnTo>
                <a:lnTo>
                  <a:pt x="192" y="75"/>
                </a:lnTo>
                <a:lnTo>
                  <a:pt x="197" y="78"/>
                </a:lnTo>
                <a:lnTo>
                  <a:pt x="199" y="85"/>
                </a:lnTo>
                <a:lnTo>
                  <a:pt x="207" y="85"/>
                </a:lnTo>
                <a:lnTo>
                  <a:pt x="211" y="79"/>
                </a:lnTo>
                <a:lnTo>
                  <a:pt x="221" y="81"/>
                </a:lnTo>
                <a:lnTo>
                  <a:pt x="228" y="76"/>
                </a:lnTo>
                <a:lnTo>
                  <a:pt x="236" y="74"/>
                </a:lnTo>
                <a:lnTo>
                  <a:pt x="243" y="77"/>
                </a:lnTo>
                <a:lnTo>
                  <a:pt x="251" y="78"/>
                </a:lnTo>
                <a:lnTo>
                  <a:pt x="257" y="72"/>
                </a:lnTo>
                <a:lnTo>
                  <a:pt x="268" y="75"/>
                </a:lnTo>
                <a:lnTo>
                  <a:pt x="272" y="82"/>
                </a:lnTo>
                <a:lnTo>
                  <a:pt x="281" y="77"/>
                </a:lnTo>
                <a:lnTo>
                  <a:pt x="286" y="80"/>
                </a:lnTo>
                <a:lnTo>
                  <a:pt x="291" y="69"/>
                </a:lnTo>
                <a:lnTo>
                  <a:pt x="297" y="74"/>
                </a:lnTo>
                <a:lnTo>
                  <a:pt x="300" y="66"/>
                </a:lnTo>
                <a:lnTo>
                  <a:pt x="306" y="62"/>
                </a:lnTo>
                <a:lnTo>
                  <a:pt x="313" y="59"/>
                </a:lnTo>
                <a:lnTo>
                  <a:pt x="318" y="60"/>
                </a:lnTo>
                <a:lnTo>
                  <a:pt x="324" y="61"/>
                </a:lnTo>
                <a:lnTo>
                  <a:pt x="331" y="60"/>
                </a:lnTo>
                <a:lnTo>
                  <a:pt x="327" y="57"/>
                </a:lnTo>
                <a:lnTo>
                  <a:pt x="326" y="50"/>
                </a:lnTo>
                <a:lnTo>
                  <a:pt x="330" y="48"/>
                </a:lnTo>
                <a:lnTo>
                  <a:pt x="332" y="52"/>
                </a:lnTo>
                <a:lnTo>
                  <a:pt x="337" y="52"/>
                </a:lnTo>
                <a:lnTo>
                  <a:pt x="343" y="50"/>
                </a:lnTo>
                <a:lnTo>
                  <a:pt x="350" y="43"/>
                </a:lnTo>
                <a:lnTo>
                  <a:pt x="357" y="43"/>
                </a:lnTo>
                <a:lnTo>
                  <a:pt x="362" y="45"/>
                </a:lnTo>
                <a:lnTo>
                  <a:pt x="372" y="47"/>
                </a:lnTo>
                <a:lnTo>
                  <a:pt x="384" y="45"/>
                </a:lnTo>
                <a:lnTo>
                  <a:pt x="389" y="38"/>
                </a:lnTo>
                <a:lnTo>
                  <a:pt x="387" y="35"/>
                </a:lnTo>
                <a:lnTo>
                  <a:pt x="382" y="31"/>
                </a:lnTo>
                <a:lnTo>
                  <a:pt x="384" y="27"/>
                </a:lnTo>
                <a:lnTo>
                  <a:pt x="394" y="23"/>
                </a:lnTo>
                <a:lnTo>
                  <a:pt x="403" y="18"/>
                </a:lnTo>
                <a:lnTo>
                  <a:pt x="416" y="13"/>
                </a:lnTo>
                <a:lnTo>
                  <a:pt x="429" y="9"/>
                </a:lnTo>
                <a:lnTo>
                  <a:pt x="441" y="3"/>
                </a:lnTo>
                <a:lnTo>
                  <a:pt x="449" y="0"/>
                </a:lnTo>
              </a:path>
            </a:pathLst>
          </a:custGeom>
          <a:noFill/>
          <a:ln w="3175" cap="flat" cmpd="sng">
            <a:solidFill>
              <a:srgbClr val="D9EAF7"/>
            </a:solidFill>
            <a:prstDash val="solid"/>
            <a:round/>
            <a:headEnd type="none" w="med" len="med"/>
            <a:tailEnd type="none" w="med" len="med"/>
          </a:ln>
        </p:spPr>
        <p:txBody>
          <a:bodyPr wrap="none" lIns="32632" tIns="32632" rIns="32632" bIns="32632" anchor="ctr"/>
          <a:lstStyle/>
          <a:p>
            <a:pPr defTabSz="891045"/>
            <a:endParaRPr lang="en-US" sz="1700" dirty="0">
              <a:solidFill>
                <a:srgbClr val="003149"/>
              </a:solidFill>
              <a:cs typeface="Arial" panose="020B0604020202020204" pitchFamily="34" charset="0"/>
            </a:endParaRPr>
          </a:p>
        </p:txBody>
      </p:sp>
      <p:sp>
        <p:nvSpPr>
          <p:cNvPr id="205" name="Freeform 816"/>
          <p:cNvSpPr>
            <a:spLocks noChangeAspect="1"/>
          </p:cNvSpPr>
          <p:nvPr>
            <p:custDataLst>
              <p:tags r:id="rId105"/>
            </p:custDataLst>
          </p:nvPr>
        </p:nvSpPr>
        <p:spPr bwMode="gray">
          <a:xfrm>
            <a:off x="5939970" y="3167817"/>
            <a:ext cx="135059" cy="262574"/>
          </a:xfrm>
          <a:custGeom>
            <a:avLst/>
            <a:gdLst>
              <a:gd name="T0" fmla="*/ 1378451445 w 148"/>
              <a:gd name="T1" fmla="*/ 1547202045 h 254"/>
              <a:gd name="T2" fmla="*/ 1378451445 w 148"/>
              <a:gd name="T3" fmla="*/ 1547202045 h 254"/>
              <a:gd name="T4" fmla="*/ 1378451445 w 148"/>
              <a:gd name="T5" fmla="*/ 1547202045 h 254"/>
              <a:gd name="T6" fmla="*/ 1378451445 w 148"/>
              <a:gd name="T7" fmla="*/ 1547202045 h 254"/>
              <a:gd name="T8" fmla="*/ 1378451445 w 148"/>
              <a:gd name="T9" fmla="*/ 1547202045 h 254"/>
              <a:gd name="T10" fmla="*/ 1378451445 w 148"/>
              <a:gd name="T11" fmla="*/ 1547202045 h 254"/>
              <a:gd name="T12" fmla="*/ 1378451445 w 148"/>
              <a:gd name="T13" fmla="*/ 1547202045 h 254"/>
              <a:gd name="T14" fmla="*/ 1378451445 w 148"/>
              <a:gd name="T15" fmla="*/ 1547202045 h 254"/>
              <a:gd name="T16" fmla="*/ 1378451445 w 148"/>
              <a:gd name="T17" fmla="*/ 1547202045 h 254"/>
              <a:gd name="T18" fmla="*/ 1378451445 w 148"/>
              <a:gd name="T19" fmla="*/ 1547202045 h 254"/>
              <a:gd name="T20" fmla="*/ 1378451445 w 148"/>
              <a:gd name="T21" fmla="*/ 1547202045 h 254"/>
              <a:gd name="T22" fmla="*/ 1378451445 w 148"/>
              <a:gd name="T23" fmla="*/ 1547202045 h 254"/>
              <a:gd name="T24" fmla="*/ 1378451445 w 148"/>
              <a:gd name="T25" fmla="*/ 1547202045 h 254"/>
              <a:gd name="T26" fmla="*/ 1378451445 w 148"/>
              <a:gd name="T27" fmla="*/ 1547202045 h 254"/>
              <a:gd name="T28" fmla="*/ 1378451445 w 148"/>
              <a:gd name="T29" fmla="*/ 1547202045 h 254"/>
              <a:gd name="T30" fmla="*/ 1378451445 w 148"/>
              <a:gd name="T31" fmla="*/ 1547202045 h 254"/>
              <a:gd name="T32" fmla="*/ 1378451445 w 148"/>
              <a:gd name="T33" fmla="*/ 1547202045 h 254"/>
              <a:gd name="T34" fmla="*/ 1378451445 w 148"/>
              <a:gd name="T35" fmla="*/ 1547202045 h 254"/>
              <a:gd name="T36" fmla="*/ 1378451445 w 148"/>
              <a:gd name="T37" fmla="*/ 1547202045 h 254"/>
              <a:gd name="T38" fmla="*/ 1378451445 w 148"/>
              <a:gd name="T39" fmla="*/ 1547202045 h 254"/>
              <a:gd name="T40" fmla="*/ 1378451445 w 148"/>
              <a:gd name="T41" fmla="*/ 1547202045 h 254"/>
              <a:gd name="T42" fmla="*/ 1378451445 w 148"/>
              <a:gd name="T43" fmla="*/ 1547202045 h 254"/>
              <a:gd name="T44" fmla="*/ 1378451445 w 148"/>
              <a:gd name="T45" fmla="*/ 1547202045 h 254"/>
              <a:gd name="T46" fmla="*/ 1378451445 w 148"/>
              <a:gd name="T47" fmla="*/ 1547202045 h 254"/>
              <a:gd name="T48" fmla="*/ 1378451445 w 148"/>
              <a:gd name="T49" fmla="*/ 1547202045 h 254"/>
              <a:gd name="T50" fmla="*/ 1378451445 w 148"/>
              <a:gd name="T51" fmla="*/ 1547202045 h 254"/>
              <a:gd name="T52" fmla="*/ 1378451445 w 148"/>
              <a:gd name="T53" fmla="*/ 1547202045 h 254"/>
              <a:gd name="T54" fmla="*/ 1378451445 w 148"/>
              <a:gd name="T55" fmla="*/ 1547202045 h 254"/>
              <a:gd name="T56" fmla="*/ 1378451445 w 148"/>
              <a:gd name="T57" fmla="*/ 1547202045 h 254"/>
              <a:gd name="T58" fmla="*/ 1378451445 w 148"/>
              <a:gd name="T59" fmla="*/ 1547202045 h 254"/>
              <a:gd name="T60" fmla="*/ 1378451445 w 148"/>
              <a:gd name="T61" fmla="*/ 1547202045 h 254"/>
              <a:gd name="T62" fmla="*/ 1378451445 w 148"/>
              <a:gd name="T63" fmla="*/ 0 h 254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w 148"/>
              <a:gd name="T97" fmla="*/ 0 h 254"/>
              <a:gd name="T98" fmla="*/ 148 w 148"/>
              <a:gd name="T99" fmla="*/ 254 h 254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T96" t="T97" r="T98" b="T99"/>
            <a:pathLst>
              <a:path w="148" h="254">
                <a:moveTo>
                  <a:pt x="0" y="254"/>
                </a:moveTo>
                <a:lnTo>
                  <a:pt x="2" y="250"/>
                </a:lnTo>
                <a:lnTo>
                  <a:pt x="6" y="245"/>
                </a:lnTo>
                <a:lnTo>
                  <a:pt x="19" y="240"/>
                </a:lnTo>
                <a:lnTo>
                  <a:pt x="32" y="236"/>
                </a:lnTo>
                <a:lnTo>
                  <a:pt x="47" y="232"/>
                </a:lnTo>
                <a:lnTo>
                  <a:pt x="54" y="228"/>
                </a:lnTo>
                <a:lnTo>
                  <a:pt x="64" y="227"/>
                </a:lnTo>
                <a:lnTo>
                  <a:pt x="71" y="227"/>
                </a:lnTo>
                <a:lnTo>
                  <a:pt x="74" y="223"/>
                </a:lnTo>
                <a:lnTo>
                  <a:pt x="72" y="219"/>
                </a:lnTo>
                <a:lnTo>
                  <a:pt x="69" y="214"/>
                </a:lnTo>
                <a:lnTo>
                  <a:pt x="72" y="207"/>
                </a:lnTo>
                <a:lnTo>
                  <a:pt x="72" y="198"/>
                </a:lnTo>
                <a:lnTo>
                  <a:pt x="74" y="193"/>
                </a:lnTo>
                <a:lnTo>
                  <a:pt x="78" y="191"/>
                </a:lnTo>
                <a:lnTo>
                  <a:pt x="86" y="192"/>
                </a:lnTo>
                <a:lnTo>
                  <a:pt x="99" y="191"/>
                </a:lnTo>
                <a:lnTo>
                  <a:pt x="108" y="190"/>
                </a:lnTo>
                <a:lnTo>
                  <a:pt x="112" y="186"/>
                </a:lnTo>
                <a:lnTo>
                  <a:pt x="113" y="179"/>
                </a:lnTo>
                <a:lnTo>
                  <a:pt x="118" y="175"/>
                </a:lnTo>
                <a:lnTo>
                  <a:pt x="122" y="171"/>
                </a:lnTo>
                <a:lnTo>
                  <a:pt x="125" y="162"/>
                </a:lnTo>
                <a:lnTo>
                  <a:pt x="127" y="159"/>
                </a:lnTo>
                <a:lnTo>
                  <a:pt x="122" y="154"/>
                </a:lnTo>
                <a:lnTo>
                  <a:pt x="124" y="145"/>
                </a:lnTo>
                <a:lnTo>
                  <a:pt x="129" y="141"/>
                </a:lnTo>
                <a:lnTo>
                  <a:pt x="134" y="139"/>
                </a:lnTo>
                <a:lnTo>
                  <a:pt x="138" y="139"/>
                </a:lnTo>
                <a:lnTo>
                  <a:pt x="141" y="141"/>
                </a:lnTo>
                <a:lnTo>
                  <a:pt x="146" y="141"/>
                </a:lnTo>
                <a:lnTo>
                  <a:pt x="148" y="138"/>
                </a:lnTo>
                <a:lnTo>
                  <a:pt x="145" y="135"/>
                </a:lnTo>
                <a:lnTo>
                  <a:pt x="141" y="131"/>
                </a:lnTo>
                <a:lnTo>
                  <a:pt x="142" y="126"/>
                </a:lnTo>
                <a:lnTo>
                  <a:pt x="139" y="123"/>
                </a:lnTo>
                <a:lnTo>
                  <a:pt x="135" y="122"/>
                </a:lnTo>
                <a:lnTo>
                  <a:pt x="131" y="120"/>
                </a:lnTo>
                <a:lnTo>
                  <a:pt x="128" y="115"/>
                </a:lnTo>
                <a:lnTo>
                  <a:pt x="126" y="108"/>
                </a:lnTo>
                <a:lnTo>
                  <a:pt x="127" y="101"/>
                </a:lnTo>
                <a:lnTo>
                  <a:pt x="124" y="97"/>
                </a:lnTo>
                <a:lnTo>
                  <a:pt x="118" y="91"/>
                </a:lnTo>
                <a:lnTo>
                  <a:pt x="116" y="85"/>
                </a:lnTo>
                <a:lnTo>
                  <a:pt x="115" y="79"/>
                </a:lnTo>
                <a:lnTo>
                  <a:pt x="110" y="76"/>
                </a:lnTo>
                <a:lnTo>
                  <a:pt x="106" y="75"/>
                </a:lnTo>
                <a:lnTo>
                  <a:pt x="101" y="73"/>
                </a:lnTo>
                <a:lnTo>
                  <a:pt x="95" y="68"/>
                </a:lnTo>
                <a:lnTo>
                  <a:pt x="94" y="60"/>
                </a:lnTo>
                <a:lnTo>
                  <a:pt x="92" y="56"/>
                </a:lnTo>
                <a:lnTo>
                  <a:pt x="95" y="49"/>
                </a:lnTo>
                <a:lnTo>
                  <a:pt x="97" y="44"/>
                </a:lnTo>
                <a:lnTo>
                  <a:pt x="95" y="38"/>
                </a:lnTo>
                <a:lnTo>
                  <a:pt x="95" y="35"/>
                </a:lnTo>
                <a:lnTo>
                  <a:pt x="98" y="32"/>
                </a:lnTo>
                <a:lnTo>
                  <a:pt x="101" y="30"/>
                </a:lnTo>
                <a:lnTo>
                  <a:pt x="101" y="26"/>
                </a:lnTo>
                <a:lnTo>
                  <a:pt x="102" y="22"/>
                </a:lnTo>
                <a:lnTo>
                  <a:pt x="107" y="17"/>
                </a:lnTo>
                <a:lnTo>
                  <a:pt x="110" y="10"/>
                </a:lnTo>
                <a:lnTo>
                  <a:pt x="111" y="4"/>
                </a:lnTo>
                <a:lnTo>
                  <a:pt x="110" y="0"/>
                </a:lnTo>
              </a:path>
            </a:pathLst>
          </a:custGeom>
          <a:noFill/>
          <a:ln w="3175" cap="flat" cmpd="sng">
            <a:solidFill>
              <a:srgbClr val="D9EAF7"/>
            </a:solidFill>
            <a:prstDash val="solid"/>
            <a:round/>
            <a:headEnd type="none" w="med" len="med"/>
            <a:tailEnd type="none" w="med" len="med"/>
          </a:ln>
        </p:spPr>
        <p:txBody>
          <a:bodyPr wrap="none" lIns="32632" tIns="32632" rIns="32632" bIns="32632" anchor="ctr"/>
          <a:lstStyle/>
          <a:p>
            <a:pPr defTabSz="891045"/>
            <a:endParaRPr lang="en-US" sz="1700" dirty="0">
              <a:solidFill>
                <a:srgbClr val="003149"/>
              </a:solidFill>
              <a:cs typeface="Arial" panose="020B0604020202020204" pitchFamily="34" charset="0"/>
            </a:endParaRPr>
          </a:p>
        </p:txBody>
      </p:sp>
      <p:sp>
        <p:nvSpPr>
          <p:cNvPr id="206" name="Freeform 817"/>
          <p:cNvSpPr>
            <a:spLocks noChangeAspect="1"/>
          </p:cNvSpPr>
          <p:nvPr>
            <p:custDataLst>
              <p:tags r:id="rId106"/>
            </p:custDataLst>
          </p:nvPr>
        </p:nvSpPr>
        <p:spPr bwMode="gray">
          <a:xfrm>
            <a:off x="6029540" y="3096090"/>
            <a:ext cx="19904" cy="68872"/>
          </a:xfrm>
          <a:custGeom>
            <a:avLst/>
            <a:gdLst>
              <a:gd name="T0" fmla="*/ 0 w 10000"/>
              <a:gd name="T1" fmla="*/ 0 h 9809"/>
              <a:gd name="T2" fmla="*/ 0 w 10000"/>
              <a:gd name="T3" fmla="*/ 0 h 9809"/>
              <a:gd name="T4" fmla="*/ 0 w 10000"/>
              <a:gd name="T5" fmla="*/ 0 h 9809"/>
              <a:gd name="T6" fmla="*/ 0 w 10000"/>
              <a:gd name="T7" fmla="*/ 0 h 9809"/>
              <a:gd name="T8" fmla="*/ 0 w 10000"/>
              <a:gd name="T9" fmla="*/ 0 h 9809"/>
              <a:gd name="T10" fmla="*/ 0 w 10000"/>
              <a:gd name="T11" fmla="*/ 0 h 9809"/>
              <a:gd name="T12" fmla="*/ 0 w 10000"/>
              <a:gd name="T13" fmla="*/ 0 h 9809"/>
              <a:gd name="T14" fmla="*/ 0 w 10000"/>
              <a:gd name="T15" fmla="*/ 0 h 9809"/>
              <a:gd name="T16" fmla="*/ 0 w 10000"/>
              <a:gd name="T17" fmla="*/ 0 h 9809"/>
              <a:gd name="T18" fmla="*/ 0 w 10000"/>
              <a:gd name="T19" fmla="*/ 0 h 9809"/>
              <a:gd name="T20" fmla="*/ 0 w 10000"/>
              <a:gd name="T21" fmla="*/ 0 h 9809"/>
              <a:gd name="T22" fmla="*/ 0 w 10000"/>
              <a:gd name="T23" fmla="*/ 0 h 9809"/>
              <a:gd name="T24" fmla="*/ 0 w 10000"/>
              <a:gd name="T25" fmla="*/ 0 h 9809"/>
              <a:gd name="T26" fmla="*/ 0 w 10000"/>
              <a:gd name="T27" fmla="*/ 0 h 9809"/>
              <a:gd name="T28" fmla="*/ 0 w 10000"/>
              <a:gd name="T29" fmla="*/ 0 h 9809"/>
              <a:gd name="T30" fmla="*/ 0 w 10000"/>
              <a:gd name="T31" fmla="*/ 0 h 9809"/>
              <a:gd name="T32" fmla="*/ 0 w 10000"/>
              <a:gd name="T33" fmla="*/ 0 h 9809"/>
              <a:gd name="T34" fmla="*/ 0 w 10000"/>
              <a:gd name="T35" fmla="*/ 0 h 9809"/>
              <a:gd name="T36" fmla="*/ 0 w 10000"/>
              <a:gd name="T37" fmla="*/ 0 h 9809"/>
              <a:gd name="T38" fmla="*/ 0 w 10000"/>
              <a:gd name="T39" fmla="*/ 0 h 9809"/>
              <a:gd name="T40" fmla="*/ 0 w 10000"/>
              <a:gd name="T41" fmla="*/ 0 h 9809"/>
              <a:gd name="T42" fmla="*/ 0 w 10000"/>
              <a:gd name="T43" fmla="*/ 0 h 9809"/>
              <a:gd name="T44" fmla="*/ 0 w 10000"/>
              <a:gd name="T45" fmla="*/ 0 h 9809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w 10000"/>
              <a:gd name="T70" fmla="*/ 0 h 9809"/>
              <a:gd name="T71" fmla="*/ 10000 w 10000"/>
              <a:gd name="T72" fmla="*/ 9809 h 9809"/>
            </a:gdLst>
            <a:ahLst/>
            <a:cxnLst>
              <a:cxn ang="T46">
                <a:pos x="T0" y="T1"/>
              </a:cxn>
              <a:cxn ang="T47">
                <a:pos x="T2" y="T3"/>
              </a:cxn>
              <a:cxn ang="T48">
                <a:pos x="T4" y="T5"/>
              </a:cxn>
              <a:cxn ang="T49">
                <a:pos x="T6" y="T7"/>
              </a:cxn>
              <a:cxn ang="T50">
                <a:pos x="T8" y="T9"/>
              </a:cxn>
              <a:cxn ang="T51">
                <a:pos x="T10" y="T11"/>
              </a:cxn>
              <a:cxn ang="T52">
                <a:pos x="T12" y="T13"/>
              </a:cxn>
              <a:cxn ang="T53">
                <a:pos x="T14" y="T15"/>
              </a:cxn>
              <a:cxn ang="T54">
                <a:pos x="T16" y="T17"/>
              </a:cxn>
              <a:cxn ang="T55">
                <a:pos x="T18" y="T19"/>
              </a:cxn>
              <a:cxn ang="T56">
                <a:pos x="T20" y="T21"/>
              </a:cxn>
              <a:cxn ang="T57">
                <a:pos x="T22" y="T23"/>
              </a:cxn>
              <a:cxn ang="T58">
                <a:pos x="T24" y="T25"/>
              </a:cxn>
              <a:cxn ang="T59">
                <a:pos x="T26" y="T27"/>
              </a:cxn>
              <a:cxn ang="T60">
                <a:pos x="T28" y="T29"/>
              </a:cxn>
              <a:cxn ang="T61">
                <a:pos x="T30" y="T31"/>
              </a:cxn>
              <a:cxn ang="T62">
                <a:pos x="T32" y="T33"/>
              </a:cxn>
              <a:cxn ang="T63">
                <a:pos x="T34" y="T35"/>
              </a:cxn>
              <a:cxn ang="T64">
                <a:pos x="T36" y="T37"/>
              </a:cxn>
              <a:cxn ang="T65">
                <a:pos x="T38" y="T39"/>
              </a:cxn>
              <a:cxn ang="T66">
                <a:pos x="T40" y="T41"/>
              </a:cxn>
              <a:cxn ang="T67">
                <a:pos x="T42" y="T43"/>
              </a:cxn>
              <a:cxn ang="T68">
                <a:pos x="T44" y="T45"/>
              </a:cxn>
            </a:cxnLst>
            <a:rect l="T69" t="T70" r="T71" b="T72"/>
            <a:pathLst>
              <a:path w="10000" h="9809">
                <a:moveTo>
                  <a:pt x="5455" y="9809"/>
                </a:moveTo>
                <a:lnTo>
                  <a:pt x="5000" y="9105"/>
                </a:lnTo>
                <a:lnTo>
                  <a:pt x="5000" y="8260"/>
                </a:lnTo>
                <a:lnTo>
                  <a:pt x="4545" y="7555"/>
                </a:lnTo>
                <a:lnTo>
                  <a:pt x="4091" y="6992"/>
                </a:lnTo>
                <a:lnTo>
                  <a:pt x="3182" y="6851"/>
                </a:lnTo>
                <a:lnTo>
                  <a:pt x="1818" y="6851"/>
                </a:lnTo>
                <a:lnTo>
                  <a:pt x="3182" y="6147"/>
                </a:lnTo>
                <a:lnTo>
                  <a:pt x="4545" y="5724"/>
                </a:lnTo>
                <a:lnTo>
                  <a:pt x="5000" y="5020"/>
                </a:lnTo>
                <a:lnTo>
                  <a:pt x="4545" y="4175"/>
                </a:lnTo>
                <a:lnTo>
                  <a:pt x="2727" y="3753"/>
                </a:lnTo>
                <a:lnTo>
                  <a:pt x="455" y="3330"/>
                </a:lnTo>
                <a:lnTo>
                  <a:pt x="0" y="2626"/>
                </a:lnTo>
                <a:lnTo>
                  <a:pt x="455" y="1922"/>
                </a:lnTo>
                <a:lnTo>
                  <a:pt x="2273" y="1640"/>
                </a:lnTo>
                <a:lnTo>
                  <a:pt x="2727" y="795"/>
                </a:lnTo>
                <a:lnTo>
                  <a:pt x="2273" y="232"/>
                </a:lnTo>
                <a:lnTo>
                  <a:pt x="4545" y="91"/>
                </a:lnTo>
                <a:lnTo>
                  <a:pt x="6818" y="91"/>
                </a:lnTo>
                <a:lnTo>
                  <a:pt x="7727" y="372"/>
                </a:lnTo>
                <a:lnTo>
                  <a:pt x="9091" y="91"/>
                </a:lnTo>
                <a:cubicBezTo>
                  <a:pt x="9394" y="-3"/>
                  <a:pt x="9697" y="94"/>
                  <a:pt x="10000" y="0"/>
                </a:cubicBezTo>
              </a:path>
            </a:pathLst>
          </a:custGeom>
          <a:noFill/>
          <a:ln w="3175" cap="flat" cmpd="sng">
            <a:solidFill>
              <a:srgbClr val="D9EAF7"/>
            </a:solidFill>
            <a:prstDash val="solid"/>
            <a:round/>
            <a:headEnd type="none" w="med" len="med"/>
            <a:tailEnd type="none" w="med" len="med"/>
          </a:ln>
        </p:spPr>
        <p:txBody>
          <a:bodyPr wrap="none" lIns="32632" tIns="32632" rIns="32632" bIns="32632" anchor="ctr"/>
          <a:lstStyle/>
          <a:p>
            <a:pPr defTabSz="891045"/>
            <a:endParaRPr lang="en-US" sz="1700" dirty="0">
              <a:solidFill>
                <a:srgbClr val="003149"/>
              </a:solidFill>
              <a:cs typeface="Arial" panose="020B0604020202020204" pitchFamily="34" charset="0"/>
            </a:endParaRPr>
          </a:p>
        </p:txBody>
      </p:sp>
      <p:sp>
        <p:nvSpPr>
          <p:cNvPr id="207" name="Freeform 818"/>
          <p:cNvSpPr>
            <a:spLocks noChangeAspect="1"/>
          </p:cNvSpPr>
          <p:nvPr>
            <p:custDataLst>
              <p:tags r:id="rId107"/>
            </p:custDataLst>
          </p:nvPr>
        </p:nvSpPr>
        <p:spPr bwMode="gray">
          <a:xfrm>
            <a:off x="6049441" y="3053024"/>
            <a:ext cx="108047" cy="51654"/>
          </a:xfrm>
          <a:custGeom>
            <a:avLst/>
            <a:gdLst>
              <a:gd name="T0" fmla="*/ 0 w 10000"/>
              <a:gd name="T1" fmla="*/ 0 h 10000"/>
              <a:gd name="T2" fmla="*/ 0 w 10000"/>
              <a:gd name="T3" fmla="*/ 0 h 10000"/>
              <a:gd name="T4" fmla="*/ 0 w 10000"/>
              <a:gd name="T5" fmla="*/ 0 h 10000"/>
              <a:gd name="T6" fmla="*/ 0 w 10000"/>
              <a:gd name="T7" fmla="*/ 0 h 10000"/>
              <a:gd name="T8" fmla="*/ 0 w 10000"/>
              <a:gd name="T9" fmla="*/ 0 h 10000"/>
              <a:gd name="T10" fmla="*/ 0 w 10000"/>
              <a:gd name="T11" fmla="*/ 0 h 10000"/>
              <a:gd name="T12" fmla="*/ 0 w 10000"/>
              <a:gd name="T13" fmla="*/ 0 h 10000"/>
              <a:gd name="T14" fmla="*/ 0 w 10000"/>
              <a:gd name="T15" fmla="*/ 0 h 10000"/>
              <a:gd name="T16" fmla="*/ 0 w 10000"/>
              <a:gd name="T17" fmla="*/ 0 h 10000"/>
              <a:gd name="T18" fmla="*/ 0 w 10000"/>
              <a:gd name="T19" fmla="*/ 0 h 10000"/>
              <a:gd name="T20" fmla="*/ 0 w 10000"/>
              <a:gd name="T21" fmla="*/ 0 h 10000"/>
              <a:gd name="T22" fmla="*/ 0 w 10000"/>
              <a:gd name="T23" fmla="*/ 0 h 10000"/>
              <a:gd name="T24" fmla="*/ 0 w 10000"/>
              <a:gd name="T25" fmla="*/ 0 h 10000"/>
              <a:gd name="T26" fmla="*/ 0 w 10000"/>
              <a:gd name="T27" fmla="*/ 0 h 10000"/>
              <a:gd name="T28" fmla="*/ 0 w 10000"/>
              <a:gd name="T29" fmla="*/ 0 h 10000"/>
              <a:gd name="T30" fmla="*/ 0 w 10000"/>
              <a:gd name="T31" fmla="*/ 0 h 10000"/>
              <a:gd name="T32" fmla="*/ 0 w 10000"/>
              <a:gd name="T33" fmla="*/ 0 h 10000"/>
              <a:gd name="T34" fmla="*/ 0 w 10000"/>
              <a:gd name="T35" fmla="*/ 0 h 10000"/>
              <a:gd name="T36" fmla="*/ 0 w 10000"/>
              <a:gd name="T37" fmla="*/ 0 h 10000"/>
              <a:gd name="T38" fmla="*/ 0 w 10000"/>
              <a:gd name="T39" fmla="*/ 0 h 10000"/>
              <a:gd name="T40" fmla="*/ 0 w 10000"/>
              <a:gd name="T41" fmla="*/ 0 h 10000"/>
              <a:gd name="T42" fmla="*/ 0 w 10000"/>
              <a:gd name="T43" fmla="*/ 0 h 10000"/>
              <a:gd name="T44" fmla="*/ 0 w 10000"/>
              <a:gd name="T45" fmla="*/ 0 h 10000"/>
              <a:gd name="T46" fmla="*/ 0 w 10000"/>
              <a:gd name="T47" fmla="*/ 0 h 10000"/>
              <a:gd name="T48" fmla="*/ 0 w 10000"/>
              <a:gd name="T49" fmla="*/ 0 h 10000"/>
              <a:gd name="T50" fmla="*/ 0 w 10000"/>
              <a:gd name="T51" fmla="*/ 0 h 10000"/>
              <a:gd name="T52" fmla="*/ 0 w 10000"/>
              <a:gd name="T53" fmla="*/ 0 h 10000"/>
              <a:gd name="T54" fmla="*/ 0 w 10000"/>
              <a:gd name="T55" fmla="*/ 0 h 10000"/>
              <a:gd name="T56" fmla="*/ 0 w 10000"/>
              <a:gd name="T57" fmla="*/ 0 h 10000"/>
              <a:gd name="T58" fmla="*/ 0 w 10000"/>
              <a:gd name="T59" fmla="*/ 0 h 10000"/>
              <a:gd name="T60" fmla="*/ 0 w 10000"/>
              <a:gd name="T61" fmla="*/ 0 h 10000"/>
              <a:gd name="T62" fmla="*/ 0 w 10000"/>
              <a:gd name="T63" fmla="*/ 0 h 10000"/>
              <a:gd name="T64" fmla="*/ 0 w 10000"/>
              <a:gd name="T65" fmla="*/ 0 h 10000"/>
              <a:gd name="T66" fmla="*/ 0 w 10000"/>
              <a:gd name="T67" fmla="*/ 0 h 10000"/>
              <a:gd name="T68" fmla="*/ 0 w 10000"/>
              <a:gd name="T69" fmla="*/ 0 h 10000"/>
              <a:gd name="T70" fmla="*/ 0 w 10000"/>
              <a:gd name="T71" fmla="*/ 0 h 10000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w 10000"/>
              <a:gd name="T109" fmla="*/ 0 h 10000"/>
              <a:gd name="T110" fmla="*/ 10000 w 10000"/>
              <a:gd name="T111" fmla="*/ 10000 h 10000"/>
            </a:gdLst>
            <a:ahLst/>
            <a:cxnLst>
              <a:cxn ang="T72">
                <a:pos x="T0" y="T1"/>
              </a:cxn>
              <a:cxn ang="T73">
                <a:pos x="T2" y="T3"/>
              </a:cxn>
              <a:cxn ang="T74">
                <a:pos x="T4" y="T5"/>
              </a:cxn>
              <a:cxn ang="T75">
                <a:pos x="T6" y="T7"/>
              </a:cxn>
              <a:cxn ang="T76">
                <a:pos x="T8" y="T9"/>
              </a:cxn>
              <a:cxn ang="T77">
                <a:pos x="T10" y="T11"/>
              </a:cxn>
              <a:cxn ang="T78">
                <a:pos x="T12" y="T13"/>
              </a:cxn>
              <a:cxn ang="T79">
                <a:pos x="T14" y="T15"/>
              </a:cxn>
              <a:cxn ang="T80">
                <a:pos x="T16" y="T17"/>
              </a:cxn>
              <a:cxn ang="T81">
                <a:pos x="T18" y="T19"/>
              </a:cxn>
              <a:cxn ang="T82">
                <a:pos x="T20" y="T21"/>
              </a:cxn>
              <a:cxn ang="T83">
                <a:pos x="T22" y="T23"/>
              </a:cxn>
              <a:cxn ang="T84">
                <a:pos x="T24" y="T25"/>
              </a:cxn>
              <a:cxn ang="T85">
                <a:pos x="T26" y="T27"/>
              </a:cxn>
              <a:cxn ang="T86">
                <a:pos x="T28" y="T29"/>
              </a:cxn>
              <a:cxn ang="T87">
                <a:pos x="T30" y="T31"/>
              </a:cxn>
              <a:cxn ang="T88">
                <a:pos x="T32" y="T33"/>
              </a:cxn>
              <a:cxn ang="T89">
                <a:pos x="T34" y="T35"/>
              </a:cxn>
              <a:cxn ang="T90">
                <a:pos x="T36" y="T37"/>
              </a:cxn>
              <a:cxn ang="T91">
                <a:pos x="T38" y="T39"/>
              </a:cxn>
              <a:cxn ang="T92">
                <a:pos x="T40" y="T41"/>
              </a:cxn>
              <a:cxn ang="T93">
                <a:pos x="T42" y="T43"/>
              </a:cxn>
              <a:cxn ang="T94">
                <a:pos x="T44" y="T45"/>
              </a:cxn>
              <a:cxn ang="T95">
                <a:pos x="T46" y="T47"/>
              </a:cxn>
              <a:cxn ang="T96">
                <a:pos x="T48" y="T49"/>
              </a:cxn>
              <a:cxn ang="T97">
                <a:pos x="T50" y="T51"/>
              </a:cxn>
              <a:cxn ang="T98">
                <a:pos x="T52" y="T53"/>
              </a:cxn>
              <a:cxn ang="T99">
                <a:pos x="T54" y="T55"/>
              </a:cxn>
              <a:cxn ang="T100">
                <a:pos x="T56" y="T57"/>
              </a:cxn>
              <a:cxn ang="T101">
                <a:pos x="T58" y="T59"/>
              </a:cxn>
              <a:cxn ang="T102">
                <a:pos x="T60" y="T61"/>
              </a:cxn>
              <a:cxn ang="T103">
                <a:pos x="T62" y="T63"/>
              </a:cxn>
              <a:cxn ang="T104">
                <a:pos x="T64" y="T65"/>
              </a:cxn>
              <a:cxn ang="T105">
                <a:pos x="T66" y="T67"/>
              </a:cxn>
              <a:cxn ang="T106">
                <a:pos x="T68" y="T69"/>
              </a:cxn>
              <a:cxn ang="T107">
                <a:pos x="T70" y="T71"/>
              </a:cxn>
            </a:cxnLst>
            <a:rect l="T108" t="T109" r="T110" b="T111"/>
            <a:pathLst>
              <a:path w="10000" h="10000">
                <a:moveTo>
                  <a:pt x="0" y="8136"/>
                </a:moveTo>
                <a:lnTo>
                  <a:pt x="345" y="8000"/>
                </a:lnTo>
                <a:lnTo>
                  <a:pt x="1121" y="8600"/>
                </a:lnTo>
                <a:lnTo>
                  <a:pt x="2069" y="9800"/>
                </a:lnTo>
                <a:lnTo>
                  <a:pt x="2759" y="10000"/>
                </a:lnTo>
                <a:lnTo>
                  <a:pt x="3190" y="9400"/>
                </a:lnTo>
                <a:cubicBezTo>
                  <a:pt x="3218" y="9200"/>
                  <a:pt x="3248" y="9000"/>
                  <a:pt x="3276" y="8800"/>
                </a:cubicBezTo>
                <a:lnTo>
                  <a:pt x="3708" y="9000"/>
                </a:lnTo>
                <a:lnTo>
                  <a:pt x="3966" y="8800"/>
                </a:lnTo>
                <a:lnTo>
                  <a:pt x="4569" y="9600"/>
                </a:lnTo>
                <a:lnTo>
                  <a:pt x="5001" y="9000"/>
                </a:lnTo>
                <a:cubicBezTo>
                  <a:pt x="5057" y="8600"/>
                  <a:pt x="5115" y="8200"/>
                  <a:pt x="5172" y="7800"/>
                </a:cubicBezTo>
                <a:lnTo>
                  <a:pt x="5862" y="7600"/>
                </a:lnTo>
                <a:cubicBezTo>
                  <a:pt x="5920" y="7400"/>
                  <a:pt x="5977" y="7200"/>
                  <a:pt x="6035" y="7000"/>
                </a:cubicBezTo>
                <a:lnTo>
                  <a:pt x="6035" y="5800"/>
                </a:lnTo>
                <a:lnTo>
                  <a:pt x="5776" y="5400"/>
                </a:lnTo>
                <a:cubicBezTo>
                  <a:pt x="5804" y="5133"/>
                  <a:pt x="5834" y="4867"/>
                  <a:pt x="5862" y="4600"/>
                </a:cubicBezTo>
                <a:lnTo>
                  <a:pt x="5862" y="4200"/>
                </a:lnTo>
                <a:lnTo>
                  <a:pt x="6293" y="4400"/>
                </a:lnTo>
                <a:lnTo>
                  <a:pt x="6725" y="4800"/>
                </a:lnTo>
                <a:cubicBezTo>
                  <a:pt x="6753" y="4533"/>
                  <a:pt x="6782" y="4267"/>
                  <a:pt x="6810" y="4000"/>
                </a:cubicBezTo>
                <a:lnTo>
                  <a:pt x="7328" y="3800"/>
                </a:lnTo>
                <a:cubicBezTo>
                  <a:pt x="7385" y="4067"/>
                  <a:pt x="7443" y="4333"/>
                  <a:pt x="7500" y="4600"/>
                </a:cubicBezTo>
                <a:lnTo>
                  <a:pt x="7931" y="4600"/>
                </a:lnTo>
                <a:cubicBezTo>
                  <a:pt x="7989" y="4400"/>
                  <a:pt x="8046" y="4200"/>
                  <a:pt x="8104" y="4000"/>
                </a:cubicBezTo>
                <a:lnTo>
                  <a:pt x="8104" y="3400"/>
                </a:lnTo>
                <a:lnTo>
                  <a:pt x="8362" y="3000"/>
                </a:lnTo>
                <a:lnTo>
                  <a:pt x="8707" y="4000"/>
                </a:lnTo>
                <a:cubicBezTo>
                  <a:pt x="8793" y="4267"/>
                  <a:pt x="8880" y="4533"/>
                  <a:pt x="8966" y="4800"/>
                </a:cubicBezTo>
                <a:lnTo>
                  <a:pt x="9397" y="4600"/>
                </a:lnTo>
                <a:lnTo>
                  <a:pt x="9655" y="3800"/>
                </a:lnTo>
                <a:lnTo>
                  <a:pt x="9655" y="3200"/>
                </a:lnTo>
                <a:lnTo>
                  <a:pt x="10000" y="2200"/>
                </a:lnTo>
                <a:cubicBezTo>
                  <a:pt x="9972" y="1933"/>
                  <a:pt x="9942" y="1667"/>
                  <a:pt x="9914" y="1400"/>
                </a:cubicBezTo>
                <a:lnTo>
                  <a:pt x="9914" y="400"/>
                </a:lnTo>
                <a:cubicBezTo>
                  <a:pt x="9885" y="267"/>
                  <a:pt x="9934" y="133"/>
                  <a:pt x="9905" y="0"/>
                </a:cubicBezTo>
              </a:path>
            </a:pathLst>
          </a:custGeom>
          <a:noFill/>
          <a:ln w="3175" cap="flat" cmpd="sng">
            <a:solidFill>
              <a:srgbClr val="D9EAF7"/>
            </a:solidFill>
            <a:prstDash val="solid"/>
            <a:round/>
            <a:headEnd type="none" w="med" len="med"/>
            <a:tailEnd type="none" w="med" len="med"/>
          </a:ln>
        </p:spPr>
        <p:txBody>
          <a:bodyPr wrap="none" lIns="32632" tIns="32632" rIns="32632" bIns="32632" anchor="ctr"/>
          <a:lstStyle/>
          <a:p>
            <a:pPr defTabSz="891045"/>
            <a:endParaRPr lang="en-US" sz="1700" dirty="0">
              <a:solidFill>
                <a:srgbClr val="003149"/>
              </a:solidFill>
              <a:cs typeface="Arial" panose="020B0604020202020204" pitchFamily="34" charset="0"/>
            </a:endParaRPr>
          </a:p>
        </p:txBody>
      </p:sp>
      <p:sp>
        <p:nvSpPr>
          <p:cNvPr id="208" name="Freeform 819"/>
          <p:cNvSpPr>
            <a:spLocks noChangeAspect="1"/>
          </p:cNvSpPr>
          <p:nvPr>
            <p:custDataLst>
              <p:tags r:id="rId108"/>
            </p:custDataLst>
          </p:nvPr>
        </p:nvSpPr>
        <p:spPr bwMode="gray">
          <a:xfrm>
            <a:off x="6157488" y="3044436"/>
            <a:ext cx="154962" cy="106178"/>
          </a:xfrm>
          <a:custGeom>
            <a:avLst/>
            <a:gdLst>
              <a:gd name="T0" fmla="*/ 0 w 171"/>
              <a:gd name="T1" fmla="*/ 1573403010 h 101"/>
              <a:gd name="T2" fmla="*/ 1368863031 w 171"/>
              <a:gd name="T3" fmla="*/ 1573403010 h 101"/>
              <a:gd name="T4" fmla="*/ 1368863031 w 171"/>
              <a:gd name="T5" fmla="*/ 1573403010 h 101"/>
              <a:gd name="T6" fmla="*/ 1368863031 w 171"/>
              <a:gd name="T7" fmla="*/ 1573403010 h 101"/>
              <a:gd name="T8" fmla="*/ 1368863031 w 171"/>
              <a:gd name="T9" fmla="*/ 1573403010 h 101"/>
              <a:gd name="T10" fmla="*/ 1368863031 w 171"/>
              <a:gd name="T11" fmla="*/ 1573403010 h 101"/>
              <a:gd name="T12" fmla="*/ 1368863031 w 171"/>
              <a:gd name="T13" fmla="*/ 1573403010 h 101"/>
              <a:gd name="T14" fmla="*/ 1368863031 w 171"/>
              <a:gd name="T15" fmla="*/ 0 h 101"/>
              <a:gd name="T16" fmla="*/ 1368863031 w 171"/>
              <a:gd name="T17" fmla="*/ 0 h 101"/>
              <a:gd name="T18" fmla="*/ 1368863031 w 171"/>
              <a:gd name="T19" fmla="*/ 1573403010 h 101"/>
              <a:gd name="T20" fmla="*/ 1368863031 w 171"/>
              <a:gd name="T21" fmla="*/ 1573403010 h 101"/>
              <a:gd name="T22" fmla="*/ 1368863031 w 171"/>
              <a:gd name="T23" fmla="*/ 1573403010 h 101"/>
              <a:gd name="T24" fmla="*/ 1368863031 w 171"/>
              <a:gd name="T25" fmla="*/ 1573403010 h 101"/>
              <a:gd name="T26" fmla="*/ 1368863031 w 171"/>
              <a:gd name="T27" fmla="*/ 1573403010 h 101"/>
              <a:gd name="T28" fmla="*/ 1368863031 w 171"/>
              <a:gd name="T29" fmla="*/ 1573403010 h 101"/>
              <a:gd name="T30" fmla="*/ 1368863031 w 171"/>
              <a:gd name="T31" fmla="*/ 1573403010 h 101"/>
              <a:gd name="T32" fmla="*/ 1368863031 w 171"/>
              <a:gd name="T33" fmla="*/ 1573403010 h 101"/>
              <a:gd name="T34" fmla="*/ 1368863031 w 171"/>
              <a:gd name="T35" fmla="*/ 1573403010 h 101"/>
              <a:gd name="T36" fmla="*/ 1368863031 w 171"/>
              <a:gd name="T37" fmla="*/ 1573403010 h 101"/>
              <a:gd name="T38" fmla="*/ 1368863031 w 171"/>
              <a:gd name="T39" fmla="*/ 1573403010 h 101"/>
              <a:gd name="T40" fmla="*/ 1368863031 w 171"/>
              <a:gd name="T41" fmla="*/ 1573403010 h 101"/>
              <a:gd name="T42" fmla="*/ 1368863031 w 171"/>
              <a:gd name="T43" fmla="*/ 1573403010 h 101"/>
              <a:gd name="T44" fmla="*/ 1368863031 w 171"/>
              <a:gd name="T45" fmla="*/ 1573403010 h 101"/>
              <a:gd name="T46" fmla="*/ 1368863031 w 171"/>
              <a:gd name="T47" fmla="*/ 1573403010 h 101"/>
              <a:gd name="T48" fmla="*/ 1368863031 w 171"/>
              <a:gd name="T49" fmla="*/ 1573403010 h 101"/>
              <a:gd name="T50" fmla="*/ 1368863031 w 171"/>
              <a:gd name="T51" fmla="*/ 1573403010 h 101"/>
              <a:gd name="T52" fmla="*/ 1368863031 w 171"/>
              <a:gd name="T53" fmla="*/ 1573403010 h 101"/>
              <a:gd name="T54" fmla="*/ 1368863031 w 171"/>
              <a:gd name="T55" fmla="*/ 1573403010 h 101"/>
              <a:gd name="T56" fmla="*/ 1368863031 w 171"/>
              <a:gd name="T57" fmla="*/ 1573403010 h 101"/>
              <a:gd name="T58" fmla="*/ 1368863031 w 171"/>
              <a:gd name="T59" fmla="*/ 1573403010 h 101"/>
              <a:gd name="T60" fmla="*/ 1368863031 w 171"/>
              <a:gd name="T61" fmla="*/ 1573403010 h 101"/>
              <a:gd name="T62" fmla="*/ 1368863031 w 171"/>
              <a:gd name="T63" fmla="*/ 1573403010 h 101"/>
              <a:gd name="T64" fmla="*/ 1368863031 w 171"/>
              <a:gd name="T65" fmla="*/ 1573403010 h 101"/>
              <a:gd name="T66" fmla="*/ 1368863031 w 171"/>
              <a:gd name="T67" fmla="*/ 1573403010 h 101"/>
              <a:gd name="T68" fmla="*/ 1368863031 w 171"/>
              <a:gd name="T69" fmla="*/ 1573403010 h 101"/>
              <a:gd name="T70" fmla="*/ 1368863031 w 171"/>
              <a:gd name="T71" fmla="*/ 1573403010 h 101"/>
              <a:gd name="T72" fmla="*/ 1368863031 w 171"/>
              <a:gd name="T73" fmla="*/ 1573403010 h 101"/>
              <a:gd name="T74" fmla="*/ 1368863031 w 171"/>
              <a:gd name="T75" fmla="*/ 1573403010 h 101"/>
              <a:gd name="T76" fmla="*/ 1368863031 w 171"/>
              <a:gd name="T77" fmla="*/ 1573403010 h 101"/>
              <a:gd name="T78" fmla="*/ 1368863031 w 171"/>
              <a:gd name="T79" fmla="*/ 1573403010 h 101"/>
              <a:gd name="T80" fmla="*/ 1368863031 w 171"/>
              <a:gd name="T81" fmla="*/ 1573403010 h 101"/>
              <a:gd name="T82" fmla="*/ 1368863031 w 171"/>
              <a:gd name="T83" fmla="*/ 1573403010 h 101"/>
              <a:gd name="T84" fmla="*/ 1368863031 w 171"/>
              <a:gd name="T85" fmla="*/ 1573403010 h 101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w 171"/>
              <a:gd name="T130" fmla="*/ 0 h 101"/>
              <a:gd name="T131" fmla="*/ 171 w 171"/>
              <a:gd name="T132" fmla="*/ 101 h 101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T129" t="T130" r="T131" b="T132"/>
            <a:pathLst>
              <a:path w="171" h="101">
                <a:moveTo>
                  <a:pt x="0" y="8"/>
                </a:moveTo>
                <a:lnTo>
                  <a:pt x="8" y="9"/>
                </a:lnTo>
                <a:lnTo>
                  <a:pt x="26" y="8"/>
                </a:lnTo>
                <a:lnTo>
                  <a:pt x="40" y="7"/>
                </a:lnTo>
                <a:lnTo>
                  <a:pt x="51" y="8"/>
                </a:lnTo>
                <a:lnTo>
                  <a:pt x="57" y="8"/>
                </a:lnTo>
                <a:lnTo>
                  <a:pt x="60" y="3"/>
                </a:lnTo>
                <a:lnTo>
                  <a:pt x="65" y="0"/>
                </a:lnTo>
                <a:lnTo>
                  <a:pt x="72" y="0"/>
                </a:lnTo>
                <a:lnTo>
                  <a:pt x="80" y="2"/>
                </a:lnTo>
                <a:lnTo>
                  <a:pt x="86" y="7"/>
                </a:lnTo>
                <a:lnTo>
                  <a:pt x="90" y="11"/>
                </a:lnTo>
                <a:lnTo>
                  <a:pt x="99" y="11"/>
                </a:lnTo>
                <a:lnTo>
                  <a:pt x="107" y="11"/>
                </a:lnTo>
                <a:lnTo>
                  <a:pt x="108" y="13"/>
                </a:lnTo>
                <a:lnTo>
                  <a:pt x="112" y="18"/>
                </a:lnTo>
                <a:lnTo>
                  <a:pt x="118" y="20"/>
                </a:lnTo>
                <a:lnTo>
                  <a:pt x="121" y="23"/>
                </a:lnTo>
                <a:lnTo>
                  <a:pt x="122" y="29"/>
                </a:lnTo>
                <a:lnTo>
                  <a:pt x="124" y="35"/>
                </a:lnTo>
                <a:lnTo>
                  <a:pt x="121" y="39"/>
                </a:lnTo>
                <a:lnTo>
                  <a:pt x="118" y="43"/>
                </a:lnTo>
                <a:lnTo>
                  <a:pt x="115" y="48"/>
                </a:lnTo>
                <a:lnTo>
                  <a:pt x="109" y="49"/>
                </a:lnTo>
                <a:lnTo>
                  <a:pt x="102" y="51"/>
                </a:lnTo>
                <a:lnTo>
                  <a:pt x="98" y="57"/>
                </a:lnTo>
                <a:lnTo>
                  <a:pt x="95" y="59"/>
                </a:lnTo>
                <a:lnTo>
                  <a:pt x="95" y="66"/>
                </a:lnTo>
                <a:lnTo>
                  <a:pt x="96" y="77"/>
                </a:lnTo>
                <a:lnTo>
                  <a:pt x="102" y="83"/>
                </a:lnTo>
                <a:lnTo>
                  <a:pt x="105" y="87"/>
                </a:lnTo>
                <a:lnTo>
                  <a:pt x="118" y="89"/>
                </a:lnTo>
                <a:lnTo>
                  <a:pt x="126" y="89"/>
                </a:lnTo>
                <a:lnTo>
                  <a:pt x="139" y="89"/>
                </a:lnTo>
                <a:lnTo>
                  <a:pt x="145" y="88"/>
                </a:lnTo>
                <a:lnTo>
                  <a:pt x="150" y="85"/>
                </a:lnTo>
                <a:lnTo>
                  <a:pt x="156" y="85"/>
                </a:lnTo>
                <a:lnTo>
                  <a:pt x="161" y="86"/>
                </a:lnTo>
                <a:lnTo>
                  <a:pt x="164" y="89"/>
                </a:lnTo>
                <a:lnTo>
                  <a:pt x="167" y="92"/>
                </a:lnTo>
                <a:lnTo>
                  <a:pt x="168" y="94"/>
                </a:lnTo>
                <a:lnTo>
                  <a:pt x="170" y="98"/>
                </a:lnTo>
                <a:lnTo>
                  <a:pt x="171" y="101"/>
                </a:lnTo>
              </a:path>
            </a:pathLst>
          </a:custGeom>
          <a:noFill/>
          <a:ln w="3175" cap="flat" cmpd="sng">
            <a:solidFill>
              <a:srgbClr val="D9EAF7"/>
            </a:solidFill>
            <a:prstDash val="solid"/>
            <a:round/>
            <a:headEnd type="none" w="med" len="med"/>
            <a:tailEnd type="none" w="med" len="med"/>
          </a:ln>
        </p:spPr>
        <p:txBody>
          <a:bodyPr wrap="none" lIns="32632" tIns="32632" rIns="32632" bIns="32632" anchor="ctr"/>
          <a:lstStyle/>
          <a:p>
            <a:pPr defTabSz="891045"/>
            <a:endParaRPr lang="en-US" sz="1700" dirty="0">
              <a:solidFill>
                <a:srgbClr val="003149"/>
              </a:solidFill>
              <a:cs typeface="Arial" panose="020B0604020202020204" pitchFamily="34" charset="0"/>
            </a:endParaRPr>
          </a:p>
        </p:txBody>
      </p:sp>
      <p:sp>
        <p:nvSpPr>
          <p:cNvPr id="209" name="Freeform 829"/>
          <p:cNvSpPr>
            <a:spLocks noChangeAspect="1"/>
          </p:cNvSpPr>
          <p:nvPr>
            <p:custDataLst>
              <p:tags r:id="rId109"/>
            </p:custDataLst>
          </p:nvPr>
        </p:nvSpPr>
        <p:spPr bwMode="gray">
          <a:xfrm>
            <a:off x="6096356" y="2789015"/>
            <a:ext cx="108047" cy="264010"/>
          </a:xfrm>
          <a:custGeom>
            <a:avLst/>
            <a:gdLst>
              <a:gd name="T0" fmla="*/ 0 w 567"/>
              <a:gd name="T1" fmla="*/ 0 h 1264"/>
              <a:gd name="T2" fmla="*/ 0 w 567"/>
              <a:gd name="T3" fmla="*/ 0 h 1264"/>
              <a:gd name="T4" fmla="*/ 0 w 567"/>
              <a:gd name="T5" fmla="*/ 0 h 1264"/>
              <a:gd name="T6" fmla="*/ 0 w 567"/>
              <a:gd name="T7" fmla="*/ 0 h 1264"/>
              <a:gd name="T8" fmla="*/ 0 w 567"/>
              <a:gd name="T9" fmla="*/ 0 h 1264"/>
              <a:gd name="T10" fmla="*/ 0 w 567"/>
              <a:gd name="T11" fmla="*/ 0 h 1264"/>
              <a:gd name="T12" fmla="*/ 0 w 567"/>
              <a:gd name="T13" fmla="*/ 0 h 1264"/>
              <a:gd name="T14" fmla="*/ 0 w 567"/>
              <a:gd name="T15" fmla="*/ 0 h 1264"/>
              <a:gd name="T16" fmla="*/ 0 w 567"/>
              <a:gd name="T17" fmla="*/ 0 h 1264"/>
              <a:gd name="T18" fmla="*/ 0 w 567"/>
              <a:gd name="T19" fmla="*/ 0 h 1264"/>
              <a:gd name="T20" fmla="*/ 0 w 567"/>
              <a:gd name="T21" fmla="*/ 0 h 1264"/>
              <a:gd name="T22" fmla="*/ 0 w 567"/>
              <a:gd name="T23" fmla="*/ 0 h 1264"/>
              <a:gd name="T24" fmla="*/ 0 w 567"/>
              <a:gd name="T25" fmla="*/ 0 h 1264"/>
              <a:gd name="T26" fmla="*/ 0 w 567"/>
              <a:gd name="T27" fmla="*/ 0 h 1264"/>
              <a:gd name="T28" fmla="*/ 0 w 567"/>
              <a:gd name="T29" fmla="*/ 0 h 1264"/>
              <a:gd name="T30" fmla="*/ 0 w 567"/>
              <a:gd name="T31" fmla="*/ 0 h 1264"/>
              <a:gd name="T32" fmla="*/ 0 w 567"/>
              <a:gd name="T33" fmla="*/ 0 h 1264"/>
              <a:gd name="T34" fmla="*/ 0 w 567"/>
              <a:gd name="T35" fmla="*/ 0 h 1264"/>
              <a:gd name="T36" fmla="*/ 0 w 567"/>
              <a:gd name="T37" fmla="*/ 0 h 1264"/>
              <a:gd name="T38" fmla="*/ 0 w 567"/>
              <a:gd name="T39" fmla="*/ 0 h 1264"/>
              <a:gd name="T40" fmla="*/ 0 w 567"/>
              <a:gd name="T41" fmla="*/ 0 h 1264"/>
              <a:gd name="T42" fmla="*/ 0 w 567"/>
              <a:gd name="T43" fmla="*/ 0 h 1264"/>
              <a:gd name="T44" fmla="*/ 0 w 567"/>
              <a:gd name="T45" fmla="*/ 0 h 1264"/>
              <a:gd name="T46" fmla="*/ 0 w 567"/>
              <a:gd name="T47" fmla="*/ 0 h 1264"/>
              <a:gd name="T48" fmla="*/ 0 w 567"/>
              <a:gd name="T49" fmla="*/ 0 h 1264"/>
              <a:gd name="T50" fmla="*/ 0 w 567"/>
              <a:gd name="T51" fmla="*/ 0 h 1264"/>
              <a:gd name="T52" fmla="*/ 0 w 567"/>
              <a:gd name="T53" fmla="*/ 0 h 1264"/>
              <a:gd name="T54" fmla="*/ 0 w 567"/>
              <a:gd name="T55" fmla="*/ 0 h 1264"/>
              <a:gd name="T56" fmla="*/ 0 w 567"/>
              <a:gd name="T57" fmla="*/ 0 h 1264"/>
              <a:gd name="T58" fmla="*/ 0 w 567"/>
              <a:gd name="T59" fmla="*/ 0 h 1264"/>
              <a:gd name="T60" fmla="*/ 0 w 567"/>
              <a:gd name="T61" fmla="*/ 0 h 1264"/>
              <a:gd name="T62" fmla="*/ 0 w 567"/>
              <a:gd name="T63" fmla="*/ 0 h 1264"/>
              <a:gd name="T64" fmla="*/ 0 w 567"/>
              <a:gd name="T65" fmla="*/ 0 h 1264"/>
              <a:gd name="T66" fmla="*/ 0 w 567"/>
              <a:gd name="T67" fmla="*/ 0 h 1264"/>
              <a:gd name="T68" fmla="*/ 0 w 567"/>
              <a:gd name="T69" fmla="*/ 0 h 1264"/>
              <a:gd name="T70" fmla="*/ 0 w 567"/>
              <a:gd name="T71" fmla="*/ 0 h 1264"/>
              <a:gd name="T72" fmla="*/ 0 w 567"/>
              <a:gd name="T73" fmla="*/ 0 h 1264"/>
              <a:gd name="T74" fmla="*/ 0 w 567"/>
              <a:gd name="T75" fmla="*/ 0 h 1264"/>
              <a:gd name="T76" fmla="*/ 0 w 567"/>
              <a:gd name="T77" fmla="*/ 0 h 1264"/>
              <a:gd name="T78" fmla="*/ 0 w 567"/>
              <a:gd name="T79" fmla="*/ 0 h 1264"/>
              <a:gd name="T80" fmla="*/ 0 w 567"/>
              <a:gd name="T81" fmla="*/ 0 h 1264"/>
              <a:gd name="T82" fmla="*/ 0 w 567"/>
              <a:gd name="T83" fmla="*/ 0 h 1264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w 567"/>
              <a:gd name="T127" fmla="*/ 0 h 1264"/>
              <a:gd name="T128" fmla="*/ 567 w 567"/>
              <a:gd name="T129" fmla="*/ 1264 h 1264"/>
            </a:gdLst>
            <a:ahLst/>
            <a:cxnLst>
              <a:cxn ang="T84">
                <a:pos x="T0" y="T1"/>
              </a:cxn>
              <a:cxn ang="T85">
                <a:pos x="T2" y="T3"/>
              </a:cxn>
              <a:cxn ang="T86">
                <a:pos x="T4" y="T5"/>
              </a:cxn>
              <a:cxn ang="T87">
                <a:pos x="T6" y="T7"/>
              </a:cxn>
              <a:cxn ang="T88">
                <a:pos x="T8" y="T9"/>
              </a:cxn>
              <a:cxn ang="T89">
                <a:pos x="T10" y="T11"/>
              </a:cxn>
              <a:cxn ang="T90">
                <a:pos x="T12" y="T13"/>
              </a:cxn>
              <a:cxn ang="T91">
                <a:pos x="T14" y="T15"/>
              </a:cxn>
              <a:cxn ang="T92">
                <a:pos x="T16" y="T17"/>
              </a:cxn>
              <a:cxn ang="T93">
                <a:pos x="T18" y="T19"/>
              </a:cxn>
              <a:cxn ang="T94">
                <a:pos x="T20" y="T21"/>
              </a:cxn>
              <a:cxn ang="T95">
                <a:pos x="T22" y="T23"/>
              </a:cxn>
              <a:cxn ang="T96">
                <a:pos x="T24" y="T25"/>
              </a:cxn>
              <a:cxn ang="T97">
                <a:pos x="T26" y="T27"/>
              </a:cxn>
              <a:cxn ang="T98">
                <a:pos x="T28" y="T29"/>
              </a:cxn>
              <a:cxn ang="T99">
                <a:pos x="T30" y="T31"/>
              </a:cxn>
              <a:cxn ang="T100">
                <a:pos x="T32" y="T33"/>
              </a:cxn>
              <a:cxn ang="T101">
                <a:pos x="T34" y="T35"/>
              </a:cxn>
              <a:cxn ang="T102">
                <a:pos x="T36" y="T37"/>
              </a:cxn>
              <a:cxn ang="T103">
                <a:pos x="T38" y="T39"/>
              </a:cxn>
              <a:cxn ang="T104">
                <a:pos x="T40" y="T41"/>
              </a:cxn>
              <a:cxn ang="T105">
                <a:pos x="T42" y="T43"/>
              </a:cxn>
              <a:cxn ang="T106">
                <a:pos x="T44" y="T45"/>
              </a:cxn>
              <a:cxn ang="T107">
                <a:pos x="T46" y="T47"/>
              </a:cxn>
              <a:cxn ang="T108">
                <a:pos x="T48" y="T49"/>
              </a:cxn>
              <a:cxn ang="T109">
                <a:pos x="T50" y="T51"/>
              </a:cxn>
              <a:cxn ang="T110">
                <a:pos x="T52" y="T53"/>
              </a:cxn>
              <a:cxn ang="T111">
                <a:pos x="T54" y="T55"/>
              </a:cxn>
              <a:cxn ang="T112">
                <a:pos x="T56" y="T57"/>
              </a:cxn>
              <a:cxn ang="T113">
                <a:pos x="T58" y="T59"/>
              </a:cxn>
              <a:cxn ang="T114">
                <a:pos x="T60" y="T61"/>
              </a:cxn>
              <a:cxn ang="T115">
                <a:pos x="T62" y="T63"/>
              </a:cxn>
              <a:cxn ang="T116">
                <a:pos x="T64" y="T65"/>
              </a:cxn>
              <a:cxn ang="T117">
                <a:pos x="T66" y="T67"/>
              </a:cxn>
              <a:cxn ang="T118">
                <a:pos x="T68" y="T69"/>
              </a:cxn>
              <a:cxn ang="T119">
                <a:pos x="T70" y="T71"/>
              </a:cxn>
              <a:cxn ang="T120">
                <a:pos x="T72" y="T73"/>
              </a:cxn>
              <a:cxn ang="T121">
                <a:pos x="T74" y="T75"/>
              </a:cxn>
              <a:cxn ang="T122">
                <a:pos x="T76" y="T77"/>
              </a:cxn>
              <a:cxn ang="T123">
                <a:pos x="T78" y="T79"/>
              </a:cxn>
              <a:cxn ang="T124">
                <a:pos x="T80" y="T81"/>
              </a:cxn>
              <a:cxn ang="T125">
                <a:pos x="T82" y="T83"/>
              </a:cxn>
            </a:cxnLst>
            <a:rect l="T126" t="T127" r="T128" b="T129"/>
            <a:pathLst>
              <a:path w="567" h="1264">
                <a:moveTo>
                  <a:pt x="312" y="1264"/>
                </a:moveTo>
                <a:lnTo>
                  <a:pt x="303" y="1240"/>
                </a:lnTo>
                <a:lnTo>
                  <a:pt x="295" y="1231"/>
                </a:lnTo>
                <a:lnTo>
                  <a:pt x="288" y="1221"/>
                </a:lnTo>
                <a:lnTo>
                  <a:pt x="289" y="1210"/>
                </a:lnTo>
                <a:lnTo>
                  <a:pt x="307" y="1195"/>
                </a:lnTo>
                <a:lnTo>
                  <a:pt x="315" y="1159"/>
                </a:lnTo>
                <a:lnTo>
                  <a:pt x="298" y="1132"/>
                </a:lnTo>
                <a:lnTo>
                  <a:pt x="279" y="1111"/>
                </a:lnTo>
                <a:lnTo>
                  <a:pt x="264" y="1090"/>
                </a:lnTo>
                <a:lnTo>
                  <a:pt x="256" y="1066"/>
                </a:lnTo>
                <a:lnTo>
                  <a:pt x="264" y="1053"/>
                </a:lnTo>
                <a:lnTo>
                  <a:pt x="279" y="1044"/>
                </a:lnTo>
                <a:lnTo>
                  <a:pt x="292" y="1036"/>
                </a:lnTo>
                <a:lnTo>
                  <a:pt x="289" y="1021"/>
                </a:lnTo>
                <a:lnTo>
                  <a:pt x="264" y="1005"/>
                </a:lnTo>
                <a:lnTo>
                  <a:pt x="240" y="993"/>
                </a:lnTo>
                <a:lnTo>
                  <a:pt x="205" y="976"/>
                </a:lnTo>
                <a:lnTo>
                  <a:pt x="183" y="954"/>
                </a:lnTo>
                <a:lnTo>
                  <a:pt x="163" y="936"/>
                </a:lnTo>
                <a:lnTo>
                  <a:pt x="142" y="912"/>
                </a:lnTo>
                <a:lnTo>
                  <a:pt x="111" y="894"/>
                </a:lnTo>
                <a:lnTo>
                  <a:pt x="97" y="879"/>
                </a:lnTo>
                <a:lnTo>
                  <a:pt x="91" y="850"/>
                </a:lnTo>
                <a:lnTo>
                  <a:pt x="81" y="826"/>
                </a:lnTo>
                <a:lnTo>
                  <a:pt x="69" y="807"/>
                </a:lnTo>
                <a:lnTo>
                  <a:pt x="58" y="778"/>
                </a:lnTo>
                <a:lnTo>
                  <a:pt x="42" y="756"/>
                </a:lnTo>
                <a:lnTo>
                  <a:pt x="31" y="714"/>
                </a:lnTo>
                <a:lnTo>
                  <a:pt x="10" y="693"/>
                </a:lnTo>
                <a:lnTo>
                  <a:pt x="0" y="667"/>
                </a:lnTo>
                <a:lnTo>
                  <a:pt x="22" y="639"/>
                </a:lnTo>
                <a:lnTo>
                  <a:pt x="37" y="609"/>
                </a:lnTo>
                <a:lnTo>
                  <a:pt x="40" y="579"/>
                </a:lnTo>
                <a:lnTo>
                  <a:pt x="13" y="541"/>
                </a:lnTo>
                <a:lnTo>
                  <a:pt x="1" y="511"/>
                </a:lnTo>
                <a:lnTo>
                  <a:pt x="10" y="495"/>
                </a:lnTo>
                <a:lnTo>
                  <a:pt x="30" y="490"/>
                </a:lnTo>
                <a:lnTo>
                  <a:pt x="72" y="484"/>
                </a:lnTo>
                <a:lnTo>
                  <a:pt x="112" y="465"/>
                </a:lnTo>
                <a:lnTo>
                  <a:pt x="141" y="456"/>
                </a:lnTo>
                <a:lnTo>
                  <a:pt x="154" y="451"/>
                </a:lnTo>
                <a:lnTo>
                  <a:pt x="151" y="418"/>
                </a:lnTo>
                <a:lnTo>
                  <a:pt x="168" y="396"/>
                </a:lnTo>
                <a:lnTo>
                  <a:pt x="190" y="403"/>
                </a:lnTo>
                <a:lnTo>
                  <a:pt x="204" y="420"/>
                </a:lnTo>
                <a:lnTo>
                  <a:pt x="228" y="430"/>
                </a:lnTo>
                <a:lnTo>
                  <a:pt x="253" y="412"/>
                </a:lnTo>
                <a:lnTo>
                  <a:pt x="262" y="384"/>
                </a:lnTo>
                <a:lnTo>
                  <a:pt x="252" y="348"/>
                </a:lnTo>
                <a:lnTo>
                  <a:pt x="243" y="327"/>
                </a:lnTo>
                <a:lnTo>
                  <a:pt x="231" y="319"/>
                </a:lnTo>
                <a:lnTo>
                  <a:pt x="213" y="318"/>
                </a:lnTo>
                <a:lnTo>
                  <a:pt x="187" y="321"/>
                </a:lnTo>
                <a:lnTo>
                  <a:pt x="165" y="315"/>
                </a:lnTo>
                <a:lnTo>
                  <a:pt x="162" y="294"/>
                </a:lnTo>
                <a:lnTo>
                  <a:pt x="159" y="258"/>
                </a:lnTo>
                <a:lnTo>
                  <a:pt x="163" y="237"/>
                </a:lnTo>
                <a:lnTo>
                  <a:pt x="177" y="229"/>
                </a:lnTo>
                <a:lnTo>
                  <a:pt x="232" y="232"/>
                </a:lnTo>
                <a:lnTo>
                  <a:pt x="253" y="216"/>
                </a:lnTo>
                <a:lnTo>
                  <a:pt x="271" y="199"/>
                </a:lnTo>
                <a:lnTo>
                  <a:pt x="288" y="198"/>
                </a:lnTo>
                <a:lnTo>
                  <a:pt x="304" y="189"/>
                </a:lnTo>
                <a:lnTo>
                  <a:pt x="298" y="163"/>
                </a:lnTo>
                <a:lnTo>
                  <a:pt x="312" y="154"/>
                </a:lnTo>
                <a:lnTo>
                  <a:pt x="322" y="144"/>
                </a:lnTo>
                <a:lnTo>
                  <a:pt x="322" y="126"/>
                </a:lnTo>
                <a:lnTo>
                  <a:pt x="318" y="97"/>
                </a:lnTo>
                <a:lnTo>
                  <a:pt x="334" y="88"/>
                </a:lnTo>
                <a:lnTo>
                  <a:pt x="355" y="81"/>
                </a:lnTo>
                <a:lnTo>
                  <a:pt x="385" y="84"/>
                </a:lnTo>
                <a:lnTo>
                  <a:pt x="400" y="108"/>
                </a:lnTo>
                <a:lnTo>
                  <a:pt x="412" y="126"/>
                </a:lnTo>
                <a:lnTo>
                  <a:pt x="438" y="136"/>
                </a:lnTo>
                <a:lnTo>
                  <a:pt x="474" y="139"/>
                </a:lnTo>
                <a:lnTo>
                  <a:pt x="498" y="130"/>
                </a:lnTo>
                <a:lnTo>
                  <a:pt x="519" y="115"/>
                </a:lnTo>
                <a:lnTo>
                  <a:pt x="519" y="105"/>
                </a:lnTo>
                <a:lnTo>
                  <a:pt x="505" y="88"/>
                </a:lnTo>
                <a:lnTo>
                  <a:pt x="495" y="72"/>
                </a:lnTo>
                <a:lnTo>
                  <a:pt x="496" y="43"/>
                </a:lnTo>
                <a:lnTo>
                  <a:pt x="516" y="30"/>
                </a:lnTo>
                <a:lnTo>
                  <a:pt x="558" y="6"/>
                </a:lnTo>
                <a:lnTo>
                  <a:pt x="567" y="0"/>
                </a:lnTo>
              </a:path>
            </a:pathLst>
          </a:custGeom>
          <a:noFill/>
          <a:ln w="3175" cap="flat" cmpd="sng">
            <a:solidFill>
              <a:srgbClr val="D9EAF7"/>
            </a:solidFill>
            <a:prstDash val="solid"/>
            <a:round/>
            <a:headEnd type="none" w="med" len="med"/>
            <a:tailEnd type="none" w="med" len="med"/>
          </a:ln>
        </p:spPr>
        <p:txBody>
          <a:bodyPr wrap="none" lIns="32632" tIns="32632" rIns="32632" bIns="32632" anchor="ctr"/>
          <a:lstStyle/>
          <a:p>
            <a:pPr defTabSz="891045"/>
            <a:endParaRPr lang="en-US" sz="1700" dirty="0">
              <a:solidFill>
                <a:srgbClr val="003149"/>
              </a:solidFill>
              <a:cs typeface="Arial" panose="020B0604020202020204" pitchFamily="34" charset="0"/>
            </a:endParaRPr>
          </a:p>
        </p:txBody>
      </p:sp>
      <p:sp>
        <p:nvSpPr>
          <p:cNvPr id="210" name="Freeform 831"/>
          <p:cNvSpPr>
            <a:spLocks noChangeAspect="1"/>
          </p:cNvSpPr>
          <p:nvPr>
            <p:custDataLst>
              <p:tags r:id="rId110"/>
            </p:custDataLst>
          </p:nvPr>
        </p:nvSpPr>
        <p:spPr bwMode="gray">
          <a:xfrm>
            <a:off x="6433329" y="2543682"/>
            <a:ext cx="133637" cy="119091"/>
          </a:xfrm>
          <a:custGeom>
            <a:avLst/>
            <a:gdLst>
              <a:gd name="T0" fmla="*/ 0 w 9969"/>
              <a:gd name="T1" fmla="*/ 0 h 9848"/>
              <a:gd name="T2" fmla="*/ 0 w 9969"/>
              <a:gd name="T3" fmla="*/ 0 h 9848"/>
              <a:gd name="T4" fmla="*/ 0 w 9969"/>
              <a:gd name="T5" fmla="*/ 0 h 9848"/>
              <a:gd name="T6" fmla="*/ 0 w 9969"/>
              <a:gd name="T7" fmla="*/ 0 h 9848"/>
              <a:gd name="T8" fmla="*/ 0 w 9969"/>
              <a:gd name="T9" fmla="*/ 0 h 9848"/>
              <a:gd name="T10" fmla="*/ 0 w 9969"/>
              <a:gd name="T11" fmla="*/ 0 h 9848"/>
              <a:gd name="T12" fmla="*/ 0 w 9969"/>
              <a:gd name="T13" fmla="*/ 0 h 9848"/>
              <a:gd name="T14" fmla="*/ 0 w 9969"/>
              <a:gd name="T15" fmla="*/ 0 h 9848"/>
              <a:gd name="T16" fmla="*/ 0 w 9969"/>
              <a:gd name="T17" fmla="*/ 0 h 9848"/>
              <a:gd name="T18" fmla="*/ 0 w 9969"/>
              <a:gd name="T19" fmla="*/ 0 h 9848"/>
              <a:gd name="T20" fmla="*/ 0 w 9969"/>
              <a:gd name="T21" fmla="*/ 0 h 9848"/>
              <a:gd name="T22" fmla="*/ 0 w 9969"/>
              <a:gd name="T23" fmla="*/ 0 h 9848"/>
              <a:gd name="T24" fmla="*/ 0 w 9969"/>
              <a:gd name="T25" fmla="*/ 0 h 9848"/>
              <a:gd name="T26" fmla="*/ 0 w 9969"/>
              <a:gd name="T27" fmla="*/ 0 h 9848"/>
              <a:gd name="T28" fmla="*/ 0 w 9969"/>
              <a:gd name="T29" fmla="*/ 0 h 9848"/>
              <a:gd name="T30" fmla="*/ 0 w 9969"/>
              <a:gd name="T31" fmla="*/ 0 h 9848"/>
              <a:gd name="T32" fmla="*/ 0 w 9969"/>
              <a:gd name="T33" fmla="*/ 0 h 9848"/>
              <a:gd name="T34" fmla="*/ 0 w 9969"/>
              <a:gd name="T35" fmla="*/ 0 h 9848"/>
              <a:gd name="T36" fmla="*/ 0 w 9969"/>
              <a:gd name="T37" fmla="*/ 0 h 9848"/>
              <a:gd name="T38" fmla="*/ 0 w 9969"/>
              <a:gd name="T39" fmla="*/ 0 h 9848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w 9969"/>
              <a:gd name="T61" fmla="*/ 0 h 9848"/>
              <a:gd name="T62" fmla="*/ 9969 w 9969"/>
              <a:gd name="T63" fmla="*/ 9848 h 9848"/>
            </a:gdLst>
            <a:ahLst/>
            <a:cxnLst>
              <a:cxn ang="T40">
                <a:pos x="T0" y="T1"/>
              </a:cxn>
              <a:cxn ang="T41">
                <a:pos x="T2" y="T3"/>
              </a:cxn>
              <a:cxn ang="T42">
                <a:pos x="T4" y="T5"/>
              </a:cxn>
              <a:cxn ang="T43">
                <a:pos x="T6" y="T7"/>
              </a:cxn>
              <a:cxn ang="T44">
                <a:pos x="T8" y="T9"/>
              </a:cxn>
              <a:cxn ang="T45">
                <a:pos x="T10" y="T11"/>
              </a:cxn>
              <a:cxn ang="T46">
                <a:pos x="T12" y="T13"/>
              </a:cxn>
              <a:cxn ang="T47">
                <a:pos x="T14" y="T15"/>
              </a:cxn>
              <a:cxn ang="T48">
                <a:pos x="T16" y="T17"/>
              </a:cxn>
              <a:cxn ang="T49">
                <a:pos x="T18" y="T19"/>
              </a:cxn>
              <a:cxn ang="T50">
                <a:pos x="T20" y="T21"/>
              </a:cxn>
              <a:cxn ang="T51">
                <a:pos x="T22" y="T23"/>
              </a:cxn>
              <a:cxn ang="T52">
                <a:pos x="T24" y="T25"/>
              </a:cxn>
              <a:cxn ang="T53">
                <a:pos x="T26" y="T27"/>
              </a:cxn>
              <a:cxn ang="T54">
                <a:pos x="T28" y="T29"/>
              </a:cxn>
              <a:cxn ang="T55">
                <a:pos x="T30" y="T31"/>
              </a:cxn>
              <a:cxn ang="T56">
                <a:pos x="T32" y="T33"/>
              </a:cxn>
              <a:cxn ang="T57">
                <a:pos x="T34" y="T35"/>
              </a:cxn>
              <a:cxn ang="T58">
                <a:pos x="T36" y="T37"/>
              </a:cxn>
              <a:cxn ang="T59">
                <a:pos x="T38" y="T39"/>
              </a:cxn>
            </a:cxnLst>
            <a:rect l="T60" t="T61" r="T62" b="T63"/>
            <a:pathLst>
              <a:path w="9969" h="9848">
                <a:moveTo>
                  <a:pt x="0" y="0"/>
                </a:moveTo>
                <a:lnTo>
                  <a:pt x="322" y="423"/>
                </a:lnTo>
                <a:lnTo>
                  <a:pt x="965" y="880"/>
                </a:lnTo>
                <a:cubicBezTo>
                  <a:pt x="1044" y="1010"/>
                  <a:pt x="1124" y="1139"/>
                  <a:pt x="1203" y="1269"/>
                </a:cubicBezTo>
                <a:cubicBezTo>
                  <a:pt x="1222" y="1461"/>
                  <a:pt x="1241" y="1653"/>
                  <a:pt x="1259" y="1845"/>
                </a:cubicBezTo>
                <a:lnTo>
                  <a:pt x="1889" y="2335"/>
                </a:lnTo>
                <a:lnTo>
                  <a:pt x="2686" y="2995"/>
                </a:lnTo>
                <a:lnTo>
                  <a:pt x="3147" y="3959"/>
                </a:lnTo>
                <a:lnTo>
                  <a:pt x="3650" y="4586"/>
                </a:lnTo>
                <a:lnTo>
                  <a:pt x="4280" y="4873"/>
                </a:lnTo>
                <a:lnTo>
                  <a:pt x="4811" y="5347"/>
                </a:lnTo>
                <a:lnTo>
                  <a:pt x="5203" y="6193"/>
                </a:lnTo>
                <a:lnTo>
                  <a:pt x="5539" y="6954"/>
                </a:lnTo>
                <a:lnTo>
                  <a:pt x="6155" y="7056"/>
                </a:lnTo>
                <a:lnTo>
                  <a:pt x="6574" y="7817"/>
                </a:lnTo>
                <a:lnTo>
                  <a:pt x="7175" y="8190"/>
                </a:lnTo>
                <a:lnTo>
                  <a:pt x="8001" y="8782"/>
                </a:lnTo>
                <a:lnTo>
                  <a:pt x="8938" y="9205"/>
                </a:lnTo>
                <a:lnTo>
                  <a:pt x="9636" y="9695"/>
                </a:lnTo>
                <a:cubicBezTo>
                  <a:pt x="9809" y="9848"/>
                  <a:pt x="9796" y="9696"/>
                  <a:pt x="9969" y="9848"/>
                </a:cubicBezTo>
              </a:path>
            </a:pathLst>
          </a:custGeom>
          <a:noFill/>
          <a:ln w="3175" cap="flat" cmpd="sng">
            <a:solidFill>
              <a:srgbClr val="D9EAF7"/>
            </a:solidFill>
            <a:prstDash val="solid"/>
            <a:round/>
            <a:headEnd type="none" w="med" len="med"/>
            <a:tailEnd type="none" w="med" len="med"/>
          </a:ln>
        </p:spPr>
        <p:txBody>
          <a:bodyPr wrap="none" lIns="32632" tIns="32632" rIns="32632" bIns="32632" anchor="ctr"/>
          <a:lstStyle/>
          <a:p>
            <a:pPr defTabSz="891045"/>
            <a:endParaRPr lang="en-US" sz="1700" dirty="0">
              <a:solidFill>
                <a:srgbClr val="003149"/>
              </a:solidFill>
              <a:cs typeface="Arial" panose="020B0604020202020204" pitchFamily="34" charset="0"/>
            </a:endParaRPr>
          </a:p>
        </p:txBody>
      </p:sp>
      <p:sp>
        <p:nvSpPr>
          <p:cNvPr id="211" name="Freeform 832"/>
          <p:cNvSpPr>
            <a:spLocks noChangeAspect="1"/>
          </p:cNvSpPr>
          <p:nvPr>
            <p:custDataLst>
              <p:tags r:id="rId111"/>
            </p:custDataLst>
          </p:nvPr>
        </p:nvSpPr>
        <p:spPr bwMode="gray">
          <a:xfrm>
            <a:off x="6433292" y="2349956"/>
            <a:ext cx="322719" cy="193702"/>
          </a:xfrm>
          <a:custGeom>
            <a:avLst/>
            <a:gdLst>
              <a:gd name="T0" fmla="*/ 0 w 1744"/>
              <a:gd name="T1" fmla="*/ 0 h 920"/>
              <a:gd name="T2" fmla="*/ 0 w 1744"/>
              <a:gd name="T3" fmla="*/ 0 h 920"/>
              <a:gd name="T4" fmla="*/ 0 w 1744"/>
              <a:gd name="T5" fmla="*/ 0 h 920"/>
              <a:gd name="T6" fmla="*/ 0 w 1744"/>
              <a:gd name="T7" fmla="*/ 0 h 920"/>
              <a:gd name="T8" fmla="*/ 0 w 1744"/>
              <a:gd name="T9" fmla="*/ 0 h 920"/>
              <a:gd name="T10" fmla="*/ 0 w 1744"/>
              <a:gd name="T11" fmla="*/ 0 h 920"/>
              <a:gd name="T12" fmla="*/ 0 w 1744"/>
              <a:gd name="T13" fmla="*/ 0 h 920"/>
              <a:gd name="T14" fmla="*/ 0 w 1744"/>
              <a:gd name="T15" fmla="*/ 0 h 920"/>
              <a:gd name="T16" fmla="*/ 0 w 1744"/>
              <a:gd name="T17" fmla="*/ 0 h 920"/>
              <a:gd name="T18" fmla="*/ 0 w 1744"/>
              <a:gd name="T19" fmla="*/ 0 h 920"/>
              <a:gd name="T20" fmla="*/ 0 w 1744"/>
              <a:gd name="T21" fmla="*/ 0 h 920"/>
              <a:gd name="T22" fmla="*/ 0 w 1744"/>
              <a:gd name="T23" fmla="*/ 0 h 920"/>
              <a:gd name="T24" fmla="*/ 0 w 1744"/>
              <a:gd name="T25" fmla="*/ 0 h 920"/>
              <a:gd name="T26" fmla="*/ 0 w 1744"/>
              <a:gd name="T27" fmla="*/ 0 h 920"/>
              <a:gd name="T28" fmla="*/ 0 w 1744"/>
              <a:gd name="T29" fmla="*/ 0 h 920"/>
              <a:gd name="T30" fmla="*/ 0 w 1744"/>
              <a:gd name="T31" fmla="*/ 0 h 920"/>
              <a:gd name="T32" fmla="*/ 0 w 1744"/>
              <a:gd name="T33" fmla="*/ 0 h 920"/>
              <a:gd name="T34" fmla="*/ 0 w 1744"/>
              <a:gd name="T35" fmla="*/ 0 h 920"/>
              <a:gd name="T36" fmla="*/ 0 w 1744"/>
              <a:gd name="T37" fmla="*/ 0 h 920"/>
              <a:gd name="T38" fmla="*/ 0 w 1744"/>
              <a:gd name="T39" fmla="*/ 0 h 920"/>
              <a:gd name="T40" fmla="*/ 0 w 1744"/>
              <a:gd name="T41" fmla="*/ 0 h 920"/>
              <a:gd name="T42" fmla="*/ 0 w 1744"/>
              <a:gd name="T43" fmla="*/ 0 h 920"/>
              <a:gd name="T44" fmla="*/ 0 w 1744"/>
              <a:gd name="T45" fmla="*/ 0 h 920"/>
              <a:gd name="T46" fmla="*/ 0 w 1744"/>
              <a:gd name="T47" fmla="*/ 0 h 920"/>
              <a:gd name="T48" fmla="*/ 0 w 1744"/>
              <a:gd name="T49" fmla="*/ 0 h 920"/>
              <a:gd name="T50" fmla="*/ 0 w 1744"/>
              <a:gd name="T51" fmla="*/ 0 h 920"/>
              <a:gd name="T52" fmla="*/ 0 w 1744"/>
              <a:gd name="T53" fmla="*/ 0 h 920"/>
              <a:gd name="T54" fmla="*/ 0 w 1744"/>
              <a:gd name="T55" fmla="*/ 0 h 920"/>
              <a:gd name="T56" fmla="*/ 0 w 1744"/>
              <a:gd name="T57" fmla="*/ 0 h 920"/>
              <a:gd name="T58" fmla="*/ 0 w 1744"/>
              <a:gd name="T59" fmla="*/ 0 h 920"/>
              <a:gd name="T60" fmla="*/ 0 w 1744"/>
              <a:gd name="T61" fmla="*/ 0 h 920"/>
              <a:gd name="T62" fmla="*/ 0 w 1744"/>
              <a:gd name="T63" fmla="*/ 0 h 920"/>
              <a:gd name="T64" fmla="*/ 0 w 1744"/>
              <a:gd name="T65" fmla="*/ 0 h 920"/>
              <a:gd name="T66" fmla="*/ 0 w 1744"/>
              <a:gd name="T67" fmla="*/ 0 h 920"/>
              <a:gd name="T68" fmla="*/ 0 w 1744"/>
              <a:gd name="T69" fmla="*/ 0 h 920"/>
              <a:gd name="T70" fmla="*/ 0 w 1744"/>
              <a:gd name="T71" fmla="*/ 0 h 920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w 1744"/>
              <a:gd name="T109" fmla="*/ 0 h 920"/>
              <a:gd name="T110" fmla="*/ 1744 w 1744"/>
              <a:gd name="T111" fmla="*/ 920 h 920"/>
            </a:gdLst>
            <a:ahLst/>
            <a:cxnLst>
              <a:cxn ang="T72">
                <a:pos x="T0" y="T1"/>
              </a:cxn>
              <a:cxn ang="T73">
                <a:pos x="T2" y="T3"/>
              </a:cxn>
              <a:cxn ang="T74">
                <a:pos x="T4" y="T5"/>
              </a:cxn>
              <a:cxn ang="T75">
                <a:pos x="T6" y="T7"/>
              </a:cxn>
              <a:cxn ang="T76">
                <a:pos x="T8" y="T9"/>
              </a:cxn>
              <a:cxn ang="T77">
                <a:pos x="T10" y="T11"/>
              </a:cxn>
              <a:cxn ang="T78">
                <a:pos x="T12" y="T13"/>
              </a:cxn>
              <a:cxn ang="T79">
                <a:pos x="T14" y="T15"/>
              </a:cxn>
              <a:cxn ang="T80">
                <a:pos x="T16" y="T17"/>
              </a:cxn>
              <a:cxn ang="T81">
                <a:pos x="T18" y="T19"/>
              </a:cxn>
              <a:cxn ang="T82">
                <a:pos x="T20" y="T21"/>
              </a:cxn>
              <a:cxn ang="T83">
                <a:pos x="T22" y="T23"/>
              </a:cxn>
              <a:cxn ang="T84">
                <a:pos x="T24" y="T25"/>
              </a:cxn>
              <a:cxn ang="T85">
                <a:pos x="T26" y="T27"/>
              </a:cxn>
              <a:cxn ang="T86">
                <a:pos x="T28" y="T29"/>
              </a:cxn>
              <a:cxn ang="T87">
                <a:pos x="T30" y="T31"/>
              </a:cxn>
              <a:cxn ang="T88">
                <a:pos x="T32" y="T33"/>
              </a:cxn>
              <a:cxn ang="T89">
                <a:pos x="T34" y="T35"/>
              </a:cxn>
              <a:cxn ang="T90">
                <a:pos x="T36" y="T37"/>
              </a:cxn>
              <a:cxn ang="T91">
                <a:pos x="T38" y="T39"/>
              </a:cxn>
              <a:cxn ang="T92">
                <a:pos x="T40" y="T41"/>
              </a:cxn>
              <a:cxn ang="T93">
                <a:pos x="T42" y="T43"/>
              </a:cxn>
              <a:cxn ang="T94">
                <a:pos x="T44" y="T45"/>
              </a:cxn>
              <a:cxn ang="T95">
                <a:pos x="T46" y="T47"/>
              </a:cxn>
              <a:cxn ang="T96">
                <a:pos x="T48" y="T49"/>
              </a:cxn>
              <a:cxn ang="T97">
                <a:pos x="T50" y="T51"/>
              </a:cxn>
              <a:cxn ang="T98">
                <a:pos x="T52" y="T53"/>
              </a:cxn>
              <a:cxn ang="T99">
                <a:pos x="T54" y="T55"/>
              </a:cxn>
              <a:cxn ang="T100">
                <a:pos x="T56" y="T57"/>
              </a:cxn>
              <a:cxn ang="T101">
                <a:pos x="T58" y="T59"/>
              </a:cxn>
              <a:cxn ang="T102">
                <a:pos x="T60" y="T61"/>
              </a:cxn>
              <a:cxn ang="T103">
                <a:pos x="T62" y="T63"/>
              </a:cxn>
              <a:cxn ang="T104">
                <a:pos x="T64" y="T65"/>
              </a:cxn>
              <a:cxn ang="T105">
                <a:pos x="T66" y="T67"/>
              </a:cxn>
              <a:cxn ang="T106">
                <a:pos x="T68" y="T69"/>
              </a:cxn>
              <a:cxn ang="T107">
                <a:pos x="T70" y="T71"/>
              </a:cxn>
            </a:cxnLst>
            <a:rect l="T108" t="T109" r="T110" b="T111"/>
            <a:pathLst>
              <a:path w="1744" h="920">
                <a:moveTo>
                  <a:pt x="0" y="920"/>
                </a:moveTo>
                <a:lnTo>
                  <a:pt x="16" y="894"/>
                </a:lnTo>
                <a:lnTo>
                  <a:pt x="60" y="868"/>
                </a:lnTo>
                <a:lnTo>
                  <a:pt x="102" y="848"/>
                </a:lnTo>
                <a:lnTo>
                  <a:pt x="138" y="802"/>
                </a:lnTo>
                <a:lnTo>
                  <a:pt x="206" y="704"/>
                </a:lnTo>
                <a:lnTo>
                  <a:pt x="252" y="636"/>
                </a:lnTo>
                <a:lnTo>
                  <a:pt x="286" y="578"/>
                </a:lnTo>
                <a:lnTo>
                  <a:pt x="334" y="540"/>
                </a:lnTo>
                <a:lnTo>
                  <a:pt x="388" y="474"/>
                </a:lnTo>
                <a:lnTo>
                  <a:pt x="446" y="406"/>
                </a:lnTo>
                <a:lnTo>
                  <a:pt x="482" y="362"/>
                </a:lnTo>
                <a:lnTo>
                  <a:pt x="552" y="302"/>
                </a:lnTo>
                <a:lnTo>
                  <a:pt x="628" y="274"/>
                </a:lnTo>
                <a:lnTo>
                  <a:pt x="662" y="280"/>
                </a:lnTo>
                <a:lnTo>
                  <a:pt x="732" y="320"/>
                </a:lnTo>
                <a:lnTo>
                  <a:pt x="820" y="374"/>
                </a:lnTo>
                <a:lnTo>
                  <a:pt x="894" y="420"/>
                </a:lnTo>
                <a:lnTo>
                  <a:pt x="980" y="452"/>
                </a:lnTo>
                <a:lnTo>
                  <a:pt x="1054" y="450"/>
                </a:lnTo>
                <a:lnTo>
                  <a:pt x="1142" y="422"/>
                </a:lnTo>
                <a:lnTo>
                  <a:pt x="1218" y="378"/>
                </a:lnTo>
                <a:lnTo>
                  <a:pt x="1316" y="342"/>
                </a:lnTo>
                <a:lnTo>
                  <a:pt x="1448" y="304"/>
                </a:lnTo>
                <a:lnTo>
                  <a:pt x="1526" y="268"/>
                </a:lnTo>
                <a:lnTo>
                  <a:pt x="1568" y="200"/>
                </a:lnTo>
                <a:lnTo>
                  <a:pt x="1574" y="132"/>
                </a:lnTo>
                <a:lnTo>
                  <a:pt x="1566" y="80"/>
                </a:lnTo>
                <a:lnTo>
                  <a:pt x="1552" y="60"/>
                </a:lnTo>
                <a:lnTo>
                  <a:pt x="1518" y="32"/>
                </a:lnTo>
                <a:lnTo>
                  <a:pt x="1506" y="20"/>
                </a:lnTo>
                <a:lnTo>
                  <a:pt x="1508" y="2"/>
                </a:lnTo>
                <a:lnTo>
                  <a:pt x="1572" y="0"/>
                </a:lnTo>
                <a:lnTo>
                  <a:pt x="1638" y="4"/>
                </a:lnTo>
                <a:lnTo>
                  <a:pt x="1710" y="6"/>
                </a:lnTo>
                <a:lnTo>
                  <a:pt x="1744" y="8"/>
                </a:lnTo>
              </a:path>
            </a:pathLst>
          </a:custGeom>
          <a:noFill/>
          <a:ln w="3175" cap="flat" cmpd="sng">
            <a:solidFill>
              <a:srgbClr val="D9EAF7"/>
            </a:solidFill>
            <a:prstDash val="solid"/>
            <a:round/>
            <a:headEnd type="none" w="med" len="med"/>
            <a:tailEnd type="none" w="med" len="med"/>
          </a:ln>
        </p:spPr>
        <p:txBody>
          <a:bodyPr wrap="none" lIns="32632" tIns="32632" rIns="32632" bIns="32632" anchor="ctr"/>
          <a:lstStyle/>
          <a:p>
            <a:pPr defTabSz="891045"/>
            <a:endParaRPr lang="en-US" sz="1700" dirty="0">
              <a:solidFill>
                <a:srgbClr val="003149"/>
              </a:solidFill>
              <a:cs typeface="Arial" panose="020B0604020202020204" pitchFamily="34" charset="0"/>
            </a:endParaRPr>
          </a:p>
        </p:txBody>
      </p:sp>
      <p:sp>
        <p:nvSpPr>
          <p:cNvPr id="212" name="Freeform 833"/>
          <p:cNvSpPr>
            <a:spLocks noChangeAspect="1"/>
          </p:cNvSpPr>
          <p:nvPr>
            <p:custDataLst>
              <p:tags r:id="rId112"/>
            </p:custDataLst>
          </p:nvPr>
        </p:nvSpPr>
        <p:spPr bwMode="gray">
          <a:xfrm>
            <a:off x="6127634" y="2324152"/>
            <a:ext cx="125107" cy="228139"/>
          </a:xfrm>
          <a:custGeom>
            <a:avLst/>
            <a:gdLst>
              <a:gd name="T0" fmla="*/ 0 w 10134"/>
              <a:gd name="T1" fmla="*/ 0 h 10041"/>
              <a:gd name="T2" fmla="*/ 0 w 10134"/>
              <a:gd name="T3" fmla="*/ 0 h 10041"/>
              <a:gd name="T4" fmla="*/ 0 w 10134"/>
              <a:gd name="T5" fmla="*/ 0 h 10041"/>
              <a:gd name="T6" fmla="*/ 0 w 10134"/>
              <a:gd name="T7" fmla="*/ 0 h 10041"/>
              <a:gd name="T8" fmla="*/ 0 w 10134"/>
              <a:gd name="T9" fmla="*/ 0 h 10041"/>
              <a:gd name="T10" fmla="*/ 0 w 10134"/>
              <a:gd name="T11" fmla="*/ 0 h 10041"/>
              <a:gd name="T12" fmla="*/ 0 w 10134"/>
              <a:gd name="T13" fmla="*/ 0 h 10041"/>
              <a:gd name="T14" fmla="*/ 0 w 10134"/>
              <a:gd name="T15" fmla="*/ 0 h 10041"/>
              <a:gd name="T16" fmla="*/ 0 w 10134"/>
              <a:gd name="T17" fmla="*/ 0 h 10041"/>
              <a:gd name="T18" fmla="*/ 0 w 10134"/>
              <a:gd name="T19" fmla="*/ 0 h 10041"/>
              <a:gd name="T20" fmla="*/ 0 w 10134"/>
              <a:gd name="T21" fmla="*/ 0 h 10041"/>
              <a:gd name="T22" fmla="*/ 0 w 10134"/>
              <a:gd name="T23" fmla="*/ 0 h 10041"/>
              <a:gd name="T24" fmla="*/ 0 w 10134"/>
              <a:gd name="T25" fmla="*/ 0 h 10041"/>
              <a:gd name="T26" fmla="*/ 0 w 10134"/>
              <a:gd name="T27" fmla="*/ 0 h 10041"/>
              <a:gd name="T28" fmla="*/ 0 w 10134"/>
              <a:gd name="T29" fmla="*/ 0 h 10041"/>
              <a:gd name="T30" fmla="*/ 0 w 10134"/>
              <a:gd name="T31" fmla="*/ 0 h 10041"/>
              <a:gd name="T32" fmla="*/ 0 w 10134"/>
              <a:gd name="T33" fmla="*/ 0 h 10041"/>
              <a:gd name="T34" fmla="*/ 0 w 10134"/>
              <a:gd name="T35" fmla="*/ 0 h 10041"/>
              <a:gd name="T36" fmla="*/ 0 w 10134"/>
              <a:gd name="T37" fmla="*/ 0 h 10041"/>
              <a:gd name="T38" fmla="*/ 0 w 10134"/>
              <a:gd name="T39" fmla="*/ 0 h 10041"/>
              <a:gd name="T40" fmla="*/ 0 w 10134"/>
              <a:gd name="T41" fmla="*/ 0 h 10041"/>
              <a:gd name="T42" fmla="*/ 0 w 10134"/>
              <a:gd name="T43" fmla="*/ 0 h 10041"/>
              <a:gd name="T44" fmla="*/ 0 w 10134"/>
              <a:gd name="T45" fmla="*/ 0 h 10041"/>
              <a:gd name="T46" fmla="*/ 0 w 10134"/>
              <a:gd name="T47" fmla="*/ 0 h 10041"/>
              <a:gd name="T48" fmla="*/ 0 w 10134"/>
              <a:gd name="T49" fmla="*/ 0 h 10041"/>
              <a:gd name="T50" fmla="*/ 0 w 10134"/>
              <a:gd name="T51" fmla="*/ 0 h 10041"/>
              <a:gd name="T52" fmla="*/ 0 w 10134"/>
              <a:gd name="T53" fmla="*/ 0 h 10041"/>
              <a:gd name="T54" fmla="*/ 0 w 10134"/>
              <a:gd name="T55" fmla="*/ 0 h 10041"/>
              <a:gd name="T56" fmla="*/ 0 w 10134"/>
              <a:gd name="T57" fmla="*/ 0 h 10041"/>
              <a:gd name="T58" fmla="*/ 0 w 10134"/>
              <a:gd name="T59" fmla="*/ 0 h 10041"/>
              <a:gd name="T60" fmla="*/ 0 w 10134"/>
              <a:gd name="T61" fmla="*/ 0 h 10041"/>
              <a:gd name="T62" fmla="*/ 0 w 10134"/>
              <a:gd name="T63" fmla="*/ 0 h 10041"/>
              <a:gd name="T64" fmla="*/ 0 w 10134"/>
              <a:gd name="T65" fmla="*/ 0 h 10041"/>
              <a:gd name="T66" fmla="*/ 0 w 10134"/>
              <a:gd name="T67" fmla="*/ 0 h 10041"/>
              <a:gd name="T68" fmla="*/ 0 w 10134"/>
              <a:gd name="T69" fmla="*/ 0 h 10041"/>
              <a:gd name="T70" fmla="*/ 0 w 10134"/>
              <a:gd name="T71" fmla="*/ 0 h 10041"/>
              <a:gd name="T72" fmla="*/ 0 w 10134"/>
              <a:gd name="T73" fmla="*/ 0 h 10041"/>
              <a:gd name="T74" fmla="*/ 0 w 10134"/>
              <a:gd name="T75" fmla="*/ 0 h 10041"/>
              <a:gd name="T76" fmla="*/ 0 w 10134"/>
              <a:gd name="T77" fmla="*/ 0 h 10041"/>
              <a:gd name="T78" fmla="*/ 0 w 10134"/>
              <a:gd name="T79" fmla="*/ 0 h 10041"/>
              <a:gd name="T80" fmla="*/ 0 w 10134"/>
              <a:gd name="T81" fmla="*/ 0 h 10041"/>
              <a:gd name="T82" fmla="*/ 0 w 10134"/>
              <a:gd name="T83" fmla="*/ 0 h 10041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w 10134"/>
              <a:gd name="T127" fmla="*/ 0 h 10041"/>
              <a:gd name="T128" fmla="*/ 10134 w 10134"/>
              <a:gd name="T129" fmla="*/ 10041 h 10041"/>
            </a:gdLst>
            <a:ahLst/>
            <a:cxnLst>
              <a:cxn ang="T84">
                <a:pos x="T0" y="T1"/>
              </a:cxn>
              <a:cxn ang="T85">
                <a:pos x="T2" y="T3"/>
              </a:cxn>
              <a:cxn ang="T86">
                <a:pos x="T4" y="T5"/>
              </a:cxn>
              <a:cxn ang="T87">
                <a:pos x="T6" y="T7"/>
              </a:cxn>
              <a:cxn ang="T88">
                <a:pos x="T8" y="T9"/>
              </a:cxn>
              <a:cxn ang="T89">
                <a:pos x="T10" y="T11"/>
              </a:cxn>
              <a:cxn ang="T90">
                <a:pos x="T12" y="T13"/>
              </a:cxn>
              <a:cxn ang="T91">
                <a:pos x="T14" y="T15"/>
              </a:cxn>
              <a:cxn ang="T92">
                <a:pos x="T16" y="T17"/>
              </a:cxn>
              <a:cxn ang="T93">
                <a:pos x="T18" y="T19"/>
              </a:cxn>
              <a:cxn ang="T94">
                <a:pos x="T20" y="T21"/>
              </a:cxn>
              <a:cxn ang="T95">
                <a:pos x="T22" y="T23"/>
              </a:cxn>
              <a:cxn ang="T96">
                <a:pos x="T24" y="T25"/>
              </a:cxn>
              <a:cxn ang="T97">
                <a:pos x="T26" y="T27"/>
              </a:cxn>
              <a:cxn ang="T98">
                <a:pos x="T28" y="T29"/>
              </a:cxn>
              <a:cxn ang="T99">
                <a:pos x="T30" y="T31"/>
              </a:cxn>
              <a:cxn ang="T100">
                <a:pos x="T32" y="T33"/>
              </a:cxn>
              <a:cxn ang="T101">
                <a:pos x="T34" y="T35"/>
              </a:cxn>
              <a:cxn ang="T102">
                <a:pos x="T36" y="T37"/>
              </a:cxn>
              <a:cxn ang="T103">
                <a:pos x="T38" y="T39"/>
              </a:cxn>
              <a:cxn ang="T104">
                <a:pos x="T40" y="T41"/>
              </a:cxn>
              <a:cxn ang="T105">
                <a:pos x="T42" y="T43"/>
              </a:cxn>
              <a:cxn ang="T106">
                <a:pos x="T44" y="T45"/>
              </a:cxn>
              <a:cxn ang="T107">
                <a:pos x="T46" y="T47"/>
              </a:cxn>
              <a:cxn ang="T108">
                <a:pos x="T48" y="T49"/>
              </a:cxn>
              <a:cxn ang="T109">
                <a:pos x="T50" y="T51"/>
              </a:cxn>
              <a:cxn ang="T110">
                <a:pos x="T52" y="T53"/>
              </a:cxn>
              <a:cxn ang="T111">
                <a:pos x="T54" y="T55"/>
              </a:cxn>
              <a:cxn ang="T112">
                <a:pos x="T56" y="T57"/>
              </a:cxn>
              <a:cxn ang="T113">
                <a:pos x="T58" y="T59"/>
              </a:cxn>
              <a:cxn ang="T114">
                <a:pos x="T60" y="T61"/>
              </a:cxn>
              <a:cxn ang="T115">
                <a:pos x="T62" y="T63"/>
              </a:cxn>
              <a:cxn ang="T116">
                <a:pos x="T64" y="T65"/>
              </a:cxn>
              <a:cxn ang="T117">
                <a:pos x="T66" y="T67"/>
              </a:cxn>
              <a:cxn ang="T118">
                <a:pos x="T68" y="T69"/>
              </a:cxn>
              <a:cxn ang="T119">
                <a:pos x="T70" y="T71"/>
              </a:cxn>
              <a:cxn ang="T120">
                <a:pos x="T72" y="T73"/>
              </a:cxn>
              <a:cxn ang="T121">
                <a:pos x="T74" y="T75"/>
              </a:cxn>
              <a:cxn ang="T122">
                <a:pos x="T76" y="T77"/>
              </a:cxn>
              <a:cxn ang="T123">
                <a:pos x="T78" y="T79"/>
              </a:cxn>
              <a:cxn ang="T124">
                <a:pos x="T80" y="T81"/>
              </a:cxn>
              <a:cxn ang="T125">
                <a:pos x="T82" y="T83"/>
              </a:cxn>
            </a:cxnLst>
            <a:rect l="T126" t="T127" r="T128" b="T129"/>
            <a:pathLst>
              <a:path w="10134" h="10041">
                <a:moveTo>
                  <a:pt x="10134" y="10041"/>
                </a:moveTo>
                <a:lnTo>
                  <a:pt x="9833" y="9904"/>
                </a:lnTo>
                <a:cubicBezTo>
                  <a:pt x="9783" y="9840"/>
                  <a:pt x="9732" y="9777"/>
                  <a:pt x="9682" y="9713"/>
                </a:cubicBezTo>
                <a:lnTo>
                  <a:pt x="9427" y="9631"/>
                </a:lnTo>
                <a:lnTo>
                  <a:pt x="9232" y="9631"/>
                </a:lnTo>
                <a:lnTo>
                  <a:pt x="9007" y="9640"/>
                </a:lnTo>
                <a:lnTo>
                  <a:pt x="8645" y="9658"/>
                </a:lnTo>
                <a:lnTo>
                  <a:pt x="8480" y="9658"/>
                </a:lnTo>
                <a:cubicBezTo>
                  <a:pt x="8465" y="9534"/>
                  <a:pt x="8450" y="9409"/>
                  <a:pt x="8435" y="9285"/>
                </a:cubicBezTo>
                <a:lnTo>
                  <a:pt x="8285" y="9085"/>
                </a:lnTo>
                <a:cubicBezTo>
                  <a:pt x="8230" y="9033"/>
                  <a:pt x="8174" y="8982"/>
                  <a:pt x="8119" y="8930"/>
                </a:cubicBezTo>
                <a:lnTo>
                  <a:pt x="8014" y="8620"/>
                </a:lnTo>
                <a:cubicBezTo>
                  <a:pt x="7983" y="8550"/>
                  <a:pt x="7954" y="8481"/>
                  <a:pt x="7923" y="8411"/>
                </a:cubicBezTo>
                <a:lnTo>
                  <a:pt x="7698" y="8320"/>
                </a:lnTo>
                <a:lnTo>
                  <a:pt x="7397" y="8301"/>
                </a:lnTo>
                <a:lnTo>
                  <a:pt x="7021" y="8220"/>
                </a:lnTo>
                <a:lnTo>
                  <a:pt x="6676" y="8101"/>
                </a:lnTo>
                <a:lnTo>
                  <a:pt x="6345" y="8101"/>
                </a:lnTo>
                <a:lnTo>
                  <a:pt x="5774" y="8165"/>
                </a:lnTo>
                <a:lnTo>
                  <a:pt x="5307" y="8210"/>
                </a:lnTo>
                <a:lnTo>
                  <a:pt x="4901" y="8220"/>
                </a:lnTo>
                <a:lnTo>
                  <a:pt x="4330" y="8301"/>
                </a:lnTo>
                <a:lnTo>
                  <a:pt x="3999" y="8274"/>
                </a:lnTo>
                <a:lnTo>
                  <a:pt x="3788" y="8128"/>
                </a:lnTo>
                <a:lnTo>
                  <a:pt x="3472" y="8046"/>
                </a:lnTo>
                <a:lnTo>
                  <a:pt x="3111" y="8046"/>
                </a:lnTo>
                <a:lnTo>
                  <a:pt x="2780" y="7964"/>
                </a:lnTo>
                <a:lnTo>
                  <a:pt x="2525" y="7801"/>
                </a:lnTo>
                <a:lnTo>
                  <a:pt x="2510" y="7582"/>
                </a:lnTo>
                <a:cubicBezTo>
                  <a:pt x="2494" y="7485"/>
                  <a:pt x="2480" y="7388"/>
                  <a:pt x="2465" y="7291"/>
                </a:cubicBezTo>
                <a:lnTo>
                  <a:pt x="2660" y="7209"/>
                </a:lnTo>
                <a:lnTo>
                  <a:pt x="2796" y="7118"/>
                </a:lnTo>
                <a:cubicBezTo>
                  <a:pt x="2766" y="7072"/>
                  <a:pt x="2735" y="7027"/>
                  <a:pt x="2705" y="6981"/>
                </a:cubicBezTo>
                <a:lnTo>
                  <a:pt x="2510" y="6963"/>
                </a:lnTo>
                <a:lnTo>
                  <a:pt x="2239" y="6963"/>
                </a:lnTo>
                <a:lnTo>
                  <a:pt x="1983" y="6981"/>
                </a:lnTo>
                <a:lnTo>
                  <a:pt x="1833" y="6872"/>
                </a:lnTo>
                <a:lnTo>
                  <a:pt x="1653" y="6516"/>
                </a:lnTo>
                <a:lnTo>
                  <a:pt x="1653" y="6079"/>
                </a:lnTo>
                <a:cubicBezTo>
                  <a:pt x="1682" y="6024"/>
                  <a:pt x="1713" y="5970"/>
                  <a:pt x="1743" y="5915"/>
                </a:cubicBezTo>
                <a:lnTo>
                  <a:pt x="2013" y="5679"/>
                </a:lnTo>
                <a:cubicBezTo>
                  <a:pt x="2029" y="5570"/>
                  <a:pt x="2044" y="5460"/>
                  <a:pt x="2059" y="5351"/>
                </a:cubicBezTo>
                <a:lnTo>
                  <a:pt x="2330" y="5096"/>
                </a:lnTo>
                <a:cubicBezTo>
                  <a:pt x="2335" y="5062"/>
                  <a:pt x="2340" y="5029"/>
                  <a:pt x="2345" y="4995"/>
                </a:cubicBezTo>
                <a:lnTo>
                  <a:pt x="2690" y="4859"/>
                </a:lnTo>
                <a:lnTo>
                  <a:pt x="2735" y="4613"/>
                </a:lnTo>
                <a:lnTo>
                  <a:pt x="2870" y="4367"/>
                </a:lnTo>
                <a:lnTo>
                  <a:pt x="3412" y="4148"/>
                </a:lnTo>
                <a:lnTo>
                  <a:pt x="3819" y="3893"/>
                </a:lnTo>
                <a:cubicBezTo>
                  <a:pt x="3869" y="3793"/>
                  <a:pt x="3918" y="3693"/>
                  <a:pt x="3968" y="3593"/>
                </a:cubicBezTo>
                <a:cubicBezTo>
                  <a:pt x="3933" y="3420"/>
                  <a:pt x="3899" y="3247"/>
                  <a:pt x="3864" y="3074"/>
                </a:cubicBezTo>
                <a:cubicBezTo>
                  <a:pt x="3899" y="2977"/>
                  <a:pt x="3933" y="2879"/>
                  <a:pt x="3968" y="2782"/>
                </a:cubicBezTo>
                <a:lnTo>
                  <a:pt x="4224" y="2664"/>
                </a:lnTo>
                <a:lnTo>
                  <a:pt x="4735" y="2664"/>
                </a:lnTo>
                <a:lnTo>
                  <a:pt x="5171" y="2482"/>
                </a:lnTo>
                <a:lnTo>
                  <a:pt x="5457" y="2391"/>
                </a:lnTo>
                <a:lnTo>
                  <a:pt x="5819" y="2254"/>
                </a:lnTo>
                <a:lnTo>
                  <a:pt x="5819" y="2063"/>
                </a:lnTo>
                <a:lnTo>
                  <a:pt x="5367" y="1826"/>
                </a:lnTo>
                <a:lnTo>
                  <a:pt x="5036" y="1708"/>
                </a:lnTo>
                <a:cubicBezTo>
                  <a:pt x="5012" y="1638"/>
                  <a:pt x="4986" y="1568"/>
                  <a:pt x="4961" y="1498"/>
                </a:cubicBezTo>
                <a:lnTo>
                  <a:pt x="4631" y="1444"/>
                </a:lnTo>
                <a:lnTo>
                  <a:pt x="4314" y="1252"/>
                </a:lnTo>
                <a:lnTo>
                  <a:pt x="4104" y="1352"/>
                </a:lnTo>
                <a:cubicBezTo>
                  <a:pt x="4044" y="1279"/>
                  <a:pt x="3983" y="1207"/>
                  <a:pt x="3923" y="1134"/>
                </a:cubicBezTo>
                <a:lnTo>
                  <a:pt x="3819" y="1006"/>
                </a:lnTo>
                <a:lnTo>
                  <a:pt x="3653" y="970"/>
                </a:lnTo>
                <a:cubicBezTo>
                  <a:pt x="3648" y="934"/>
                  <a:pt x="3642" y="897"/>
                  <a:pt x="3637" y="861"/>
                </a:cubicBezTo>
                <a:lnTo>
                  <a:pt x="3292" y="861"/>
                </a:lnTo>
                <a:lnTo>
                  <a:pt x="3052" y="861"/>
                </a:lnTo>
                <a:lnTo>
                  <a:pt x="2750" y="861"/>
                </a:lnTo>
                <a:lnTo>
                  <a:pt x="2555" y="779"/>
                </a:lnTo>
                <a:cubicBezTo>
                  <a:pt x="2525" y="746"/>
                  <a:pt x="2495" y="712"/>
                  <a:pt x="2465" y="679"/>
                </a:cubicBezTo>
                <a:lnTo>
                  <a:pt x="2345" y="560"/>
                </a:lnTo>
                <a:lnTo>
                  <a:pt x="2345" y="424"/>
                </a:lnTo>
                <a:lnTo>
                  <a:pt x="2345" y="287"/>
                </a:lnTo>
                <a:cubicBezTo>
                  <a:pt x="2324" y="241"/>
                  <a:pt x="2305" y="196"/>
                  <a:pt x="2285" y="150"/>
                </a:cubicBezTo>
                <a:lnTo>
                  <a:pt x="2074" y="123"/>
                </a:lnTo>
                <a:lnTo>
                  <a:pt x="1653" y="132"/>
                </a:lnTo>
                <a:lnTo>
                  <a:pt x="1202" y="132"/>
                </a:lnTo>
                <a:lnTo>
                  <a:pt x="991" y="159"/>
                </a:lnTo>
                <a:lnTo>
                  <a:pt x="660" y="214"/>
                </a:lnTo>
                <a:lnTo>
                  <a:pt x="345" y="232"/>
                </a:lnTo>
                <a:cubicBezTo>
                  <a:pt x="330" y="199"/>
                  <a:pt x="314" y="165"/>
                  <a:pt x="299" y="132"/>
                </a:cubicBezTo>
                <a:lnTo>
                  <a:pt x="0" y="0"/>
                </a:lnTo>
              </a:path>
            </a:pathLst>
          </a:custGeom>
          <a:noFill/>
          <a:ln w="3175" cap="flat" cmpd="sng">
            <a:solidFill>
              <a:srgbClr val="D9EAF7"/>
            </a:solidFill>
            <a:prstDash val="solid"/>
            <a:round/>
            <a:headEnd type="none" w="med" len="med"/>
            <a:tailEnd type="none" w="med" len="med"/>
          </a:ln>
        </p:spPr>
        <p:txBody>
          <a:bodyPr wrap="none" lIns="32632" tIns="32632" rIns="32632" bIns="32632" anchor="ctr"/>
          <a:lstStyle/>
          <a:p>
            <a:pPr defTabSz="891045"/>
            <a:endParaRPr lang="en-US" sz="1700" dirty="0">
              <a:solidFill>
                <a:srgbClr val="003149"/>
              </a:solidFill>
              <a:cs typeface="Arial" panose="020B0604020202020204" pitchFamily="34" charset="0"/>
            </a:endParaRPr>
          </a:p>
        </p:txBody>
      </p:sp>
      <p:sp>
        <p:nvSpPr>
          <p:cNvPr id="213" name="Freeform 812"/>
          <p:cNvSpPr>
            <a:spLocks noChangeAspect="1"/>
          </p:cNvSpPr>
          <p:nvPr>
            <p:custDataLst>
              <p:tags r:id="rId113"/>
            </p:custDataLst>
          </p:nvPr>
        </p:nvSpPr>
        <p:spPr bwMode="gray">
          <a:xfrm>
            <a:off x="5924331" y="3430385"/>
            <a:ext cx="56867" cy="255400"/>
          </a:xfrm>
          <a:custGeom>
            <a:avLst/>
            <a:gdLst>
              <a:gd name="T0" fmla="*/ 0 w 10000"/>
              <a:gd name="T1" fmla="*/ 0 h 10000"/>
              <a:gd name="T2" fmla="*/ 0 w 10000"/>
              <a:gd name="T3" fmla="*/ 0 h 10000"/>
              <a:gd name="T4" fmla="*/ 0 w 10000"/>
              <a:gd name="T5" fmla="*/ 0 h 10000"/>
              <a:gd name="T6" fmla="*/ 0 w 10000"/>
              <a:gd name="T7" fmla="*/ 0 h 10000"/>
              <a:gd name="T8" fmla="*/ 0 w 10000"/>
              <a:gd name="T9" fmla="*/ 0 h 10000"/>
              <a:gd name="T10" fmla="*/ 0 w 10000"/>
              <a:gd name="T11" fmla="*/ 0 h 10000"/>
              <a:gd name="T12" fmla="*/ 0 w 10000"/>
              <a:gd name="T13" fmla="*/ 0 h 10000"/>
              <a:gd name="T14" fmla="*/ 0 w 10000"/>
              <a:gd name="T15" fmla="*/ 0 h 10000"/>
              <a:gd name="T16" fmla="*/ 0 w 10000"/>
              <a:gd name="T17" fmla="*/ 0 h 10000"/>
              <a:gd name="T18" fmla="*/ 0 w 10000"/>
              <a:gd name="T19" fmla="*/ 0 h 10000"/>
              <a:gd name="T20" fmla="*/ 0 w 10000"/>
              <a:gd name="T21" fmla="*/ 0 h 10000"/>
              <a:gd name="T22" fmla="*/ 0 w 10000"/>
              <a:gd name="T23" fmla="*/ 0 h 10000"/>
              <a:gd name="T24" fmla="*/ 0 w 10000"/>
              <a:gd name="T25" fmla="*/ 0 h 10000"/>
              <a:gd name="T26" fmla="*/ 0 w 10000"/>
              <a:gd name="T27" fmla="*/ 0 h 10000"/>
              <a:gd name="T28" fmla="*/ 0 w 10000"/>
              <a:gd name="T29" fmla="*/ 0 h 10000"/>
              <a:gd name="T30" fmla="*/ 0 w 10000"/>
              <a:gd name="T31" fmla="*/ 0 h 10000"/>
              <a:gd name="T32" fmla="*/ 0 w 10000"/>
              <a:gd name="T33" fmla="*/ 0 h 10000"/>
              <a:gd name="T34" fmla="*/ 0 w 10000"/>
              <a:gd name="T35" fmla="*/ 0 h 10000"/>
              <a:gd name="T36" fmla="*/ 0 w 10000"/>
              <a:gd name="T37" fmla="*/ 0 h 10000"/>
              <a:gd name="T38" fmla="*/ 0 w 10000"/>
              <a:gd name="T39" fmla="*/ 0 h 10000"/>
              <a:gd name="T40" fmla="*/ 0 w 10000"/>
              <a:gd name="T41" fmla="*/ 0 h 10000"/>
              <a:gd name="T42" fmla="*/ 0 w 10000"/>
              <a:gd name="T43" fmla="*/ 0 h 10000"/>
              <a:gd name="T44" fmla="*/ 0 w 10000"/>
              <a:gd name="T45" fmla="*/ 0 h 10000"/>
              <a:gd name="T46" fmla="*/ 0 w 10000"/>
              <a:gd name="T47" fmla="*/ 0 h 10000"/>
              <a:gd name="T48" fmla="*/ 0 w 10000"/>
              <a:gd name="T49" fmla="*/ 0 h 10000"/>
              <a:gd name="T50" fmla="*/ 0 w 10000"/>
              <a:gd name="T51" fmla="*/ 0 h 10000"/>
              <a:gd name="T52" fmla="*/ 0 w 10000"/>
              <a:gd name="T53" fmla="*/ 0 h 10000"/>
              <a:gd name="T54" fmla="*/ 0 w 10000"/>
              <a:gd name="T55" fmla="*/ 0 h 10000"/>
              <a:gd name="T56" fmla="*/ 0 w 10000"/>
              <a:gd name="T57" fmla="*/ 0 h 10000"/>
              <a:gd name="T58" fmla="*/ 0 w 10000"/>
              <a:gd name="T59" fmla="*/ 0 h 10000"/>
              <a:gd name="T60" fmla="*/ 0 w 10000"/>
              <a:gd name="T61" fmla="*/ 0 h 10000"/>
              <a:gd name="T62" fmla="*/ 0 w 10000"/>
              <a:gd name="T63" fmla="*/ 0 h 10000"/>
              <a:gd name="T64" fmla="*/ 0 w 10000"/>
              <a:gd name="T65" fmla="*/ 0 h 10000"/>
              <a:gd name="T66" fmla="*/ 0 w 10000"/>
              <a:gd name="T67" fmla="*/ 0 h 10000"/>
              <a:gd name="T68" fmla="*/ 0 w 10000"/>
              <a:gd name="T69" fmla="*/ 0 h 10000"/>
              <a:gd name="T70" fmla="*/ 0 w 10000"/>
              <a:gd name="T71" fmla="*/ 0 h 10000"/>
              <a:gd name="T72" fmla="*/ 0 w 10000"/>
              <a:gd name="T73" fmla="*/ 0 h 10000"/>
              <a:gd name="T74" fmla="*/ 0 w 10000"/>
              <a:gd name="T75" fmla="*/ 0 h 10000"/>
              <a:gd name="T76" fmla="*/ 0 w 10000"/>
              <a:gd name="T77" fmla="*/ 0 h 10000"/>
              <a:gd name="T78" fmla="*/ 0 w 10000"/>
              <a:gd name="T79" fmla="*/ 0 h 10000"/>
              <a:gd name="T80" fmla="*/ 0 w 10000"/>
              <a:gd name="T81" fmla="*/ 0 h 10000"/>
              <a:gd name="T82" fmla="*/ 0 w 10000"/>
              <a:gd name="T83" fmla="*/ 0 h 10000"/>
              <a:gd name="T84" fmla="*/ 0 w 10000"/>
              <a:gd name="T85" fmla="*/ 0 h 10000"/>
              <a:gd name="T86" fmla="*/ 0 w 10000"/>
              <a:gd name="T87" fmla="*/ 0 h 10000"/>
              <a:gd name="T88" fmla="*/ 0 w 10000"/>
              <a:gd name="T89" fmla="*/ 0 h 10000"/>
              <a:gd name="T90" fmla="*/ 0 w 10000"/>
              <a:gd name="T91" fmla="*/ 0 h 10000"/>
              <a:gd name="T92" fmla="*/ 0 w 10000"/>
              <a:gd name="T93" fmla="*/ 0 h 10000"/>
              <a:gd name="T94" fmla="*/ 0 w 10000"/>
              <a:gd name="T95" fmla="*/ 0 h 10000"/>
              <a:gd name="T96" fmla="*/ 0 w 10000"/>
              <a:gd name="T97" fmla="*/ 0 h 10000"/>
              <a:gd name="T98" fmla="*/ 0 w 10000"/>
              <a:gd name="T99" fmla="*/ 0 h 10000"/>
              <a:gd name="T100" fmla="*/ 0 w 10000"/>
              <a:gd name="T101" fmla="*/ 0 h 10000"/>
              <a:gd name="T102" fmla="*/ 0 w 10000"/>
              <a:gd name="T103" fmla="*/ 0 h 10000"/>
              <a:gd name="T104" fmla="*/ 0 w 10000"/>
              <a:gd name="T105" fmla="*/ 0 h 10000"/>
              <a:gd name="T106" fmla="*/ 0 w 10000"/>
              <a:gd name="T107" fmla="*/ 0 h 10000"/>
              <a:gd name="T108" fmla="*/ 0 w 10000"/>
              <a:gd name="T109" fmla="*/ 0 h 10000"/>
              <a:gd name="T110" fmla="*/ 0 w 10000"/>
              <a:gd name="T111" fmla="*/ 0 h 10000"/>
              <a:gd name="T112" fmla="*/ 0 w 10000"/>
              <a:gd name="T113" fmla="*/ 0 h 10000"/>
              <a:gd name="T114" fmla="*/ 0 w 10000"/>
              <a:gd name="T115" fmla="*/ 0 h 10000"/>
              <a:gd name="T116" fmla="*/ 0 w 10000"/>
              <a:gd name="T117" fmla="*/ 0 h 10000"/>
              <a:gd name="T118" fmla="*/ 0 w 10000"/>
              <a:gd name="T119" fmla="*/ 0 h 10000"/>
              <a:gd name="T120" fmla="*/ 0 w 10000"/>
              <a:gd name="T121" fmla="*/ 0 h 10000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w 10000"/>
              <a:gd name="T184" fmla="*/ 0 h 10000"/>
              <a:gd name="T185" fmla="*/ 10000 w 10000"/>
              <a:gd name="T186" fmla="*/ 10000 h 10000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T183" t="T184" r="T185" b="T186"/>
            <a:pathLst>
              <a:path w="10000" h="10000">
                <a:moveTo>
                  <a:pt x="10000" y="10000"/>
                </a:moveTo>
                <a:lnTo>
                  <a:pt x="9032" y="9551"/>
                </a:lnTo>
                <a:lnTo>
                  <a:pt x="8065" y="9224"/>
                </a:lnTo>
                <a:lnTo>
                  <a:pt x="7742" y="8857"/>
                </a:lnTo>
                <a:lnTo>
                  <a:pt x="7903" y="8653"/>
                </a:lnTo>
                <a:cubicBezTo>
                  <a:pt x="7849" y="8558"/>
                  <a:pt x="7796" y="8462"/>
                  <a:pt x="7742" y="8367"/>
                </a:cubicBezTo>
                <a:lnTo>
                  <a:pt x="7097" y="8245"/>
                </a:lnTo>
                <a:lnTo>
                  <a:pt x="7097" y="7918"/>
                </a:lnTo>
                <a:lnTo>
                  <a:pt x="7258" y="7796"/>
                </a:lnTo>
                <a:lnTo>
                  <a:pt x="8226" y="7796"/>
                </a:lnTo>
                <a:cubicBezTo>
                  <a:pt x="8280" y="7701"/>
                  <a:pt x="8333" y="7605"/>
                  <a:pt x="8387" y="7510"/>
                </a:cubicBezTo>
                <a:lnTo>
                  <a:pt x="9032" y="7469"/>
                </a:lnTo>
                <a:lnTo>
                  <a:pt x="9839" y="7469"/>
                </a:lnTo>
                <a:lnTo>
                  <a:pt x="9839" y="7184"/>
                </a:lnTo>
                <a:lnTo>
                  <a:pt x="9516" y="6857"/>
                </a:lnTo>
                <a:lnTo>
                  <a:pt x="9194" y="6694"/>
                </a:lnTo>
                <a:lnTo>
                  <a:pt x="8387" y="6571"/>
                </a:lnTo>
                <a:lnTo>
                  <a:pt x="7581" y="6490"/>
                </a:lnTo>
                <a:lnTo>
                  <a:pt x="6290" y="6408"/>
                </a:lnTo>
                <a:lnTo>
                  <a:pt x="5484" y="6327"/>
                </a:lnTo>
                <a:lnTo>
                  <a:pt x="4516" y="6245"/>
                </a:lnTo>
                <a:lnTo>
                  <a:pt x="2903" y="6245"/>
                </a:lnTo>
                <a:lnTo>
                  <a:pt x="2581" y="6122"/>
                </a:lnTo>
                <a:lnTo>
                  <a:pt x="2581" y="5878"/>
                </a:lnTo>
                <a:lnTo>
                  <a:pt x="3065" y="5714"/>
                </a:lnTo>
                <a:lnTo>
                  <a:pt x="3871" y="5755"/>
                </a:lnTo>
                <a:lnTo>
                  <a:pt x="5000" y="5633"/>
                </a:lnTo>
                <a:lnTo>
                  <a:pt x="4355" y="5224"/>
                </a:lnTo>
                <a:lnTo>
                  <a:pt x="4194" y="4898"/>
                </a:lnTo>
                <a:cubicBezTo>
                  <a:pt x="4248" y="4803"/>
                  <a:pt x="4301" y="4707"/>
                  <a:pt x="4355" y="4612"/>
                </a:cubicBezTo>
                <a:lnTo>
                  <a:pt x="5161" y="4531"/>
                </a:lnTo>
                <a:lnTo>
                  <a:pt x="5645" y="4408"/>
                </a:lnTo>
                <a:lnTo>
                  <a:pt x="5161" y="4245"/>
                </a:lnTo>
                <a:lnTo>
                  <a:pt x="3871" y="4122"/>
                </a:lnTo>
                <a:lnTo>
                  <a:pt x="3065" y="4000"/>
                </a:lnTo>
                <a:lnTo>
                  <a:pt x="2581" y="3837"/>
                </a:lnTo>
                <a:lnTo>
                  <a:pt x="1129" y="3714"/>
                </a:lnTo>
                <a:lnTo>
                  <a:pt x="0" y="3551"/>
                </a:lnTo>
                <a:lnTo>
                  <a:pt x="323" y="3347"/>
                </a:lnTo>
                <a:lnTo>
                  <a:pt x="1290" y="3265"/>
                </a:lnTo>
                <a:lnTo>
                  <a:pt x="2258" y="3265"/>
                </a:lnTo>
                <a:lnTo>
                  <a:pt x="3387" y="3347"/>
                </a:lnTo>
                <a:lnTo>
                  <a:pt x="3387" y="3224"/>
                </a:lnTo>
                <a:lnTo>
                  <a:pt x="2903" y="2980"/>
                </a:lnTo>
                <a:lnTo>
                  <a:pt x="3226" y="2816"/>
                </a:lnTo>
                <a:lnTo>
                  <a:pt x="2581" y="2571"/>
                </a:lnTo>
                <a:lnTo>
                  <a:pt x="1935" y="2408"/>
                </a:lnTo>
                <a:lnTo>
                  <a:pt x="1452" y="2245"/>
                </a:lnTo>
                <a:lnTo>
                  <a:pt x="1935" y="2163"/>
                </a:lnTo>
                <a:lnTo>
                  <a:pt x="2581" y="2122"/>
                </a:lnTo>
                <a:lnTo>
                  <a:pt x="2581" y="1959"/>
                </a:lnTo>
                <a:lnTo>
                  <a:pt x="2419" y="1592"/>
                </a:lnTo>
                <a:lnTo>
                  <a:pt x="2097" y="1388"/>
                </a:lnTo>
                <a:lnTo>
                  <a:pt x="1774" y="1143"/>
                </a:lnTo>
                <a:lnTo>
                  <a:pt x="1935" y="939"/>
                </a:lnTo>
                <a:lnTo>
                  <a:pt x="2419" y="939"/>
                </a:lnTo>
                <a:lnTo>
                  <a:pt x="2742" y="816"/>
                </a:lnTo>
                <a:lnTo>
                  <a:pt x="2419" y="571"/>
                </a:lnTo>
                <a:lnTo>
                  <a:pt x="2097" y="408"/>
                </a:lnTo>
                <a:lnTo>
                  <a:pt x="2581" y="204"/>
                </a:lnTo>
                <a:cubicBezTo>
                  <a:pt x="2688" y="136"/>
                  <a:pt x="2502" y="68"/>
                  <a:pt x="2609" y="0"/>
                </a:cubicBezTo>
              </a:path>
            </a:pathLst>
          </a:custGeom>
          <a:noFill/>
          <a:ln w="3175" cap="flat" cmpd="sng">
            <a:solidFill>
              <a:srgbClr val="D9EAF7"/>
            </a:solidFill>
            <a:prstDash val="solid"/>
            <a:round/>
            <a:headEnd type="none" w="med" len="med"/>
            <a:tailEnd type="none" w="med" len="med"/>
          </a:ln>
        </p:spPr>
        <p:txBody>
          <a:bodyPr wrap="none" lIns="32632" tIns="32632" rIns="32632" bIns="32632" anchor="ctr"/>
          <a:lstStyle/>
          <a:p>
            <a:pPr defTabSz="891045"/>
            <a:endParaRPr lang="en-US" sz="1700" dirty="0">
              <a:solidFill>
                <a:srgbClr val="003149"/>
              </a:solidFill>
              <a:cs typeface="Arial" panose="020B0604020202020204" pitchFamily="34" charset="0"/>
            </a:endParaRPr>
          </a:p>
        </p:txBody>
      </p:sp>
      <p:sp>
        <p:nvSpPr>
          <p:cNvPr id="214" name="Freeform 834"/>
          <p:cNvSpPr>
            <a:spLocks noChangeAspect="1"/>
          </p:cNvSpPr>
          <p:nvPr>
            <p:custDataLst>
              <p:tags r:id="rId114"/>
            </p:custDataLst>
          </p:nvPr>
        </p:nvSpPr>
        <p:spPr bwMode="gray">
          <a:xfrm>
            <a:off x="6174560" y="2552269"/>
            <a:ext cx="78192" cy="236747"/>
          </a:xfrm>
          <a:custGeom>
            <a:avLst/>
            <a:gdLst>
              <a:gd name="T0" fmla="*/ 0 w 428"/>
              <a:gd name="T1" fmla="*/ 0 h 1142"/>
              <a:gd name="T2" fmla="*/ 0 w 428"/>
              <a:gd name="T3" fmla="*/ 0 h 1142"/>
              <a:gd name="T4" fmla="*/ 0 w 428"/>
              <a:gd name="T5" fmla="*/ 0 h 1142"/>
              <a:gd name="T6" fmla="*/ 0 w 428"/>
              <a:gd name="T7" fmla="*/ 0 h 1142"/>
              <a:gd name="T8" fmla="*/ 0 w 428"/>
              <a:gd name="T9" fmla="*/ 0 h 1142"/>
              <a:gd name="T10" fmla="*/ 0 w 428"/>
              <a:gd name="T11" fmla="*/ 0 h 1142"/>
              <a:gd name="T12" fmla="*/ 0 w 428"/>
              <a:gd name="T13" fmla="*/ 0 h 1142"/>
              <a:gd name="T14" fmla="*/ 0 w 428"/>
              <a:gd name="T15" fmla="*/ 0 h 1142"/>
              <a:gd name="T16" fmla="*/ 0 w 428"/>
              <a:gd name="T17" fmla="*/ 0 h 1142"/>
              <a:gd name="T18" fmla="*/ 0 w 428"/>
              <a:gd name="T19" fmla="*/ 0 h 1142"/>
              <a:gd name="T20" fmla="*/ 0 w 428"/>
              <a:gd name="T21" fmla="*/ 0 h 1142"/>
              <a:gd name="T22" fmla="*/ 0 w 428"/>
              <a:gd name="T23" fmla="*/ 0 h 1142"/>
              <a:gd name="T24" fmla="*/ 0 w 428"/>
              <a:gd name="T25" fmla="*/ 0 h 1142"/>
              <a:gd name="T26" fmla="*/ 0 w 428"/>
              <a:gd name="T27" fmla="*/ 0 h 1142"/>
              <a:gd name="T28" fmla="*/ 0 w 428"/>
              <a:gd name="T29" fmla="*/ 0 h 1142"/>
              <a:gd name="T30" fmla="*/ 0 w 428"/>
              <a:gd name="T31" fmla="*/ 0 h 1142"/>
              <a:gd name="T32" fmla="*/ 0 w 428"/>
              <a:gd name="T33" fmla="*/ 0 h 1142"/>
              <a:gd name="T34" fmla="*/ 0 w 428"/>
              <a:gd name="T35" fmla="*/ 0 h 1142"/>
              <a:gd name="T36" fmla="*/ 0 w 428"/>
              <a:gd name="T37" fmla="*/ 0 h 1142"/>
              <a:gd name="T38" fmla="*/ 0 w 428"/>
              <a:gd name="T39" fmla="*/ 0 h 1142"/>
              <a:gd name="T40" fmla="*/ 0 w 428"/>
              <a:gd name="T41" fmla="*/ 0 h 1142"/>
              <a:gd name="T42" fmla="*/ 0 w 428"/>
              <a:gd name="T43" fmla="*/ 0 h 1142"/>
              <a:gd name="T44" fmla="*/ 0 w 428"/>
              <a:gd name="T45" fmla="*/ 0 h 1142"/>
              <a:gd name="T46" fmla="*/ 0 w 428"/>
              <a:gd name="T47" fmla="*/ 0 h 1142"/>
              <a:gd name="T48" fmla="*/ 0 w 428"/>
              <a:gd name="T49" fmla="*/ 0 h 1142"/>
              <a:gd name="T50" fmla="*/ 0 w 428"/>
              <a:gd name="T51" fmla="*/ 0 h 1142"/>
              <a:gd name="T52" fmla="*/ 0 w 428"/>
              <a:gd name="T53" fmla="*/ 0 h 1142"/>
              <a:gd name="T54" fmla="*/ 0 w 428"/>
              <a:gd name="T55" fmla="*/ 0 h 1142"/>
              <a:gd name="T56" fmla="*/ 0 w 428"/>
              <a:gd name="T57" fmla="*/ 0 h 1142"/>
              <a:gd name="T58" fmla="*/ 0 w 428"/>
              <a:gd name="T59" fmla="*/ 0 h 1142"/>
              <a:gd name="T60" fmla="*/ 0 w 428"/>
              <a:gd name="T61" fmla="*/ 0 h 1142"/>
              <a:gd name="T62" fmla="*/ 0 w 428"/>
              <a:gd name="T63" fmla="*/ 0 h 1142"/>
              <a:gd name="T64" fmla="*/ 0 w 428"/>
              <a:gd name="T65" fmla="*/ 0 h 1142"/>
              <a:gd name="T66" fmla="*/ 0 w 428"/>
              <a:gd name="T67" fmla="*/ 0 h 1142"/>
              <a:gd name="T68" fmla="*/ 0 w 428"/>
              <a:gd name="T69" fmla="*/ 0 h 1142"/>
              <a:gd name="T70" fmla="*/ 0 w 428"/>
              <a:gd name="T71" fmla="*/ 0 h 1142"/>
              <a:gd name="T72" fmla="*/ 0 w 428"/>
              <a:gd name="T73" fmla="*/ 0 h 1142"/>
              <a:gd name="T74" fmla="*/ 0 w 428"/>
              <a:gd name="T75" fmla="*/ 0 h 1142"/>
              <a:gd name="T76" fmla="*/ 0 w 428"/>
              <a:gd name="T77" fmla="*/ 0 h 1142"/>
              <a:gd name="T78" fmla="*/ 0 w 428"/>
              <a:gd name="T79" fmla="*/ 0 h 1142"/>
              <a:gd name="T80" fmla="*/ 0 w 428"/>
              <a:gd name="T81" fmla="*/ 0 h 1142"/>
              <a:gd name="T82" fmla="*/ 0 w 428"/>
              <a:gd name="T83" fmla="*/ 0 h 1142"/>
              <a:gd name="T84" fmla="*/ 0 w 428"/>
              <a:gd name="T85" fmla="*/ 0 h 1142"/>
              <a:gd name="T86" fmla="*/ 0 w 428"/>
              <a:gd name="T87" fmla="*/ 0 h 1142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w 428"/>
              <a:gd name="T133" fmla="*/ 0 h 1142"/>
              <a:gd name="T134" fmla="*/ 428 w 428"/>
              <a:gd name="T135" fmla="*/ 1142 h 1142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T132" t="T133" r="T134" b="T135"/>
            <a:pathLst>
              <a:path w="428" h="1142">
                <a:moveTo>
                  <a:pt x="158" y="1142"/>
                </a:moveTo>
                <a:lnTo>
                  <a:pt x="164" y="1131"/>
                </a:lnTo>
                <a:lnTo>
                  <a:pt x="159" y="1113"/>
                </a:lnTo>
                <a:lnTo>
                  <a:pt x="156" y="1088"/>
                </a:lnTo>
                <a:lnTo>
                  <a:pt x="167" y="1070"/>
                </a:lnTo>
                <a:lnTo>
                  <a:pt x="167" y="1050"/>
                </a:lnTo>
                <a:lnTo>
                  <a:pt x="183" y="1034"/>
                </a:lnTo>
                <a:lnTo>
                  <a:pt x="213" y="1037"/>
                </a:lnTo>
                <a:lnTo>
                  <a:pt x="234" y="1046"/>
                </a:lnTo>
                <a:lnTo>
                  <a:pt x="254" y="1046"/>
                </a:lnTo>
                <a:lnTo>
                  <a:pt x="264" y="1035"/>
                </a:lnTo>
                <a:lnTo>
                  <a:pt x="264" y="1016"/>
                </a:lnTo>
                <a:lnTo>
                  <a:pt x="249" y="999"/>
                </a:lnTo>
                <a:lnTo>
                  <a:pt x="233" y="996"/>
                </a:lnTo>
                <a:lnTo>
                  <a:pt x="222" y="993"/>
                </a:lnTo>
                <a:lnTo>
                  <a:pt x="215" y="983"/>
                </a:lnTo>
                <a:lnTo>
                  <a:pt x="219" y="966"/>
                </a:lnTo>
                <a:lnTo>
                  <a:pt x="231" y="944"/>
                </a:lnTo>
                <a:lnTo>
                  <a:pt x="231" y="924"/>
                </a:lnTo>
                <a:lnTo>
                  <a:pt x="225" y="908"/>
                </a:lnTo>
                <a:lnTo>
                  <a:pt x="213" y="900"/>
                </a:lnTo>
                <a:lnTo>
                  <a:pt x="194" y="887"/>
                </a:lnTo>
                <a:lnTo>
                  <a:pt x="171" y="885"/>
                </a:lnTo>
                <a:lnTo>
                  <a:pt x="152" y="884"/>
                </a:lnTo>
                <a:lnTo>
                  <a:pt x="137" y="873"/>
                </a:lnTo>
                <a:lnTo>
                  <a:pt x="123" y="860"/>
                </a:lnTo>
                <a:lnTo>
                  <a:pt x="108" y="842"/>
                </a:lnTo>
                <a:lnTo>
                  <a:pt x="95" y="828"/>
                </a:lnTo>
                <a:lnTo>
                  <a:pt x="74" y="804"/>
                </a:lnTo>
                <a:lnTo>
                  <a:pt x="77" y="779"/>
                </a:lnTo>
                <a:lnTo>
                  <a:pt x="86" y="753"/>
                </a:lnTo>
                <a:lnTo>
                  <a:pt x="108" y="726"/>
                </a:lnTo>
                <a:lnTo>
                  <a:pt x="114" y="702"/>
                </a:lnTo>
                <a:lnTo>
                  <a:pt x="116" y="684"/>
                </a:lnTo>
                <a:lnTo>
                  <a:pt x="110" y="662"/>
                </a:lnTo>
                <a:lnTo>
                  <a:pt x="93" y="656"/>
                </a:lnTo>
                <a:lnTo>
                  <a:pt x="80" y="638"/>
                </a:lnTo>
                <a:lnTo>
                  <a:pt x="65" y="617"/>
                </a:lnTo>
                <a:lnTo>
                  <a:pt x="41" y="594"/>
                </a:lnTo>
                <a:lnTo>
                  <a:pt x="24" y="588"/>
                </a:lnTo>
                <a:lnTo>
                  <a:pt x="6" y="582"/>
                </a:lnTo>
                <a:lnTo>
                  <a:pt x="6" y="561"/>
                </a:lnTo>
                <a:lnTo>
                  <a:pt x="15" y="531"/>
                </a:lnTo>
                <a:lnTo>
                  <a:pt x="29" y="516"/>
                </a:lnTo>
                <a:lnTo>
                  <a:pt x="44" y="510"/>
                </a:lnTo>
                <a:lnTo>
                  <a:pt x="59" y="513"/>
                </a:lnTo>
                <a:lnTo>
                  <a:pt x="72" y="503"/>
                </a:lnTo>
                <a:lnTo>
                  <a:pt x="75" y="480"/>
                </a:lnTo>
                <a:lnTo>
                  <a:pt x="72" y="458"/>
                </a:lnTo>
                <a:lnTo>
                  <a:pt x="62" y="444"/>
                </a:lnTo>
                <a:lnTo>
                  <a:pt x="42" y="435"/>
                </a:lnTo>
                <a:lnTo>
                  <a:pt x="18" y="440"/>
                </a:lnTo>
                <a:lnTo>
                  <a:pt x="8" y="429"/>
                </a:lnTo>
                <a:lnTo>
                  <a:pt x="0" y="411"/>
                </a:lnTo>
                <a:lnTo>
                  <a:pt x="2" y="387"/>
                </a:lnTo>
                <a:lnTo>
                  <a:pt x="3" y="366"/>
                </a:lnTo>
                <a:lnTo>
                  <a:pt x="17" y="356"/>
                </a:lnTo>
                <a:lnTo>
                  <a:pt x="38" y="360"/>
                </a:lnTo>
                <a:lnTo>
                  <a:pt x="63" y="348"/>
                </a:lnTo>
                <a:lnTo>
                  <a:pt x="63" y="324"/>
                </a:lnTo>
                <a:lnTo>
                  <a:pt x="80" y="311"/>
                </a:lnTo>
                <a:lnTo>
                  <a:pt x="99" y="300"/>
                </a:lnTo>
                <a:lnTo>
                  <a:pt x="125" y="288"/>
                </a:lnTo>
                <a:lnTo>
                  <a:pt x="135" y="261"/>
                </a:lnTo>
                <a:lnTo>
                  <a:pt x="144" y="252"/>
                </a:lnTo>
                <a:lnTo>
                  <a:pt x="164" y="248"/>
                </a:lnTo>
                <a:lnTo>
                  <a:pt x="195" y="252"/>
                </a:lnTo>
                <a:lnTo>
                  <a:pt x="221" y="237"/>
                </a:lnTo>
                <a:lnTo>
                  <a:pt x="237" y="221"/>
                </a:lnTo>
                <a:lnTo>
                  <a:pt x="234" y="207"/>
                </a:lnTo>
                <a:lnTo>
                  <a:pt x="224" y="185"/>
                </a:lnTo>
                <a:lnTo>
                  <a:pt x="234" y="161"/>
                </a:lnTo>
                <a:lnTo>
                  <a:pt x="260" y="162"/>
                </a:lnTo>
                <a:lnTo>
                  <a:pt x="285" y="165"/>
                </a:lnTo>
                <a:lnTo>
                  <a:pt x="320" y="180"/>
                </a:lnTo>
                <a:lnTo>
                  <a:pt x="351" y="189"/>
                </a:lnTo>
                <a:lnTo>
                  <a:pt x="377" y="186"/>
                </a:lnTo>
                <a:lnTo>
                  <a:pt x="392" y="168"/>
                </a:lnTo>
                <a:lnTo>
                  <a:pt x="392" y="155"/>
                </a:lnTo>
                <a:lnTo>
                  <a:pt x="381" y="144"/>
                </a:lnTo>
                <a:lnTo>
                  <a:pt x="365" y="131"/>
                </a:lnTo>
                <a:lnTo>
                  <a:pt x="366" y="101"/>
                </a:lnTo>
                <a:lnTo>
                  <a:pt x="371" y="68"/>
                </a:lnTo>
                <a:lnTo>
                  <a:pt x="380" y="50"/>
                </a:lnTo>
                <a:lnTo>
                  <a:pt x="401" y="41"/>
                </a:lnTo>
                <a:lnTo>
                  <a:pt x="419" y="27"/>
                </a:lnTo>
                <a:lnTo>
                  <a:pt x="428" y="21"/>
                </a:lnTo>
                <a:lnTo>
                  <a:pt x="428" y="0"/>
                </a:lnTo>
              </a:path>
            </a:pathLst>
          </a:custGeom>
          <a:noFill/>
          <a:ln w="3175" cap="flat" cmpd="sng">
            <a:solidFill>
              <a:srgbClr val="D9EAF7"/>
            </a:solidFill>
            <a:prstDash val="solid"/>
            <a:round/>
            <a:headEnd type="none" w="med" len="med"/>
            <a:tailEnd type="none" w="med" len="med"/>
          </a:ln>
        </p:spPr>
        <p:txBody>
          <a:bodyPr wrap="none" lIns="32632" tIns="32632" rIns="32632" bIns="32632" anchor="ctr"/>
          <a:lstStyle/>
          <a:p>
            <a:pPr defTabSz="891045"/>
            <a:endParaRPr lang="en-US" sz="1700" dirty="0">
              <a:solidFill>
                <a:srgbClr val="003149"/>
              </a:solidFill>
              <a:cs typeface="Arial" panose="020B0604020202020204" pitchFamily="34" charset="0"/>
            </a:endParaRPr>
          </a:p>
        </p:txBody>
      </p:sp>
      <p:sp>
        <p:nvSpPr>
          <p:cNvPr id="215" name="Freeform 830"/>
          <p:cNvSpPr>
            <a:spLocks noChangeAspect="1"/>
          </p:cNvSpPr>
          <p:nvPr>
            <p:custDataLst>
              <p:tags r:id="rId115"/>
            </p:custDataLst>
          </p:nvPr>
        </p:nvSpPr>
        <p:spPr bwMode="gray">
          <a:xfrm>
            <a:off x="6252739" y="2543658"/>
            <a:ext cx="180553" cy="20088"/>
          </a:xfrm>
          <a:custGeom>
            <a:avLst/>
            <a:gdLst>
              <a:gd name="T0" fmla="*/ 0 w 997"/>
              <a:gd name="T1" fmla="*/ 0 h 100"/>
              <a:gd name="T2" fmla="*/ 0 w 997"/>
              <a:gd name="T3" fmla="*/ 0 h 100"/>
              <a:gd name="T4" fmla="*/ 0 w 997"/>
              <a:gd name="T5" fmla="*/ 0 h 100"/>
              <a:gd name="T6" fmla="*/ 0 w 997"/>
              <a:gd name="T7" fmla="*/ 0 h 100"/>
              <a:gd name="T8" fmla="*/ 0 w 997"/>
              <a:gd name="T9" fmla="*/ 0 h 100"/>
              <a:gd name="T10" fmla="*/ 0 w 997"/>
              <a:gd name="T11" fmla="*/ 0 h 100"/>
              <a:gd name="T12" fmla="*/ 0 w 997"/>
              <a:gd name="T13" fmla="*/ 0 h 100"/>
              <a:gd name="T14" fmla="*/ 0 w 997"/>
              <a:gd name="T15" fmla="*/ 0 h 100"/>
              <a:gd name="T16" fmla="*/ 0 w 997"/>
              <a:gd name="T17" fmla="*/ 0 h 100"/>
              <a:gd name="T18" fmla="*/ 0 w 997"/>
              <a:gd name="T19" fmla="*/ 0 h 100"/>
              <a:gd name="T20" fmla="*/ 0 w 997"/>
              <a:gd name="T21" fmla="*/ 0 h 100"/>
              <a:gd name="T22" fmla="*/ 0 w 997"/>
              <a:gd name="T23" fmla="*/ 0 h 100"/>
              <a:gd name="T24" fmla="*/ 0 w 997"/>
              <a:gd name="T25" fmla="*/ 0 h 100"/>
              <a:gd name="T26" fmla="*/ 0 w 997"/>
              <a:gd name="T27" fmla="*/ 0 h 100"/>
              <a:gd name="T28" fmla="*/ 0 w 997"/>
              <a:gd name="T29" fmla="*/ 0 h 100"/>
              <a:gd name="T30" fmla="*/ 0 w 997"/>
              <a:gd name="T31" fmla="*/ 0 h 100"/>
              <a:gd name="T32" fmla="*/ 0 w 997"/>
              <a:gd name="T33" fmla="*/ 0 h 100"/>
              <a:gd name="T34" fmla="*/ 0 w 997"/>
              <a:gd name="T35" fmla="*/ 0 h 100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w 997"/>
              <a:gd name="T55" fmla="*/ 0 h 100"/>
              <a:gd name="T56" fmla="*/ 997 w 997"/>
              <a:gd name="T57" fmla="*/ 100 h 100"/>
            </a:gdLst>
            <a:ahLst/>
            <a:cxnLst>
              <a:cxn ang="T36">
                <a:pos x="T0" y="T1"/>
              </a:cxn>
              <a:cxn ang="T37">
                <a:pos x="T2" y="T3"/>
              </a:cxn>
              <a:cxn ang="T38">
                <a:pos x="T4" y="T5"/>
              </a:cxn>
              <a:cxn ang="T39">
                <a:pos x="T6" y="T7"/>
              </a:cxn>
              <a:cxn ang="T40">
                <a:pos x="T8" y="T9"/>
              </a:cxn>
              <a:cxn ang="T41">
                <a:pos x="T10" y="T11"/>
              </a:cxn>
              <a:cxn ang="T42">
                <a:pos x="T12" y="T13"/>
              </a:cxn>
              <a:cxn ang="T43">
                <a:pos x="T14" y="T15"/>
              </a:cxn>
              <a:cxn ang="T44">
                <a:pos x="T16" y="T17"/>
              </a:cxn>
              <a:cxn ang="T45">
                <a:pos x="T18" y="T19"/>
              </a:cxn>
              <a:cxn ang="T46">
                <a:pos x="T20" y="T21"/>
              </a:cxn>
              <a:cxn ang="T47">
                <a:pos x="T22" y="T23"/>
              </a:cxn>
              <a:cxn ang="T48">
                <a:pos x="T24" y="T25"/>
              </a:cxn>
              <a:cxn ang="T49">
                <a:pos x="T26" y="T27"/>
              </a:cxn>
              <a:cxn ang="T50">
                <a:pos x="T28" y="T29"/>
              </a:cxn>
              <a:cxn ang="T51">
                <a:pos x="T30" y="T31"/>
              </a:cxn>
              <a:cxn ang="T52">
                <a:pos x="T32" y="T33"/>
              </a:cxn>
              <a:cxn ang="T53">
                <a:pos x="T34" y="T35"/>
              </a:cxn>
            </a:cxnLst>
            <a:rect l="T54" t="T55" r="T56" b="T57"/>
            <a:pathLst>
              <a:path w="997" h="100">
                <a:moveTo>
                  <a:pt x="0" y="43"/>
                </a:moveTo>
                <a:lnTo>
                  <a:pt x="19" y="48"/>
                </a:lnTo>
                <a:lnTo>
                  <a:pt x="42" y="82"/>
                </a:lnTo>
                <a:lnTo>
                  <a:pt x="79" y="99"/>
                </a:lnTo>
                <a:lnTo>
                  <a:pt x="163" y="97"/>
                </a:lnTo>
                <a:lnTo>
                  <a:pt x="234" y="96"/>
                </a:lnTo>
                <a:lnTo>
                  <a:pt x="262" y="100"/>
                </a:lnTo>
                <a:lnTo>
                  <a:pt x="298" y="91"/>
                </a:lnTo>
                <a:lnTo>
                  <a:pt x="316" y="76"/>
                </a:lnTo>
                <a:lnTo>
                  <a:pt x="330" y="66"/>
                </a:lnTo>
                <a:lnTo>
                  <a:pt x="432" y="64"/>
                </a:lnTo>
                <a:lnTo>
                  <a:pt x="583" y="52"/>
                </a:lnTo>
                <a:lnTo>
                  <a:pt x="663" y="30"/>
                </a:lnTo>
                <a:lnTo>
                  <a:pt x="696" y="13"/>
                </a:lnTo>
                <a:lnTo>
                  <a:pt x="792" y="10"/>
                </a:lnTo>
                <a:lnTo>
                  <a:pt x="877" y="4"/>
                </a:lnTo>
                <a:lnTo>
                  <a:pt x="963" y="1"/>
                </a:lnTo>
                <a:lnTo>
                  <a:pt x="997" y="0"/>
                </a:lnTo>
              </a:path>
            </a:pathLst>
          </a:custGeom>
          <a:noFill/>
          <a:ln w="3175" cap="flat" cmpd="sng">
            <a:solidFill>
              <a:srgbClr val="D9EAF7"/>
            </a:solidFill>
            <a:prstDash val="solid"/>
            <a:round/>
            <a:headEnd type="none" w="med" len="med"/>
            <a:tailEnd type="none" w="med" len="med"/>
          </a:ln>
        </p:spPr>
        <p:txBody>
          <a:bodyPr wrap="none" lIns="32632" tIns="32632" rIns="32632" bIns="32632" anchor="ctr"/>
          <a:lstStyle/>
          <a:p>
            <a:pPr defTabSz="891045"/>
            <a:endParaRPr lang="en-US" sz="1700" dirty="0">
              <a:solidFill>
                <a:srgbClr val="003149"/>
              </a:solidFill>
              <a:cs typeface="Arial" panose="020B0604020202020204" pitchFamily="34" charset="0"/>
            </a:endParaRPr>
          </a:p>
        </p:txBody>
      </p:sp>
      <p:sp>
        <p:nvSpPr>
          <p:cNvPr id="216" name="Freeform 809"/>
          <p:cNvSpPr>
            <a:spLocks noChangeAspect="1"/>
          </p:cNvSpPr>
          <p:nvPr>
            <p:custDataLst>
              <p:tags r:id="rId116"/>
            </p:custDataLst>
          </p:nvPr>
        </p:nvSpPr>
        <p:spPr bwMode="gray">
          <a:xfrm>
            <a:off x="5981213" y="3670018"/>
            <a:ext cx="275804" cy="147788"/>
          </a:xfrm>
          <a:custGeom>
            <a:avLst/>
            <a:gdLst>
              <a:gd name="T0" fmla="*/ 0 w 1491"/>
              <a:gd name="T1" fmla="*/ 0 h 699"/>
              <a:gd name="T2" fmla="*/ 0 w 1491"/>
              <a:gd name="T3" fmla="*/ 0 h 699"/>
              <a:gd name="T4" fmla="*/ 0 w 1491"/>
              <a:gd name="T5" fmla="*/ 0 h 699"/>
              <a:gd name="T6" fmla="*/ 0 w 1491"/>
              <a:gd name="T7" fmla="*/ 0 h 699"/>
              <a:gd name="T8" fmla="*/ 0 w 1491"/>
              <a:gd name="T9" fmla="*/ 0 h 699"/>
              <a:gd name="T10" fmla="*/ 0 w 1491"/>
              <a:gd name="T11" fmla="*/ 0 h 699"/>
              <a:gd name="T12" fmla="*/ 0 w 1491"/>
              <a:gd name="T13" fmla="*/ 0 h 699"/>
              <a:gd name="T14" fmla="*/ 0 w 1491"/>
              <a:gd name="T15" fmla="*/ 0 h 699"/>
              <a:gd name="T16" fmla="*/ 0 w 1491"/>
              <a:gd name="T17" fmla="*/ 0 h 699"/>
              <a:gd name="T18" fmla="*/ 0 w 1491"/>
              <a:gd name="T19" fmla="*/ 0 h 699"/>
              <a:gd name="T20" fmla="*/ 0 w 1491"/>
              <a:gd name="T21" fmla="*/ 0 h 699"/>
              <a:gd name="T22" fmla="*/ 0 w 1491"/>
              <a:gd name="T23" fmla="*/ 0 h 699"/>
              <a:gd name="T24" fmla="*/ 0 w 1491"/>
              <a:gd name="T25" fmla="*/ 0 h 699"/>
              <a:gd name="T26" fmla="*/ 0 w 1491"/>
              <a:gd name="T27" fmla="*/ 0 h 699"/>
              <a:gd name="T28" fmla="*/ 0 w 1491"/>
              <a:gd name="T29" fmla="*/ 0 h 699"/>
              <a:gd name="T30" fmla="*/ 0 w 1491"/>
              <a:gd name="T31" fmla="*/ 0 h 699"/>
              <a:gd name="T32" fmla="*/ 0 w 1491"/>
              <a:gd name="T33" fmla="*/ 0 h 699"/>
              <a:gd name="T34" fmla="*/ 0 w 1491"/>
              <a:gd name="T35" fmla="*/ 0 h 699"/>
              <a:gd name="T36" fmla="*/ 0 w 1491"/>
              <a:gd name="T37" fmla="*/ 0 h 699"/>
              <a:gd name="T38" fmla="*/ 0 w 1491"/>
              <a:gd name="T39" fmla="*/ 0 h 699"/>
              <a:gd name="T40" fmla="*/ 0 w 1491"/>
              <a:gd name="T41" fmla="*/ 0 h 699"/>
              <a:gd name="T42" fmla="*/ 0 w 1491"/>
              <a:gd name="T43" fmla="*/ 0 h 699"/>
              <a:gd name="T44" fmla="*/ 0 w 1491"/>
              <a:gd name="T45" fmla="*/ 0 h 699"/>
              <a:gd name="T46" fmla="*/ 0 w 1491"/>
              <a:gd name="T47" fmla="*/ 0 h 699"/>
              <a:gd name="T48" fmla="*/ 0 w 1491"/>
              <a:gd name="T49" fmla="*/ 0 h 699"/>
              <a:gd name="T50" fmla="*/ 0 w 1491"/>
              <a:gd name="T51" fmla="*/ 0 h 699"/>
              <a:gd name="T52" fmla="*/ 0 w 1491"/>
              <a:gd name="T53" fmla="*/ 0 h 699"/>
              <a:gd name="T54" fmla="*/ 0 w 1491"/>
              <a:gd name="T55" fmla="*/ 0 h 699"/>
              <a:gd name="T56" fmla="*/ 0 w 1491"/>
              <a:gd name="T57" fmla="*/ 0 h 699"/>
              <a:gd name="T58" fmla="*/ 0 w 1491"/>
              <a:gd name="T59" fmla="*/ 0 h 699"/>
              <a:gd name="T60" fmla="*/ 0 w 1491"/>
              <a:gd name="T61" fmla="*/ 0 h 699"/>
              <a:gd name="T62" fmla="*/ 0 w 1491"/>
              <a:gd name="T63" fmla="*/ 0 h 699"/>
              <a:gd name="T64" fmla="*/ 0 w 1491"/>
              <a:gd name="T65" fmla="*/ 0 h 699"/>
              <a:gd name="T66" fmla="*/ 0 w 1491"/>
              <a:gd name="T67" fmla="*/ 0 h 699"/>
              <a:gd name="T68" fmla="*/ 0 w 1491"/>
              <a:gd name="T69" fmla="*/ 0 h 699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w 1491"/>
              <a:gd name="T106" fmla="*/ 0 h 699"/>
              <a:gd name="T107" fmla="*/ 1491 w 1491"/>
              <a:gd name="T108" fmla="*/ 699 h 699"/>
            </a:gdLst>
            <a:ahLst/>
            <a:cxnLst>
              <a:cxn ang="T70">
                <a:pos x="T0" y="T1"/>
              </a:cxn>
              <a:cxn ang="T71">
                <a:pos x="T2" y="T3"/>
              </a:cxn>
              <a:cxn ang="T72">
                <a:pos x="T4" y="T5"/>
              </a:cxn>
              <a:cxn ang="T73">
                <a:pos x="T6" y="T7"/>
              </a:cxn>
              <a:cxn ang="T74">
                <a:pos x="T8" y="T9"/>
              </a:cxn>
              <a:cxn ang="T75">
                <a:pos x="T10" y="T11"/>
              </a:cxn>
              <a:cxn ang="T76">
                <a:pos x="T12" y="T13"/>
              </a:cxn>
              <a:cxn ang="T77">
                <a:pos x="T14" y="T15"/>
              </a:cxn>
              <a:cxn ang="T78">
                <a:pos x="T16" y="T17"/>
              </a:cxn>
              <a:cxn ang="T79">
                <a:pos x="T18" y="T19"/>
              </a:cxn>
              <a:cxn ang="T80">
                <a:pos x="T20" y="T21"/>
              </a:cxn>
              <a:cxn ang="T81">
                <a:pos x="T22" y="T23"/>
              </a:cxn>
              <a:cxn ang="T82">
                <a:pos x="T24" y="T25"/>
              </a:cxn>
              <a:cxn ang="T83">
                <a:pos x="T26" y="T27"/>
              </a:cxn>
              <a:cxn ang="T84">
                <a:pos x="T28" y="T29"/>
              </a:cxn>
              <a:cxn ang="T85">
                <a:pos x="T30" y="T31"/>
              </a:cxn>
              <a:cxn ang="T86">
                <a:pos x="T32" y="T33"/>
              </a:cxn>
              <a:cxn ang="T87">
                <a:pos x="T34" y="T35"/>
              </a:cxn>
              <a:cxn ang="T88">
                <a:pos x="T36" y="T37"/>
              </a:cxn>
              <a:cxn ang="T89">
                <a:pos x="T38" y="T39"/>
              </a:cxn>
              <a:cxn ang="T90">
                <a:pos x="T40" y="T41"/>
              </a:cxn>
              <a:cxn ang="T91">
                <a:pos x="T42" y="T43"/>
              </a:cxn>
              <a:cxn ang="T92">
                <a:pos x="T44" y="T45"/>
              </a:cxn>
              <a:cxn ang="T93">
                <a:pos x="T46" y="T47"/>
              </a:cxn>
              <a:cxn ang="T94">
                <a:pos x="T48" y="T49"/>
              </a:cxn>
              <a:cxn ang="T95">
                <a:pos x="T50" y="T51"/>
              </a:cxn>
              <a:cxn ang="T96">
                <a:pos x="T52" y="T53"/>
              </a:cxn>
              <a:cxn ang="T97">
                <a:pos x="T54" y="T55"/>
              </a:cxn>
              <a:cxn ang="T98">
                <a:pos x="T56" y="T57"/>
              </a:cxn>
              <a:cxn ang="T99">
                <a:pos x="T58" y="T59"/>
              </a:cxn>
              <a:cxn ang="T100">
                <a:pos x="T60" y="T61"/>
              </a:cxn>
              <a:cxn ang="T101">
                <a:pos x="T62" y="T63"/>
              </a:cxn>
              <a:cxn ang="T102">
                <a:pos x="T64" y="T65"/>
              </a:cxn>
              <a:cxn ang="T103">
                <a:pos x="T66" y="T67"/>
              </a:cxn>
              <a:cxn ang="T104">
                <a:pos x="T68" y="T69"/>
              </a:cxn>
            </a:cxnLst>
            <a:rect l="T105" t="T106" r="T107" b="T108"/>
            <a:pathLst>
              <a:path w="1491" h="699">
                <a:moveTo>
                  <a:pt x="1491" y="690"/>
                </a:moveTo>
                <a:lnTo>
                  <a:pt x="1449" y="648"/>
                </a:lnTo>
                <a:lnTo>
                  <a:pt x="1422" y="621"/>
                </a:lnTo>
                <a:lnTo>
                  <a:pt x="1419" y="600"/>
                </a:lnTo>
                <a:lnTo>
                  <a:pt x="1422" y="570"/>
                </a:lnTo>
                <a:lnTo>
                  <a:pt x="1449" y="552"/>
                </a:lnTo>
                <a:lnTo>
                  <a:pt x="1467" y="528"/>
                </a:lnTo>
                <a:lnTo>
                  <a:pt x="1452" y="492"/>
                </a:lnTo>
                <a:lnTo>
                  <a:pt x="1419" y="468"/>
                </a:lnTo>
                <a:lnTo>
                  <a:pt x="1371" y="435"/>
                </a:lnTo>
                <a:lnTo>
                  <a:pt x="1335" y="417"/>
                </a:lnTo>
                <a:lnTo>
                  <a:pt x="1287" y="405"/>
                </a:lnTo>
                <a:lnTo>
                  <a:pt x="1236" y="408"/>
                </a:lnTo>
                <a:lnTo>
                  <a:pt x="1197" y="429"/>
                </a:lnTo>
                <a:lnTo>
                  <a:pt x="1161" y="456"/>
                </a:lnTo>
                <a:lnTo>
                  <a:pt x="1119" y="501"/>
                </a:lnTo>
                <a:lnTo>
                  <a:pt x="1080" y="543"/>
                </a:lnTo>
                <a:lnTo>
                  <a:pt x="1032" y="576"/>
                </a:lnTo>
                <a:lnTo>
                  <a:pt x="963" y="624"/>
                </a:lnTo>
                <a:lnTo>
                  <a:pt x="909" y="636"/>
                </a:lnTo>
                <a:lnTo>
                  <a:pt x="834" y="654"/>
                </a:lnTo>
                <a:lnTo>
                  <a:pt x="765" y="669"/>
                </a:lnTo>
                <a:lnTo>
                  <a:pt x="711" y="672"/>
                </a:lnTo>
                <a:lnTo>
                  <a:pt x="663" y="693"/>
                </a:lnTo>
                <a:lnTo>
                  <a:pt x="624" y="699"/>
                </a:lnTo>
                <a:lnTo>
                  <a:pt x="591" y="699"/>
                </a:lnTo>
                <a:lnTo>
                  <a:pt x="549" y="684"/>
                </a:lnTo>
                <a:lnTo>
                  <a:pt x="516" y="669"/>
                </a:lnTo>
                <a:lnTo>
                  <a:pt x="477" y="657"/>
                </a:lnTo>
                <a:lnTo>
                  <a:pt x="426" y="669"/>
                </a:lnTo>
                <a:lnTo>
                  <a:pt x="384" y="675"/>
                </a:lnTo>
                <a:lnTo>
                  <a:pt x="339" y="675"/>
                </a:lnTo>
                <a:lnTo>
                  <a:pt x="318" y="645"/>
                </a:lnTo>
                <a:lnTo>
                  <a:pt x="318" y="600"/>
                </a:lnTo>
                <a:lnTo>
                  <a:pt x="318" y="558"/>
                </a:lnTo>
                <a:lnTo>
                  <a:pt x="336" y="531"/>
                </a:lnTo>
                <a:lnTo>
                  <a:pt x="363" y="507"/>
                </a:lnTo>
                <a:lnTo>
                  <a:pt x="363" y="459"/>
                </a:lnTo>
                <a:lnTo>
                  <a:pt x="372" y="411"/>
                </a:lnTo>
                <a:lnTo>
                  <a:pt x="405" y="405"/>
                </a:lnTo>
                <a:lnTo>
                  <a:pt x="432" y="369"/>
                </a:lnTo>
                <a:lnTo>
                  <a:pt x="444" y="342"/>
                </a:lnTo>
                <a:lnTo>
                  <a:pt x="465" y="318"/>
                </a:lnTo>
                <a:lnTo>
                  <a:pt x="489" y="309"/>
                </a:lnTo>
                <a:lnTo>
                  <a:pt x="504" y="270"/>
                </a:lnTo>
                <a:lnTo>
                  <a:pt x="552" y="249"/>
                </a:lnTo>
                <a:lnTo>
                  <a:pt x="552" y="189"/>
                </a:lnTo>
                <a:lnTo>
                  <a:pt x="576" y="159"/>
                </a:lnTo>
                <a:lnTo>
                  <a:pt x="600" y="132"/>
                </a:lnTo>
                <a:lnTo>
                  <a:pt x="603" y="69"/>
                </a:lnTo>
                <a:lnTo>
                  <a:pt x="588" y="39"/>
                </a:lnTo>
                <a:lnTo>
                  <a:pt x="540" y="12"/>
                </a:lnTo>
                <a:lnTo>
                  <a:pt x="501" y="6"/>
                </a:lnTo>
                <a:lnTo>
                  <a:pt x="453" y="3"/>
                </a:lnTo>
                <a:lnTo>
                  <a:pt x="432" y="0"/>
                </a:lnTo>
                <a:lnTo>
                  <a:pt x="414" y="33"/>
                </a:lnTo>
                <a:lnTo>
                  <a:pt x="378" y="54"/>
                </a:lnTo>
                <a:lnTo>
                  <a:pt x="345" y="66"/>
                </a:lnTo>
                <a:lnTo>
                  <a:pt x="336" y="87"/>
                </a:lnTo>
                <a:lnTo>
                  <a:pt x="309" y="99"/>
                </a:lnTo>
                <a:lnTo>
                  <a:pt x="279" y="111"/>
                </a:lnTo>
                <a:lnTo>
                  <a:pt x="246" y="141"/>
                </a:lnTo>
                <a:lnTo>
                  <a:pt x="219" y="156"/>
                </a:lnTo>
                <a:lnTo>
                  <a:pt x="195" y="156"/>
                </a:lnTo>
                <a:lnTo>
                  <a:pt x="153" y="135"/>
                </a:lnTo>
                <a:lnTo>
                  <a:pt x="114" y="117"/>
                </a:lnTo>
                <a:lnTo>
                  <a:pt x="81" y="99"/>
                </a:lnTo>
                <a:lnTo>
                  <a:pt x="39" y="84"/>
                </a:lnTo>
                <a:lnTo>
                  <a:pt x="18" y="75"/>
                </a:lnTo>
                <a:lnTo>
                  <a:pt x="0" y="69"/>
                </a:lnTo>
              </a:path>
            </a:pathLst>
          </a:custGeom>
          <a:noFill/>
          <a:ln w="3175" cap="flat" cmpd="sng">
            <a:solidFill>
              <a:srgbClr val="D9EAF7"/>
            </a:solidFill>
            <a:prstDash val="solid"/>
            <a:round/>
            <a:headEnd type="none" w="med" len="med"/>
            <a:tailEnd type="none" w="med" len="med"/>
          </a:ln>
        </p:spPr>
        <p:txBody>
          <a:bodyPr wrap="none" lIns="32632" tIns="32632" rIns="32632" bIns="32632" anchor="ctr"/>
          <a:lstStyle/>
          <a:p>
            <a:pPr defTabSz="891045"/>
            <a:endParaRPr lang="en-US" sz="1700" dirty="0">
              <a:solidFill>
                <a:srgbClr val="003149"/>
              </a:solidFill>
              <a:cs typeface="Arial" panose="020B0604020202020204" pitchFamily="34" charset="0"/>
            </a:endParaRPr>
          </a:p>
        </p:txBody>
      </p:sp>
      <p:sp>
        <p:nvSpPr>
          <p:cNvPr id="217" name="Freeform 807"/>
          <p:cNvSpPr>
            <a:spLocks noChangeAspect="1"/>
          </p:cNvSpPr>
          <p:nvPr>
            <p:custDataLst>
              <p:tags r:id="rId117"/>
            </p:custDataLst>
          </p:nvPr>
        </p:nvSpPr>
        <p:spPr bwMode="gray">
          <a:xfrm>
            <a:off x="6383535" y="3944058"/>
            <a:ext cx="183395" cy="219530"/>
          </a:xfrm>
          <a:custGeom>
            <a:avLst/>
            <a:gdLst>
              <a:gd name="T0" fmla="*/ 0 w 10068"/>
              <a:gd name="T1" fmla="*/ 0 h 10000"/>
              <a:gd name="T2" fmla="*/ 0 w 10068"/>
              <a:gd name="T3" fmla="*/ 0 h 10000"/>
              <a:gd name="T4" fmla="*/ 0 w 10068"/>
              <a:gd name="T5" fmla="*/ 0 h 10000"/>
              <a:gd name="T6" fmla="*/ 0 w 10068"/>
              <a:gd name="T7" fmla="*/ 0 h 10000"/>
              <a:gd name="T8" fmla="*/ 0 w 10068"/>
              <a:gd name="T9" fmla="*/ 0 h 10000"/>
              <a:gd name="T10" fmla="*/ 0 w 10068"/>
              <a:gd name="T11" fmla="*/ 0 h 10000"/>
              <a:gd name="T12" fmla="*/ 0 w 10068"/>
              <a:gd name="T13" fmla="*/ 0 h 10000"/>
              <a:gd name="T14" fmla="*/ 0 w 10068"/>
              <a:gd name="T15" fmla="*/ 0 h 10000"/>
              <a:gd name="T16" fmla="*/ 0 w 10068"/>
              <a:gd name="T17" fmla="*/ 0 h 10000"/>
              <a:gd name="T18" fmla="*/ 0 w 10068"/>
              <a:gd name="T19" fmla="*/ 0 h 10000"/>
              <a:gd name="T20" fmla="*/ 0 w 10068"/>
              <a:gd name="T21" fmla="*/ 0 h 10000"/>
              <a:gd name="T22" fmla="*/ 0 w 10068"/>
              <a:gd name="T23" fmla="*/ 0 h 10000"/>
              <a:gd name="T24" fmla="*/ 0 w 10068"/>
              <a:gd name="T25" fmla="*/ 0 h 10000"/>
              <a:gd name="T26" fmla="*/ 0 w 10068"/>
              <a:gd name="T27" fmla="*/ 0 h 10000"/>
              <a:gd name="T28" fmla="*/ 0 w 10068"/>
              <a:gd name="T29" fmla="*/ 0 h 10000"/>
              <a:gd name="T30" fmla="*/ 0 w 10068"/>
              <a:gd name="T31" fmla="*/ 0 h 10000"/>
              <a:gd name="T32" fmla="*/ 0 w 10068"/>
              <a:gd name="T33" fmla="*/ 0 h 10000"/>
              <a:gd name="T34" fmla="*/ 0 w 10068"/>
              <a:gd name="T35" fmla="*/ 0 h 10000"/>
              <a:gd name="T36" fmla="*/ 0 w 10068"/>
              <a:gd name="T37" fmla="*/ 0 h 10000"/>
              <a:gd name="T38" fmla="*/ 0 w 10068"/>
              <a:gd name="T39" fmla="*/ 0 h 10000"/>
              <a:gd name="T40" fmla="*/ 0 w 10068"/>
              <a:gd name="T41" fmla="*/ 0 h 10000"/>
              <a:gd name="T42" fmla="*/ 0 w 10068"/>
              <a:gd name="T43" fmla="*/ 0 h 10000"/>
              <a:gd name="T44" fmla="*/ 0 w 10068"/>
              <a:gd name="T45" fmla="*/ 0 h 10000"/>
              <a:gd name="T46" fmla="*/ 0 w 10068"/>
              <a:gd name="T47" fmla="*/ 0 h 10000"/>
              <a:gd name="T48" fmla="*/ 0 w 10068"/>
              <a:gd name="T49" fmla="*/ 0 h 10000"/>
              <a:gd name="T50" fmla="*/ 0 w 10068"/>
              <a:gd name="T51" fmla="*/ 0 h 10000"/>
              <a:gd name="T52" fmla="*/ 0 w 10068"/>
              <a:gd name="T53" fmla="*/ 0 h 10000"/>
              <a:gd name="T54" fmla="*/ 0 w 10068"/>
              <a:gd name="T55" fmla="*/ 0 h 10000"/>
              <a:gd name="T56" fmla="*/ 0 w 10068"/>
              <a:gd name="T57" fmla="*/ 0 h 10000"/>
              <a:gd name="T58" fmla="*/ 0 w 10068"/>
              <a:gd name="T59" fmla="*/ 0 h 10000"/>
              <a:gd name="T60" fmla="*/ 0 w 10068"/>
              <a:gd name="T61" fmla="*/ 0 h 10000"/>
              <a:gd name="T62" fmla="*/ 0 w 10068"/>
              <a:gd name="T63" fmla="*/ 0 h 10000"/>
              <a:gd name="T64" fmla="*/ 0 w 10068"/>
              <a:gd name="T65" fmla="*/ 0 h 10000"/>
              <a:gd name="T66" fmla="*/ 0 w 10068"/>
              <a:gd name="T67" fmla="*/ 0 h 10000"/>
              <a:gd name="T68" fmla="*/ 0 w 10068"/>
              <a:gd name="T69" fmla="*/ 0 h 10000"/>
              <a:gd name="T70" fmla="*/ 0 w 10068"/>
              <a:gd name="T71" fmla="*/ 0 h 10000"/>
              <a:gd name="T72" fmla="*/ 0 w 10068"/>
              <a:gd name="T73" fmla="*/ 0 h 10000"/>
              <a:gd name="T74" fmla="*/ 0 w 10068"/>
              <a:gd name="T75" fmla="*/ 0 h 10000"/>
              <a:gd name="T76" fmla="*/ 0 w 10068"/>
              <a:gd name="T77" fmla="*/ 0 h 10000"/>
              <a:gd name="T78" fmla="*/ 0 w 10068"/>
              <a:gd name="T79" fmla="*/ 0 h 10000"/>
              <a:gd name="T80" fmla="*/ 0 w 10068"/>
              <a:gd name="T81" fmla="*/ 0 h 10000"/>
              <a:gd name="T82" fmla="*/ 0 w 10068"/>
              <a:gd name="T83" fmla="*/ 0 h 10000"/>
              <a:gd name="T84" fmla="*/ 0 w 10068"/>
              <a:gd name="T85" fmla="*/ 0 h 10000"/>
              <a:gd name="T86" fmla="*/ 0 w 10068"/>
              <a:gd name="T87" fmla="*/ 0 h 10000"/>
              <a:gd name="T88" fmla="*/ 0 w 10068"/>
              <a:gd name="T89" fmla="*/ 0 h 10000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w 10068"/>
              <a:gd name="T136" fmla="*/ 0 h 10000"/>
              <a:gd name="T137" fmla="*/ 10068 w 10068"/>
              <a:gd name="T138" fmla="*/ 10000 h 10000"/>
            </a:gdLst>
            <a:ahLst/>
            <a:cxnLst>
              <a:cxn ang="T90">
                <a:pos x="T0" y="T1"/>
              </a:cxn>
              <a:cxn ang="T91">
                <a:pos x="T2" y="T3"/>
              </a:cxn>
              <a:cxn ang="T92">
                <a:pos x="T4" y="T5"/>
              </a:cxn>
              <a:cxn ang="T93">
                <a:pos x="T6" y="T7"/>
              </a:cxn>
              <a:cxn ang="T94">
                <a:pos x="T8" y="T9"/>
              </a:cxn>
              <a:cxn ang="T95">
                <a:pos x="T10" y="T11"/>
              </a:cxn>
              <a:cxn ang="T96">
                <a:pos x="T12" y="T13"/>
              </a:cxn>
              <a:cxn ang="T97">
                <a:pos x="T14" y="T15"/>
              </a:cxn>
              <a:cxn ang="T98">
                <a:pos x="T16" y="T17"/>
              </a:cxn>
              <a:cxn ang="T99">
                <a:pos x="T18" y="T19"/>
              </a:cxn>
              <a:cxn ang="T100">
                <a:pos x="T20" y="T21"/>
              </a:cxn>
              <a:cxn ang="T101">
                <a:pos x="T22" y="T23"/>
              </a:cxn>
              <a:cxn ang="T102">
                <a:pos x="T24" y="T25"/>
              </a:cxn>
              <a:cxn ang="T103">
                <a:pos x="T26" y="T27"/>
              </a:cxn>
              <a:cxn ang="T104">
                <a:pos x="T28" y="T29"/>
              </a:cxn>
              <a:cxn ang="T105">
                <a:pos x="T30" y="T31"/>
              </a:cxn>
              <a:cxn ang="T106">
                <a:pos x="T32" y="T33"/>
              </a:cxn>
              <a:cxn ang="T107">
                <a:pos x="T34" y="T35"/>
              </a:cxn>
              <a:cxn ang="T108">
                <a:pos x="T36" y="T37"/>
              </a:cxn>
              <a:cxn ang="T109">
                <a:pos x="T38" y="T39"/>
              </a:cxn>
              <a:cxn ang="T110">
                <a:pos x="T40" y="T41"/>
              </a:cxn>
              <a:cxn ang="T111">
                <a:pos x="T42" y="T43"/>
              </a:cxn>
              <a:cxn ang="T112">
                <a:pos x="T44" y="T45"/>
              </a:cxn>
              <a:cxn ang="T113">
                <a:pos x="T46" y="T47"/>
              </a:cxn>
              <a:cxn ang="T114">
                <a:pos x="T48" y="T49"/>
              </a:cxn>
              <a:cxn ang="T115">
                <a:pos x="T50" y="T51"/>
              </a:cxn>
              <a:cxn ang="T116">
                <a:pos x="T52" y="T53"/>
              </a:cxn>
              <a:cxn ang="T117">
                <a:pos x="T54" y="T55"/>
              </a:cxn>
              <a:cxn ang="T118">
                <a:pos x="T56" y="T57"/>
              </a:cxn>
              <a:cxn ang="T119">
                <a:pos x="T58" y="T59"/>
              </a:cxn>
              <a:cxn ang="T120">
                <a:pos x="T60" y="T61"/>
              </a:cxn>
              <a:cxn ang="T121">
                <a:pos x="T62" y="T63"/>
              </a:cxn>
              <a:cxn ang="T122">
                <a:pos x="T64" y="T65"/>
              </a:cxn>
              <a:cxn ang="T123">
                <a:pos x="T66" y="T67"/>
              </a:cxn>
              <a:cxn ang="T124">
                <a:pos x="T68" y="T69"/>
              </a:cxn>
              <a:cxn ang="T125">
                <a:pos x="T70" y="T71"/>
              </a:cxn>
              <a:cxn ang="T126">
                <a:pos x="T72" y="T73"/>
              </a:cxn>
              <a:cxn ang="T127">
                <a:pos x="T74" y="T75"/>
              </a:cxn>
              <a:cxn ang="T128">
                <a:pos x="T76" y="T77"/>
              </a:cxn>
              <a:cxn ang="T129">
                <a:pos x="T78" y="T79"/>
              </a:cxn>
              <a:cxn ang="T130">
                <a:pos x="T80" y="T81"/>
              </a:cxn>
              <a:cxn ang="T131">
                <a:pos x="T82" y="T83"/>
              </a:cxn>
              <a:cxn ang="T132">
                <a:pos x="T84" y="T85"/>
              </a:cxn>
              <a:cxn ang="T133">
                <a:pos x="T86" y="T87"/>
              </a:cxn>
              <a:cxn ang="T134">
                <a:pos x="T88" y="T89"/>
              </a:cxn>
            </a:cxnLst>
            <a:rect l="T135" t="T136" r="T137" b="T138"/>
            <a:pathLst>
              <a:path w="10068" h="10000">
                <a:moveTo>
                  <a:pt x="0" y="10000"/>
                </a:moveTo>
                <a:lnTo>
                  <a:pt x="876" y="9713"/>
                </a:lnTo>
                <a:lnTo>
                  <a:pt x="1475" y="9427"/>
                </a:lnTo>
                <a:lnTo>
                  <a:pt x="1924" y="9284"/>
                </a:lnTo>
                <a:lnTo>
                  <a:pt x="1775" y="8940"/>
                </a:lnTo>
                <a:cubicBezTo>
                  <a:pt x="1755" y="8797"/>
                  <a:pt x="1735" y="8653"/>
                  <a:pt x="1715" y="8510"/>
                </a:cubicBezTo>
                <a:cubicBezTo>
                  <a:pt x="1755" y="8357"/>
                  <a:pt x="1794" y="8205"/>
                  <a:pt x="1834" y="8052"/>
                </a:cubicBezTo>
                <a:lnTo>
                  <a:pt x="2134" y="7622"/>
                </a:lnTo>
                <a:lnTo>
                  <a:pt x="2972" y="7450"/>
                </a:lnTo>
                <a:lnTo>
                  <a:pt x="3840" y="7020"/>
                </a:lnTo>
                <a:lnTo>
                  <a:pt x="4529" y="6734"/>
                </a:lnTo>
                <a:lnTo>
                  <a:pt x="5128" y="6160"/>
                </a:lnTo>
                <a:lnTo>
                  <a:pt x="5727" y="5931"/>
                </a:lnTo>
                <a:lnTo>
                  <a:pt x="6026" y="5845"/>
                </a:lnTo>
                <a:lnTo>
                  <a:pt x="6236" y="5415"/>
                </a:lnTo>
                <a:lnTo>
                  <a:pt x="6775" y="5158"/>
                </a:lnTo>
                <a:lnTo>
                  <a:pt x="7104" y="4957"/>
                </a:lnTo>
                <a:lnTo>
                  <a:pt x="7314" y="4842"/>
                </a:lnTo>
                <a:lnTo>
                  <a:pt x="7583" y="4585"/>
                </a:lnTo>
                <a:lnTo>
                  <a:pt x="7852" y="4470"/>
                </a:lnTo>
                <a:cubicBezTo>
                  <a:pt x="7882" y="4355"/>
                  <a:pt x="7912" y="4241"/>
                  <a:pt x="7942" y="4126"/>
                </a:cubicBezTo>
                <a:lnTo>
                  <a:pt x="7703" y="3983"/>
                </a:lnTo>
                <a:lnTo>
                  <a:pt x="7403" y="3840"/>
                </a:lnTo>
                <a:lnTo>
                  <a:pt x="7074" y="3438"/>
                </a:lnTo>
                <a:lnTo>
                  <a:pt x="6625" y="3123"/>
                </a:lnTo>
                <a:lnTo>
                  <a:pt x="5996" y="2665"/>
                </a:lnTo>
                <a:lnTo>
                  <a:pt x="5547" y="2521"/>
                </a:lnTo>
                <a:lnTo>
                  <a:pt x="4888" y="2292"/>
                </a:lnTo>
                <a:lnTo>
                  <a:pt x="4349" y="1977"/>
                </a:lnTo>
                <a:lnTo>
                  <a:pt x="4050" y="1576"/>
                </a:lnTo>
                <a:lnTo>
                  <a:pt x="3870" y="1203"/>
                </a:lnTo>
                <a:cubicBezTo>
                  <a:pt x="3900" y="1041"/>
                  <a:pt x="3930" y="878"/>
                  <a:pt x="3960" y="716"/>
                </a:cubicBezTo>
                <a:lnTo>
                  <a:pt x="4260" y="487"/>
                </a:lnTo>
                <a:lnTo>
                  <a:pt x="4799" y="201"/>
                </a:lnTo>
                <a:lnTo>
                  <a:pt x="5577" y="0"/>
                </a:lnTo>
                <a:lnTo>
                  <a:pt x="6026" y="172"/>
                </a:lnTo>
                <a:lnTo>
                  <a:pt x="6685" y="487"/>
                </a:lnTo>
                <a:lnTo>
                  <a:pt x="7433" y="831"/>
                </a:lnTo>
                <a:lnTo>
                  <a:pt x="8032" y="1289"/>
                </a:lnTo>
                <a:cubicBezTo>
                  <a:pt x="8062" y="1394"/>
                  <a:pt x="8092" y="1500"/>
                  <a:pt x="8122" y="1605"/>
                </a:cubicBezTo>
                <a:cubicBezTo>
                  <a:pt x="8192" y="1815"/>
                  <a:pt x="8261" y="2025"/>
                  <a:pt x="8331" y="2235"/>
                </a:cubicBezTo>
                <a:lnTo>
                  <a:pt x="8811" y="2808"/>
                </a:lnTo>
                <a:lnTo>
                  <a:pt x="9140" y="3381"/>
                </a:lnTo>
                <a:lnTo>
                  <a:pt x="9649" y="3668"/>
                </a:lnTo>
                <a:lnTo>
                  <a:pt x="10068" y="3668"/>
                </a:lnTo>
              </a:path>
            </a:pathLst>
          </a:custGeom>
          <a:noFill/>
          <a:ln w="3175" cap="flat" cmpd="sng">
            <a:solidFill>
              <a:srgbClr val="D9EAF7"/>
            </a:solidFill>
            <a:prstDash val="solid"/>
            <a:round/>
            <a:headEnd type="none" w="med" len="med"/>
            <a:tailEnd type="none" w="med" len="med"/>
          </a:ln>
        </p:spPr>
        <p:txBody>
          <a:bodyPr wrap="none" lIns="32632" tIns="32632" rIns="32632" bIns="32632" anchor="ctr"/>
          <a:lstStyle/>
          <a:p>
            <a:pPr defTabSz="891045"/>
            <a:endParaRPr lang="en-US" sz="1700" dirty="0">
              <a:solidFill>
                <a:srgbClr val="003149"/>
              </a:solidFill>
              <a:cs typeface="Arial" panose="020B0604020202020204" pitchFamily="34" charset="0"/>
            </a:endParaRPr>
          </a:p>
        </p:txBody>
      </p:sp>
      <p:sp>
        <p:nvSpPr>
          <p:cNvPr id="218" name="Freeform 810"/>
          <p:cNvSpPr>
            <a:spLocks noChangeAspect="1"/>
          </p:cNvSpPr>
          <p:nvPr>
            <p:custDataLst>
              <p:tags r:id="rId118"/>
            </p:custDataLst>
          </p:nvPr>
        </p:nvSpPr>
        <p:spPr bwMode="gray">
          <a:xfrm>
            <a:off x="6150403" y="4077511"/>
            <a:ext cx="24169" cy="48785"/>
          </a:xfrm>
          <a:custGeom>
            <a:avLst/>
            <a:gdLst>
              <a:gd name="T0" fmla="*/ 0 w 6357"/>
              <a:gd name="T1" fmla="*/ 0 h 12119"/>
              <a:gd name="T2" fmla="*/ 0 w 6357"/>
              <a:gd name="T3" fmla="*/ 0 h 12119"/>
              <a:gd name="T4" fmla="*/ 0 w 6357"/>
              <a:gd name="T5" fmla="*/ 0 h 12119"/>
              <a:gd name="T6" fmla="*/ 0 w 6357"/>
              <a:gd name="T7" fmla="*/ 0 h 12119"/>
              <a:gd name="T8" fmla="*/ 0 w 6357"/>
              <a:gd name="T9" fmla="*/ 0 h 12119"/>
              <a:gd name="T10" fmla="*/ 0 w 6357"/>
              <a:gd name="T11" fmla="*/ 0 h 12119"/>
              <a:gd name="T12" fmla="*/ 0 w 6357"/>
              <a:gd name="T13" fmla="*/ 0 h 12119"/>
              <a:gd name="T14" fmla="*/ 0 w 6357"/>
              <a:gd name="T15" fmla="*/ 0 h 12119"/>
              <a:gd name="T16" fmla="*/ 0 w 6357"/>
              <a:gd name="T17" fmla="*/ 0 h 12119"/>
              <a:gd name="T18" fmla="*/ 0 w 6357"/>
              <a:gd name="T19" fmla="*/ 0 h 12119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w 6357"/>
              <a:gd name="T31" fmla="*/ 0 h 12119"/>
              <a:gd name="T32" fmla="*/ 6357 w 6357"/>
              <a:gd name="T33" fmla="*/ 12119 h 12119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T30" t="T31" r="T32" b="T33"/>
            <a:pathLst>
              <a:path w="6357" h="12119">
                <a:moveTo>
                  <a:pt x="0" y="12119"/>
                </a:moveTo>
                <a:lnTo>
                  <a:pt x="642" y="10000"/>
                </a:lnTo>
                <a:lnTo>
                  <a:pt x="2785" y="8769"/>
                </a:lnTo>
                <a:lnTo>
                  <a:pt x="3643" y="7230"/>
                </a:lnTo>
                <a:cubicBezTo>
                  <a:pt x="3690" y="6820"/>
                  <a:pt x="3738" y="6410"/>
                  <a:pt x="3786" y="6000"/>
                </a:cubicBezTo>
                <a:lnTo>
                  <a:pt x="6071" y="4461"/>
                </a:lnTo>
                <a:cubicBezTo>
                  <a:pt x="6119" y="3949"/>
                  <a:pt x="6166" y="3436"/>
                  <a:pt x="6214" y="2923"/>
                </a:cubicBezTo>
                <a:lnTo>
                  <a:pt x="5929" y="1692"/>
                </a:lnTo>
                <a:lnTo>
                  <a:pt x="4928" y="1539"/>
                </a:lnTo>
                <a:lnTo>
                  <a:pt x="6357" y="0"/>
                </a:lnTo>
              </a:path>
            </a:pathLst>
          </a:custGeom>
          <a:noFill/>
          <a:ln w="3175" cap="flat" cmpd="sng">
            <a:solidFill>
              <a:srgbClr val="D9EAF7"/>
            </a:solidFill>
            <a:prstDash val="solid"/>
            <a:round/>
            <a:headEnd type="none" w="med" len="med"/>
            <a:tailEnd type="none" w="med" len="med"/>
          </a:ln>
        </p:spPr>
        <p:txBody>
          <a:bodyPr wrap="none" lIns="32632" tIns="32632" rIns="32632" bIns="32632" anchor="ctr"/>
          <a:lstStyle/>
          <a:p>
            <a:pPr defTabSz="891045"/>
            <a:endParaRPr lang="en-US" sz="1700" dirty="0">
              <a:solidFill>
                <a:srgbClr val="003149"/>
              </a:solidFill>
              <a:cs typeface="Arial" panose="020B0604020202020204" pitchFamily="34" charset="0"/>
            </a:endParaRPr>
          </a:p>
        </p:txBody>
      </p:sp>
      <p:sp>
        <p:nvSpPr>
          <p:cNvPr id="219" name="Freeform 742"/>
          <p:cNvSpPr>
            <a:spLocks noChangeAspect="1"/>
          </p:cNvSpPr>
          <p:nvPr>
            <p:custDataLst>
              <p:tags r:id="rId119"/>
            </p:custDataLst>
          </p:nvPr>
        </p:nvSpPr>
        <p:spPr bwMode="gray">
          <a:xfrm>
            <a:off x="5368482" y="4187980"/>
            <a:ext cx="146433" cy="96134"/>
          </a:xfrm>
          <a:custGeom>
            <a:avLst/>
            <a:gdLst>
              <a:gd name="T0" fmla="*/ 364399792 w 607"/>
              <a:gd name="T1" fmla="*/ 426947531 h 337"/>
              <a:gd name="T2" fmla="*/ 364399792 w 607"/>
              <a:gd name="T3" fmla="*/ 426947531 h 337"/>
              <a:gd name="T4" fmla="*/ 364399792 w 607"/>
              <a:gd name="T5" fmla="*/ 426947531 h 337"/>
              <a:gd name="T6" fmla="*/ 364399792 w 607"/>
              <a:gd name="T7" fmla="*/ 426947531 h 337"/>
              <a:gd name="T8" fmla="*/ 364399792 w 607"/>
              <a:gd name="T9" fmla="*/ 426947531 h 337"/>
              <a:gd name="T10" fmla="*/ 364399792 w 607"/>
              <a:gd name="T11" fmla="*/ 426947531 h 337"/>
              <a:gd name="T12" fmla="*/ 364399792 w 607"/>
              <a:gd name="T13" fmla="*/ 426947531 h 337"/>
              <a:gd name="T14" fmla="*/ 364399792 w 607"/>
              <a:gd name="T15" fmla="*/ 0 h 337"/>
              <a:gd name="T16" fmla="*/ 364399792 w 607"/>
              <a:gd name="T17" fmla="*/ 0 h 337"/>
              <a:gd name="T18" fmla="*/ 364399792 w 607"/>
              <a:gd name="T19" fmla="*/ 426947531 h 337"/>
              <a:gd name="T20" fmla="*/ 364399792 w 607"/>
              <a:gd name="T21" fmla="*/ 426947531 h 337"/>
              <a:gd name="T22" fmla="*/ 364399792 w 607"/>
              <a:gd name="T23" fmla="*/ 426947531 h 337"/>
              <a:gd name="T24" fmla="*/ 364399792 w 607"/>
              <a:gd name="T25" fmla="*/ 426947531 h 337"/>
              <a:gd name="T26" fmla="*/ 364399792 w 607"/>
              <a:gd name="T27" fmla="*/ 426947531 h 337"/>
              <a:gd name="T28" fmla="*/ 364399792 w 607"/>
              <a:gd name="T29" fmla="*/ 426947531 h 337"/>
              <a:gd name="T30" fmla="*/ 364399792 w 607"/>
              <a:gd name="T31" fmla="*/ 426947531 h 337"/>
              <a:gd name="T32" fmla="*/ 364399792 w 607"/>
              <a:gd name="T33" fmla="*/ 426947531 h 337"/>
              <a:gd name="T34" fmla="*/ 364399792 w 607"/>
              <a:gd name="T35" fmla="*/ 426947531 h 337"/>
              <a:gd name="T36" fmla="*/ 364399792 w 607"/>
              <a:gd name="T37" fmla="*/ 426947531 h 337"/>
              <a:gd name="T38" fmla="*/ 364399792 w 607"/>
              <a:gd name="T39" fmla="*/ 426947531 h 337"/>
              <a:gd name="T40" fmla="*/ 0 w 607"/>
              <a:gd name="T41" fmla="*/ 426947531 h 337"/>
              <a:gd name="T42" fmla="*/ 364399792 w 607"/>
              <a:gd name="T43" fmla="*/ 426947531 h 337"/>
              <a:gd name="T44" fmla="*/ 364399792 w 607"/>
              <a:gd name="T45" fmla="*/ 426947531 h 337"/>
              <a:gd name="T46" fmla="*/ 364399792 w 607"/>
              <a:gd name="T47" fmla="*/ 426947531 h 337"/>
              <a:gd name="T48" fmla="*/ 364399792 w 607"/>
              <a:gd name="T49" fmla="*/ 426947531 h 337"/>
              <a:gd name="T50" fmla="*/ 364399792 w 607"/>
              <a:gd name="T51" fmla="*/ 426947531 h 337"/>
              <a:gd name="T52" fmla="*/ 364399792 w 607"/>
              <a:gd name="T53" fmla="*/ 426947531 h 337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w 607"/>
              <a:gd name="T82" fmla="*/ 0 h 337"/>
              <a:gd name="T83" fmla="*/ 607 w 607"/>
              <a:gd name="T84" fmla="*/ 337 h 337"/>
            </a:gdLst>
            <a:ahLst/>
            <a:cxnLst>
              <a:cxn ang="T54">
                <a:pos x="T0" y="T1"/>
              </a:cxn>
              <a:cxn ang="T55">
                <a:pos x="T2" y="T3"/>
              </a:cxn>
              <a:cxn ang="T56">
                <a:pos x="T4" y="T5"/>
              </a:cxn>
              <a:cxn ang="T57">
                <a:pos x="T6" y="T7"/>
              </a:cxn>
              <a:cxn ang="T58">
                <a:pos x="T8" y="T9"/>
              </a:cxn>
              <a:cxn ang="T59">
                <a:pos x="T10" y="T11"/>
              </a:cxn>
              <a:cxn ang="T60">
                <a:pos x="T12" y="T13"/>
              </a:cxn>
              <a:cxn ang="T61">
                <a:pos x="T14" y="T15"/>
              </a:cxn>
              <a:cxn ang="T62">
                <a:pos x="T16" y="T17"/>
              </a:cxn>
              <a:cxn ang="T63">
                <a:pos x="T18" y="T19"/>
              </a:cxn>
              <a:cxn ang="T64">
                <a:pos x="T20" y="T21"/>
              </a:cxn>
              <a:cxn ang="T65">
                <a:pos x="T22" y="T23"/>
              </a:cxn>
              <a:cxn ang="T66">
                <a:pos x="T24" y="T25"/>
              </a:cxn>
              <a:cxn ang="T67">
                <a:pos x="T26" y="T27"/>
              </a:cxn>
              <a:cxn ang="T68">
                <a:pos x="T28" y="T29"/>
              </a:cxn>
              <a:cxn ang="T69">
                <a:pos x="T30" y="T31"/>
              </a:cxn>
              <a:cxn ang="T70">
                <a:pos x="T32" y="T33"/>
              </a:cxn>
              <a:cxn ang="T71">
                <a:pos x="T34" y="T35"/>
              </a:cxn>
              <a:cxn ang="T72">
                <a:pos x="T36" y="T37"/>
              </a:cxn>
              <a:cxn ang="T73">
                <a:pos x="T38" y="T39"/>
              </a:cxn>
              <a:cxn ang="T74">
                <a:pos x="T40" y="T41"/>
              </a:cxn>
              <a:cxn ang="T75">
                <a:pos x="T42" y="T43"/>
              </a:cxn>
              <a:cxn ang="T76">
                <a:pos x="T44" y="T45"/>
              </a:cxn>
              <a:cxn ang="T77">
                <a:pos x="T46" y="T47"/>
              </a:cxn>
              <a:cxn ang="T78">
                <a:pos x="T48" y="T49"/>
              </a:cxn>
              <a:cxn ang="T79">
                <a:pos x="T50" y="T51"/>
              </a:cxn>
              <a:cxn ang="T80">
                <a:pos x="T52" y="T53"/>
              </a:cxn>
            </a:cxnLst>
            <a:rect l="T81" t="T82" r="T83" b="T84"/>
            <a:pathLst>
              <a:path w="607" h="337">
                <a:moveTo>
                  <a:pt x="372" y="272"/>
                </a:moveTo>
                <a:lnTo>
                  <a:pt x="497" y="248"/>
                </a:lnTo>
                <a:lnTo>
                  <a:pt x="591" y="214"/>
                </a:lnTo>
                <a:lnTo>
                  <a:pt x="607" y="157"/>
                </a:lnTo>
                <a:lnTo>
                  <a:pt x="573" y="94"/>
                </a:lnTo>
                <a:lnTo>
                  <a:pt x="552" y="58"/>
                </a:lnTo>
                <a:lnTo>
                  <a:pt x="516" y="16"/>
                </a:lnTo>
                <a:lnTo>
                  <a:pt x="453" y="0"/>
                </a:lnTo>
                <a:lnTo>
                  <a:pt x="385" y="0"/>
                </a:lnTo>
                <a:lnTo>
                  <a:pt x="344" y="19"/>
                </a:lnTo>
                <a:lnTo>
                  <a:pt x="341" y="68"/>
                </a:lnTo>
                <a:lnTo>
                  <a:pt x="320" y="94"/>
                </a:lnTo>
                <a:lnTo>
                  <a:pt x="289" y="107"/>
                </a:lnTo>
                <a:lnTo>
                  <a:pt x="252" y="110"/>
                </a:lnTo>
                <a:lnTo>
                  <a:pt x="226" y="146"/>
                </a:lnTo>
                <a:lnTo>
                  <a:pt x="166" y="170"/>
                </a:lnTo>
                <a:lnTo>
                  <a:pt x="130" y="170"/>
                </a:lnTo>
                <a:lnTo>
                  <a:pt x="104" y="193"/>
                </a:lnTo>
                <a:lnTo>
                  <a:pt x="57" y="214"/>
                </a:lnTo>
                <a:lnTo>
                  <a:pt x="7" y="227"/>
                </a:lnTo>
                <a:lnTo>
                  <a:pt x="0" y="282"/>
                </a:lnTo>
                <a:lnTo>
                  <a:pt x="54" y="331"/>
                </a:lnTo>
                <a:lnTo>
                  <a:pt x="122" y="337"/>
                </a:lnTo>
                <a:lnTo>
                  <a:pt x="195" y="316"/>
                </a:lnTo>
                <a:lnTo>
                  <a:pt x="247" y="305"/>
                </a:lnTo>
                <a:lnTo>
                  <a:pt x="307" y="285"/>
                </a:lnTo>
                <a:lnTo>
                  <a:pt x="372" y="272"/>
                </a:lnTo>
                <a:close/>
              </a:path>
            </a:pathLst>
          </a:custGeom>
          <a:noFill/>
          <a:ln w="3175" cap="flat" cmpd="sng">
            <a:solidFill>
              <a:srgbClr val="D9EAF7"/>
            </a:solidFill>
            <a:prstDash val="solid"/>
            <a:round/>
            <a:headEnd type="none" w="med" len="med"/>
            <a:tailEnd type="none" w="med" len="med"/>
          </a:ln>
        </p:spPr>
        <p:txBody>
          <a:bodyPr wrap="none" lIns="32632" tIns="32632" rIns="32632" bIns="32632" anchor="ctr"/>
          <a:lstStyle/>
          <a:p>
            <a:pPr defTabSz="891045"/>
            <a:endParaRPr lang="en-US" sz="1700" dirty="0">
              <a:solidFill>
                <a:srgbClr val="003149"/>
              </a:solidFill>
              <a:cs typeface="Arial" panose="020B0604020202020204" pitchFamily="34" charset="0"/>
            </a:endParaRPr>
          </a:p>
        </p:txBody>
      </p:sp>
      <p:sp>
        <p:nvSpPr>
          <p:cNvPr id="220" name="Freeform 743"/>
          <p:cNvSpPr>
            <a:spLocks noChangeAspect="1"/>
          </p:cNvSpPr>
          <p:nvPr>
            <p:custDataLst>
              <p:tags r:id="rId120"/>
            </p:custDataLst>
          </p:nvPr>
        </p:nvSpPr>
        <p:spPr bwMode="gray">
          <a:xfrm>
            <a:off x="5163737" y="3813486"/>
            <a:ext cx="329828" cy="532324"/>
          </a:xfrm>
          <a:custGeom>
            <a:avLst/>
            <a:gdLst>
              <a:gd name="T0" fmla="*/ 368230530 w 1353"/>
              <a:gd name="T1" fmla="*/ 0 h 1944"/>
              <a:gd name="T2" fmla="*/ 368230530 w 1353"/>
              <a:gd name="T3" fmla="*/ 409833356 h 1944"/>
              <a:gd name="T4" fmla="*/ 368230530 w 1353"/>
              <a:gd name="T5" fmla="*/ 409833356 h 1944"/>
              <a:gd name="T6" fmla="*/ 368230530 w 1353"/>
              <a:gd name="T7" fmla="*/ 409833356 h 1944"/>
              <a:gd name="T8" fmla="*/ 368230530 w 1353"/>
              <a:gd name="T9" fmla="*/ 409833356 h 1944"/>
              <a:gd name="T10" fmla="*/ 368230530 w 1353"/>
              <a:gd name="T11" fmla="*/ 409833356 h 1944"/>
              <a:gd name="T12" fmla="*/ 368230530 w 1353"/>
              <a:gd name="T13" fmla="*/ 409833356 h 1944"/>
              <a:gd name="T14" fmla="*/ 368230530 w 1353"/>
              <a:gd name="T15" fmla="*/ 409833356 h 1944"/>
              <a:gd name="T16" fmla="*/ 368230530 w 1353"/>
              <a:gd name="T17" fmla="*/ 409833356 h 1944"/>
              <a:gd name="T18" fmla="*/ 368230530 w 1353"/>
              <a:gd name="T19" fmla="*/ 409833356 h 1944"/>
              <a:gd name="T20" fmla="*/ 368230530 w 1353"/>
              <a:gd name="T21" fmla="*/ 409833356 h 1944"/>
              <a:gd name="T22" fmla="*/ 368230530 w 1353"/>
              <a:gd name="T23" fmla="*/ 409833356 h 1944"/>
              <a:gd name="T24" fmla="*/ 368230530 w 1353"/>
              <a:gd name="T25" fmla="*/ 409833356 h 1944"/>
              <a:gd name="T26" fmla="*/ 368230530 w 1353"/>
              <a:gd name="T27" fmla="*/ 409833356 h 1944"/>
              <a:gd name="T28" fmla="*/ 368230530 w 1353"/>
              <a:gd name="T29" fmla="*/ 409833356 h 1944"/>
              <a:gd name="T30" fmla="*/ 368230530 w 1353"/>
              <a:gd name="T31" fmla="*/ 409833356 h 1944"/>
              <a:gd name="T32" fmla="*/ 368230530 w 1353"/>
              <a:gd name="T33" fmla="*/ 409833356 h 1944"/>
              <a:gd name="T34" fmla="*/ 368230530 w 1353"/>
              <a:gd name="T35" fmla="*/ 409833356 h 1944"/>
              <a:gd name="T36" fmla="*/ 368230530 w 1353"/>
              <a:gd name="T37" fmla="*/ 409833356 h 1944"/>
              <a:gd name="T38" fmla="*/ 368230530 w 1353"/>
              <a:gd name="T39" fmla="*/ 409833356 h 1944"/>
              <a:gd name="T40" fmla="*/ 368230530 w 1353"/>
              <a:gd name="T41" fmla="*/ 409833356 h 1944"/>
              <a:gd name="T42" fmla="*/ 368230530 w 1353"/>
              <a:gd name="T43" fmla="*/ 409833356 h 1944"/>
              <a:gd name="T44" fmla="*/ 368230530 w 1353"/>
              <a:gd name="T45" fmla="*/ 409833356 h 1944"/>
              <a:gd name="T46" fmla="*/ 368230530 w 1353"/>
              <a:gd name="T47" fmla="*/ 409833356 h 1944"/>
              <a:gd name="T48" fmla="*/ 368230530 w 1353"/>
              <a:gd name="T49" fmla="*/ 409833356 h 1944"/>
              <a:gd name="T50" fmla="*/ 368230530 w 1353"/>
              <a:gd name="T51" fmla="*/ 409833356 h 1944"/>
              <a:gd name="T52" fmla="*/ 368230530 w 1353"/>
              <a:gd name="T53" fmla="*/ 409833356 h 1944"/>
              <a:gd name="T54" fmla="*/ 368230530 w 1353"/>
              <a:gd name="T55" fmla="*/ 409833356 h 1944"/>
              <a:gd name="T56" fmla="*/ 368230530 w 1353"/>
              <a:gd name="T57" fmla="*/ 409833356 h 1944"/>
              <a:gd name="T58" fmla="*/ 368230530 w 1353"/>
              <a:gd name="T59" fmla="*/ 409833356 h 1944"/>
              <a:gd name="T60" fmla="*/ 368230530 w 1353"/>
              <a:gd name="T61" fmla="*/ 409833356 h 1944"/>
              <a:gd name="T62" fmla="*/ 368230530 w 1353"/>
              <a:gd name="T63" fmla="*/ 409833356 h 1944"/>
              <a:gd name="T64" fmla="*/ 368230530 w 1353"/>
              <a:gd name="T65" fmla="*/ 409833356 h 1944"/>
              <a:gd name="T66" fmla="*/ 368230530 w 1353"/>
              <a:gd name="T67" fmla="*/ 409833356 h 1944"/>
              <a:gd name="T68" fmla="*/ 368230530 w 1353"/>
              <a:gd name="T69" fmla="*/ 409833356 h 1944"/>
              <a:gd name="T70" fmla="*/ 368230530 w 1353"/>
              <a:gd name="T71" fmla="*/ 409833356 h 1944"/>
              <a:gd name="T72" fmla="*/ 368230530 w 1353"/>
              <a:gd name="T73" fmla="*/ 409833356 h 1944"/>
              <a:gd name="T74" fmla="*/ 368230530 w 1353"/>
              <a:gd name="T75" fmla="*/ 409833356 h 1944"/>
              <a:gd name="T76" fmla="*/ 368230530 w 1353"/>
              <a:gd name="T77" fmla="*/ 409833356 h 1944"/>
              <a:gd name="T78" fmla="*/ 368230530 w 1353"/>
              <a:gd name="T79" fmla="*/ 409833356 h 1944"/>
              <a:gd name="T80" fmla="*/ 368230530 w 1353"/>
              <a:gd name="T81" fmla="*/ 409833356 h 1944"/>
              <a:gd name="T82" fmla="*/ 368230530 w 1353"/>
              <a:gd name="T83" fmla="*/ 409833356 h 1944"/>
              <a:gd name="T84" fmla="*/ 368230530 w 1353"/>
              <a:gd name="T85" fmla="*/ 409833356 h 1944"/>
              <a:gd name="T86" fmla="*/ 368230530 w 1353"/>
              <a:gd name="T87" fmla="*/ 409833356 h 1944"/>
              <a:gd name="T88" fmla="*/ 368230530 w 1353"/>
              <a:gd name="T89" fmla="*/ 409833356 h 1944"/>
              <a:gd name="T90" fmla="*/ 368230530 w 1353"/>
              <a:gd name="T91" fmla="*/ 409833356 h 1944"/>
              <a:gd name="T92" fmla="*/ 368230530 w 1353"/>
              <a:gd name="T93" fmla="*/ 409833356 h 1944"/>
              <a:gd name="T94" fmla="*/ 368230530 w 1353"/>
              <a:gd name="T95" fmla="*/ 409833356 h 1944"/>
              <a:gd name="T96" fmla="*/ 368230530 w 1353"/>
              <a:gd name="T97" fmla="*/ 409833356 h 1944"/>
              <a:gd name="T98" fmla="*/ 368230530 w 1353"/>
              <a:gd name="T99" fmla="*/ 409833356 h 1944"/>
              <a:gd name="T100" fmla="*/ 368230530 w 1353"/>
              <a:gd name="T101" fmla="*/ 409833356 h 1944"/>
              <a:gd name="T102" fmla="*/ 368230530 w 1353"/>
              <a:gd name="T103" fmla="*/ 409833356 h 1944"/>
              <a:gd name="T104" fmla="*/ 368230530 w 1353"/>
              <a:gd name="T105" fmla="*/ 409833356 h 1944"/>
              <a:gd name="T106" fmla="*/ 368230530 w 1353"/>
              <a:gd name="T107" fmla="*/ 409833356 h 1944"/>
              <a:gd name="T108" fmla="*/ 368230530 w 1353"/>
              <a:gd name="T109" fmla="*/ 409833356 h 1944"/>
              <a:gd name="T110" fmla="*/ 368230530 w 1353"/>
              <a:gd name="T111" fmla="*/ 409833356 h 1944"/>
              <a:gd name="T112" fmla="*/ 368230530 w 1353"/>
              <a:gd name="T113" fmla="*/ 409833356 h 1944"/>
              <a:gd name="T114" fmla="*/ 368230530 w 1353"/>
              <a:gd name="T115" fmla="*/ 409833356 h 1944"/>
              <a:gd name="T116" fmla="*/ 368230530 w 1353"/>
              <a:gd name="T117" fmla="*/ 409833356 h 1944"/>
              <a:gd name="T118" fmla="*/ 0 w 1353"/>
              <a:gd name="T119" fmla="*/ 409833356 h 1944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w 1353"/>
              <a:gd name="T181" fmla="*/ 0 h 1944"/>
              <a:gd name="T182" fmla="*/ 1353 w 1353"/>
              <a:gd name="T183" fmla="*/ 1944 h 1944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T180" t="T181" r="T182" b="T183"/>
            <a:pathLst>
              <a:path w="1353" h="1944">
                <a:moveTo>
                  <a:pt x="1178" y="0"/>
                </a:moveTo>
                <a:lnTo>
                  <a:pt x="1126" y="3"/>
                </a:lnTo>
                <a:lnTo>
                  <a:pt x="1092" y="10"/>
                </a:lnTo>
                <a:lnTo>
                  <a:pt x="1074" y="44"/>
                </a:lnTo>
                <a:lnTo>
                  <a:pt x="1069" y="76"/>
                </a:lnTo>
                <a:lnTo>
                  <a:pt x="1082" y="120"/>
                </a:lnTo>
                <a:lnTo>
                  <a:pt x="1118" y="146"/>
                </a:lnTo>
                <a:lnTo>
                  <a:pt x="1121" y="211"/>
                </a:lnTo>
                <a:lnTo>
                  <a:pt x="1152" y="250"/>
                </a:lnTo>
                <a:lnTo>
                  <a:pt x="1160" y="328"/>
                </a:lnTo>
                <a:lnTo>
                  <a:pt x="1188" y="373"/>
                </a:lnTo>
                <a:lnTo>
                  <a:pt x="1207" y="433"/>
                </a:lnTo>
                <a:lnTo>
                  <a:pt x="1212" y="487"/>
                </a:lnTo>
                <a:lnTo>
                  <a:pt x="1327" y="539"/>
                </a:lnTo>
                <a:lnTo>
                  <a:pt x="1353" y="586"/>
                </a:lnTo>
                <a:lnTo>
                  <a:pt x="1321" y="615"/>
                </a:lnTo>
                <a:lnTo>
                  <a:pt x="1254" y="625"/>
                </a:lnTo>
                <a:lnTo>
                  <a:pt x="1209" y="644"/>
                </a:lnTo>
                <a:lnTo>
                  <a:pt x="1175" y="659"/>
                </a:lnTo>
                <a:lnTo>
                  <a:pt x="1160" y="685"/>
                </a:lnTo>
                <a:lnTo>
                  <a:pt x="1142" y="719"/>
                </a:lnTo>
                <a:lnTo>
                  <a:pt x="1115" y="758"/>
                </a:lnTo>
                <a:lnTo>
                  <a:pt x="1087" y="787"/>
                </a:lnTo>
                <a:lnTo>
                  <a:pt x="1069" y="821"/>
                </a:lnTo>
                <a:lnTo>
                  <a:pt x="1037" y="837"/>
                </a:lnTo>
                <a:lnTo>
                  <a:pt x="1027" y="889"/>
                </a:lnTo>
                <a:lnTo>
                  <a:pt x="1045" y="930"/>
                </a:lnTo>
                <a:lnTo>
                  <a:pt x="1087" y="962"/>
                </a:lnTo>
                <a:lnTo>
                  <a:pt x="1126" y="985"/>
                </a:lnTo>
                <a:lnTo>
                  <a:pt x="1136" y="1009"/>
                </a:lnTo>
                <a:lnTo>
                  <a:pt x="1087" y="1032"/>
                </a:lnTo>
                <a:lnTo>
                  <a:pt x="1001" y="1092"/>
                </a:lnTo>
                <a:lnTo>
                  <a:pt x="923" y="1105"/>
                </a:lnTo>
                <a:lnTo>
                  <a:pt x="855" y="1128"/>
                </a:lnTo>
                <a:lnTo>
                  <a:pt x="782" y="1157"/>
                </a:lnTo>
                <a:lnTo>
                  <a:pt x="717" y="1207"/>
                </a:lnTo>
                <a:lnTo>
                  <a:pt x="683" y="1287"/>
                </a:lnTo>
                <a:lnTo>
                  <a:pt x="641" y="1298"/>
                </a:lnTo>
                <a:lnTo>
                  <a:pt x="631" y="1345"/>
                </a:lnTo>
                <a:lnTo>
                  <a:pt x="592" y="1371"/>
                </a:lnTo>
                <a:lnTo>
                  <a:pt x="560" y="1426"/>
                </a:lnTo>
                <a:lnTo>
                  <a:pt x="537" y="1467"/>
                </a:lnTo>
                <a:lnTo>
                  <a:pt x="503" y="1491"/>
                </a:lnTo>
                <a:lnTo>
                  <a:pt x="469" y="1506"/>
                </a:lnTo>
                <a:lnTo>
                  <a:pt x="427" y="1527"/>
                </a:lnTo>
                <a:lnTo>
                  <a:pt x="378" y="1532"/>
                </a:lnTo>
                <a:lnTo>
                  <a:pt x="339" y="1545"/>
                </a:lnTo>
                <a:lnTo>
                  <a:pt x="287" y="1579"/>
                </a:lnTo>
                <a:lnTo>
                  <a:pt x="227" y="1611"/>
                </a:lnTo>
                <a:lnTo>
                  <a:pt x="172" y="1621"/>
                </a:lnTo>
                <a:lnTo>
                  <a:pt x="109" y="1616"/>
                </a:lnTo>
                <a:lnTo>
                  <a:pt x="60" y="1632"/>
                </a:lnTo>
                <a:lnTo>
                  <a:pt x="49" y="1676"/>
                </a:lnTo>
                <a:lnTo>
                  <a:pt x="83" y="1725"/>
                </a:lnTo>
                <a:lnTo>
                  <a:pt x="128" y="1757"/>
                </a:lnTo>
                <a:lnTo>
                  <a:pt x="112" y="1777"/>
                </a:lnTo>
                <a:lnTo>
                  <a:pt x="115" y="1827"/>
                </a:lnTo>
                <a:lnTo>
                  <a:pt x="104" y="1869"/>
                </a:lnTo>
                <a:lnTo>
                  <a:pt x="42" y="1897"/>
                </a:lnTo>
                <a:lnTo>
                  <a:pt x="0" y="1944"/>
                </a:lnTo>
              </a:path>
            </a:pathLst>
          </a:custGeom>
          <a:noFill/>
          <a:ln w="3175" cap="flat" cmpd="sng">
            <a:solidFill>
              <a:srgbClr val="D9EAF7"/>
            </a:solidFill>
            <a:prstDash val="solid"/>
            <a:round/>
            <a:headEnd type="none" w="med" len="med"/>
            <a:tailEnd type="none" w="med" len="med"/>
          </a:ln>
        </p:spPr>
        <p:txBody>
          <a:bodyPr wrap="none" lIns="32632" tIns="32632" rIns="32632" bIns="32632" anchor="ctr"/>
          <a:lstStyle/>
          <a:p>
            <a:pPr defTabSz="891045"/>
            <a:endParaRPr lang="en-US" sz="1700" dirty="0">
              <a:solidFill>
                <a:srgbClr val="003149"/>
              </a:solidFill>
              <a:cs typeface="Arial" panose="020B0604020202020204" pitchFamily="34" charset="0"/>
            </a:endParaRPr>
          </a:p>
        </p:txBody>
      </p:sp>
      <p:sp>
        <p:nvSpPr>
          <p:cNvPr id="221" name="Freeform 745"/>
          <p:cNvSpPr>
            <a:spLocks noChangeAspect="1"/>
          </p:cNvSpPr>
          <p:nvPr>
            <p:custDataLst>
              <p:tags r:id="rId121"/>
            </p:custDataLst>
          </p:nvPr>
        </p:nvSpPr>
        <p:spPr bwMode="gray">
          <a:xfrm>
            <a:off x="4812584" y="3791964"/>
            <a:ext cx="639752" cy="484974"/>
          </a:xfrm>
          <a:custGeom>
            <a:avLst/>
            <a:gdLst>
              <a:gd name="T0" fmla="*/ 0 w 10026"/>
              <a:gd name="T1" fmla="*/ 0 h 10000"/>
              <a:gd name="T2" fmla="*/ 0 w 10026"/>
              <a:gd name="T3" fmla="*/ 0 h 10000"/>
              <a:gd name="T4" fmla="*/ 0 w 10026"/>
              <a:gd name="T5" fmla="*/ 0 h 10000"/>
              <a:gd name="T6" fmla="*/ 0 w 10026"/>
              <a:gd name="T7" fmla="*/ 0 h 10000"/>
              <a:gd name="T8" fmla="*/ 0 w 10026"/>
              <a:gd name="T9" fmla="*/ 0 h 10000"/>
              <a:gd name="T10" fmla="*/ 0 w 10026"/>
              <a:gd name="T11" fmla="*/ 0 h 10000"/>
              <a:gd name="T12" fmla="*/ 0 w 10026"/>
              <a:gd name="T13" fmla="*/ 0 h 10000"/>
              <a:gd name="T14" fmla="*/ 0 w 10026"/>
              <a:gd name="T15" fmla="*/ 0 h 10000"/>
              <a:gd name="T16" fmla="*/ 0 w 10026"/>
              <a:gd name="T17" fmla="*/ 0 h 10000"/>
              <a:gd name="T18" fmla="*/ 0 w 10026"/>
              <a:gd name="T19" fmla="*/ 0 h 10000"/>
              <a:gd name="T20" fmla="*/ 0 w 10026"/>
              <a:gd name="T21" fmla="*/ 0 h 10000"/>
              <a:gd name="T22" fmla="*/ 0 w 10026"/>
              <a:gd name="T23" fmla="*/ 0 h 10000"/>
              <a:gd name="T24" fmla="*/ 0 w 10026"/>
              <a:gd name="T25" fmla="*/ 0 h 10000"/>
              <a:gd name="T26" fmla="*/ 0 w 10026"/>
              <a:gd name="T27" fmla="*/ 0 h 10000"/>
              <a:gd name="T28" fmla="*/ 0 w 10026"/>
              <a:gd name="T29" fmla="*/ 0 h 10000"/>
              <a:gd name="T30" fmla="*/ 0 w 10026"/>
              <a:gd name="T31" fmla="*/ 0 h 10000"/>
              <a:gd name="T32" fmla="*/ 0 w 10026"/>
              <a:gd name="T33" fmla="*/ 0 h 10000"/>
              <a:gd name="T34" fmla="*/ 0 w 10026"/>
              <a:gd name="T35" fmla="*/ 0 h 10000"/>
              <a:gd name="T36" fmla="*/ 0 w 10026"/>
              <a:gd name="T37" fmla="*/ 0 h 10000"/>
              <a:gd name="T38" fmla="*/ 0 w 10026"/>
              <a:gd name="T39" fmla="*/ 0 h 10000"/>
              <a:gd name="T40" fmla="*/ 0 w 10026"/>
              <a:gd name="T41" fmla="*/ 0 h 10000"/>
              <a:gd name="T42" fmla="*/ 0 w 10026"/>
              <a:gd name="T43" fmla="*/ 0 h 10000"/>
              <a:gd name="T44" fmla="*/ 0 w 10026"/>
              <a:gd name="T45" fmla="*/ 0 h 10000"/>
              <a:gd name="T46" fmla="*/ 0 w 10026"/>
              <a:gd name="T47" fmla="*/ 0 h 10000"/>
              <a:gd name="T48" fmla="*/ 0 w 10026"/>
              <a:gd name="T49" fmla="*/ 0 h 10000"/>
              <a:gd name="T50" fmla="*/ 0 w 10026"/>
              <a:gd name="T51" fmla="*/ 0 h 10000"/>
              <a:gd name="T52" fmla="*/ 0 w 10026"/>
              <a:gd name="T53" fmla="*/ 0 h 10000"/>
              <a:gd name="T54" fmla="*/ 0 w 10026"/>
              <a:gd name="T55" fmla="*/ 0 h 10000"/>
              <a:gd name="T56" fmla="*/ 0 w 10026"/>
              <a:gd name="T57" fmla="*/ 0 h 10000"/>
              <a:gd name="T58" fmla="*/ 0 w 10026"/>
              <a:gd name="T59" fmla="*/ 0 h 10000"/>
              <a:gd name="T60" fmla="*/ 0 w 10026"/>
              <a:gd name="T61" fmla="*/ 0 h 10000"/>
              <a:gd name="T62" fmla="*/ 0 w 10026"/>
              <a:gd name="T63" fmla="*/ 0 h 10000"/>
              <a:gd name="T64" fmla="*/ 0 w 10026"/>
              <a:gd name="T65" fmla="*/ 0 h 10000"/>
              <a:gd name="T66" fmla="*/ 0 w 10026"/>
              <a:gd name="T67" fmla="*/ 0 h 10000"/>
              <a:gd name="T68" fmla="*/ 0 w 10026"/>
              <a:gd name="T69" fmla="*/ 0 h 10000"/>
              <a:gd name="T70" fmla="*/ 0 w 10026"/>
              <a:gd name="T71" fmla="*/ 0 h 10000"/>
              <a:gd name="T72" fmla="*/ 0 w 10026"/>
              <a:gd name="T73" fmla="*/ 0 h 10000"/>
              <a:gd name="T74" fmla="*/ 0 w 10026"/>
              <a:gd name="T75" fmla="*/ 0 h 10000"/>
              <a:gd name="T76" fmla="*/ 0 w 10026"/>
              <a:gd name="T77" fmla="*/ 0 h 10000"/>
              <a:gd name="T78" fmla="*/ 0 w 10026"/>
              <a:gd name="T79" fmla="*/ 0 h 10000"/>
              <a:gd name="T80" fmla="*/ 0 w 10026"/>
              <a:gd name="T81" fmla="*/ 0 h 10000"/>
              <a:gd name="T82" fmla="*/ 0 w 10026"/>
              <a:gd name="T83" fmla="*/ 0 h 10000"/>
              <a:gd name="T84" fmla="*/ 0 w 10026"/>
              <a:gd name="T85" fmla="*/ 0 h 10000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w 10026"/>
              <a:gd name="T130" fmla="*/ 0 h 10000"/>
              <a:gd name="T131" fmla="*/ 10026 w 10026"/>
              <a:gd name="T132" fmla="*/ 10000 h 10000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T129" t="T130" r="T131" b="T132"/>
            <a:pathLst>
              <a:path w="10026" h="10000">
                <a:moveTo>
                  <a:pt x="10026" y="427"/>
                </a:moveTo>
                <a:cubicBezTo>
                  <a:pt x="9974" y="328"/>
                  <a:pt x="9923" y="229"/>
                  <a:pt x="9871" y="130"/>
                </a:cubicBezTo>
                <a:lnTo>
                  <a:pt x="9741" y="0"/>
                </a:lnTo>
                <a:lnTo>
                  <a:pt x="9511" y="65"/>
                </a:lnTo>
                <a:lnTo>
                  <a:pt x="9282" y="194"/>
                </a:lnTo>
                <a:cubicBezTo>
                  <a:pt x="9248" y="259"/>
                  <a:pt x="9215" y="324"/>
                  <a:pt x="9181" y="389"/>
                </a:cubicBezTo>
                <a:cubicBezTo>
                  <a:pt x="9147" y="403"/>
                  <a:pt x="9114" y="418"/>
                  <a:pt x="9080" y="432"/>
                </a:cubicBezTo>
                <a:cubicBezTo>
                  <a:pt x="9090" y="569"/>
                  <a:pt x="9099" y="705"/>
                  <a:pt x="9109" y="842"/>
                </a:cubicBezTo>
                <a:lnTo>
                  <a:pt x="8894" y="1058"/>
                </a:lnTo>
                <a:cubicBezTo>
                  <a:pt x="8851" y="1109"/>
                  <a:pt x="8807" y="1159"/>
                  <a:pt x="8764" y="1210"/>
                </a:cubicBezTo>
                <a:lnTo>
                  <a:pt x="8635" y="1253"/>
                </a:lnTo>
                <a:lnTo>
                  <a:pt x="8448" y="1339"/>
                </a:lnTo>
                <a:lnTo>
                  <a:pt x="8147" y="1382"/>
                </a:lnTo>
                <a:lnTo>
                  <a:pt x="7974" y="1317"/>
                </a:lnTo>
                <a:lnTo>
                  <a:pt x="7744" y="1210"/>
                </a:lnTo>
                <a:lnTo>
                  <a:pt x="7586" y="1210"/>
                </a:lnTo>
                <a:cubicBezTo>
                  <a:pt x="7557" y="1224"/>
                  <a:pt x="7529" y="1239"/>
                  <a:pt x="7500" y="1253"/>
                </a:cubicBezTo>
                <a:lnTo>
                  <a:pt x="7371" y="1296"/>
                </a:lnTo>
                <a:lnTo>
                  <a:pt x="7155" y="1145"/>
                </a:lnTo>
                <a:lnTo>
                  <a:pt x="6954" y="1037"/>
                </a:lnTo>
                <a:lnTo>
                  <a:pt x="6782" y="994"/>
                </a:lnTo>
                <a:lnTo>
                  <a:pt x="6609" y="1058"/>
                </a:lnTo>
                <a:cubicBezTo>
                  <a:pt x="6576" y="1094"/>
                  <a:pt x="6542" y="1130"/>
                  <a:pt x="6509" y="1166"/>
                </a:cubicBezTo>
                <a:lnTo>
                  <a:pt x="6322" y="1188"/>
                </a:lnTo>
                <a:lnTo>
                  <a:pt x="6250" y="1188"/>
                </a:lnTo>
                <a:lnTo>
                  <a:pt x="6121" y="1274"/>
                </a:lnTo>
                <a:lnTo>
                  <a:pt x="6006" y="1425"/>
                </a:lnTo>
                <a:cubicBezTo>
                  <a:pt x="5968" y="1447"/>
                  <a:pt x="5929" y="1468"/>
                  <a:pt x="5891" y="1490"/>
                </a:cubicBezTo>
                <a:cubicBezTo>
                  <a:pt x="5857" y="1540"/>
                  <a:pt x="5824" y="1591"/>
                  <a:pt x="5790" y="1641"/>
                </a:cubicBezTo>
                <a:lnTo>
                  <a:pt x="5618" y="1728"/>
                </a:lnTo>
                <a:cubicBezTo>
                  <a:pt x="5584" y="1778"/>
                  <a:pt x="5551" y="1829"/>
                  <a:pt x="5517" y="1879"/>
                </a:cubicBezTo>
                <a:cubicBezTo>
                  <a:pt x="5488" y="1951"/>
                  <a:pt x="5460" y="2023"/>
                  <a:pt x="5431" y="2095"/>
                </a:cubicBezTo>
                <a:lnTo>
                  <a:pt x="5560" y="2268"/>
                </a:lnTo>
                <a:cubicBezTo>
                  <a:pt x="5603" y="2390"/>
                  <a:pt x="5647" y="2513"/>
                  <a:pt x="5690" y="2635"/>
                </a:cubicBezTo>
                <a:cubicBezTo>
                  <a:pt x="5666" y="2714"/>
                  <a:pt x="5642" y="2794"/>
                  <a:pt x="5618" y="2873"/>
                </a:cubicBezTo>
                <a:cubicBezTo>
                  <a:pt x="5584" y="2923"/>
                  <a:pt x="5551" y="2974"/>
                  <a:pt x="5517" y="3024"/>
                </a:cubicBezTo>
                <a:cubicBezTo>
                  <a:pt x="5503" y="3089"/>
                  <a:pt x="5488" y="3153"/>
                  <a:pt x="5474" y="3218"/>
                </a:cubicBezTo>
                <a:cubicBezTo>
                  <a:pt x="5469" y="3319"/>
                  <a:pt x="5465" y="3420"/>
                  <a:pt x="5460" y="3521"/>
                </a:cubicBezTo>
                <a:cubicBezTo>
                  <a:pt x="5474" y="3578"/>
                  <a:pt x="5489" y="3636"/>
                  <a:pt x="5503" y="3693"/>
                </a:cubicBezTo>
                <a:lnTo>
                  <a:pt x="5632" y="3931"/>
                </a:lnTo>
                <a:cubicBezTo>
                  <a:pt x="5670" y="3996"/>
                  <a:pt x="5709" y="4060"/>
                  <a:pt x="5747" y="4125"/>
                </a:cubicBezTo>
                <a:cubicBezTo>
                  <a:pt x="5752" y="4226"/>
                  <a:pt x="5756" y="4327"/>
                  <a:pt x="5761" y="4428"/>
                </a:cubicBezTo>
                <a:cubicBezTo>
                  <a:pt x="5747" y="4550"/>
                  <a:pt x="5732" y="4673"/>
                  <a:pt x="5718" y="4795"/>
                </a:cubicBezTo>
                <a:cubicBezTo>
                  <a:pt x="5732" y="4925"/>
                  <a:pt x="5747" y="5054"/>
                  <a:pt x="5761" y="5184"/>
                </a:cubicBezTo>
                <a:lnTo>
                  <a:pt x="5761" y="5443"/>
                </a:lnTo>
                <a:cubicBezTo>
                  <a:pt x="5790" y="5529"/>
                  <a:pt x="5819" y="5616"/>
                  <a:pt x="5848" y="5702"/>
                </a:cubicBezTo>
                <a:lnTo>
                  <a:pt x="5761" y="6026"/>
                </a:lnTo>
                <a:cubicBezTo>
                  <a:pt x="5713" y="6069"/>
                  <a:pt x="5666" y="6113"/>
                  <a:pt x="5618" y="6156"/>
                </a:cubicBezTo>
                <a:cubicBezTo>
                  <a:pt x="5604" y="6242"/>
                  <a:pt x="5589" y="6329"/>
                  <a:pt x="5575" y="6415"/>
                </a:cubicBezTo>
                <a:cubicBezTo>
                  <a:pt x="5541" y="6508"/>
                  <a:pt x="5508" y="6602"/>
                  <a:pt x="5474" y="6695"/>
                </a:cubicBezTo>
                <a:lnTo>
                  <a:pt x="5345" y="6976"/>
                </a:lnTo>
                <a:lnTo>
                  <a:pt x="5172" y="7192"/>
                </a:lnTo>
                <a:lnTo>
                  <a:pt x="5014" y="7387"/>
                </a:lnTo>
                <a:cubicBezTo>
                  <a:pt x="4966" y="7466"/>
                  <a:pt x="4919" y="7545"/>
                  <a:pt x="4871" y="7624"/>
                </a:cubicBezTo>
                <a:lnTo>
                  <a:pt x="4684" y="7862"/>
                </a:lnTo>
                <a:cubicBezTo>
                  <a:pt x="4622" y="7956"/>
                  <a:pt x="4559" y="8049"/>
                  <a:pt x="4497" y="8143"/>
                </a:cubicBezTo>
                <a:cubicBezTo>
                  <a:pt x="4440" y="8287"/>
                  <a:pt x="4382" y="8431"/>
                  <a:pt x="4325" y="8575"/>
                </a:cubicBezTo>
                <a:lnTo>
                  <a:pt x="4152" y="8877"/>
                </a:lnTo>
                <a:lnTo>
                  <a:pt x="3994" y="9114"/>
                </a:lnTo>
                <a:lnTo>
                  <a:pt x="3779" y="9244"/>
                </a:lnTo>
                <a:lnTo>
                  <a:pt x="3621" y="9352"/>
                </a:lnTo>
                <a:cubicBezTo>
                  <a:pt x="3602" y="9395"/>
                  <a:pt x="3582" y="9439"/>
                  <a:pt x="3563" y="9482"/>
                </a:cubicBezTo>
                <a:cubicBezTo>
                  <a:pt x="3553" y="9575"/>
                  <a:pt x="3544" y="9669"/>
                  <a:pt x="3534" y="9762"/>
                </a:cubicBezTo>
                <a:lnTo>
                  <a:pt x="3420" y="9806"/>
                </a:lnTo>
                <a:lnTo>
                  <a:pt x="3290" y="9827"/>
                </a:lnTo>
                <a:lnTo>
                  <a:pt x="3161" y="9978"/>
                </a:lnTo>
                <a:lnTo>
                  <a:pt x="2902" y="9870"/>
                </a:lnTo>
                <a:lnTo>
                  <a:pt x="2730" y="9892"/>
                </a:lnTo>
                <a:lnTo>
                  <a:pt x="2601" y="9978"/>
                </a:lnTo>
                <a:cubicBezTo>
                  <a:pt x="2567" y="9985"/>
                  <a:pt x="2534" y="9993"/>
                  <a:pt x="2500" y="10000"/>
                </a:cubicBezTo>
                <a:lnTo>
                  <a:pt x="2356" y="9849"/>
                </a:lnTo>
                <a:lnTo>
                  <a:pt x="2155" y="9590"/>
                </a:lnTo>
                <a:lnTo>
                  <a:pt x="1997" y="9395"/>
                </a:lnTo>
                <a:cubicBezTo>
                  <a:pt x="1964" y="9337"/>
                  <a:pt x="1930" y="9280"/>
                  <a:pt x="1897" y="9222"/>
                </a:cubicBezTo>
                <a:lnTo>
                  <a:pt x="1695" y="9136"/>
                </a:lnTo>
                <a:lnTo>
                  <a:pt x="1523" y="9028"/>
                </a:lnTo>
                <a:cubicBezTo>
                  <a:pt x="1470" y="8949"/>
                  <a:pt x="1418" y="8869"/>
                  <a:pt x="1365" y="8790"/>
                </a:cubicBezTo>
                <a:lnTo>
                  <a:pt x="1236" y="8661"/>
                </a:lnTo>
                <a:cubicBezTo>
                  <a:pt x="1169" y="8567"/>
                  <a:pt x="1101" y="8474"/>
                  <a:pt x="1034" y="8380"/>
                </a:cubicBezTo>
                <a:lnTo>
                  <a:pt x="805" y="8099"/>
                </a:lnTo>
                <a:cubicBezTo>
                  <a:pt x="771" y="8049"/>
                  <a:pt x="738" y="7998"/>
                  <a:pt x="704" y="7948"/>
                </a:cubicBezTo>
                <a:cubicBezTo>
                  <a:pt x="685" y="7919"/>
                  <a:pt x="666" y="7891"/>
                  <a:pt x="647" y="7862"/>
                </a:cubicBezTo>
                <a:cubicBezTo>
                  <a:pt x="613" y="7761"/>
                  <a:pt x="580" y="7660"/>
                  <a:pt x="546" y="7559"/>
                </a:cubicBezTo>
                <a:lnTo>
                  <a:pt x="388" y="7430"/>
                </a:lnTo>
                <a:lnTo>
                  <a:pt x="244" y="7430"/>
                </a:lnTo>
                <a:lnTo>
                  <a:pt x="101" y="7495"/>
                </a:lnTo>
                <a:lnTo>
                  <a:pt x="0" y="7581"/>
                </a:lnTo>
              </a:path>
            </a:pathLst>
          </a:custGeom>
          <a:noFill/>
          <a:ln w="3175" cap="flat" cmpd="sng">
            <a:solidFill>
              <a:srgbClr val="D9EAF7"/>
            </a:solidFill>
            <a:prstDash val="solid"/>
            <a:round/>
            <a:headEnd type="none" w="med" len="med"/>
            <a:tailEnd type="none" w="med" len="med"/>
          </a:ln>
        </p:spPr>
        <p:txBody>
          <a:bodyPr wrap="none" lIns="32632" tIns="32632" rIns="32632" bIns="32632" anchor="ctr"/>
          <a:lstStyle/>
          <a:p>
            <a:pPr defTabSz="891045"/>
            <a:endParaRPr lang="en-US" sz="1700" dirty="0">
              <a:solidFill>
                <a:srgbClr val="003149"/>
              </a:solidFill>
              <a:cs typeface="Arial" panose="020B0604020202020204" pitchFamily="34" charset="0"/>
            </a:endParaRPr>
          </a:p>
        </p:txBody>
      </p:sp>
      <p:sp>
        <p:nvSpPr>
          <p:cNvPr id="222" name="Freeform 746"/>
          <p:cNvSpPr>
            <a:spLocks noChangeAspect="1"/>
          </p:cNvSpPr>
          <p:nvPr>
            <p:custDataLst>
              <p:tags r:id="rId122"/>
            </p:custDataLst>
          </p:nvPr>
        </p:nvSpPr>
        <p:spPr bwMode="gray">
          <a:xfrm>
            <a:off x="5452336" y="3664264"/>
            <a:ext cx="52602" cy="149222"/>
          </a:xfrm>
          <a:custGeom>
            <a:avLst/>
            <a:gdLst>
              <a:gd name="T0" fmla="*/ 0 w 10000"/>
              <a:gd name="T1" fmla="*/ 0 h 9969"/>
              <a:gd name="T2" fmla="*/ 0 w 10000"/>
              <a:gd name="T3" fmla="*/ 0 h 9969"/>
              <a:gd name="T4" fmla="*/ 0 w 10000"/>
              <a:gd name="T5" fmla="*/ 0 h 9969"/>
              <a:gd name="T6" fmla="*/ 0 w 10000"/>
              <a:gd name="T7" fmla="*/ 0 h 9969"/>
              <a:gd name="T8" fmla="*/ 0 w 10000"/>
              <a:gd name="T9" fmla="*/ 0 h 9969"/>
              <a:gd name="T10" fmla="*/ 0 w 10000"/>
              <a:gd name="T11" fmla="*/ 0 h 9969"/>
              <a:gd name="T12" fmla="*/ 0 w 10000"/>
              <a:gd name="T13" fmla="*/ 0 h 9969"/>
              <a:gd name="T14" fmla="*/ 0 w 10000"/>
              <a:gd name="T15" fmla="*/ 0 h 9969"/>
              <a:gd name="T16" fmla="*/ 0 w 10000"/>
              <a:gd name="T17" fmla="*/ 0 h 9969"/>
              <a:gd name="T18" fmla="*/ 0 w 10000"/>
              <a:gd name="T19" fmla="*/ 0 h 9969"/>
              <a:gd name="T20" fmla="*/ 0 w 10000"/>
              <a:gd name="T21" fmla="*/ 0 h 9969"/>
              <a:gd name="T22" fmla="*/ 0 w 10000"/>
              <a:gd name="T23" fmla="*/ 0 h 9969"/>
              <a:gd name="T24" fmla="*/ 0 w 10000"/>
              <a:gd name="T25" fmla="*/ 0 h 9969"/>
              <a:gd name="T26" fmla="*/ 0 w 10000"/>
              <a:gd name="T27" fmla="*/ 0 h 9969"/>
              <a:gd name="T28" fmla="*/ 0 w 10000"/>
              <a:gd name="T29" fmla="*/ 0 h 9969"/>
              <a:gd name="T30" fmla="*/ 0 w 10000"/>
              <a:gd name="T31" fmla="*/ 0 h 9969"/>
              <a:gd name="T32" fmla="*/ 0 w 10000"/>
              <a:gd name="T33" fmla="*/ 0 h 9969"/>
              <a:gd name="T34" fmla="*/ 0 w 10000"/>
              <a:gd name="T35" fmla="*/ 0 h 9969"/>
              <a:gd name="T36" fmla="*/ 0 w 10000"/>
              <a:gd name="T37" fmla="*/ 0 h 9969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w 10000"/>
              <a:gd name="T58" fmla="*/ 0 h 9969"/>
              <a:gd name="T59" fmla="*/ 10000 w 10000"/>
              <a:gd name="T60" fmla="*/ 9969 h 9969"/>
            </a:gdLst>
            <a:ahLst/>
            <a:cxnLst>
              <a:cxn ang="T38">
                <a:pos x="T0" y="T1"/>
              </a:cxn>
              <a:cxn ang="T39">
                <a:pos x="T2" y="T3"/>
              </a:cxn>
              <a:cxn ang="T40">
                <a:pos x="T4" y="T5"/>
              </a:cxn>
              <a:cxn ang="T41">
                <a:pos x="T6" y="T7"/>
              </a:cxn>
              <a:cxn ang="T42">
                <a:pos x="T8" y="T9"/>
              </a:cxn>
              <a:cxn ang="T43">
                <a:pos x="T10" y="T11"/>
              </a:cxn>
              <a:cxn ang="T44">
                <a:pos x="T12" y="T13"/>
              </a:cxn>
              <a:cxn ang="T45">
                <a:pos x="T14" y="T15"/>
              </a:cxn>
              <a:cxn ang="T46">
                <a:pos x="T16" y="T17"/>
              </a:cxn>
              <a:cxn ang="T47">
                <a:pos x="T18" y="T19"/>
              </a:cxn>
              <a:cxn ang="T48">
                <a:pos x="T20" y="T21"/>
              </a:cxn>
              <a:cxn ang="T49">
                <a:pos x="T22" y="T23"/>
              </a:cxn>
              <a:cxn ang="T50">
                <a:pos x="T24" y="T25"/>
              </a:cxn>
              <a:cxn ang="T51">
                <a:pos x="T26" y="T27"/>
              </a:cxn>
              <a:cxn ang="T52">
                <a:pos x="T28" y="T29"/>
              </a:cxn>
              <a:cxn ang="T53">
                <a:pos x="T30" y="T31"/>
              </a:cxn>
              <a:cxn ang="T54">
                <a:pos x="T32" y="T33"/>
              </a:cxn>
              <a:cxn ang="T55">
                <a:pos x="T34" y="T35"/>
              </a:cxn>
              <a:cxn ang="T56">
                <a:pos x="T36" y="T37"/>
              </a:cxn>
            </a:cxnLst>
            <a:rect l="T57" t="T58" r="T59" b="T60"/>
            <a:pathLst>
              <a:path w="10000" h="9969">
                <a:moveTo>
                  <a:pt x="9713" y="0"/>
                </a:moveTo>
                <a:lnTo>
                  <a:pt x="8947" y="525"/>
                </a:lnTo>
                <a:lnTo>
                  <a:pt x="5965" y="1150"/>
                </a:lnTo>
                <a:lnTo>
                  <a:pt x="3333" y="1288"/>
                </a:lnTo>
                <a:lnTo>
                  <a:pt x="2105" y="1427"/>
                </a:lnTo>
                <a:lnTo>
                  <a:pt x="1754" y="2261"/>
                </a:lnTo>
                <a:lnTo>
                  <a:pt x="2281" y="3372"/>
                </a:lnTo>
                <a:lnTo>
                  <a:pt x="3509" y="3580"/>
                </a:lnTo>
                <a:lnTo>
                  <a:pt x="4211" y="4830"/>
                </a:lnTo>
                <a:lnTo>
                  <a:pt x="5789" y="6219"/>
                </a:lnTo>
                <a:lnTo>
                  <a:pt x="7018" y="7191"/>
                </a:lnTo>
                <a:lnTo>
                  <a:pt x="8421" y="7886"/>
                </a:lnTo>
                <a:lnTo>
                  <a:pt x="10000" y="8511"/>
                </a:lnTo>
                <a:lnTo>
                  <a:pt x="9474" y="9136"/>
                </a:lnTo>
                <a:lnTo>
                  <a:pt x="7368" y="9622"/>
                </a:lnTo>
                <a:lnTo>
                  <a:pt x="5263" y="9761"/>
                </a:lnTo>
                <a:lnTo>
                  <a:pt x="2982" y="9969"/>
                </a:lnTo>
                <a:lnTo>
                  <a:pt x="877" y="9969"/>
                </a:lnTo>
                <a:lnTo>
                  <a:pt x="0" y="9969"/>
                </a:lnTo>
              </a:path>
            </a:pathLst>
          </a:custGeom>
          <a:noFill/>
          <a:ln w="3175" cap="flat" cmpd="sng">
            <a:solidFill>
              <a:srgbClr val="D9EAF7"/>
            </a:solidFill>
            <a:prstDash val="solid"/>
            <a:round/>
            <a:headEnd type="none" w="med" len="med"/>
            <a:tailEnd type="none" w="med" len="med"/>
          </a:ln>
        </p:spPr>
        <p:txBody>
          <a:bodyPr wrap="none" lIns="32632" tIns="32632" rIns="32632" bIns="32632" anchor="ctr"/>
          <a:lstStyle/>
          <a:p>
            <a:pPr defTabSz="891045"/>
            <a:endParaRPr lang="en-US" sz="1700" dirty="0">
              <a:solidFill>
                <a:srgbClr val="003149"/>
              </a:solidFill>
              <a:cs typeface="Arial" panose="020B0604020202020204" pitchFamily="34" charset="0"/>
            </a:endParaRPr>
          </a:p>
        </p:txBody>
      </p:sp>
      <p:sp>
        <p:nvSpPr>
          <p:cNvPr id="223" name="Freeform 539"/>
          <p:cNvSpPr>
            <a:spLocks noChangeAspect="1"/>
          </p:cNvSpPr>
          <p:nvPr/>
        </p:nvSpPr>
        <p:spPr bwMode="gray">
          <a:xfrm>
            <a:off x="4924911" y="4087547"/>
            <a:ext cx="130794" cy="96134"/>
          </a:xfrm>
          <a:custGeom>
            <a:avLst/>
            <a:gdLst>
              <a:gd name="T0" fmla="*/ 364517268 w 542"/>
              <a:gd name="T1" fmla="*/ 412267392 h 349"/>
              <a:gd name="T2" fmla="*/ 364517268 w 542"/>
              <a:gd name="T3" fmla="*/ 412267392 h 349"/>
              <a:gd name="T4" fmla="*/ 364517268 w 542"/>
              <a:gd name="T5" fmla="*/ 412267392 h 349"/>
              <a:gd name="T6" fmla="*/ 364517268 w 542"/>
              <a:gd name="T7" fmla="*/ 412267392 h 349"/>
              <a:gd name="T8" fmla="*/ 364517268 w 542"/>
              <a:gd name="T9" fmla="*/ 412267392 h 349"/>
              <a:gd name="T10" fmla="*/ 364517268 w 542"/>
              <a:gd name="T11" fmla="*/ 412267392 h 349"/>
              <a:gd name="T12" fmla="*/ 364517268 w 542"/>
              <a:gd name="T13" fmla="*/ 412267392 h 349"/>
              <a:gd name="T14" fmla="*/ 364517268 w 542"/>
              <a:gd name="T15" fmla="*/ 412267392 h 349"/>
              <a:gd name="T16" fmla="*/ 364517268 w 542"/>
              <a:gd name="T17" fmla="*/ 412267392 h 349"/>
              <a:gd name="T18" fmla="*/ 364517268 w 542"/>
              <a:gd name="T19" fmla="*/ 412267392 h 349"/>
              <a:gd name="T20" fmla="*/ 364517268 w 542"/>
              <a:gd name="T21" fmla="*/ 412267392 h 349"/>
              <a:gd name="T22" fmla="*/ 364517268 w 542"/>
              <a:gd name="T23" fmla="*/ 412267392 h 349"/>
              <a:gd name="T24" fmla="*/ 364517268 w 542"/>
              <a:gd name="T25" fmla="*/ 412267392 h 349"/>
              <a:gd name="T26" fmla="*/ 364517268 w 542"/>
              <a:gd name="T27" fmla="*/ 412267392 h 349"/>
              <a:gd name="T28" fmla="*/ 364517268 w 542"/>
              <a:gd name="T29" fmla="*/ 412267392 h 349"/>
              <a:gd name="T30" fmla="*/ 364517268 w 542"/>
              <a:gd name="T31" fmla="*/ 412267392 h 349"/>
              <a:gd name="T32" fmla="*/ 364517268 w 542"/>
              <a:gd name="T33" fmla="*/ 0 h 349"/>
              <a:gd name="T34" fmla="*/ 364517268 w 542"/>
              <a:gd name="T35" fmla="*/ 412267392 h 349"/>
              <a:gd name="T36" fmla="*/ 0 w 542"/>
              <a:gd name="T37" fmla="*/ 412267392 h 349"/>
              <a:gd name="T38" fmla="*/ 364517268 w 542"/>
              <a:gd name="T39" fmla="*/ 412267392 h 349"/>
              <a:gd name="T40" fmla="*/ 364517268 w 542"/>
              <a:gd name="T41" fmla="*/ 412267392 h 349"/>
              <a:gd name="T42" fmla="*/ 364517268 w 542"/>
              <a:gd name="T43" fmla="*/ 412267392 h 349"/>
              <a:gd name="T44" fmla="*/ 364517268 w 542"/>
              <a:gd name="T45" fmla="*/ 412267392 h 349"/>
              <a:gd name="T46" fmla="*/ 364517268 w 542"/>
              <a:gd name="T47" fmla="*/ 412267392 h 349"/>
              <a:gd name="T48" fmla="*/ 364517268 w 542"/>
              <a:gd name="T49" fmla="*/ 412267392 h 349"/>
              <a:gd name="T50" fmla="*/ 364517268 w 542"/>
              <a:gd name="T51" fmla="*/ 412267392 h 349"/>
              <a:gd name="T52" fmla="*/ 364517268 w 542"/>
              <a:gd name="T53" fmla="*/ 412267392 h 349"/>
              <a:gd name="T54" fmla="*/ 364517268 w 542"/>
              <a:gd name="T55" fmla="*/ 412267392 h 349"/>
              <a:gd name="T56" fmla="*/ 364517268 w 542"/>
              <a:gd name="T57" fmla="*/ 412267392 h 349"/>
              <a:gd name="T58" fmla="*/ 364517268 w 542"/>
              <a:gd name="T59" fmla="*/ 412267392 h 349"/>
              <a:gd name="T60" fmla="*/ 364517268 w 542"/>
              <a:gd name="T61" fmla="*/ 412267392 h 349"/>
              <a:gd name="T62" fmla="*/ 364517268 w 542"/>
              <a:gd name="T63" fmla="*/ 412267392 h 349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w 542"/>
              <a:gd name="T97" fmla="*/ 0 h 349"/>
              <a:gd name="T98" fmla="*/ 542 w 542"/>
              <a:gd name="T99" fmla="*/ 349 h 349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T96" t="T97" r="T98" b="T99"/>
            <a:pathLst>
              <a:path w="542" h="349">
                <a:moveTo>
                  <a:pt x="373" y="329"/>
                </a:moveTo>
                <a:lnTo>
                  <a:pt x="415" y="349"/>
                </a:lnTo>
                <a:lnTo>
                  <a:pt x="480" y="334"/>
                </a:lnTo>
                <a:lnTo>
                  <a:pt x="509" y="297"/>
                </a:lnTo>
                <a:lnTo>
                  <a:pt x="522" y="261"/>
                </a:lnTo>
                <a:lnTo>
                  <a:pt x="542" y="211"/>
                </a:lnTo>
                <a:lnTo>
                  <a:pt x="522" y="185"/>
                </a:lnTo>
                <a:lnTo>
                  <a:pt x="467" y="167"/>
                </a:lnTo>
                <a:lnTo>
                  <a:pt x="412" y="162"/>
                </a:lnTo>
                <a:lnTo>
                  <a:pt x="383" y="162"/>
                </a:lnTo>
                <a:lnTo>
                  <a:pt x="326" y="115"/>
                </a:lnTo>
                <a:lnTo>
                  <a:pt x="282" y="65"/>
                </a:lnTo>
                <a:lnTo>
                  <a:pt x="248" y="39"/>
                </a:lnTo>
                <a:lnTo>
                  <a:pt x="214" y="21"/>
                </a:lnTo>
                <a:lnTo>
                  <a:pt x="170" y="18"/>
                </a:lnTo>
                <a:lnTo>
                  <a:pt x="123" y="11"/>
                </a:lnTo>
                <a:lnTo>
                  <a:pt x="81" y="0"/>
                </a:lnTo>
                <a:lnTo>
                  <a:pt x="24" y="5"/>
                </a:lnTo>
                <a:lnTo>
                  <a:pt x="0" y="31"/>
                </a:lnTo>
                <a:lnTo>
                  <a:pt x="13" y="76"/>
                </a:lnTo>
                <a:lnTo>
                  <a:pt x="50" y="123"/>
                </a:lnTo>
                <a:lnTo>
                  <a:pt x="45" y="172"/>
                </a:lnTo>
                <a:lnTo>
                  <a:pt x="68" y="216"/>
                </a:lnTo>
                <a:lnTo>
                  <a:pt x="131" y="211"/>
                </a:lnTo>
                <a:lnTo>
                  <a:pt x="165" y="190"/>
                </a:lnTo>
                <a:lnTo>
                  <a:pt x="201" y="203"/>
                </a:lnTo>
                <a:lnTo>
                  <a:pt x="230" y="243"/>
                </a:lnTo>
                <a:lnTo>
                  <a:pt x="235" y="297"/>
                </a:lnTo>
                <a:lnTo>
                  <a:pt x="284" y="289"/>
                </a:lnTo>
                <a:lnTo>
                  <a:pt x="331" y="289"/>
                </a:lnTo>
                <a:lnTo>
                  <a:pt x="360" y="310"/>
                </a:lnTo>
                <a:lnTo>
                  <a:pt x="373" y="329"/>
                </a:lnTo>
                <a:close/>
              </a:path>
            </a:pathLst>
          </a:custGeom>
          <a:noFill/>
          <a:ln w="3175" cap="flat" cmpd="sng">
            <a:solidFill>
              <a:srgbClr val="D9EAF7"/>
            </a:solidFill>
            <a:prstDash val="solid"/>
            <a:round/>
            <a:headEnd type="none" w="med" len="med"/>
            <a:tailEnd type="none" w="med" len="med"/>
          </a:ln>
        </p:spPr>
        <p:txBody>
          <a:bodyPr wrap="none" lIns="32632" tIns="32632" rIns="32632" bIns="32632" anchor="ctr"/>
          <a:lstStyle/>
          <a:p>
            <a:pPr defTabSz="891045"/>
            <a:endParaRPr lang="en-US" sz="1700" dirty="0">
              <a:solidFill>
                <a:srgbClr val="003149"/>
              </a:solidFill>
              <a:cs typeface="Arial" panose="020B0604020202020204" pitchFamily="34" charset="0"/>
            </a:endParaRPr>
          </a:p>
        </p:txBody>
      </p:sp>
      <p:sp>
        <p:nvSpPr>
          <p:cNvPr id="224" name="Freeform 760"/>
          <p:cNvSpPr>
            <a:spLocks noChangeAspect="1"/>
          </p:cNvSpPr>
          <p:nvPr>
            <p:custDataLst>
              <p:tags r:id="rId123"/>
            </p:custDataLst>
          </p:nvPr>
        </p:nvSpPr>
        <p:spPr bwMode="gray">
          <a:xfrm>
            <a:off x="4943418" y="3341428"/>
            <a:ext cx="145011" cy="413232"/>
          </a:xfrm>
          <a:custGeom>
            <a:avLst/>
            <a:gdLst>
              <a:gd name="T0" fmla="*/ 1377630162 w 159"/>
              <a:gd name="T1" fmla="*/ 1557871418 h 397"/>
              <a:gd name="T2" fmla="*/ 1377630162 w 159"/>
              <a:gd name="T3" fmla="*/ 1557871418 h 397"/>
              <a:gd name="T4" fmla="*/ 1377630162 w 159"/>
              <a:gd name="T5" fmla="*/ 1557871418 h 397"/>
              <a:gd name="T6" fmla="*/ 1377630162 w 159"/>
              <a:gd name="T7" fmla="*/ 1557871418 h 397"/>
              <a:gd name="T8" fmla="*/ 1377630162 w 159"/>
              <a:gd name="T9" fmla="*/ 1557871418 h 397"/>
              <a:gd name="T10" fmla="*/ 1377630162 w 159"/>
              <a:gd name="T11" fmla="*/ 1557871418 h 397"/>
              <a:gd name="T12" fmla="*/ 1377630162 w 159"/>
              <a:gd name="T13" fmla="*/ 1557871418 h 397"/>
              <a:gd name="T14" fmla="*/ 1377630162 w 159"/>
              <a:gd name="T15" fmla="*/ 1557871418 h 397"/>
              <a:gd name="T16" fmla="*/ 1377630162 w 159"/>
              <a:gd name="T17" fmla="*/ 1557871418 h 397"/>
              <a:gd name="T18" fmla="*/ 1377630162 w 159"/>
              <a:gd name="T19" fmla="*/ 1557871418 h 397"/>
              <a:gd name="T20" fmla="*/ 1377630162 w 159"/>
              <a:gd name="T21" fmla="*/ 1557871418 h 397"/>
              <a:gd name="T22" fmla="*/ 1377630162 w 159"/>
              <a:gd name="T23" fmla="*/ 1557871418 h 397"/>
              <a:gd name="T24" fmla="*/ 1377630162 w 159"/>
              <a:gd name="T25" fmla="*/ 1557871418 h 397"/>
              <a:gd name="T26" fmla="*/ 1377630162 w 159"/>
              <a:gd name="T27" fmla="*/ 1557871418 h 397"/>
              <a:gd name="T28" fmla="*/ 1377630162 w 159"/>
              <a:gd name="T29" fmla="*/ 1557871418 h 397"/>
              <a:gd name="T30" fmla="*/ 1377630162 w 159"/>
              <a:gd name="T31" fmla="*/ 1557871418 h 397"/>
              <a:gd name="T32" fmla="*/ 1377630162 w 159"/>
              <a:gd name="T33" fmla="*/ 1557871418 h 397"/>
              <a:gd name="T34" fmla="*/ 1377630162 w 159"/>
              <a:gd name="T35" fmla="*/ 1557871418 h 397"/>
              <a:gd name="T36" fmla="*/ 1377630162 w 159"/>
              <a:gd name="T37" fmla="*/ 1557871418 h 397"/>
              <a:gd name="T38" fmla="*/ 1377630162 w 159"/>
              <a:gd name="T39" fmla="*/ 1557871418 h 397"/>
              <a:gd name="T40" fmla="*/ 1377630162 w 159"/>
              <a:gd name="T41" fmla="*/ 1557871418 h 397"/>
              <a:gd name="T42" fmla="*/ 1377630162 w 159"/>
              <a:gd name="T43" fmla="*/ 1557871418 h 397"/>
              <a:gd name="T44" fmla="*/ 1377630162 w 159"/>
              <a:gd name="T45" fmla="*/ 1557871418 h 397"/>
              <a:gd name="T46" fmla="*/ 1377630162 w 159"/>
              <a:gd name="T47" fmla="*/ 1557871418 h 397"/>
              <a:gd name="T48" fmla="*/ 1377630162 w 159"/>
              <a:gd name="T49" fmla="*/ 1557871418 h 397"/>
              <a:gd name="T50" fmla="*/ 1377630162 w 159"/>
              <a:gd name="T51" fmla="*/ 1557871418 h 397"/>
              <a:gd name="T52" fmla="*/ 1377630162 w 159"/>
              <a:gd name="T53" fmla="*/ 1557871418 h 397"/>
              <a:gd name="T54" fmla="*/ 1377630162 w 159"/>
              <a:gd name="T55" fmla="*/ 1557871418 h 397"/>
              <a:gd name="T56" fmla="*/ 1377630162 w 159"/>
              <a:gd name="T57" fmla="*/ 1557871418 h 397"/>
              <a:gd name="T58" fmla="*/ 1377630162 w 159"/>
              <a:gd name="T59" fmla="*/ 1557871418 h 397"/>
              <a:gd name="T60" fmla="*/ 1377630162 w 159"/>
              <a:gd name="T61" fmla="*/ 1557871418 h 397"/>
              <a:gd name="T62" fmla="*/ 1377630162 w 159"/>
              <a:gd name="T63" fmla="*/ 1557871418 h 397"/>
              <a:gd name="T64" fmla="*/ 1377630162 w 159"/>
              <a:gd name="T65" fmla="*/ 1557871418 h 397"/>
              <a:gd name="T66" fmla="*/ 1377630162 w 159"/>
              <a:gd name="T67" fmla="*/ 1557871418 h 397"/>
              <a:gd name="T68" fmla="*/ 1377630162 w 159"/>
              <a:gd name="T69" fmla="*/ 1557871418 h 397"/>
              <a:gd name="T70" fmla="*/ 1377630162 w 159"/>
              <a:gd name="T71" fmla="*/ 1557871418 h 397"/>
              <a:gd name="T72" fmla="*/ 1377630162 w 159"/>
              <a:gd name="T73" fmla="*/ 1557871418 h 397"/>
              <a:gd name="T74" fmla="*/ 1377630162 w 159"/>
              <a:gd name="T75" fmla="*/ 1557871418 h 397"/>
              <a:gd name="T76" fmla="*/ 1377630162 w 159"/>
              <a:gd name="T77" fmla="*/ 1557871418 h 397"/>
              <a:gd name="T78" fmla="*/ 1377630162 w 159"/>
              <a:gd name="T79" fmla="*/ 1557871418 h 397"/>
              <a:gd name="T80" fmla="*/ 1377630162 w 159"/>
              <a:gd name="T81" fmla="*/ 1557871418 h 397"/>
              <a:gd name="T82" fmla="*/ 1377630162 w 159"/>
              <a:gd name="T83" fmla="*/ 1557871418 h 397"/>
              <a:gd name="T84" fmla="*/ 1377630162 w 159"/>
              <a:gd name="T85" fmla="*/ 1557871418 h 397"/>
              <a:gd name="T86" fmla="*/ 1377630162 w 159"/>
              <a:gd name="T87" fmla="*/ 1557871418 h 397"/>
              <a:gd name="T88" fmla="*/ 1377630162 w 159"/>
              <a:gd name="T89" fmla="*/ 1557871418 h 397"/>
              <a:gd name="T90" fmla="*/ 1377630162 w 159"/>
              <a:gd name="T91" fmla="*/ 1557871418 h 397"/>
              <a:gd name="T92" fmla="*/ 1377630162 w 159"/>
              <a:gd name="T93" fmla="*/ 1557871418 h 397"/>
              <a:gd name="T94" fmla="*/ 1377630162 w 159"/>
              <a:gd name="T95" fmla="*/ 1557871418 h 397"/>
              <a:gd name="T96" fmla="*/ 1377630162 w 159"/>
              <a:gd name="T97" fmla="*/ 1557871418 h 397"/>
              <a:gd name="T98" fmla="*/ 1377630162 w 159"/>
              <a:gd name="T99" fmla="*/ 1557871418 h 397"/>
              <a:gd name="T100" fmla="*/ 1377630162 w 159"/>
              <a:gd name="T101" fmla="*/ 1557871418 h 397"/>
              <a:gd name="T102" fmla="*/ 1377630162 w 159"/>
              <a:gd name="T103" fmla="*/ 1557871418 h 397"/>
              <a:gd name="T104" fmla="*/ 0 w 159"/>
              <a:gd name="T105" fmla="*/ 1557871418 h 397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w 159"/>
              <a:gd name="T160" fmla="*/ 0 h 397"/>
              <a:gd name="T161" fmla="*/ 159 w 159"/>
              <a:gd name="T162" fmla="*/ 397 h 397"/>
            </a:gdLst>
            <a:ahLst/>
            <a:cxnLst>
              <a:cxn ang="T106">
                <a:pos x="T0" y="T1"/>
              </a:cxn>
              <a:cxn ang="T107">
                <a:pos x="T2" y="T3"/>
              </a:cxn>
              <a:cxn ang="T108">
                <a:pos x="T4" y="T5"/>
              </a:cxn>
              <a:cxn ang="T109">
                <a:pos x="T6" y="T7"/>
              </a:cxn>
              <a:cxn ang="T110">
                <a:pos x="T8" y="T9"/>
              </a:cxn>
              <a:cxn ang="T111">
                <a:pos x="T10" y="T11"/>
              </a:cxn>
              <a:cxn ang="T112">
                <a:pos x="T12" y="T13"/>
              </a:cxn>
              <a:cxn ang="T113">
                <a:pos x="T14" y="T15"/>
              </a:cxn>
              <a:cxn ang="T114">
                <a:pos x="T16" y="T17"/>
              </a:cxn>
              <a:cxn ang="T115">
                <a:pos x="T18" y="T19"/>
              </a:cxn>
              <a:cxn ang="T116">
                <a:pos x="T20" y="T21"/>
              </a:cxn>
              <a:cxn ang="T117">
                <a:pos x="T22" y="T23"/>
              </a:cxn>
              <a:cxn ang="T118">
                <a:pos x="T24" y="T25"/>
              </a:cxn>
              <a:cxn ang="T119">
                <a:pos x="T26" y="T27"/>
              </a:cxn>
              <a:cxn ang="T120">
                <a:pos x="T28" y="T29"/>
              </a:cxn>
              <a:cxn ang="T121">
                <a:pos x="T30" y="T31"/>
              </a:cxn>
              <a:cxn ang="T122">
                <a:pos x="T32" y="T33"/>
              </a:cxn>
              <a:cxn ang="T123">
                <a:pos x="T34" y="T35"/>
              </a:cxn>
              <a:cxn ang="T124">
                <a:pos x="T36" y="T37"/>
              </a:cxn>
              <a:cxn ang="T125">
                <a:pos x="T38" y="T39"/>
              </a:cxn>
              <a:cxn ang="T126">
                <a:pos x="T40" y="T41"/>
              </a:cxn>
              <a:cxn ang="T127">
                <a:pos x="T42" y="T43"/>
              </a:cxn>
              <a:cxn ang="T128">
                <a:pos x="T44" y="T45"/>
              </a:cxn>
              <a:cxn ang="T129">
                <a:pos x="T46" y="T47"/>
              </a:cxn>
              <a:cxn ang="T130">
                <a:pos x="T48" y="T49"/>
              </a:cxn>
              <a:cxn ang="T131">
                <a:pos x="T50" y="T51"/>
              </a:cxn>
              <a:cxn ang="T132">
                <a:pos x="T52" y="T53"/>
              </a:cxn>
              <a:cxn ang="T133">
                <a:pos x="T54" y="T55"/>
              </a:cxn>
              <a:cxn ang="T134">
                <a:pos x="T56" y="T57"/>
              </a:cxn>
              <a:cxn ang="T135">
                <a:pos x="T58" y="T59"/>
              </a:cxn>
              <a:cxn ang="T136">
                <a:pos x="T60" y="T61"/>
              </a:cxn>
              <a:cxn ang="T137">
                <a:pos x="T62" y="T63"/>
              </a:cxn>
              <a:cxn ang="T138">
                <a:pos x="T64" y="T65"/>
              </a:cxn>
              <a:cxn ang="T139">
                <a:pos x="T66" y="T67"/>
              </a:cxn>
              <a:cxn ang="T140">
                <a:pos x="T68" y="T69"/>
              </a:cxn>
              <a:cxn ang="T141">
                <a:pos x="T70" y="T71"/>
              </a:cxn>
              <a:cxn ang="T142">
                <a:pos x="T72" y="T73"/>
              </a:cxn>
              <a:cxn ang="T143">
                <a:pos x="T74" y="T75"/>
              </a:cxn>
              <a:cxn ang="T144">
                <a:pos x="T76" y="T77"/>
              </a:cxn>
              <a:cxn ang="T145">
                <a:pos x="T78" y="T79"/>
              </a:cxn>
              <a:cxn ang="T146">
                <a:pos x="T80" y="T81"/>
              </a:cxn>
              <a:cxn ang="T147">
                <a:pos x="T82" y="T83"/>
              </a:cxn>
              <a:cxn ang="T148">
                <a:pos x="T84" y="T85"/>
              </a:cxn>
              <a:cxn ang="T149">
                <a:pos x="T86" y="T87"/>
              </a:cxn>
              <a:cxn ang="T150">
                <a:pos x="T88" y="T89"/>
              </a:cxn>
              <a:cxn ang="T151">
                <a:pos x="T90" y="T91"/>
              </a:cxn>
              <a:cxn ang="T152">
                <a:pos x="T92" y="T93"/>
              </a:cxn>
              <a:cxn ang="T153">
                <a:pos x="T94" y="T95"/>
              </a:cxn>
              <a:cxn ang="T154">
                <a:pos x="T96" y="T97"/>
              </a:cxn>
              <a:cxn ang="T155">
                <a:pos x="T98" y="T99"/>
              </a:cxn>
              <a:cxn ang="T156">
                <a:pos x="T100" y="T101"/>
              </a:cxn>
              <a:cxn ang="T157">
                <a:pos x="T102" y="T103"/>
              </a:cxn>
              <a:cxn ang="T158">
                <a:pos x="T104" y="T105"/>
              </a:cxn>
            </a:cxnLst>
            <a:rect l="T159" t="T160" r="T161" b="T162"/>
            <a:pathLst>
              <a:path w="159" h="397">
                <a:moveTo>
                  <a:pt x="154" y="0"/>
                </a:moveTo>
                <a:lnTo>
                  <a:pt x="152" y="7"/>
                </a:lnTo>
                <a:lnTo>
                  <a:pt x="159" y="13"/>
                </a:lnTo>
                <a:lnTo>
                  <a:pt x="158" y="20"/>
                </a:lnTo>
                <a:lnTo>
                  <a:pt x="150" y="20"/>
                </a:lnTo>
                <a:lnTo>
                  <a:pt x="137" y="21"/>
                </a:lnTo>
                <a:lnTo>
                  <a:pt x="134" y="28"/>
                </a:lnTo>
                <a:lnTo>
                  <a:pt x="131" y="32"/>
                </a:lnTo>
                <a:lnTo>
                  <a:pt x="126" y="32"/>
                </a:lnTo>
                <a:lnTo>
                  <a:pt x="124" y="28"/>
                </a:lnTo>
                <a:lnTo>
                  <a:pt x="120" y="30"/>
                </a:lnTo>
                <a:lnTo>
                  <a:pt x="116" y="31"/>
                </a:lnTo>
                <a:lnTo>
                  <a:pt x="113" y="28"/>
                </a:lnTo>
                <a:lnTo>
                  <a:pt x="109" y="25"/>
                </a:lnTo>
                <a:lnTo>
                  <a:pt x="103" y="24"/>
                </a:lnTo>
                <a:lnTo>
                  <a:pt x="99" y="26"/>
                </a:lnTo>
                <a:lnTo>
                  <a:pt x="104" y="31"/>
                </a:lnTo>
                <a:lnTo>
                  <a:pt x="109" y="35"/>
                </a:lnTo>
                <a:lnTo>
                  <a:pt x="109" y="44"/>
                </a:lnTo>
                <a:lnTo>
                  <a:pt x="106" y="51"/>
                </a:lnTo>
                <a:lnTo>
                  <a:pt x="105" y="58"/>
                </a:lnTo>
                <a:lnTo>
                  <a:pt x="105" y="66"/>
                </a:lnTo>
                <a:lnTo>
                  <a:pt x="112" y="69"/>
                </a:lnTo>
                <a:lnTo>
                  <a:pt x="109" y="75"/>
                </a:lnTo>
                <a:lnTo>
                  <a:pt x="101" y="75"/>
                </a:lnTo>
                <a:lnTo>
                  <a:pt x="101" y="81"/>
                </a:lnTo>
                <a:lnTo>
                  <a:pt x="103" y="88"/>
                </a:lnTo>
                <a:lnTo>
                  <a:pt x="96" y="93"/>
                </a:lnTo>
                <a:lnTo>
                  <a:pt x="95" y="97"/>
                </a:lnTo>
                <a:lnTo>
                  <a:pt x="104" y="106"/>
                </a:lnTo>
                <a:lnTo>
                  <a:pt x="108" y="113"/>
                </a:lnTo>
                <a:lnTo>
                  <a:pt x="112" y="118"/>
                </a:lnTo>
                <a:lnTo>
                  <a:pt x="116" y="119"/>
                </a:lnTo>
                <a:lnTo>
                  <a:pt x="116" y="132"/>
                </a:lnTo>
                <a:lnTo>
                  <a:pt x="113" y="137"/>
                </a:lnTo>
                <a:lnTo>
                  <a:pt x="107" y="141"/>
                </a:lnTo>
                <a:lnTo>
                  <a:pt x="112" y="147"/>
                </a:lnTo>
                <a:lnTo>
                  <a:pt x="112" y="157"/>
                </a:lnTo>
                <a:lnTo>
                  <a:pt x="107" y="164"/>
                </a:lnTo>
                <a:lnTo>
                  <a:pt x="100" y="171"/>
                </a:lnTo>
                <a:lnTo>
                  <a:pt x="94" y="174"/>
                </a:lnTo>
                <a:lnTo>
                  <a:pt x="98" y="188"/>
                </a:lnTo>
                <a:lnTo>
                  <a:pt x="89" y="190"/>
                </a:lnTo>
                <a:lnTo>
                  <a:pt x="84" y="195"/>
                </a:lnTo>
                <a:lnTo>
                  <a:pt x="78" y="198"/>
                </a:lnTo>
                <a:lnTo>
                  <a:pt x="75" y="205"/>
                </a:lnTo>
                <a:lnTo>
                  <a:pt x="66" y="209"/>
                </a:lnTo>
                <a:lnTo>
                  <a:pt x="62" y="211"/>
                </a:lnTo>
                <a:lnTo>
                  <a:pt x="61" y="215"/>
                </a:lnTo>
                <a:lnTo>
                  <a:pt x="65" y="219"/>
                </a:lnTo>
                <a:lnTo>
                  <a:pt x="66" y="224"/>
                </a:lnTo>
                <a:lnTo>
                  <a:pt x="60" y="226"/>
                </a:lnTo>
                <a:lnTo>
                  <a:pt x="60" y="231"/>
                </a:lnTo>
                <a:lnTo>
                  <a:pt x="57" y="236"/>
                </a:lnTo>
                <a:lnTo>
                  <a:pt x="55" y="240"/>
                </a:lnTo>
                <a:lnTo>
                  <a:pt x="53" y="247"/>
                </a:lnTo>
                <a:lnTo>
                  <a:pt x="53" y="252"/>
                </a:lnTo>
                <a:lnTo>
                  <a:pt x="58" y="254"/>
                </a:lnTo>
                <a:lnTo>
                  <a:pt x="55" y="262"/>
                </a:lnTo>
                <a:lnTo>
                  <a:pt x="62" y="270"/>
                </a:lnTo>
                <a:lnTo>
                  <a:pt x="67" y="279"/>
                </a:lnTo>
                <a:lnTo>
                  <a:pt x="77" y="283"/>
                </a:lnTo>
                <a:lnTo>
                  <a:pt x="84" y="282"/>
                </a:lnTo>
                <a:lnTo>
                  <a:pt x="94" y="283"/>
                </a:lnTo>
                <a:lnTo>
                  <a:pt x="94" y="288"/>
                </a:lnTo>
                <a:lnTo>
                  <a:pt x="91" y="293"/>
                </a:lnTo>
                <a:lnTo>
                  <a:pt x="93" y="301"/>
                </a:lnTo>
                <a:lnTo>
                  <a:pt x="94" y="308"/>
                </a:lnTo>
                <a:lnTo>
                  <a:pt x="92" y="312"/>
                </a:lnTo>
                <a:lnTo>
                  <a:pt x="83" y="310"/>
                </a:lnTo>
                <a:lnTo>
                  <a:pt x="78" y="311"/>
                </a:lnTo>
                <a:lnTo>
                  <a:pt x="74" y="317"/>
                </a:lnTo>
                <a:lnTo>
                  <a:pt x="73" y="324"/>
                </a:lnTo>
                <a:lnTo>
                  <a:pt x="72" y="332"/>
                </a:lnTo>
                <a:lnTo>
                  <a:pt x="72" y="338"/>
                </a:lnTo>
                <a:lnTo>
                  <a:pt x="78" y="340"/>
                </a:lnTo>
                <a:lnTo>
                  <a:pt x="85" y="342"/>
                </a:lnTo>
                <a:lnTo>
                  <a:pt x="87" y="351"/>
                </a:lnTo>
                <a:lnTo>
                  <a:pt x="93" y="358"/>
                </a:lnTo>
                <a:lnTo>
                  <a:pt x="94" y="365"/>
                </a:lnTo>
                <a:lnTo>
                  <a:pt x="87" y="367"/>
                </a:lnTo>
                <a:lnTo>
                  <a:pt x="83" y="373"/>
                </a:lnTo>
                <a:lnTo>
                  <a:pt x="75" y="374"/>
                </a:lnTo>
                <a:lnTo>
                  <a:pt x="72" y="381"/>
                </a:lnTo>
                <a:lnTo>
                  <a:pt x="74" y="388"/>
                </a:lnTo>
                <a:lnTo>
                  <a:pt x="74" y="394"/>
                </a:lnTo>
                <a:lnTo>
                  <a:pt x="66" y="396"/>
                </a:lnTo>
                <a:lnTo>
                  <a:pt x="60" y="397"/>
                </a:lnTo>
                <a:lnTo>
                  <a:pt x="58" y="391"/>
                </a:lnTo>
                <a:lnTo>
                  <a:pt x="52" y="387"/>
                </a:lnTo>
                <a:lnTo>
                  <a:pt x="47" y="386"/>
                </a:lnTo>
                <a:lnTo>
                  <a:pt x="47" y="390"/>
                </a:lnTo>
                <a:lnTo>
                  <a:pt x="43" y="390"/>
                </a:lnTo>
                <a:lnTo>
                  <a:pt x="41" y="382"/>
                </a:lnTo>
                <a:lnTo>
                  <a:pt x="34" y="379"/>
                </a:lnTo>
                <a:lnTo>
                  <a:pt x="28" y="379"/>
                </a:lnTo>
                <a:lnTo>
                  <a:pt x="22" y="377"/>
                </a:lnTo>
                <a:lnTo>
                  <a:pt x="20" y="374"/>
                </a:lnTo>
                <a:lnTo>
                  <a:pt x="14" y="369"/>
                </a:lnTo>
                <a:lnTo>
                  <a:pt x="14" y="363"/>
                </a:lnTo>
                <a:lnTo>
                  <a:pt x="14" y="360"/>
                </a:lnTo>
                <a:lnTo>
                  <a:pt x="17" y="357"/>
                </a:lnTo>
                <a:lnTo>
                  <a:pt x="13" y="355"/>
                </a:lnTo>
                <a:lnTo>
                  <a:pt x="9" y="355"/>
                </a:lnTo>
                <a:lnTo>
                  <a:pt x="3" y="355"/>
                </a:lnTo>
                <a:lnTo>
                  <a:pt x="0" y="355"/>
                </a:lnTo>
              </a:path>
            </a:pathLst>
          </a:custGeom>
          <a:noFill/>
          <a:ln w="3175" cap="flat" cmpd="sng">
            <a:solidFill>
              <a:srgbClr val="D9EAF7"/>
            </a:solidFill>
            <a:prstDash val="solid"/>
            <a:round/>
            <a:headEnd type="none" w="med" len="med"/>
            <a:tailEnd type="none" w="med" len="med"/>
          </a:ln>
        </p:spPr>
        <p:txBody>
          <a:bodyPr wrap="none" lIns="32632" tIns="32632" rIns="32632" bIns="32632" anchor="ctr"/>
          <a:lstStyle/>
          <a:p>
            <a:pPr defTabSz="891045"/>
            <a:endParaRPr lang="en-US" sz="1700" dirty="0">
              <a:solidFill>
                <a:srgbClr val="003149"/>
              </a:solidFill>
              <a:cs typeface="Arial" panose="020B0604020202020204" pitchFamily="34" charset="0"/>
            </a:endParaRPr>
          </a:p>
        </p:txBody>
      </p:sp>
      <p:sp>
        <p:nvSpPr>
          <p:cNvPr id="225" name="Freeform 755"/>
          <p:cNvSpPr>
            <a:spLocks noChangeAspect="1"/>
          </p:cNvSpPr>
          <p:nvPr>
            <p:custDataLst>
              <p:tags r:id="rId124"/>
            </p:custDataLst>
          </p:nvPr>
        </p:nvSpPr>
        <p:spPr bwMode="gray">
          <a:xfrm>
            <a:off x="4529690" y="2961234"/>
            <a:ext cx="459200" cy="146353"/>
          </a:xfrm>
          <a:custGeom>
            <a:avLst/>
            <a:gdLst>
              <a:gd name="T0" fmla="*/ 0 w 10321"/>
              <a:gd name="T1" fmla="*/ 0 h 10000"/>
              <a:gd name="T2" fmla="*/ 0 w 10321"/>
              <a:gd name="T3" fmla="*/ 0 h 10000"/>
              <a:gd name="T4" fmla="*/ 0 w 10321"/>
              <a:gd name="T5" fmla="*/ 0 h 10000"/>
              <a:gd name="T6" fmla="*/ 0 w 10321"/>
              <a:gd name="T7" fmla="*/ 0 h 10000"/>
              <a:gd name="T8" fmla="*/ 0 w 10321"/>
              <a:gd name="T9" fmla="*/ 0 h 10000"/>
              <a:gd name="T10" fmla="*/ 0 w 10321"/>
              <a:gd name="T11" fmla="*/ 0 h 10000"/>
              <a:gd name="T12" fmla="*/ 0 w 10321"/>
              <a:gd name="T13" fmla="*/ 0 h 10000"/>
              <a:gd name="T14" fmla="*/ 0 w 10321"/>
              <a:gd name="T15" fmla="*/ 0 h 10000"/>
              <a:gd name="T16" fmla="*/ 0 w 10321"/>
              <a:gd name="T17" fmla="*/ 0 h 10000"/>
              <a:gd name="T18" fmla="*/ 0 w 10321"/>
              <a:gd name="T19" fmla="*/ 0 h 10000"/>
              <a:gd name="T20" fmla="*/ 0 w 10321"/>
              <a:gd name="T21" fmla="*/ 0 h 10000"/>
              <a:gd name="T22" fmla="*/ 0 w 10321"/>
              <a:gd name="T23" fmla="*/ 0 h 10000"/>
              <a:gd name="T24" fmla="*/ 0 w 10321"/>
              <a:gd name="T25" fmla="*/ 0 h 10000"/>
              <a:gd name="T26" fmla="*/ 0 w 10321"/>
              <a:gd name="T27" fmla="*/ 0 h 10000"/>
              <a:gd name="T28" fmla="*/ 0 w 10321"/>
              <a:gd name="T29" fmla="*/ 0 h 10000"/>
              <a:gd name="T30" fmla="*/ 0 w 10321"/>
              <a:gd name="T31" fmla="*/ 0 h 10000"/>
              <a:gd name="T32" fmla="*/ 0 w 10321"/>
              <a:gd name="T33" fmla="*/ 0 h 10000"/>
              <a:gd name="T34" fmla="*/ 0 w 10321"/>
              <a:gd name="T35" fmla="*/ 0 h 10000"/>
              <a:gd name="T36" fmla="*/ 0 w 10321"/>
              <a:gd name="T37" fmla="*/ 0 h 10000"/>
              <a:gd name="T38" fmla="*/ 0 w 10321"/>
              <a:gd name="T39" fmla="*/ 0 h 10000"/>
              <a:gd name="T40" fmla="*/ 0 w 10321"/>
              <a:gd name="T41" fmla="*/ 0 h 10000"/>
              <a:gd name="T42" fmla="*/ 0 w 10321"/>
              <a:gd name="T43" fmla="*/ 0 h 10000"/>
              <a:gd name="T44" fmla="*/ 0 w 10321"/>
              <a:gd name="T45" fmla="*/ 0 h 10000"/>
              <a:gd name="T46" fmla="*/ 0 w 10321"/>
              <a:gd name="T47" fmla="*/ 0 h 10000"/>
              <a:gd name="T48" fmla="*/ 0 w 10321"/>
              <a:gd name="T49" fmla="*/ 0 h 10000"/>
              <a:gd name="T50" fmla="*/ 0 w 10321"/>
              <a:gd name="T51" fmla="*/ 0 h 10000"/>
              <a:gd name="T52" fmla="*/ 0 w 10321"/>
              <a:gd name="T53" fmla="*/ 0 h 10000"/>
              <a:gd name="T54" fmla="*/ 0 w 10321"/>
              <a:gd name="T55" fmla="*/ 0 h 10000"/>
              <a:gd name="T56" fmla="*/ 0 w 10321"/>
              <a:gd name="T57" fmla="*/ 0 h 10000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w 10321"/>
              <a:gd name="T88" fmla="*/ 0 h 10000"/>
              <a:gd name="T89" fmla="*/ 10321 w 10321"/>
              <a:gd name="T90" fmla="*/ 10000 h 10000"/>
            </a:gdLst>
            <a:ahLst/>
            <a:cxnLst>
              <a:cxn ang="T58">
                <a:pos x="T0" y="T1"/>
              </a:cxn>
              <a:cxn ang="T59">
                <a:pos x="T2" y="T3"/>
              </a:cxn>
              <a:cxn ang="T60">
                <a:pos x="T4" y="T5"/>
              </a:cxn>
              <a:cxn ang="T61">
                <a:pos x="T6" y="T7"/>
              </a:cxn>
              <a:cxn ang="T62">
                <a:pos x="T8" y="T9"/>
              </a:cxn>
              <a:cxn ang="T63">
                <a:pos x="T10" y="T11"/>
              </a:cxn>
              <a:cxn ang="T64">
                <a:pos x="T12" y="T13"/>
              </a:cxn>
              <a:cxn ang="T65">
                <a:pos x="T14" y="T15"/>
              </a:cxn>
              <a:cxn ang="T66">
                <a:pos x="T16" y="T17"/>
              </a:cxn>
              <a:cxn ang="T67">
                <a:pos x="T18" y="T19"/>
              </a:cxn>
              <a:cxn ang="T68">
                <a:pos x="T20" y="T21"/>
              </a:cxn>
              <a:cxn ang="T69">
                <a:pos x="T22" y="T23"/>
              </a:cxn>
              <a:cxn ang="T70">
                <a:pos x="T24" y="T25"/>
              </a:cxn>
              <a:cxn ang="T71">
                <a:pos x="T26" y="T27"/>
              </a:cxn>
              <a:cxn ang="T72">
                <a:pos x="T28" y="T29"/>
              </a:cxn>
              <a:cxn ang="T73">
                <a:pos x="T30" y="T31"/>
              </a:cxn>
              <a:cxn ang="T74">
                <a:pos x="T32" y="T33"/>
              </a:cxn>
              <a:cxn ang="T75">
                <a:pos x="T34" y="T35"/>
              </a:cxn>
              <a:cxn ang="T76">
                <a:pos x="T36" y="T37"/>
              </a:cxn>
              <a:cxn ang="T77">
                <a:pos x="T38" y="T39"/>
              </a:cxn>
              <a:cxn ang="T78">
                <a:pos x="T40" y="T41"/>
              </a:cxn>
              <a:cxn ang="T79">
                <a:pos x="T42" y="T43"/>
              </a:cxn>
              <a:cxn ang="T80">
                <a:pos x="T44" y="T45"/>
              </a:cxn>
              <a:cxn ang="T81">
                <a:pos x="T46" y="T47"/>
              </a:cxn>
              <a:cxn ang="T82">
                <a:pos x="T48" y="T49"/>
              </a:cxn>
              <a:cxn ang="T83">
                <a:pos x="T50" y="T51"/>
              </a:cxn>
              <a:cxn ang="T84">
                <a:pos x="T52" y="T53"/>
              </a:cxn>
              <a:cxn ang="T85">
                <a:pos x="T54" y="T55"/>
              </a:cxn>
              <a:cxn ang="T86">
                <a:pos x="T56" y="T57"/>
              </a:cxn>
            </a:cxnLst>
            <a:rect l="T87" t="T88" r="T89" b="T90"/>
            <a:pathLst>
              <a:path w="10321" h="10000">
                <a:moveTo>
                  <a:pt x="0" y="10000"/>
                </a:moveTo>
                <a:lnTo>
                  <a:pt x="180" y="9905"/>
                </a:lnTo>
                <a:lnTo>
                  <a:pt x="1167" y="7156"/>
                </a:lnTo>
                <a:lnTo>
                  <a:pt x="1779" y="5782"/>
                </a:lnTo>
                <a:lnTo>
                  <a:pt x="2015" y="5592"/>
                </a:lnTo>
                <a:lnTo>
                  <a:pt x="2391" y="5071"/>
                </a:lnTo>
                <a:lnTo>
                  <a:pt x="3099" y="4597"/>
                </a:lnTo>
                <a:cubicBezTo>
                  <a:pt x="3183" y="4313"/>
                  <a:pt x="3266" y="4028"/>
                  <a:pt x="3350" y="3744"/>
                </a:cubicBezTo>
                <a:cubicBezTo>
                  <a:pt x="3400" y="3412"/>
                  <a:pt x="3452" y="3081"/>
                  <a:pt x="3502" y="2749"/>
                </a:cubicBezTo>
                <a:lnTo>
                  <a:pt x="3864" y="2133"/>
                </a:lnTo>
                <a:lnTo>
                  <a:pt x="4462" y="1374"/>
                </a:lnTo>
                <a:lnTo>
                  <a:pt x="4740" y="1090"/>
                </a:lnTo>
                <a:lnTo>
                  <a:pt x="5337" y="948"/>
                </a:lnTo>
                <a:lnTo>
                  <a:pt x="5532" y="616"/>
                </a:lnTo>
                <a:lnTo>
                  <a:pt x="5880" y="0"/>
                </a:lnTo>
                <a:lnTo>
                  <a:pt x="6185" y="237"/>
                </a:lnTo>
                <a:lnTo>
                  <a:pt x="6560" y="190"/>
                </a:lnTo>
                <a:lnTo>
                  <a:pt x="6936" y="0"/>
                </a:lnTo>
                <a:lnTo>
                  <a:pt x="7172" y="284"/>
                </a:lnTo>
                <a:lnTo>
                  <a:pt x="7506" y="569"/>
                </a:lnTo>
                <a:cubicBezTo>
                  <a:pt x="7590" y="758"/>
                  <a:pt x="7672" y="948"/>
                  <a:pt x="7756" y="1137"/>
                </a:cubicBezTo>
                <a:lnTo>
                  <a:pt x="8103" y="1469"/>
                </a:lnTo>
                <a:lnTo>
                  <a:pt x="8451" y="1943"/>
                </a:lnTo>
                <a:lnTo>
                  <a:pt x="8729" y="1943"/>
                </a:lnTo>
                <a:lnTo>
                  <a:pt x="9146" y="1943"/>
                </a:lnTo>
                <a:lnTo>
                  <a:pt x="9369" y="1706"/>
                </a:lnTo>
                <a:lnTo>
                  <a:pt x="9633" y="1611"/>
                </a:lnTo>
                <a:lnTo>
                  <a:pt x="9869" y="1848"/>
                </a:lnTo>
                <a:cubicBezTo>
                  <a:pt x="10018" y="2006"/>
                  <a:pt x="10172" y="2353"/>
                  <a:pt x="10321" y="2511"/>
                </a:cubicBezTo>
              </a:path>
            </a:pathLst>
          </a:custGeom>
          <a:noFill/>
          <a:ln w="3175" cap="flat" cmpd="sng">
            <a:solidFill>
              <a:srgbClr val="D9EAF7"/>
            </a:solidFill>
            <a:prstDash val="solid"/>
            <a:round/>
            <a:headEnd type="none" w="med" len="med"/>
            <a:tailEnd type="none" w="med" len="med"/>
          </a:ln>
        </p:spPr>
        <p:txBody>
          <a:bodyPr wrap="none" lIns="32632" tIns="32632" rIns="32632" bIns="32632" anchor="ctr"/>
          <a:lstStyle/>
          <a:p>
            <a:pPr defTabSz="891045"/>
            <a:endParaRPr lang="en-US" sz="1700" dirty="0">
              <a:solidFill>
                <a:srgbClr val="003149"/>
              </a:solidFill>
              <a:cs typeface="Arial" panose="020B0604020202020204" pitchFamily="34" charset="0"/>
            </a:endParaRPr>
          </a:p>
        </p:txBody>
      </p:sp>
      <p:sp>
        <p:nvSpPr>
          <p:cNvPr id="226" name="Freeform 738"/>
          <p:cNvSpPr>
            <a:spLocks noChangeAspect="1"/>
          </p:cNvSpPr>
          <p:nvPr/>
        </p:nvSpPr>
        <p:spPr bwMode="gray">
          <a:xfrm>
            <a:off x="4499832" y="3109005"/>
            <a:ext cx="446404" cy="602631"/>
          </a:xfrm>
          <a:custGeom>
            <a:avLst/>
            <a:gdLst>
              <a:gd name="T0" fmla="*/ 0 w 10056"/>
              <a:gd name="T1" fmla="*/ 0 h 10048"/>
              <a:gd name="T2" fmla="*/ 0 w 10056"/>
              <a:gd name="T3" fmla="*/ 0 h 10048"/>
              <a:gd name="T4" fmla="*/ 0 w 10056"/>
              <a:gd name="T5" fmla="*/ 0 h 10048"/>
              <a:gd name="T6" fmla="*/ 0 w 10056"/>
              <a:gd name="T7" fmla="*/ 0 h 10048"/>
              <a:gd name="T8" fmla="*/ 0 w 10056"/>
              <a:gd name="T9" fmla="*/ 0 h 10048"/>
              <a:gd name="T10" fmla="*/ 0 w 10056"/>
              <a:gd name="T11" fmla="*/ 0 h 10048"/>
              <a:gd name="T12" fmla="*/ 0 w 10056"/>
              <a:gd name="T13" fmla="*/ 0 h 10048"/>
              <a:gd name="T14" fmla="*/ 0 w 10056"/>
              <a:gd name="T15" fmla="*/ 0 h 10048"/>
              <a:gd name="T16" fmla="*/ 0 w 10056"/>
              <a:gd name="T17" fmla="*/ 0 h 10048"/>
              <a:gd name="T18" fmla="*/ 0 w 10056"/>
              <a:gd name="T19" fmla="*/ 0 h 10048"/>
              <a:gd name="T20" fmla="*/ 0 w 10056"/>
              <a:gd name="T21" fmla="*/ 0 h 10048"/>
              <a:gd name="T22" fmla="*/ 0 w 10056"/>
              <a:gd name="T23" fmla="*/ 0 h 10048"/>
              <a:gd name="T24" fmla="*/ 0 w 10056"/>
              <a:gd name="T25" fmla="*/ 0 h 10048"/>
              <a:gd name="T26" fmla="*/ 0 w 10056"/>
              <a:gd name="T27" fmla="*/ 0 h 10048"/>
              <a:gd name="T28" fmla="*/ 0 w 10056"/>
              <a:gd name="T29" fmla="*/ 0 h 10048"/>
              <a:gd name="T30" fmla="*/ 0 w 10056"/>
              <a:gd name="T31" fmla="*/ 0 h 10048"/>
              <a:gd name="T32" fmla="*/ 0 w 10056"/>
              <a:gd name="T33" fmla="*/ 0 h 10048"/>
              <a:gd name="T34" fmla="*/ 0 w 10056"/>
              <a:gd name="T35" fmla="*/ 0 h 10048"/>
              <a:gd name="T36" fmla="*/ 0 w 10056"/>
              <a:gd name="T37" fmla="*/ 0 h 10048"/>
              <a:gd name="T38" fmla="*/ 0 w 10056"/>
              <a:gd name="T39" fmla="*/ 0 h 10048"/>
              <a:gd name="T40" fmla="*/ 0 w 10056"/>
              <a:gd name="T41" fmla="*/ 0 h 10048"/>
              <a:gd name="T42" fmla="*/ 0 w 10056"/>
              <a:gd name="T43" fmla="*/ 0 h 10048"/>
              <a:gd name="T44" fmla="*/ 0 w 10056"/>
              <a:gd name="T45" fmla="*/ 0 h 10048"/>
              <a:gd name="T46" fmla="*/ 0 w 10056"/>
              <a:gd name="T47" fmla="*/ 0 h 10048"/>
              <a:gd name="T48" fmla="*/ 0 w 10056"/>
              <a:gd name="T49" fmla="*/ 0 h 10048"/>
              <a:gd name="T50" fmla="*/ 0 w 10056"/>
              <a:gd name="T51" fmla="*/ 0 h 10048"/>
              <a:gd name="T52" fmla="*/ 0 w 10056"/>
              <a:gd name="T53" fmla="*/ 0 h 10048"/>
              <a:gd name="T54" fmla="*/ 0 w 10056"/>
              <a:gd name="T55" fmla="*/ 0 h 10048"/>
              <a:gd name="T56" fmla="*/ 0 w 10056"/>
              <a:gd name="T57" fmla="*/ 0 h 10048"/>
              <a:gd name="T58" fmla="*/ 0 w 10056"/>
              <a:gd name="T59" fmla="*/ 0 h 10048"/>
              <a:gd name="T60" fmla="*/ 0 w 10056"/>
              <a:gd name="T61" fmla="*/ 0 h 10048"/>
              <a:gd name="T62" fmla="*/ 0 w 10056"/>
              <a:gd name="T63" fmla="*/ 0 h 10048"/>
              <a:gd name="T64" fmla="*/ 0 w 10056"/>
              <a:gd name="T65" fmla="*/ 0 h 10048"/>
              <a:gd name="T66" fmla="*/ 0 w 10056"/>
              <a:gd name="T67" fmla="*/ 0 h 10048"/>
              <a:gd name="T68" fmla="*/ 0 w 10056"/>
              <a:gd name="T69" fmla="*/ 0 h 10048"/>
              <a:gd name="T70" fmla="*/ 0 w 10056"/>
              <a:gd name="T71" fmla="*/ 0 h 10048"/>
              <a:gd name="T72" fmla="*/ 0 w 10056"/>
              <a:gd name="T73" fmla="*/ 0 h 10048"/>
              <a:gd name="T74" fmla="*/ 0 w 10056"/>
              <a:gd name="T75" fmla="*/ 0 h 10048"/>
              <a:gd name="T76" fmla="*/ 0 w 10056"/>
              <a:gd name="T77" fmla="*/ 0 h 10048"/>
              <a:gd name="T78" fmla="*/ 0 w 10056"/>
              <a:gd name="T79" fmla="*/ 0 h 10048"/>
              <a:gd name="T80" fmla="*/ 0 w 10056"/>
              <a:gd name="T81" fmla="*/ 0 h 10048"/>
              <a:gd name="T82" fmla="*/ 0 w 10056"/>
              <a:gd name="T83" fmla="*/ 0 h 10048"/>
              <a:gd name="T84" fmla="*/ 0 w 10056"/>
              <a:gd name="T85" fmla="*/ 0 h 10048"/>
              <a:gd name="T86" fmla="*/ 0 w 10056"/>
              <a:gd name="T87" fmla="*/ 0 h 10048"/>
              <a:gd name="T88" fmla="*/ 0 w 10056"/>
              <a:gd name="T89" fmla="*/ 0 h 10048"/>
              <a:gd name="T90" fmla="*/ 0 w 10056"/>
              <a:gd name="T91" fmla="*/ 0 h 10048"/>
              <a:gd name="T92" fmla="*/ 0 w 10056"/>
              <a:gd name="T93" fmla="*/ 0 h 10048"/>
              <a:gd name="T94" fmla="*/ 0 w 10056"/>
              <a:gd name="T95" fmla="*/ 0 h 10048"/>
              <a:gd name="T96" fmla="*/ 0 w 10056"/>
              <a:gd name="T97" fmla="*/ 0 h 10048"/>
              <a:gd name="T98" fmla="*/ 0 w 10056"/>
              <a:gd name="T99" fmla="*/ 0 h 10048"/>
              <a:gd name="T100" fmla="*/ 0 w 10056"/>
              <a:gd name="T101" fmla="*/ 0 h 10048"/>
              <a:gd name="T102" fmla="*/ 0 w 10056"/>
              <a:gd name="T103" fmla="*/ 0 h 10048"/>
              <a:gd name="T104" fmla="*/ 0 w 10056"/>
              <a:gd name="T105" fmla="*/ 0 h 10048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w 10056"/>
              <a:gd name="T160" fmla="*/ 0 h 10048"/>
              <a:gd name="T161" fmla="*/ 10056 w 10056"/>
              <a:gd name="T162" fmla="*/ 10048 h 10048"/>
            </a:gdLst>
            <a:ahLst/>
            <a:cxnLst>
              <a:cxn ang="T106">
                <a:pos x="T0" y="T1"/>
              </a:cxn>
              <a:cxn ang="T107">
                <a:pos x="T2" y="T3"/>
              </a:cxn>
              <a:cxn ang="T108">
                <a:pos x="T4" y="T5"/>
              </a:cxn>
              <a:cxn ang="T109">
                <a:pos x="T6" y="T7"/>
              </a:cxn>
              <a:cxn ang="T110">
                <a:pos x="T8" y="T9"/>
              </a:cxn>
              <a:cxn ang="T111">
                <a:pos x="T10" y="T11"/>
              </a:cxn>
              <a:cxn ang="T112">
                <a:pos x="T12" y="T13"/>
              </a:cxn>
              <a:cxn ang="T113">
                <a:pos x="T14" y="T15"/>
              </a:cxn>
              <a:cxn ang="T114">
                <a:pos x="T16" y="T17"/>
              </a:cxn>
              <a:cxn ang="T115">
                <a:pos x="T18" y="T19"/>
              </a:cxn>
              <a:cxn ang="T116">
                <a:pos x="T20" y="T21"/>
              </a:cxn>
              <a:cxn ang="T117">
                <a:pos x="T22" y="T23"/>
              </a:cxn>
              <a:cxn ang="T118">
                <a:pos x="T24" y="T25"/>
              </a:cxn>
              <a:cxn ang="T119">
                <a:pos x="T26" y="T27"/>
              </a:cxn>
              <a:cxn ang="T120">
                <a:pos x="T28" y="T29"/>
              </a:cxn>
              <a:cxn ang="T121">
                <a:pos x="T30" y="T31"/>
              </a:cxn>
              <a:cxn ang="T122">
                <a:pos x="T32" y="T33"/>
              </a:cxn>
              <a:cxn ang="T123">
                <a:pos x="T34" y="T35"/>
              </a:cxn>
              <a:cxn ang="T124">
                <a:pos x="T36" y="T37"/>
              </a:cxn>
              <a:cxn ang="T125">
                <a:pos x="T38" y="T39"/>
              </a:cxn>
              <a:cxn ang="T126">
                <a:pos x="T40" y="T41"/>
              </a:cxn>
              <a:cxn ang="T127">
                <a:pos x="T42" y="T43"/>
              </a:cxn>
              <a:cxn ang="T128">
                <a:pos x="T44" y="T45"/>
              </a:cxn>
              <a:cxn ang="T129">
                <a:pos x="T46" y="T47"/>
              </a:cxn>
              <a:cxn ang="T130">
                <a:pos x="T48" y="T49"/>
              </a:cxn>
              <a:cxn ang="T131">
                <a:pos x="T50" y="T51"/>
              </a:cxn>
              <a:cxn ang="T132">
                <a:pos x="T52" y="T53"/>
              </a:cxn>
              <a:cxn ang="T133">
                <a:pos x="T54" y="T55"/>
              </a:cxn>
              <a:cxn ang="T134">
                <a:pos x="T56" y="T57"/>
              </a:cxn>
              <a:cxn ang="T135">
                <a:pos x="T58" y="T59"/>
              </a:cxn>
              <a:cxn ang="T136">
                <a:pos x="T60" y="T61"/>
              </a:cxn>
              <a:cxn ang="T137">
                <a:pos x="T62" y="T63"/>
              </a:cxn>
              <a:cxn ang="T138">
                <a:pos x="T64" y="T65"/>
              </a:cxn>
              <a:cxn ang="T139">
                <a:pos x="T66" y="T67"/>
              </a:cxn>
              <a:cxn ang="T140">
                <a:pos x="T68" y="T69"/>
              </a:cxn>
              <a:cxn ang="T141">
                <a:pos x="T70" y="T71"/>
              </a:cxn>
              <a:cxn ang="T142">
                <a:pos x="T72" y="T73"/>
              </a:cxn>
              <a:cxn ang="T143">
                <a:pos x="T74" y="T75"/>
              </a:cxn>
              <a:cxn ang="T144">
                <a:pos x="T76" y="T77"/>
              </a:cxn>
              <a:cxn ang="T145">
                <a:pos x="T78" y="T79"/>
              </a:cxn>
              <a:cxn ang="T146">
                <a:pos x="T80" y="T81"/>
              </a:cxn>
              <a:cxn ang="T147">
                <a:pos x="T82" y="T83"/>
              </a:cxn>
              <a:cxn ang="T148">
                <a:pos x="T84" y="T85"/>
              </a:cxn>
              <a:cxn ang="T149">
                <a:pos x="T86" y="T87"/>
              </a:cxn>
              <a:cxn ang="T150">
                <a:pos x="T88" y="T89"/>
              </a:cxn>
              <a:cxn ang="T151">
                <a:pos x="T90" y="T91"/>
              </a:cxn>
              <a:cxn ang="T152">
                <a:pos x="T92" y="T93"/>
              </a:cxn>
              <a:cxn ang="T153">
                <a:pos x="T94" y="T95"/>
              </a:cxn>
              <a:cxn ang="T154">
                <a:pos x="T96" y="T97"/>
              </a:cxn>
              <a:cxn ang="T155">
                <a:pos x="T98" y="T99"/>
              </a:cxn>
              <a:cxn ang="T156">
                <a:pos x="T100" y="T101"/>
              </a:cxn>
              <a:cxn ang="T157">
                <a:pos x="T102" y="T103"/>
              </a:cxn>
              <a:cxn ang="T158">
                <a:pos x="T104" y="T105"/>
              </a:cxn>
            </a:cxnLst>
            <a:rect l="T159" t="T160" r="T161" b="T162"/>
            <a:pathLst>
              <a:path w="10056" h="10048">
                <a:moveTo>
                  <a:pt x="727" y="0"/>
                </a:moveTo>
                <a:cubicBezTo>
                  <a:pt x="703" y="111"/>
                  <a:pt x="680" y="223"/>
                  <a:pt x="656" y="333"/>
                </a:cubicBezTo>
                <a:lnTo>
                  <a:pt x="358" y="712"/>
                </a:lnTo>
                <a:lnTo>
                  <a:pt x="110" y="1000"/>
                </a:lnTo>
                <a:cubicBezTo>
                  <a:pt x="74" y="1048"/>
                  <a:pt x="36" y="1095"/>
                  <a:pt x="0" y="1142"/>
                </a:cubicBezTo>
                <a:cubicBezTo>
                  <a:pt x="9" y="1198"/>
                  <a:pt x="18" y="1255"/>
                  <a:pt x="27" y="1311"/>
                </a:cubicBezTo>
                <a:lnTo>
                  <a:pt x="314" y="1452"/>
                </a:lnTo>
                <a:cubicBezTo>
                  <a:pt x="362" y="1543"/>
                  <a:pt x="409" y="1635"/>
                  <a:pt x="457" y="1726"/>
                </a:cubicBezTo>
                <a:lnTo>
                  <a:pt x="325" y="1919"/>
                </a:lnTo>
                <a:lnTo>
                  <a:pt x="127" y="1978"/>
                </a:lnTo>
                <a:cubicBezTo>
                  <a:pt x="109" y="2050"/>
                  <a:pt x="90" y="2121"/>
                  <a:pt x="72" y="2193"/>
                </a:cubicBezTo>
                <a:lnTo>
                  <a:pt x="254" y="2526"/>
                </a:lnTo>
                <a:lnTo>
                  <a:pt x="617" y="2845"/>
                </a:lnTo>
                <a:lnTo>
                  <a:pt x="1145" y="3106"/>
                </a:lnTo>
                <a:lnTo>
                  <a:pt x="1404" y="3321"/>
                </a:lnTo>
                <a:cubicBezTo>
                  <a:pt x="1471" y="3503"/>
                  <a:pt x="1536" y="3687"/>
                  <a:pt x="1603" y="3869"/>
                </a:cubicBezTo>
                <a:cubicBezTo>
                  <a:pt x="1608" y="4056"/>
                  <a:pt x="1614" y="4244"/>
                  <a:pt x="1619" y="4431"/>
                </a:cubicBezTo>
                <a:cubicBezTo>
                  <a:pt x="1586" y="4558"/>
                  <a:pt x="1553" y="4684"/>
                  <a:pt x="1520" y="4811"/>
                </a:cubicBezTo>
                <a:cubicBezTo>
                  <a:pt x="1458" y="4954"/>
                  <a:pt x="1395" y="5097"/>
                  <a:pt x="1333" y="5240"/>
                </a:cubicBezTo>
                <a:lnTo>
                  <a:pt x="1058" y="5514"/>
                </a:lnTo>
                <a:lnTo>
                  <a:pt x="832" y="5907"/>
                </a:lnTo>
                <a:lnTo>
                  <a:pt x="584" y="6464"/>
                </a:lnTo>
                <a:lnTo>
                  <a:pt x="584" y="7049"/>
                </a:lnTo>
                <a:cubicBezTo>
                  <a:pt x="609" y="7204"/>
                  <a:pt x="632" y="7359"/>
                  <a:pt x="656" y="7514"/>
                </a:cubicBezTo>
                <a:lnTo>
                  <a:pt x="870" y="7871"/>
                </a:lnTo>
                <a:lnTo>
                  <a:pt x="1234" y="7907"/>
                </a:lnTo>
                <a:lnTo>
                  <a:pt x="1674" y="8072"/>
                </a:lnTo>
                <a:lnTo>
                  <a:pt x="1933" y="8337"/>
                </a:lnTo>
                <a:lnTo>
                  <a:pt x="2324" y="8419"/>
                </a:lnTo>
                <a:lnTo>
                  <a:pt x="2726" y="8227"/>
                </a:lnTo>
                <a:lnTo>
                  <a:pt x="3057" y="8026"/>
                </a:lnTo>
                <a:lnTo>
                  <a:pt x="3172" y="7953"/>
                </a:lnTo>
                <a:lnTo>
                  <a:pt x="3316" y="7975"/>
                </a:lnTo>
                <a:lnTo>
                  <a:pt x="3542" y="8145"/>
                </a:lnTo>
                <a:lnTo>
                  <a:pt x="3873" y="8337"/>
                </a:lnTo>
                <a:cubicBezTo>
                  <a:pt x="3926" y="8404"/>
                  <a:pt x="3978" y="8471"/>
                  <a:pt x="4032" y="8537"/>
                </a:cubicBezTo>
                <a:cubicBezTo>
                  <a:pt x="4017" y="8582"/>
                  <a:pt x="4003" y="8626"/>
                  <a:pt x="3988" y="8670"/>
                </a:cubicBezTo>
                <a:lnTo>
                  <a:pt x="3844" y="8858"/>
                </a:lnTo>
                <a:cubicBezTo>
                  <a:pt x="3850" y="8953"/>
                  <a:pt x="3856" y="9049"/>
                  <a:pt x="3862" y="9145"/>
                </a:cubicBezTo>
                <a:lnTo>
                  <a:pt x="4230" y="9429"/>
                </a:lnTo>
                <a:lnTo>
                  <a:pt x="4847" y="9516"/>
                </a:lnTo>
                <a:lnTo>
                  <a:pt x="5767" y="9456"/>
                </a:lnTo>
                <a:lnTo>
                  <a:pt x="6329" y="9406"/>
                </a:lnTo>
                <a:lnTo>
                  <a:pt x="6731" y="9369"/>
                </a:lnTo>
                <a:lnTo>
                  <a:pt x="7001" y="9323"/>
                </a:lnTo>
                <a:lnTo>
                  <a:pt x="7364" y="9273"/>
                </a:lnTo>
                <a:lnTo>
                  <a:pt x="7706" y="9369"/>
                </a:lnTo>
                <a:lnTo>
                  <a:pt x="8081" y="9525"/>
                </a:lnTo>
                <a:lnTo>
                  <a:pt x="8456" y="9597"/>
                </a:lnTo>
                <a:lnTo>
                  <a:pt x="8885" y="9739"/>
                </a:lnTo>
                <a:lnTo>
                  <a:pt x="9226" y="9871"/>
                </a:lnTo>
                <a:lnTo>
                  <a:pt x="9733" y="9999"/>
                </a:lnTo>
                <a:cubicBezTo>
                  <a:pt x="9847" y="10023"/>
                  <a:pt x="9942" y="10024"/>
                  <a:pt x="10056" y="10048"/>
                </a:cubicBezTo>
              </a:path>
            </a:pathLst>
          </a:custGeom>
          <a:noFill/>
          <a:ln w="3175" cap="flat" cmpd="sng">
            <a:solidFill>
              <a:srgbClr val="D9EAF7"/>
            </a:solidFill>
            <a:prstDash val="solid"/>
            <a:round/>
            <a:headEnd type="none" w="med" len="med"/>
            <a:tailEnd type="none" w="med" len="med"/>
          </a:ln>
        </p:spPr>
        <p:txBody>
          <a:bodyPr wrap="none" lIns="32632" tIns="32632" rIns="32632" bIns="32632" anchor="ctr"/>
          <a:lstStyle/>
          <a:p>
            <a:pPr defTabSz="891045"/>
            <a:endParaRPr lang="en-US" sz="1700" dirty="0">
              <a:solidFill>
                <a:srgbClr val="003149"/>
              </a:solidFill>
              <a:cs typeface="Arial" panose="020B0604020202020204" pitchFamily="34" charset="0"/>
            </a:endParaRPr>
          </a:p>
        </p:txBody>
      </p:sp>
      <p:sp>
        <p:nvSpPr>
          <p:cNvPr id="227" name="Freeform 753"/>
          <p:cNvSpPr>
            <a:spLocks noChangeAspect="1"/>
          </p:cNvSpPr>
          <p:nvPr>
            <p:custDataLst>
              <p:tags r:id="rId125"/>
            </p:custDataLst>
          </p:nvPr>
        </p:nvSpPr>
        <p:spPr bwMode="gray">
          <a:xfrm>
            <a:off x="4671839" y="3711628"/>
            <a:ext cx="274383" cy="400319"/>
          </a:xfrm>
          <a:custGeom>
            <a:avLst/>
            <a:gdLst>
              <a:gd name="T0" fmla="*/ 0 w 10046"/>
              <a:gd name="T1" fmla="*/ 0 h 10154"/>
              <a:gd name="T2" fmla="*/ 0 w 10046"/>
              <a:gd name="T3" fmla="*/ 0 h 10154"/>
              <a:gd name="T4" fmla="*/ 0 w 10046"/>
              <a:gd name="T5" fmla="*/ 0 h 10154"/>
              <a:gd name="T6" fmla="*/ 0 w 10046"/>
              <a:gd name="T7" fmla="*/ 0 h 10154"/>
              <a:gd name="T8" fmla="*/ 0 w 10046"/>
              <a:gd name="T9" fmla="*/ 0 h 10154"/>
              <a:gd name="T10" fmla="*/ 0 w 10046"/>
              <a:gd name="T11" fmla="*/ 0 h 10154"/>
              <a:gd name="T12" fmla="*/ 0 w 10046"/>
              <a:gd name="T13" fmla="*/ 0 h 10154"/>
              <a:gd name="T14" fmla="*/ 0 w 10046"/>
              <a:gd name="T15" fmla="*/ 0 h 10154"/>
              <a:gd name="T16" fmla="*/ 0 w 10046"/>
              <a:gd name="T17" fmla="*/ 0 h 10154"/>
              <a:gd name="T18" fmla="*/ 0 w 10046"/>
              <a:gd name="T19" fmla="*/ 0 h 10154"/>
              <a:gd name="T20" fmla="*/ 0 w 10046"/>
              <a:gd name="T21" fmla="*/ 0 h 10154"/>
              <a:gd name="T22" fmla="*/ 0 w 10046"/>
              <a:gd name="T23" fmla="*/ 0 h 10154"/>
              <a:gd name="T24" fmla="*/ 0 w 10046"/>
              <a:gd name="T25" fmla="*/ 0 h 10154"/>
              <a:gd name="T26" fmla="*/ 0 w 10046"/>
              <a:gd name="T27" fmla="*/ 0 h 10154"/>
              <a:gd name="T28" fmla="*/ 0 w 10046"/>
              <a:gd name="T29" fmla="*/ 0 h 10154"/>
              <a:gd name="T30" fmla="*/ 0 w 10046"/>
              <a:gd name="T31" fmla="*/ 0 h 10154"/>
              <a:gd name="T32" fmla="*/ 0 w 10046"/>
              <a:gd name="T33" fmla="*/ 0 h 10154"/>
              <a:gd name="T34" fmla="*/ 0 w 10046"/>
              <a:gd name="T35" fmla="*/ 0 h 10154"/>
              <a:gd name="T36" fmla="*/ 0 w 10046"/>
              <a:gd name="T37" fmla="*/ 0 h 10154"/>
              <a:gd name="T38" fmla="*/ 0 w 10046"/>
              <a:gd name="T39" fmla="*/ 0 h 10154"/>
              <a:gd name="T40" fmla="*/ 0 w 10046"/>
              <a:gd name="T41" fmla="*/ 0 h 10154"/>
              <a:gd name="T42" fmla="*/ 0 w 10046"/>
              <a:gd name="T43" fmla="*/ 0 h 10154"/>
              <a:gd name="T44" fmla="*/ 0 w 10046"/>
              <a:gd name="T45" fmla="*/ 0 h 10154"/>
              <a:gd name="T46" fmla="*/ 0 w 10046"/>
              <a:gd name="T47" fmla="*/ 0 h 10154"/>
              <a:gd name="T48" fmla="*/ 0 w 10046"/>
              <a:gd name="T49" fmla="*/ 0 h 10154"/>
              <a:gd name="T50" fmla="*/ 0 w 10046"/>
              <a:gd name="T51" fmla="*/ 0 h 10154"/>
              <a:gd name="T52" fmla="*/ 0 w 10046"/>
              <a:gd name="T53" fmla="*/ 0 h 10154"/>
              <a:gd name="T54" fmla="*/ 0 w 10046"/>
              <a:gd name="T55" fmla="*/ 0 h 10154"/>
              <a:gd name="T56" fmla="*/ 0 w 10046"/>
              <a:gd name="T57" fmla="*/ 0 h 10154"/>
              <a:gd name="T58" fmla="*/ 0 w 10046"/>
              <a:gd name="T59" fmla="*/ 0 h 10154"/>
              <a:gd name="T60" fmla="*/ 0 w 10046"/>
              <a:gd name="T61" fmla="*/ 0 h 10154"/>
              <a:gd name="T62" fmla="*/ 0 w 10046"/>
              <a:gd name="T63" fmla="*/ 0 h 10154"/>
              <a:gd name="T64" fmla="*/ 0 w 10046"/>
              <a:gd name="T65" fmla="*/ 0 h 10154"/>
              <a:gd name="T66" fmla="*/ 0 w 10046"/>
              <a:gd name="T67" fmla="*/ 0 h 10154"/>
              <a:gd name="T68" fmla="*/ 0 w 10046"/>
              <a:gd name="T69" fmla="*/ 0 h 10154"/>
              <a:gd name="T70" fmla="*/ 0 w 10046"/>
              <a:gd name="T71" fmla="*/ 0 h 10154"/>
              <a:gd name="T72" fmla="*/ 0 w 10046"/>
              <a:gd name="T73" fmla="*/ 0 h 10154"/>
              <a:gd name="T74" fmla="*/ 0 w 10046"/>
              <a:gd name="T75" fmla="*/ 0 h 10154"/>
              <a:gd name="T76" fmla="*/ 0 w 10046"/>
              <a:gd name="T77" fmla="*/ 0 h 10154"/>
              <a:gd name="T78" fmla="*/ 0 w 10046"/>
              <a:gd name="T79" fmla="*/ 0 h 10154"/>
              <a:gd name="T80" fmla="*/ 0 w 10046"/>
              <a:gd name="T81" fmla="*/ 0 h 10154"/>
              <a:gd name="T82" fmla="*/ 0 w 10046"/>
              <a:gd name="T83" fmla="*/ 0 h 10154"/>
              <a:gd name="T84" fmla="*/ 0 w 10046"/>
              <a:gd name="T85" fmla="*/ 0 h 10154"/>
              <a:gd name="T86" fmla="*/ 0 w 10046"/>
              <a:gd name="T87" fmla="*/ 0 h 10154"/>
              <a:gd name="T88" fmla="*/ 0 w 10046"/>
              <a:gd name="T89" fmla="*/ 0 h 10154"/>
              <a:gd name="T90" fmla="*/ 0 w 10046"/>
              <a:gd name="T91" fmla="*/ 0 h 10154"/>
              <a:gd name="T92" fmla="*/ 0 w 10046"/>
              <a:gd name="T93" fmla="*/ 0 h 10154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w 10046"/>
              <a:gd name="T142" fmla="*/ 0 h 10154"/>
              <a:gd name="T143" fmla="*/ 10046 w 10046"/>
              <a:gd name="T144" fmla="*/ 10154 h 10154"/>
            </a:gdLst>
            <a:ahLst/>
            <a:cxnLst>
              <a:cxn ang="T94">
                <a:pos x="T0" y="T1"/>
              </a:cxn>
              <a:cxn ang="T95">
                <a:pos x="T2" y="T3"/>
              </a:cxn>
              <a:cxn ang="T96">
                <a:pos x="T4" y="T5"/>
              </a:cxn>
              <a:cxn ang="T97">
                <a:pos x="T6" y="T7"/>
              </a:cxn>
              <a:cxn ang="T98">
                <a:pos x="T8" y="T9"/>
              </a:cxn>
              <a:cxn ang="T99">
                <a:pos x="T10" y="T11"/>
              </a:cxn>
              <a:cxn ang="T100">
                <a:pos x="T12" y="T13"/>
              </a:cxn>
              <a:cxn ang="T101">
                <a:pos x="T14" y="T15"/>
              </a:cxn>
              <a:cxn ang="T102">
                <a:pos x="T16" y="T17"/>
              </a:cxn>
              <a:cxn ang="T103">
                <a:pos x="T18" y="T19"/>
              </a:cxn>
              <a:cxn ang="T104">
                <a:pos x="T20" y="T21"/>
              </a:cxn>
              <a:cxn ang="T105">
                <a:pos x="T22" y="T23"/>
              </a:cxn>
              <a:cxn ang="T106">
                <a:pos x="T24" y="T25"/>
              </a:cxn>
              <a:cxn ang="T107">
                <a:pos x="T26" y="T27"/>
              </a:cxn>
              <a:cxn ang="T108">
                <a:pos x="T28" y="T29"/>
              </a:cxn>
              <a:cxn ang="T109">
                <a:pos x="T30" y="T31"/>
              </a:cxn>
              <a:cxn ang="T110">
                <a:pos x="T32" y="T33"/>
              </a:cxn>
              <a:cxn ang="T111">
                <a:pos x="T34" y="T35"/>
              </a:cxn>
              <a:cxn ang="T112">
                <a:pos x="T36" y="T37"/>
              </a:cxn>
              <a:cxn ang="T113">
                <a:pos x="T38" y="T39"/>
              </a:cxn>
              <a:cxn ang="T114">
                <a:pos x="T40" y="T41"/>
              </a:cxn>
              <a:cxn ang="T115">
                <a:pos x="T42" y="T43"/>
              </a:cxn>
              <a:cxn ang="T116">
                <a:pos x="T44" y="T45"/>
              </a:cxn>
              <a:cxn ang="T117">
                <a:pos x="T46" y="T47"/>
              </a:cxn>
              <a:cxn ang="T118">
                <a:pos x="T48" y="T49"/>
              </a:cxn>
              <a:cxn ang="T119">
                <a:pos x="T50" y="T51"/>
              </a:cxn>
              <a:cxn ang="T120">
                <a:pos x="T52" y="T53"/>
              </a:cxn>
              <a:cxn ang="T121">
                <a:pos x="T54" y="T55"/>
              </a:cxn>
              <a:cxn ang="T122">
                <a:pos x="T56" y="T57"/>
              </a:cxn>
              <a:cxn ang="T123">
                <a:pos x="T58" y="T59"/>
              </a:cxn>
              <a:cxn ang="T124">
                <a:pos x="T60" y="T61"/>
              </a:cxn>
              <a:cxn ang="T125">
                <a:pos x="T62" y="T63"/>
              </a:cxn>
              <a:cxn ang="T126">
                <a:pos x="T64" y="T65"/>
              </a:cxn>
              <a:cxn ang="T127">
                <a:pos x="T66" y="T67"/>
              </a:cxn>
              <a:cxn ang="T128">
                <a:pos x="T68" y="T69"/>
              </a:cxn>
              <a:cxn ang="T129">
                <a:pos x="T70" y="T71"/>
              </a:cxn>
              <a:cxn ang="T130">
                <a:pos x="T72" y="T73"/>
              </a:cxn>
              <a:cxn ang="T131">
                <a:pos x="T74" y="T75"/>
              </a:cxn>
              <a:cxn ang="T132">
                <a:pos x="T76" y="T77"/>
              </a:cxn>
              <a:cxn ang="T133">
                <a:pos x="T78" y="T79"/>
              </a:cxn>
              <a:cxn ang="T134">
                <a:pos x="T80" y="T81"/>
              </a:cxn>
              <a:cxn ang="T135">
                <a:pos x="T82" y="T83"/>
              </a:cxn>
              <a:cxn ang="T136">
                <a:pos x="T84" y="T85"/>
              </a:cxn>
              <a:cxn ang="T137">
                <a:pos x="T86" y="T87"/>
              </a:cxn>
              <a:cxn ang="T138">
                <a:pos x="T88" y="T89"/>
              </a:cxn>
              <a:cxn ang="T139">
                <a:pos x="T90" y="T91"/>
              </a:cxn>
              <a:cxn ang="T140">
                <a:pos x="T92" y="T93"/>
              </a:cxn>
            </a:cxnLst>
            <a:rect l="T141" t="T142" r="T143" b="T144"/>
            <a:pathLst>
              <a:path w="10046" h="10154">
                <a:moveTo>
                  <a:pt x="10046" y="0"/>
                </a:moveTo>
                <a:lnTo>
                  <a:pt x="9871" y="154"/>
                </a:lnTo>
                <a:lnTo>
                  <a:pt x="9575" y="207"/>
                </a:lnTo>
                <a:lnTo>
                  <a:pt x="9393" y="261"/>
                </a:lnTo>
                <a:lnTo>
                  <a:pt x="9393" y="583"/>
                </a:lnTo>
                <a:lnTo>
                  <a:pt x="9666" y="814"/>
                </a:lnTo>
                <a:cubicBezTo>
                  <a:pt x="9636" y="873"/>
                  <a:pt x="9605" y="933"/>
                  <a:pt x="9575" y="993"/>
                </a:cubicBezTo>
                <a:lnTo>
                  <a:pt x="9393" y="1063"/>
                </a:lnTo>
                <a:lnTo>
                  <a:pt x="9165" y="1277"/>
                </a:lnTo>
                <a:cubicBezTo>
                  <a:pt x="9142" y="1343"/>
                  <a:pt x="9120" y="1408"/>
                  <a:pt x="9097" y="1474"/>
                </a:cubicBezTo>
                <a:lnTo>
                  <a:pt x="8665" y="1563"/>
                </a:lnTo>
                <a:cubicBezTo>
                  <a:pt x="8605" y="1647"/>
                  <a:pt x="8544" y="1729"/>
                  <a:pt x="8483" y="1812"/>
                </a:cubicBezTo>
                <a:lnTo>
                  <a:pt x="8279" y="1956"/>
                </a:lnTo>
                <a:lnTo>
                  <a:pt x="8029" y="2009"/>
                </a:lnTo>
                <a:lnTo>
                  <a:pt x="7823" y="2168"/>
                </a:lnTo>
                <a:cubicBezTo>
                  <a:pt x="7847" y="2210"/>
                  <a:pt x="7869" y="2253"/>
                  <a:pt x="7892" y="2294"/>
                </a:cubicBezTo>
                <a:cubicBezTo>
                  <a:pt x="7854" y="2366"/>
                  <a:pt x="7816" y="2437"/>
                  <a:pt x="7778" y="2508"/>
                </a:cubicBezTo>
                <a:lnTo>
                  <a:pt x="7642" y="2544"/>
                </a:lnTo>
                <a:lnTo>
                  <a:pt x="7460" y="2508"/>
                </a:lnTo>
                <a:cubicBezTo>
                  <a:pt x="7483" y="2579"/>
                  <a:pt x="7506" y="2651"/>
                  <a:pt x="7529" y="2722"/>
                </a:cubicBezTo>
                <a:cubicBezTo>
                  <a:pt x="7514" y="2793"/>
                  <a:pt x="7497" y="2865"/>
                  <a:pt x="7482" y="2937"/>
                </a:cubicBezTo>
                <a:lnTo>
                  <a:pt x="7642" y="3186"/>
                </a:lnTo>
                <a:lnTo>
                  <a:pt x="7437" y="3257"/>
                </a:lnTo>
                <a:lnTo>
                  <a:pt x="7324" y="3328"/>
                </a:lnTo>
                <a:lnTo>
                  <a:pt x="6892" y="3132"/>
                </a:lnTo>
                <a:cubicBezTo>
                  <a:pt x="6854" y="2995"/>
                  <a:pt x="6815" y="2859"/>
                  <a:pt x="6777" y="2722"/>
                </a:cubicBezTo>
                <a:lnTo>
                  <a:pt x="6459" y="2615"/>
                </a:lnTo>
                <a:cubicBezTo>
                  <a:pt x="6451" y="2533"/>
                  <a:pt x="6444" y="2449"/>
                  <a:pt x="6436" y="2366"/>
                </a:cubicBezTo>
                <a:cubicBezTo>
                  <a:pt x="6451" y="2324"/>
                  <a:pt x="6467" y="2282"/>
                  <a:pt x="6482" y="2241"/>
                </a:cubicBezTo>
                <a:lnTo>
                  <a:pt x="6232" y="2168"/>
                </a:lnTo>
                <a:lnTo>
                  <a:pt x="5868" y="2241"/>
                </a:lnTo>
                <a:cubicBezTo>
                  <a:pt x="5822" y="2348"/>
                  <a:pt x="5776" y="2455"/>
                  <a:pt x="5731" y="2562"/>
                </a:cubicBezTo>
                <a:cubicBezTo>
                  <a:pt x="5693" y="2621"/>
                  <a:pt x="5656" y="2680"/>
                  <a:pt x="5618" y="2740"/>
                </a:cubicBezTo>
                <a:lnTo>
                  <a:pt x="5254" y="2740"/>
                </a:lnTo>
                <a:lnTo>
                  <a:pt x="5072" y="2865"/>
                </a:lnTo>
                <a:lnTo>
                  <a:pt x="4890" y="2900"/>
                </a:lnTo>
                <a:lnTo>
                  <a:pt x="4640" y="2740"/>
                </a:lnTo>
                <a:lnTo>
                  <a:pt x="4389" y="2740"/>
                </a:lnTo>
                <a:lnTo>
                  <a:pt x="4071" y="2740"/>
                </a:lnTo>
                <a:lnTo>
                  <a:pt x="3752" y="2686"/>
                </a:lnTo>
                <a:cubicBezTo>
                  <a:pt x="3714" y="2664"/>
                  <a:pt x="3677" y="2639"/>
                  <a:pt x="3639" y="2615"/>
                </a:cubicBezTo>
                <a:cubicBezTo>
                  <a:pt x="3556" y="2758"/>
                  <a:pt x="3472" y="2900"/>
                  <a:pt x="3389" y="3043"/>
                </a:cubicBezTo>
                <a:lnTo>
                  <a:pt x="3048" y="3453"/>
                </a:lnTo>
                <a:lnTo>
                  <a:pt x="2889" y="3793"/>
                </a:lnTo>
                <a:cubicBezTo>
                  <a:pt x="2859" y="3846"/>
                  <a:pt x="2827" y="3899"/>
                  <a:pt x="2797" y="3953"/>
                </a:cubicBezTo>
                <a:lnTo>
                  <a:pt x="2797" y="4042"/>
                </a:lnTo>
                <a:lnTo>
                  <a:pt x="3207" y="4131"/>
                </a:lnTo>
                <a:lnTo>
                  <a:pt x="3207" y="4221"/>
                </a:lnTo>
                <a:lnTo>
                  <a:pt x="2957" y="4292"/>
                </a:lnTo>
                <a:lnTo>
                  <a:pt x="3138" y="4433"/>
                </a:lnTo>
                <a:lnTo>
                  <a:pt x="3343" y="4399"/>
                </a:lnTo>
                <a:cubicBezTo>
                  <a:pt x="3358" y="4464"/>
                  <a:pt x="3374" y="4530"/>
                  <a:pt x="3389" y="4595"/>
                </a:cubicBezTo>
                <a:cubicBezTo>
                  <a:pt x="3359" y="4660"/>
                  <a:pt x="3328" y="4726"/>
                  <a:pt x="3298" y="4791"/>
                </a:cubicBezTo>
                <a:lnTo>
                  <a:pt x="3457" y="4898"/>
                </a:lnTo>
                <a:cubicBezTo>
                  <a:pt x="3472" y="4963"/>
                  <a:pt x="3487" y="5030"/>
                  <a:pt x="3503" y="5095"/>
                </a:cubicBezTo>
                <a:cubicBezTo>
                  <a:pt x="3472" y="5125"/>
                  <a:pt x="3441" y="5154"/>
                  <a:pt x="3411" y="5184"/>
                </a:cubicBezTo>
                <a:lnTo>
                  <a:pt x="3207" y="5184"/>
                </a:lnTo>
                <a:lnTo>
                  <a:pt x="3002" y="5238"/>
                </a:lnTo>
                <a:lnTo>
                  <a:pt x="3002" y="5416"/>
                </a:lnTo>
                <a:cubicBezTo>
                  <a:pt x="2964" y="5440"/>
                  <a:pt x="2927" y="5464"/>
                  <a:pt x="2889" y="5487"/>
                </a:cubicBezTo>
                <a:lnTo>
                  <a:pt x="2889" y="5612"/>
                </a:lnTo>
                <a:lnTo>
                  <a:pt x="2706" y="5808"/>
                </a:lnTo>
                <a:lnTo>
                  <a:pt x="2456" y="5738"/>
                </a:lnTo>
                <a:lnTo>
                  <a:pt x="2207" y="5808"/>
                </a:lnTo>
                <a:cubicBezTo>
                  <a:pt x="2177" y="5863"/>
                  <a:pt x="2145" y="5915"/>
                  <a:pt x="2115" y="5969"/>
                </a:cubicBezTo>
                <a:cubicBezTo>
                  <a:pt x="2100" y="6028"/>
                  <a:pt x="2084" y="6088"/>
                  <a:pt x="2069" y="6148"/>
                </a:cubicBezTo>
                <a:lnTo>
                  <a:pt x="1888" y="6254"/>
                </a:lnTo>
                <a:cubicBezTo>
                  <a:pt x="1873" y="6320"/>
                  <a:pt x="1858" y="6385"/>
                  <a:pt x="1843" y="6451"/>
                </a:cubicBezTo>
                <a:cubicBezTo>
                  <a:pt x="1827" y="6510"/>
                  <a:pt x="1811" y="6569"/>
                  <a:pt x="1796" y="6629"/>
                </a:cubicBezTo>
                <a:cubicBezTo>
                  <a:pt x="1826" y="6718"/>
                  <a:pt x="1858" y="6807"/>
                  <a:pt x="1888" y="6897"/>
                </a:cubicBezTo>
                <a:cubicBezTo>
                  <a:pt x="1903" y="6956"/>
                  <a:pt x="1918" y="7014"/>
                  <a:pt x="1933" y="7075"/>
                </a:cubicBezTo>
                <a:lnTo>
                  <a:pt x="1796" y="7093"/>
                </a:lnTo>
                <a:lnTo>
                  <a:pt x="1592" y="7093"/>
                </a:lnTo>
                <a:lnTo>
                  <a:pt x="1478" y="7217"/>
                </a:lnTo>
                <a:cubicBezTo>
                  <a:pt x="1502" y="7247"/>
                  <a:pt x="1524" y="7277"/>
                  <a:pt x="1547" y="7307"/>
                </a:cubicBezTo>
                <a:cubicBezTo>
                  <a:pt x="1517" y="7354"/>
                  <a:pt x="1485" y="7402"/>
                  <a:pt x="1455" y="7449"/>
                </a:cubicBezTo>
                <a:cubicBezTo>
                  <a:pt x="1440" y="7514"/>
                  <a:pt x="1425" y="7580"/>
                  <a:pt x="1410" y="7645"/>
                </a:cubicBezTo>
                <a:cubicBezTo>
                  <a:pt x="1470" y="7705"/>
                  <a:pt x="1532" y="7763"/>
                  <a:pt x="1592" y="7824"/>
                </a:cubicBezTo>
                <a:lnTo>
                  <a:pt x="1455" y="8003"/>
                </a:lnTo>
                <a:lnTo>
                  <a:pt x="1297" y="8128"/>
                </a:lnTo>
                <a:lnTo>
                  <a:pt x="1297" y="8359"/>
                </a:lnTo>
                <a:lnTo>
                  <a:pt x="1297" y="8484"/>
                </a:lnTo>
                <a:lnTo>
                  <a:pt x="1069" y="8538"/>
                </a:lnTo>
                <a:lnTo>
                  <a:pt x="796" y="8449"/>
                </a:lnTo>
                <a:cubicBezTo>
                  <a:pt x="751" y="8430"/>
                  <a:pt x="705" y="8413"/>
                  <a:pt x="660" y="8395"/>
                </a:cubicBezTo>
                <a:lnTo>
                  <a:pt x="501" y="8430"/>
                </a:lnTo>
                <a:cubicBezTo>
                  <a:pt x="477" y="8465"/>
                  <a:pt x="455" y="8502"/>
                  <a:pt x="432" y="8538"/>
                </a:cubicBezTo>
                <a:lnTo>
                  <a:pt x="296" y="8555"/>
                </a:lnTo>
                <a:lnTo>
                  <a:pt x="91" y="8591"/>
                </a:lnTo>
                <a:cubicBezTo>
                  <a:pt x="61" y="8703"/>
                  <a:pt x="30" y="8817"/>
                  <a:pt x="0" y="8930"/>
                </a:cubicBezTo>
                <a:lnTo>
                  <a:pt x="341" y="9215"/>
                </a:lnTo>
                <a:lnTo>
                  <a:pt x="705" y="9518"/>
                </a:lnTo>
                <a:lnTo>
                  <a:pt x="865" y="9767"/>
                </a:lnTo>
                <a:lnTo>
                  <a:pt x="1046" y="9875"/>
                </a:lnTo>
                <a:cubicBezTo>
                  <a:pt x="1114" y="9952"/>
                  <a:pt x="1182" y="10077"/>
                  <a:pt x="1250" y="10154"/>
                </a:cubicBezTo>
              </a:path>
            </a:pathLst>
          </a:custGeom>
          <a:noFill/>
          <a:ln w="3175" cap="flat" cmpd="sng">
            <a:solidFill>
              <a:srgbClr val="D9EAF7"/>
            </a:solidFill>
            <a:prstDash val="solid"/>
            <a:round/>
            <a:headEnd type="none" w="med" len="med"/>
            <a:tailEnd type="none" w="med" len="med"/>
          </a:ln>
        </p:spPr>
        <p:txBody>
          <a:bodyPr wrap="none" lIns="32632" tIns="32632" rIns="32632" bIns="32632" anchor="ctr"/>
          <a:lstStyle/>
          <a:p>
            <a:pPr defTabSz="891045"/>
            <a:endParaRPr lang="en-US" sz="1700" dirty="0">
              <a:solidFill>
                <a:srgbClr val="003149"/>
              </a:solidFill>
              <a:cs typeface="Arial" panose="020B0604020202020204" pitchFamily="34" charset="0"/>
            </a:endParaRPr>
          </a:p>
        </p:txBody>
      </p:sp>
      <p:sp>
        <p:nvSpPr>
          <p:cNvPr id="228" name="Freeform 668"/>
          <p:cNvSpPr>
            <a:spLocks noChangeAspect="1"/>
          </p:cNvSpPr>
          <p:nvPr>
            <p:custDataLst>
              <p:tags r:id="rId126"/>
            </p:custDataLst>
          </p:nvPr>
        </p:nvSpPr>
        <p:spPr bwMode="gray">
          <a:xfrm>
            <a:off x="3301348" y="2712969"/>
            <a:ext cx="274383" cy="248226"/>
          </a:xfrm>
          <a:custGeom>
            <a:avLst/>
            <a:gdLst>
              <a:gd name="T0" fmla="*/ 0 w 9488"/>
              <a:gd name="T1" fmla="*/ 0 h 10508"/>
              <a:gd name="T2" fmla="*/ 0 w 9488"/>
              <a:gd name="T3" fmla="*/ 0 h 10508"/>
              <a:gd name="T4" fmla="*/ 0 w 9488"/>
              <a:gd name="T5" fmla="*/ 0 h 10508"/>
              <a:gd name="T6" fmla="*/ 0 w 9488"/>
              <a:gd name="T7" fmla="*/ 0 h 10508"/>
              <a:gd name="T8" fmla="*/ 0 w 9488"/>
              <a:gd name="T9" fmla="*/ 0 h 10508"/>
              <a:gd name="T10" fmla="*/ 0 w 9488"/>
              <a:gd name="T11" fmla="*/ 0 h 10508"/>
              <a:gd name="T12" fmla="*/ 0 w 9488"/>
              <a:gd name="T13" fmla="*/ 0 h 10508"/>
              <a:gd name="T14" fmla="*/ 0 w 9488"/>
              <a:gd name="T15" fmla="*/ 0 h 10508"/>
              <a:gd name="T16" fmla="*/ 0 w 9488"/>
              <a:gd name="T17" fmla="*/ 0 h 10508"/>
              <a:gd name="T18" fmla="*/ 0 w 9488"/>
              <a:gd name="T19" fmla="*/ 0 h 10508"/>
              <a:gd name="T20" fmla="*/ 0 w 9488"/>
              <a:gd name="T21" fmla="*/ 0 h 10508"/>
              <a:gd name="T22" fmla="*/ 0 w 9488"/>
              <a:gd name="T23" fmla="*/ 0 h 10508"/>
              <a:gd name="T24" fmla="*/ 0 w 9488"/>
              <a:gd name="T25" fmla="*/ 0 h 10508"/>
              <a:gd name="T26" fmla="*/ 0 w 9488"/>
              <a:gd name="T27" fmla="*/ 0 h 10508"/>
              <a:gd name="T28" fmla="*/ 0 w 9488"/>
              <a:gd name="T29" fmla="*/ 0 h 10508"/>
              <a:gd name="T30" fmla="*/ 0 w 9488"/>
              <a:gd name="T31" fmla="*/ 0 h 10508"/>
              <a:gd name="T32" fmla="*/ 0 w 9488"/>
              <a:gd name="T33" fmla="*/ 0 h 10508"/>
              <a:gd name="T34" fmla="*/ 0 w 9488"/>
              <a:gd name="T35" fmla="*/ 0 h 10508"/>
              <a:gd name="T36" fmla="*/ 0 w 9488"/>
              <a:gd name="T37" fmla="*/ 0 h 10508"/>
              <a:gd name="T38" fmla="*/ 0 w 9488"/>
              <a:gd name="T39" fmla="*/ 0 h 10508"/>
              <a:gd name="T40" fmla="*/ 0 w 9488"/>
              <a:gd name="T41" fmla="*/ 0 h 10508"/>
              <a:gd name="T42" fmla="*/ 0 w 9488"/>
              <a:gd name="T43" fmla="*/ 0 h 10508"/>
              <a:gd name="T44" fmla="*/ 0 w 9488"/>
              <a:gd name="T45" fmla="*/ 0 h 10508"/>
              <a:gd name="T46" fmla="*/ 0 w 9488"/>
              <a:gd name="T47" fmla="*/ 0 h 10508"/>
              <a:gd name="T48" fmla="*/ 0 w 9488"/>
              <a:gd name="T49" fmla="*/ 0 h 10508"/>
              <a:gd name="T50" fmla="*/ 0 w 9488"/>
              <a:gd name="T51" fmla="*/ 0 h 10508"/>
              <a:gd name="T52" fmla="*/ 0 w 9488"/>
              <a:gd name="T53" fmla="*/ 0 h 10508"/>
              <a:gd name="T54" fmla="*/ 0 w 9488"/>
              <a:gd name="T55" fmla="*/ 0 h 10508"/>
              <a:gd name="T56" fmla="*/ 0 w 9488"/>
              <a:gd name="T57" fmla="*/ 0 h 10508"/>
              <a:gd name="T58" fmla="*/ 0 w 9488"/>
              <a:gd name="T59" fmla="*/ 0 h 10508"/>
              <a:gd name="T60" fmla="*/ 0 w 9488"/>
              <a:gd name="T61" fmla="*/ 0 h 10508"/>
              <a:gd name="T62" fmla="*/ 0 w 9488"/>
              <a:gd name="T63" fmla="*/ 0 h 10508"/>
              <a:gd name="T64" fmla="*/ 0 w 9488"/>
              <a:gd name="T65" fmla="*/ 0 h 10508"/>
              <a:gd name="T66" fmla="*/ 0 w 9488"/>
              <a:gd name="T67" fmla="*/ 0 h 10508"/>
              <a:gd name="T68" fmla="*/ 0 w 9488"/>
              <a:gd name="T69" fmla="*/ 0 h 10508"/>
              <a:gd name="T70" fmla="*/ 0 w 9488"/>
              <a:gd name="T71" fmla="*/ 0 h 10508"/>
              <a:gd name="T72" fmla="*/ 0 w 9488"/>
              <a:gd name="T73" fmla="*/ 0 h 10508"/>
              <a:gd name="T74" fmla="*/ 0 w 9488"/>
              <a:gd name="T75" fmla="*/ 0 h 10508"/>
              <a:gd name="T76" fmla="*/ 0 w 9488"/>
              <a:gd name="T77" fmla="*/ 0 h 10508"/>
              <a:gd name="T78" fmla="*/ 0 w 9488"/>
              <a:gd name="T79" fmla="*/ 0 h 10508"/>
              <a:gd name="T80" fmla="*/ 0 w 9488"/>
              <a:gd name="T81" fmla="*/ 0 h 10508"/>
              <a:gd name="T82" fmla="*/ 0 w 9488"/>
              <a:gd name="T83" fmla="*/ 0 h 10508"/>
              <a:gd name="T84" fmla="*/ 0 w 9488"/>
              <a:gd name="T85" fmla="*/ 0 h 10508"/>
              <a:gd name="T86" fmla="*/ 0 w 9488"/>
              <a:gd name="T87" fmla="*/ 0 h 10508"/>
              <a:gd name="T88" fmla="*/ 0 w 9488"/>
              <a:gd name="T89" fmla="*/ 0 h 10508"/>
              <a:gd name="T90" fmla="*/ 0 w 9488"/>
              <a:gd name="T91" fmla="*/ 0 h 10508"/>
              <a:gd name="T92" fmla="*/ 0 w 9488"/>
              <a:gd name="T93" fmla="*/ 0 h 10508"/>
              <a:gd name="T94" fmla="*/ 0 w 9488"/>
              <a:gd name="T95" fmla="*/ 0 h 10508"/>
              <a:gd name="T96" fmla="*/ 0 w 9488"/>
              <a:gd name="T97" fmla="*/ 0 h 10508"/>
              <a:gd name="T98" fmla="*/ 0 w 9488"/>
              <a:gd name="T99" fmla="*/ 0 h 10508"/>
              <a:gd name="T100" fmla="*/ 0 w 9488"/>
              <a:gd name="T101" fmla="*/ 0 h 10508"/>
              <a:gd name="T102" fmla="*/ 0 w 9488"/>
              <a:gd name="T103" fmla="*/ 0 h 10508"/>
              <a:gd name="T104" fmla="*/ 0 w 9488"/>
              <a:gd name="T105" fmla="*/ 0 h 10508"/>
              <a:gd name="T106" fmla="*/ 0 w 9488"/>
              <a:gd name="T107" fmla="*/ 0 h 10508"/>
              <a:gd name="T108" fmla="*/ 0 w 9488"/>
              <a:gd name="T109" fmla="*/ 0 h 10508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w 9488"/>
              <a:gd name="T166" fmla="*/ 0 h 10508"/>
              <a:gd name="T167" fmla="*/ 9488 w 9488"/>
              <a:gd name="T168" fmla="*/ 10508 h 10508"/>
            </a:gdLst>
            <a:ahLst/>
            <a:cxnLst>
              <a:cxn ang="T110">
                <a:pos x="T0" y="T1"/>
              </a:cxn>
              <a:cxn ang="T111">
                <a:pos x="T2" y="T3"/>
              </a:cxn>
              <a:cxn ang="T112">
                <a:pos x="T4" y="T5"/>
              </a:cxn>
              <a:cxn ang="T113">
                <a:pos x="T6" y="T7"/>
              </a:cxn>
              <a:cxn ang="T114">
                <a:pos x="T8" y="T9"/>
              </a:cxn>
              <a:cxn ang="T115">
                <a:pos x="T10" y="T11"/>
              </a:cxn>
              <a:cxn ang="T116">
                <a:pos x="T12" y="T13"/>
              </a:cxn>
              <a:cxn ang="T117">
                <a:pos x="T14" y="T15"/>
              </a:cxn>
              <a:cxn ang="T118">
                <a:pos x="T16" y="T17"/>
              </a:cxn>
              <a:cxn ang="T119">
                <a:pos x="T18" y="T19"/>
              </a:cxn>
              <a:cxn ang="T120">
                <a:pos x="T20" y="T21"/>
              </a:cxn>
              <a:cxn ang="T121">
                <a:pos x="T22" y="T23"/>
              </a:cxn>
              <a:cxn ang="T122">
                <a:pos x="T24" y="T25"/>
              </a:cxn>
              <a:cxn ang="T123">
                <a:pos x="T26" y="T27"/>
              </a:cxn>
              <a:cxn ang="T124">
                <a:pos x="T28" y="T29"/>
              </a:cxn>
              <a:cxn ang="T125">
                <a:pos x="T30" y="T31"/>
              </a:cxn>
              <a:cxn ang="T126">
                <a:pos x="T32" y="T33"/>
              </a:cxn>
              <a:cxn ang="T127">
                <a:pos x="T34" y="T35"/>
              </a:cxn>
              <a:cxn ang="T128">
                <a:pos x="T36" y="T37"/>
              </a:cxn>
              <a:cxn ang="T129">
                <a:pos x="T38" y="T39"/>
              </a:cxn>
              <a:cxn ang="T130">
                <a:pos x="T40" y="T41"/>
              </a:cxn>
              <a:cxn ang="T131">
                <a:pos x="T42" y="T43"/>
              </a:cxn>
              <a:cxn ang="T132">
                <a:pos x="T44" y="T45"/>
              </a:cxn>
              <a:cxn ang="T133">
                <a:pos x="T46" y="T47"/>
              </a:cxn>
              <a:cxn ang="T134">
                <a:pos x="T48" y="T49"/>
              </a:cxn>
              <a:cxn ang="T135">
                <a:pos x="T50" y="T51"/>
              </a:cxn>
              <a:cxn ang="T136">
                <a:pos x="T52" y="T53"/>
              </a:cxn>
              <a:cxn ang="T137">
                <a:pos x="T54" y="T55"/>
              </a:cxn>
              <a:cxn ang="T138">
                <a:pos x="T56" y="T57"/>
              </a:cxn>
              <a:cxn ang="T139">
                <a:pos x="T58" y="T59"/>
              </a:cxn>
              <a:cxn ang="T140">
                <a:pos x="T60" y="T61"/>
              </a:cxn>
              <a:cxn ang="T141">
                <a:pos x="T62" y="T63"/>
              </a:cxn>
              <a:cxn ang="T142">
                <a:pos x="T64" y="T65"/>
              </a:cxn>
              <a:cxn ang="T143">
                <a:pos x="T66" y="T67"/>
              </a:cxn>
              <a:cxn ang="T144">
                <a:pos x="T68" y="T69"/>
              </a:cxn>
              <a:cxn ang="T145">
                <a:pos x="T70" y="T71"/>
              </a:cxn>
              <a:cxn ang="T146">
                <a:pos x="T72" y="T73"/>
              </a:cxn>
              <a:cxn ang="T147">
                <a:pos x="T74" y="T75"/>
              </a:cxn>
              <a:cxn ang="T148">
                <a:pos x="T76" y="T77"/>
              </a:cxn>
              <a:cxn ang="T149">
                <a:pos x="T78" y="T79"/>
              </a:cxn>
              <a:cxn ang="T150">
                <a:pos x="T80" y="T81"/>
              </a:cxn>
              <a:cxn ang="T151">
                <a:pos x="T82" y="T83"/>
              </a:cxn>
              <a:cxn ang="T152">
                <a:pos x="T84" y="T85"/>
              </a:cxn>
              <a:cxn ang="T153">
                <a:pos x="T86" y="T87"/>
              </a:cxn>
              <a:cxn ang="T154">
                <a:pos x="T88" y="T89"/>
              </a:cxn>
              <a:cxn ang="T155">
                <a:pos x="T90" y="T91"/>
              </a:cxn>
              <a:cxn ang="T156">
                <a:pos x="T92" y="T93"/>
              </a:cxn>
              <a:cxn ang="T157">
                <a:pos x="T94" y="T95"/>
              </a:cxn>
              <a:cxn ang="T158">
                <a:pos x="T96" y="T97"/>
              </a:cxn>
              <a:cxn ang="T159">
                <a:pos x="T98" y="T99"/>
              </a:cxn>
              <a:cxn ang="T160">
                <a:pos x="T100" y="T101"/>
              </a:cxn>
              <a:cxn ang="T161">
                <a:pos x="T102" y="T103"/>
              </a:cxn>
              <a:cxn ang="T162">
                <a:pos x="T104" y="T105"/>
              </a:cxn>
              <a:cxn ang="T163">
                <a:pos x="T106" y="T107"/>
              </a:cxn>
              <a:cxn ang="T164">
                <a:pos x="T108" y="T109"/>
              </a:cxn>
            </a:cxnLst>
            <a:rect l="T165" t="T166" r="T167" b="T168"/>
            <a:pathLst>
              <a:path w="9488" h="10508">
                <a:moveTo>
                  <a:pt x="0" y="10250"/>
                </a:moveTo>
                <a:cubicBezTo>
                  <a:pt x="62" y="10156"/>
                  <a:pt x="124" y="10064"/>
                  <a:pt x="186" y="9970"/>
                </a:cubicBezTo>
                <a:lnTo>
                  <a:pt x="468" y="9881"/>
                </a:lnTo>
                <a:lnTo>
                  <a:pt x="898" y="10269"/>
                </a:lnTo>
                <a:lnTo>
                  <a:pt x="1416" y="10508"/>
                </a:lnTo>
                <a:lnTo>
                  <a:pt x="1630" y="10269"/>
                </a:lnTo>
                <a:lnTo>
                  <a:pt x="1996" y="9910"/>
                </a:lnTo>
                <a:lnTo>
                  <a:pt x="2406" y="9552"/>
                </a:lnTo>
                <a:lnTo>
                  <a:pt x="2794" y="9254"/>
                </a:lnTo>
                <a:lnTo>
                  <a:pt x="3054" y="9164"/>
                </a:lnTo>
                <a:lnTo>
                  <a:pt x="3376" y="8836"/>
                </a:lnTo>
                <a:lnTo>
                  <a:pt x="3677" y="8626"/>
                </a:lnTo>
                <a:lnTo>
                  <a:pt x="3935" y="8389"/>
                </a:lnTo>
                <a:lnTo>
                  <a:pt x="3935" y="7941"/>
                </a:lnTo>
                <a:lnTo>
                  <a:pt x="3677" y="7493"/>
                </a:lnTo>
                <a:lnTo>
                  <a:pt x="3225" y="7404"/>
                </a:lnTo>
                <a:lnTo>
                  <a:pt x="2858" y="7315"/>
                </a:lnTo>
                <a:lnTo>
                  <a:pt x="2191" y="7315"/>
                </a:lnTo>
                <a:lnTo>
                  <a:pt x="1867" y="7105"/>
                </a:lnTo>
                <a:cubicBezTo>
                  <a:pt x="1897" y="6907"/>
                  <a:pt x="1925" y="6708"/>
                  <a:pt x="1954" y="6509"/>
                </a:cubicBezTo>
                <a:cubicBezTo>
                  <a:pt x="2033" y="6322"/>
                  <a:pt x="2111" y="6132"/>
                  <a:pt x="2191" y="5942"/>
                </a:cubicBezTo>
                <a:lnTo>
                  <a:pt x="2514" y="5495"/>
                </a:lnTo>
                <a:lnTo>
                  <a:pt x="2901" y="5254"/>
                </a:lnTo>
                <a:lnTo>
                  <a:pt x="3160" y="4987"/>
                </a:lnTo>
                <a:cubicBezTo>
                  <a:pt x="3211" y="4904"/>
                  <a:pt x="3259" y="4819"/>
                  <a:pt x="3310" y="4735"/>
                </a:cubicBezTo>
                <a:lnTo>
                  <a:pt x="3570" y="4376"/>
                </a:lnTo>
                <a:cubicBezTo>
                  <a:pt x="3591" y="4257"/>
                  <a:pt x="3613" y="4136"/>
                  <a:pt x="3635" y="4019"/>
                </a:cubicBezTo>
                <a:cubicBezTo>
                  <a:pt x="3693" y="3929"/>
                  <a:pt x="3750" y="3839"/>
                  <a:pt x="3807" y="3749"/>
                </a:cubicBezTo>
                <a:cubicBezTo>
                  <a:pt x="3858" y="3570"/>
                  <a:pt x="3907" y="3390"/>
                  <a:pt x="3958" y="3213"/>
                </a:cubicBezTo>
                <a:cubicBezTo>
                  <a:pt x="3913" y="3063"/>
                  <a:pt x="3871" y="2914"/>
                  <a:pt x="3828" y="2765"/>
                </a:cubicBezTo>
                <a:cubicBezTo>
                  <a:pt x="3756" y="2616"/>
                  <a:pt x="3685" y="2466"/>
                  <a:pt x="3613" y="2317"/>
                </a:cubicBezTo>
                <a:cubicBezTo>
                  <a:pt x="3578" y="2228"/>
                  <a:pt x="3541" y="2138"/>
                  <a:pt x="3506" y="2048"/>
                </a:cubicBezTo>
                <a:cubicBezTo>
                  <a:pt x="3462" y="1840"/>
                  <a:pt x="3417" y="1631"/>
                  <a:pt x="3376" y="1423"/>
                </a:cubicBezTo>
                <a:cubicBezTo>
                  <a:pt x="3398" y="1274"/>
                  <a:pt x="3417" y="1123"/>
                  <a:pt x="3441" y="975"/>
                </a:cubicBezTo>
                <a:lnTo>
                  <a:pt x="3699" y="945"/>
                </a:lnTo>
                <a:lnTo>
                  <a:pt x="3935" y="1035"/>
                </a:lnTo>
                <a:cubicBezTo>
                  <a:pt x="3979" y="1164"/>
                  <a:pt x="4021" y="1293"/>
                  <a:pt x="4065" y="1423"/>
                </a:cubicBezTo>
                <a:lnTo>
                  <a:pt x="4474" y="1780"/>
                </a:lnTo>
                <a:lnTo>
                  <a:pt x="5487" y="2467"/>
                </a:lnTo>
                <a:lnTo>
                  <a:pt x="5897" y="2765"/>
                </a:lnTo>
                <a:lnTo>
                  <a:pt x="6263" y="3571"/>
                </a:lnTo>
                <a:lnTo>
                  <a:pt x="6607" y="4108"/>
                </a:lnTo>
                <a:lnTo>
                  <a:pt x="7124" y="4287"/>
                </a:lnTo>
                <a:lnTo>
                  <a:pt x="7448" y="4704"/>
                </a:lnTo>
                <a:lnTo>
                  <a:pt x="7966" y="4525"/>
                </a:lnTo>
                <a:lnTo>
                  <a:pt x="8158" y="3898"/>
                </a:lnTo>
                <a:cubicBezTo>
                  <a:pt x="8180" y="3779"/>
                  <a:pt x="8202" y="3659"/>
                  <a:pt x="8224" y="3540"/>
                </a:cubicBezTo>
                <a:cubicBezTo>
                  <a:pt x="8246" y="3332"/>
                  <a:pt x="8267" y="3122"/>
                  <a:pt x="8288" y="2914"/>
                </a:cubicBezTo>
                <a:cubicBezTo>
                  <a:pt x="8303" y="2705"/>
                  <a:pt x="8316" y="2496"/>
                  <a:pt x="8331" y="2288"/>
                </a:cubicBezTo>
                <a:cubicBezTo>
                  <a:pt x="8309" y="2138"/>
                  <a:pt x="8288" y="1989"/>
                  <a:pt x="8267" y="1840"/>
                </a:cubicBezTo>
                <a:lnTo>
                  <a:pt x="8612" y="1423"/>
                </a:lnTo>
                <a:cubicBezTo>
                  <a:pt x="8668" y="1303"/>
                  <a:pt x="8728" y="1184"/>
                  <a:pt x="8784" y="1064"/>
                </a:cubicBezTo>
                <a:lnTo>
                  <a:pt x="9043" y="796"/>
                </a:lnTo>
                <a:lnTo>
                  <a:pt x="9430" y="527"/>
                </a:lnTo>
                <a:cubicBezTo>
                  <a:pt x="9473" y="378"/>
                  <a:pt x="9445" y="149"/>
                  <a:pt x="9488" y="0"/>
                </a:cubicBezTo>
              </a:path>
            </a:pathLst>
          </a:custGeom>
          <a:noFill/>
          <a:ln w="3175" cap="flat" cmpd="sng">
            <a:solidFill>
              <a:srgbClr val="D9EAF7"/>
            </a:solidFill>
            <a:prstDash val="solid"/>
            <a:round/>
            <a:headEnd type="none" w="med" len="med"/>
            <a:tailEnd type="none" w="sm" len="sm"/>
          </a:ln>
        </p:spPr>
        <p:txBody>
          <a:bodyPr wrap="none" lIns="32632" tIns="32632" rIns="32632" bIns="32632" anchor="ctr"/>
          <a:lstStyle/>
          <a:p>
            <a:pPr defTabSz="891045"/>
            <a:endParaRPr lang="en-US" sz="1700" dirty="0">
              <a:solidFill>
                <a:srgbClr val="003149"/>
              </a:solidFill>
              <a:cs typeface="Arial" panose="020B0604020202020204" pitchFamily="34" charset="0"/>
            </a:endParaRPr>
          </a:p>
        </p:txBody>
      </p:sp>
      <p:sp>
        <p:nvSpPr>
          <p:cNvPr id="229" name="Freeform 669"/>
          <p:cNvSpPr>
            <a:spLocks noChangeAspect="1"/>
          </p:cNvSpPr>
          <p:nvPr>
            <p:custDataLst>
              <p:tags r:id="rId127"/>
            </p:custDataLst>
          </p:nvPr>
        </p:nvSpPr>
        <p:spPr bwMode="gray">
          <a:xfrm>
            <a:off x="3487587" y="2603941"/>
            <a:ext cx="88144" cy="111917"/>
          </a:xfrm>
          <a:custGeom>
            <a:avLst/>
            <a:gdLst>
              <a:gd name="T0" fmla="*/ 468816539 w 284"/>
              <a:gd name="T1" fmla="*/ 545614391 h 307"/>
              <a:gd name="T2" fmla="*/ 468816539 w 284"/>
              <a:gd name="T3" fmla="*/ 545614391 h 307"/>
              <a:gd name="T4" fmla="*/ 468816539 w 284"/>
              <a:gd name="T5" fmla="*/ 545614391 h 307"/>
              <a:gd name="T6" fmla="*/ 468816539 w 284"/>
              <a:gd name="T7" fmla="*/ 545614391 h 307"/>
              <a:gd name="T8" fmla="*/ 468816539 w 284"/>
              <a:gd name="T9" fmla="*/ 545614391 h 307"/>
              <a:gd name="T10" fmla="*/ 468816539 w 284"/>
              <a:gd name="T11" fmla="*/ 545614391 h 307"/>
              <a:gd name="T12" fmla="*/ 468816539 w 284"/>
              <a:gd name="T13" fmla="*/ 545614391 h 307"/>
              <a:gd name="T14" fmla="*/ 468816539 w 284"/>
              <a:gd name="T15" fmla="*/ 545614391 h 307"/>
              <a:gd name="T16" fmla="*/ 468816539 w 284"/>
              <a:gd name="T17" fmla="*/ 545614391 h 307"/>
              <a:gd name="T18" fmla="*/ 468816539 w 284"/>
              <a:gd name="T19" fmla="*/ 545614391 h 307"/>
              <a:gd name="T20" fmla="*/ 468816539 w 284"/>
              <a:gd name="T21" fmla="*/ 545614391 h 307"/>
              <a:gd name="T22" fmla="*/ 468816539 w 284"/>
              <a:gd name="T23" fmla="*/ 545614391 h 307"/>
              <a:gd name="T24" fmla="*/ 468816539 w 284"/>
              <a:gd name="T25" fmla="*/ 545614391 h 307"/>
              <a:gd name="T26" fmla="*/ 468816539 w 284"/>
              <a:gd name="T27" fmla="*/ 545614391 h 307"/>
              <a:gd name="T28" fmla="*/ 468816539 w 284"/>
              <a:gd name="T29" fmla="*/ 545614391 h 307"/>
              <a:gd name="T30" fmla="*/ 0 w 284"/>
              <a:gd name="T31" fmla="*/ 0 h 307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w 284"/>
              <a:gd name="T49" fmla="*/ 0 h 307"/>
              <a:gd name="T50" fmla="*/ 284 w 284"/>
              <a:gd name="T51" fmla="*/ 307 h 307"/>
            </a:gdLst>
            <a:ahLst/>
            <a:cxnLst>
              <a:cxn ang="T32">
                <a:pos x="T0" y="T1"/>
              </a:cxn>
              <a:cxn ang="T33">
                <a:pos x="T2" y="T3"/>
              </a:cxn>
              <a:cxn ang="T34">
                <a:pos x="T4" y="T5"/>
              </a:cxn>
              <a:cxn ang="T35">
                <a:pos x="T6" y="T7"/>
              </a:cxn>
              <a:cxn ang="T36">
                <a:pos x="T8" y="T9"/>
              </a:cxn>
              <a:cxn ang="T37">
                <a:pos x="T10" y="T11"/>
              </a:cxn>
              <a:cxn ang="T38">
                <a:pos x="T12" y="T13"/>
              </a:cxn>
              <a:cxn ang="T39">
                <a:pos x="T14" y="T15"/>
              </a:cxn>
              <a:cxn ang="T40">
                <a:pos x="T16" y="T17"/>
              </a:cxn>
              <a:cxn ang="T41">
                <a:pos x="T18" y="T19"/>
              </a:cxn>
              <a:cxn ang="T42">
                <a:pos x="T20" y="T21"/>
              </a:cxn>
              <a:cxn ang="T43">
                <a:pos x="T22" y="T23"/>
              </a:cxn>
              <a:cxn ang="T44">
                <a:pos x="T24" y="T25"/>
              </a:cxn>
              <a:cxn ang="T45">
                <a:pos x="T26" y="T27"/>
              </a:cxn>
              <a:cxn ang="T46">
                <a:pos x="T28" y="T29"/>
              </a:cxn>
              <a:cxn ang="T47">
                <a:pos x="T30" y="T31"/>
              </a:cxn>
            </a:cxnLst>
            <a:rect l="T48" t="T49" r="T50" b="T51"/>
            <a:pathLst>
              <a:path w="284" h="307">
                <a:moveTo>
                  <a:pt x="284" y="307"/>
                </a:moveTo>
                <a:lnTo>
                  <a:pt x="272" y="287"/>
                </a:lnTo>
                <a:lnTo>
                  <a:pt x="254" y="271"/>
                </a:lnTo>
                <a:lnTo>
                  <a:pt x="200" y="269"/>
                </a:lnTo>
                <a:lnTo>
                  <a:pt x="174" y="269"/>
                </a:lnTo>
                <a:lnTo>
                  <a:pt x="152" y="245"/>
                </a:lnTo>
                <a:lnTo>
                  <a:pt x="152" y="221"/>
                </a:lnTo>
                <a:lnTo>
                  <a:pt x="128" y="191"/>
                </a:lnTo>
                <a:lnTo>
                  <a:pt x="114" y="168"/>
                </a:lnTo>
                <a:lnTo>
                  <a:pt x="92" y="146"/>
                </a:lnTo>
                <a:lnTo>
                  <a:pt x="72" y="122"/>
                </a:lnTo>
                <a:lnTo>
                  <a:pt x="60" y="98"/>
                </a:lnTo>
                <a:lnTo>
                  <a:pt x="50" y="74"/>
                </a:lnTo>
                <a:lnTo>
                  <a:pt x="32" y="56"/>
                </a:lnTo>
                <a:lnTo>
                  <a:pt x="18" y="32"/>
                </a:lnTo>
                <a:lnTo>
                  <a:pt x="0" y="0"/>
                </a:lnTo>
              </a:path>
            </a:pathLst>
          </a:custGeom>
          <a:noFill/>
          <a:ln w="3175" cap="flat" cmpd="sng">
            <a:solidFill>
              <a:srgbClr val="D9EAF7"/>
            </a:solidFill>
            <a:prstDash val="solid"/>
            <a:round/>
            <a:headEnd type="none" w="med" len="med"/>
            <a:tailEnd type="none" w="sm" len="sm"/>
          </a:ln>
        </p:spPr>
        <p:txBody>
          <a:bodyPr wrap="none" lIns="32632" tIns="32632" rIns="32632" bIns="32632" anchor="ctr"/>
          <a:lstStyle/>
          <a:p>
            <a:pPr defTabSz="891045"/>
            <a:endParaRPr lang="en-US" sz="1700" dirty="0">
              <a:solidFill>
                <a:srgbClr val="003149"/>
              </a:solidFill>
              <a:cs typeface="Arial" panose="020B0604020202020204" pitchFamily="34" charset="0"/>
            </a:endParaRPr>
          </a:p>
        </p:txBody>
      </p:sp>
      <p:sp>
        <p:nvSpPr>
          <p:cNvPr id="230" name="Freeform 709"/>
          <p:cNvSpPr>
            <a:spLocks noChangeAspect="1"/>
          </p:cNvSpPr>
          <p:nvPr>
            <p:custDataLst>
              <p:tags r:id="rId128"/>
            </p:custDataLst>
          </p:nvPr>
        </p:nvSpPr>
        <p:spPr bwMode="gray">
          <a:xfrm>
            <a:off x="3345420" y="3117601"/>
            <a:ext cx="129372" cy="129135"/>
          </a:xfrm>
          <a:custGeom>
            <a:avLst/>
            <a:gdLst>
              <a:gd name="T0" fmla="*/ 935028269 w 209"/>
              <a:gd name="T1" fmla="*/ 0 h 182"/>
              <a:gd name="T2" fmla="*/ 935028269 w 209"/>
              <a:gd name="T3" fmla="*/ 1061941854 h 182"/>
              <a:gd name="T4" fmla="*/ 935028269 w 209"/>
              <a:gd name="T5" fmla="*/ 1061941854 h 182"/>
              <a:gd name="T6" fmla="*/ 935028269 w 209"/>
              <a:gd name="T7" fmla="*/ 1061941854 h 182"/>
              <a:gd name="T8" fmla="*/ 935028269 w 209"/>
              <a:gd name="T9" fmla="*/ 1061941854 h 182"/>
              <a:gd name="T10" fmla="*/ 935028269 w 209"/>
              <a:gd name="T11" fmla="*/ 1061941854 h 182"/>
              <a:gd name="T12" fmla="*/ 935028269 w 209"/>
              <a:gd name="T13" fmla="*/ 1061941854 h 182"/>
              <a:gd name="T14" fmla="*/ 935028269 w 209"/>
              <a:gd name="T15" fmla="*/ 1061941854 h 182"/>
              <a:gd name="T16" fmla="*/ 935028269 w 209"/>
              <a:gd name="T17" fmla="*/ 1061941854 h 182"/>
              <a:gd name="T18" fmla="*/ 935028269 w 209"/>
              <a:gd name="T19" fmla="*/ 1061941854 h 182"/>
              <a:gd name="T20" fmla="*/ 935028269 w 209"/>
              <a:gd name="T21" fmla="*/ 1061941854 h 182"/>
              <a:gd name="T22" fmla="*/ 935028269 w 209"/>
              <a:gd name="T23" fmla="*/ 1061941854 h 182"/>
              <a:gd name="T24" fmla="*/ 935028269 w 209"/>
              <a:gd name="T25" fmla="*/ 1061941854 h 182"/>
              <a:gd name="T26" fmla="*/ 935028269 w 209"/>
              <a:gd name="T27" fmla="*/ 1061941854 h 182"/>
              <a:gd name="T28" fmla="*/ 935028269 w 209"/>
              <a:gd name="T29" fmla="*/ 1061941854 h 182"/>
              <a:gd name="T30" fmla="*/ 935028269 w 209"/>
              <a:gd name="T31" fmla="*/ 1061941854 h 182"/>
              <a:gd name="T32" fmla="*/ 935028269 w 209"/>
              <a:gd name="T33" fmla="*/ 1061941854 h 182"/>
              <a:gd name="T34" fmla="*/ 935028269 w 209"/>
              <a:gd name="T35" fmla="*/ 1061941854 h 182"/>
              <a:gd name="T36" fmla="*/ 935028269 w 209"/>
              <a:gd name="T37" fmla="*/ 1061941854 h 182"/>
              <a:gd name="T38" fmla="*/ 935028269 w 209"/>
              <a:gd name="T39" fmla="*/ 1061941854 h 182"/>
              <a:gd name="T40" fmla="*/ 935028269 w 209"/>
              <a:gd name="T41" fmla="*/ 1061941854 h 182"/>
              <a:gd name="T42" fmla="*/ 935028269 w 209"/>
              <a:gd name="T43" fmla="*/ 1061941854 h 182"/>
              <a:gd name="T44" fmla="*/ 935028269 w 209"/>
              <a:gd name="T45" fmla="*/ 1061941854 h 182"/>
              <a:gd name="T46" fmla="*/ 935028269 w 209"/>
              <a:gd name="T47" fmla="*/ 1061941854 h 182"/>
              <a:gd name="T48" fmla="*/ 935028269 w 209"/>
              <a:gd name="T49" fmla="*/ 1061941854 h 182"/>
              <a:gd name="T50" fmla="*/ 935028269 w 209"/>
              <a:gd name="T51" fmla="*/ 1061941854 h 182"/>
              <a:gd name="T52" fmla="*/ 935028269 w 209"/>
              <a:gd name="T53" fmla="*/ 1061941854 h 182"/>
              <a:gd name="T54" fmla="*/ 935028269 w 209"/>
              <a:gd name="T55" fmla="*/ 1061941854 h 182"/>
              <a:gd name="T56" fmla="*/ 935028269 w 209"/>
              <a:gd name="T57" fmla="*/ 1061941854 h 182"/>
              <a:gd name="T58" fmla="*/ 935028269 w 209"/>
              <a:gd name="T59" fmla="*/ 1061941854 h 182"/>
              <a:gd name="T60" fmla="*/ 935028269 w 209"/>
              <a:gd name="T61" fmla="*/ 1061941854 h 182"/>
              <a:gd name="T62" fmla="*/ 935028269 w 209"/>
              <a:gd name="T63" fmla="*/ 1061941854 h 182"/>
              <a:gd name="T64" fmla="*/ 935028269 w 209"/>
              <a:gd name="T65" fmla="*/ 1061941854 h 182"/>
              <a:gd name="T66" fmla="*/ 935028269 w 209"/>
              <a:gd name="T67" fmla="*/ 1061941854 h 182"/>
              <a:gd name="T68" fmla="*/ 935028269 w 209"/>
              <a:gd name="T69" fmla="*/ 1061941854 h 182"/>
              <a:gd name="T70" fmla="*/ 935028269 w 209"/>
              <a:gd name="T71" fmla="*/ 1061941854 h 182"/>
              <a:gd name="T72" fmla="*/ 0 w 209"/>
              <a:gd name="T73" fmla="*/ 1061941854 h 182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w 209"/>
              <a:gd name="T112" fmla="*/ 0 h 182"/>
              <a:gd name="T113" fmla="*/ 209 w 209"/>
              <a:gd name="T114" fmla="*/ 182 h 182"/>
            </a:gdLst>
            <a:ahLst/>
            <a:cxnLst>
              <a:cxn ang="T74">
                <a:pos x="T0" y="T1"/>
              </a:cxn>
              <a:cxn ang="T75">
                <a:pos x="T2" y="T3"/>
              </a:cxn>
              <a:cxn ang="T76">
                <a:pos x="T4" y="T5"/>
              </a:cxn>
              <a:cxn ang="T77">
                <a:pos x="T6" y="T7"/>
              </a:cxn>
              <a:cxn ang="T78">
                <a:pos x="T8" y="T9"/>
              </a:cxn>
              <a:cxn ang="T79">
                <a:pos x="T10" y="T11"/>
              </a:cxn>
              <a:cxn ang="T80">
                <a:pos x="T12" y="T13"/>
              </a:cxn>
              <a:cxn ang="T81">
                <a:pos x="T14" y="T15"/>
              </a:cxn>
              <a:cxn ang="T82">
                <a:pos x="T16" y="T17"/>
              </a:cxn>
              <a:cxn ang="T83">
                <a:pos x="T18" y="T19"/>
              </a:cxn>
              <a:cxn ang="T84">
                <a:pos x="T20" y="T21"/>
              </a:cxn>
              <a:cxn ang="T85">
                <a:pos x="T22" y="T23"/>
              </a:cxn>
              <a:cxn ang="T86">
                <a:pos x="T24" y="T25"/>
              </a:cxn>
              <a:cxn ang="T87">
                <a:pos x="T26" y="T27"/>
              </a:cxn>
              <a:cxn ang="T88">
                <a:pos x="T28" y="T29"/>
              </a:cxn>
              <a:cxn ang="T89">
                <a:pos x="T30" y="T31"/>
              </a:cxn>
              <a:cxn ang="T90">
                <a:pos x="T32" y="T33"/>
              </a:cxn>
              <a:cxn ang="T91">
                <a:pos x="T34" y="T35"/>
              </a:cxn>
              <a:cxn ang="T92">
                <a:pos x="T36" y="T37"/>
              </a:cxn>
              <a:cxn ang="T93">
                <a:pos x="T38" y="T39"/>
              </a:cxn>
              <a:cxn ang="T94">
                <a:pos x="T40" y="T41"/>
              </a:cxn>
              <a:cxn ang="T95">
                <a:pos x="T42" y="T43"/>
              </a:cxn>
              <a:cxn ang="T96">
                <a:pos x="T44" y="T45"/>
              </a:cxn>
              <a:cxn ang="T97">
                <a:pos x="T46" y="T47"/>
              </a:cxn>
              <a:cxn ang="T98">
                <a:pos x="T48" y="T49"/>
              </a:cxn>
              <a:cxn ang="T99">
                <a:pos x="T50" y="T51"/>
              </a:cxn>
              <a:cxn ang="T100">
                <a:pos x="T52" y="T53"/>
              </a:cxn>
              <a:cxn ang="T101">
                <a:pos x="T54" y="T55"/>
              </a:cxn>
              <a:cxn ang="T102">
                <a:pos x="T56" y="T57"/>
              </a:cxn>
              <a:cxn ang="T103">
                <a:pos x="T58" y="T59"/>
              </a:cxn>
              <a:cxn ang="T104">
                <a:pos x="T60" y="T61"/>
              </a:cxn>
              <a:cxn ang="T105">
                <a:pos x="T62" y="T63"/>
              </a:cxn>
              <a:cxn ang="T106">
                <a:pos x="T64" y="T65"/>
              </a:cxn>
              <a:cxn ang="T107">
                <a:pos x="T66" y="T67"/>
              </a:cxn>
              <a:cxn ang="T108">
                <a:pos x="T68" y="T69"/>
              </a:cxn>
              <a:cxn ang="T109">
                <a:pos x="T70" y="T71"/>
              </a:cxn>
              <a:cxn ang="T110">
                <a:pos x="T72" y="T73"/>
              </a:cxn>
            </a:cxnLst>
            <a:rect l="T111" t="T112" r="T113" b="T114"/>
            <a:pathLst>
              <a:path w="209" h="182">
                <a:moveTo>
                  <a:pt x="209" y="0"/>
                </a:moveTo>
                <a:lnTo>
                  <a:pt x="203" y="5"/>
                </a:lnTo>
                <a:lnTo>
                  <a:pt x="196" y="9"/>
                </a:lnTo>
                <a:lnTo>
                  <a:pt x="187" y="16"/>
                </a:lnTo>
                <a:lnTo>
                  <a:pt x="183" y="21"/>
                </a:lnTo>
                <a:lnTo>
                  <a:pt x="181" y="28"/>
                </a:lnTo>
                <a:lnTo>
                  <a:pt x="176" y="37"/>
                </a:lnTo>
                <a:lnTo>
                  <a:pt x="167" y="52"/>
                </a:lnTo>
                <a:lnTo>
                  <a:pt x="161" y="54"/>
                </a:lnTo>
                <a:lnTo>
                  <a:pt x="154" y="65"/>
                </a:lnTo>
                <a:lnTo>
                  <a:pt x="151" y="77"/>
                </a:lnTo>
                <a:lnTo>
                  <a:pt x="146" y="89"/>
                </a:lnTo>
                <a:lnTo>
                  <a:pt x="140" y="103"/>
                </a:lnTo>
                <a:lnTo>
                  <a:pt x="142" y="117"/>
                </a:lnTo>
                <a:lnTo>
                  <a:pt x="148" y="118"/>
                </a:lnTo>
                <a:lnTo>
                  <a:pt x="155" y="128"/>
                </a:lnTo>
                <a:lnTo>
                  <a:pt x="170" y="134"/>
                </a:lnTo>
                <a:lnTo>
                  <a:pt x="175" y="144"/>
                </a:lnTo>
                <a:lnTo>
                  <a:pt x="172" y="150"/>
                </a:lnTo>
                <a:lnTo>
                  <a:pt x="169" y="157"/>
                </a:lnTo>
                <a:lnTo>
                  <a:pt x="164" y="160"/>
                </a:lnTo>
                <a:lnTo>
                  <a:pt x="143" y="166"/>
                </a:lnTo>
                <a:lnTo>
                  <a:pt x="136" y="170"/>
                </a:lnTo>
                <a:lnTo>
                  <a:pt x="134" y="168"/>
                </a:lnTo>
                <a:lnTo>
                  <a:pt x="129" y="172"/>
                </a:lnTo>
                <a:lnTo>
                  <a:pt x="97" y="176"/>
                </a:lnTo>
                <a:lnTo>
                  <a:pt x="92" y="182"/>
                </a:lnTo>
                <a:lnTo>
                  <a:pt x="70" y="181"/>
                </a:lnTo>
                <a:lnTo>
                  <a:pt x="64" y="176"/>
                </a:lnTo>
                <a:lnTo>
                  <a:pt x="61" y="174"/>
                </a:lnTo>
                <a:lnTo>
                  <a:pt x="51" y="174"/>
                </a:lnTo>
                <a:lnTo>
                  <a:pt x="37" y="175"/>
                </a:lnTo>
                <a:lnTo>
                  <a:pt x="27" y="171"/>
                </a:lnTo>
                <a:lnTo>
                  <a:pt x="15" y="148"/>
                </a:lnTo>
                <a:lnTo>
                  <a:pt x="8" y="137"/>
                </a:lnTo>
                <a:lnTo>
                  <a:pt x="4" y="130"/>
                </a:lnTo>
                <a:lnTo>
                  <a:pt x="0" y="125"/>
                </a:lnTo>
              </a:path>
            </a:pathLst>
          </a:custGeom>
          <a:noFill/>
          <a:ln w="3175" cap="flat" cmpd="sng">
            <a:solidFill>
              <a:srgbClr val="D9EAF7"/>
            </a:solidFill>
            <a:prstDash val="solid"/>
            <a:round/>
            <a:headEnd type="none" w="med" len="med"/>
            <a:tailEnd type="none" w="sm" len="sm"/>
          </a:ln>
        </p:spPr>
        <p:txBody>
          <a:bodyPr wrap="none" lIns="32632" tIns="32632" rIns="32632" bIns="32632" anchor="ctr"/>
          <a:lstStyle/>
          <a:p>
            <a:pPr defTabSz="891045"/>
            <a:endParaRPr lang="en-US" sz="1700" dirty="0">
              <a:solidFill>
                <a:srgbClr val="003149"/>
              </a:solidFill>
              <a:cs typeface="Arial" panose="020B0604020202020204" pitchFamily="34" charset="0"/>
            </a:endParaRPr>
          </a:p>
        </p:txBody>
      </p:sp>
      <p:sp>
        <p:nvSpPr>
          <p:cNvPr id="231" name="Freeform 712"/>
          <p:cNvSpPr>
            <a:spLocks noChangeAspect="1"/>
          </p:cNvSpPr>
          <p:nvPr>
            <p:custDataLst>
              <p:tags r:id="rId129"/>
            </p:custDataLst>
          </p:nvPr>
        </p:nvSpPr>
        <p:spPr bwMode="gray">
          <a:xfrm>
            <a:off x="3592792" y="3555240"/>
            <a:ext cx="88144" cy="160701"/>
          </a:xfrm>
          <a:custGeom>
            <a:avLst/>
            <a:gdLst>
              <a:gd name="T0" fmla="*/ 472141478 w 282"/>
              <a:gd name="T1" fmla="*/ 524004460 h 459"/>
              <a:gd name="T2" fmla="*/ 472141478 w 282"/>
              <a:gd name="T3" fmla="*/ 524004460 h 459"/>
              <a:gd name="T4" fmla="*/ 472141478 w 282"/>
              <a:gd name="T5" fmla="*/ 524004460 h 459"/>
              <a:gd name="T6" fmla="*/ 472141478 w 282"/>
              <a:gd name="T7" fmla="*/ 524004460 h 459"/>
              <a:gd name="T8" fmla="*/ 472141478 w 282"/>
              <a:gd name="T9" fmla="*/ 524004460 h 459"/>
              <a:gd name="T10" fmla="*/ 472141478 w 282"/>
              <a:gd name="T11" fmla="*/ 524004460 h 459"/>
              <a:gd name="T12" fmla="*/ 472141478 w 282"/>
              <a:gd name="T13" fmla="*/ 524004460 h 459"/>
              <a:gd name="T14" fmla="*/ 472141478 w 282"/>
              <a:gd name="T15" fmla="*/ 524004460 h 459"/>
              <a:gd name="T16" fmla="*/ 472141478 w 282"/>
              <a:gd name="T17" fmla="*/ 524004460 h 459"/>
              <a:gd name="T18" fmla="*/ 472141478 w 282"/>
              <a:gd name="T19" fmla="*/ 524004460 h 459"/>
              <a:gd name="T20" fmla="*/ 472141478 w 282"/>
              <a:gd name="T21" fmla="*/ 524004460 h 459"/>
              <a:gd name="T22" fmla="*/ 472141478 w 282"/>
              <a:gd name="T23" fmla="*/ 524004460 h 459"/>
              <a:gd name="T24" fmla="*/ 472141478 w 282"/>
              <a:gd name="T25" fmla="*/ 524004460 h 459"/>
              <a:gd name="T26" fmla="*/ 472141478 w 282"/>
              <a:gd name="T27" fmla="*/ 524004460 h 459"/>
              <a:gd name="T28" fmla="*/ 472141478 w 282"/>
              <a:gd name="T29" fmla="*/ 524004460 h 459"/>
              <a:gd name="T30" fmla="*/ 472141478 w 282"/>
              <a:gd name="T31" fmla="*/ 524004460 h 459"/>
              <a:gd name="T32" fmla="*/ 472141478 w 282"/>
              <a:gd name="T33" fmla="*/ 524004460 h 459"/>
              <a:gd name="T34" fmla="*/ 472141478 w 282"/>
              <a:gd name="T35" fmla="*/ 524004460 h 459"/>
              <a:gd name="T36" fmla="*/ 472141478 w 282"/>
              <a:gd name="T37" fmla="*/ 524004460 h 459"/>
              <a:gd name="T38" fmla="*/ 472141478 w 282"/>
              <a:gd name="T39" fmla="*/ 524004460 h 459"/>
              <a:gd name="T40" fmla="*/ 472141478 w 282"/>
              <a:gd name="T41" fmla="*/ 524004460 h 459"/>
              <a:gd name="T42" fmla="*/ 472141478 w 282"/>
              <a:gd name="T43" fmla="*/ 524004460 h 459"/>
              <a:gd name="T44" fmla="*/ 472141478 w 282"/>
              <a:gd name="T45" fmla="*/ 524004460 h 459"/>
              <a:gd name="T46" fmla="*/ 0 w 282"/>
              <a:gd name="T47" fmla="*/ 524004460 h 459"/>
              <a:gd name="T48" fmla="*/ 472141478 w 282"/>
              <a:gd name="T49" fmla="*/ 524004460 h 459"/>
              <a:gd name="T50" fmla="*/ 472141478 w 282"/>
              <a:gd name="T51" fmla="*/ 524004460 h 459"/>
              <a:gd name="T52" fmla="*/ 472141478 w 282"/>
              <a:gd name="T53" fmla="*/ 0 h 459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w 282"/>
              <a:gd name="T82" fmla="*/ 0 h 459"/>
              <a:gd name="T83" fmla="*/ 282 w 282"/>
              <a:gd name="T84" fmla="*/ 459 h 459"/>
            </a:gdLst>
            <a:ahLst/>
            <a:cxnLst>
              <a:cxn ang="T54">
                <a:pos x="T0" y="T1"/>
              </a:cxn>
              <a:cxn ang="T55">
                <a:pos x="T2" y="T3"/>
              </a:cxn>
              <a:cxn ang="T56">
                <a:pos x="T4" y="T5"/>
              </a:cxn>
              <a:cxn ang="T57">
                <a:pos x="T6" y="T7"/>
              </a:cxn>
              <a:cxn ang="T58">
                <a:pos x="T8" y="T9"/>
              </a:cxn>
              <a:cxn ang="T59">
                <a:pos x="T10" y="T11"/>
              </a:cxn>
              <a:cxn ang="T60">
                <a:pos x="T12" y="T13"/>
              </a:cxn>
              <a:cxn ang="T61">
                <a:pos x="T14" y="T15"/>
              </a:cxn>
              <a:cxn ang="T62">
                <a:pos x="T16" y="T17"/>
              </a:cxn>
              <a:cxn ang="T63">
                <a:pos x="T18" y="T19"/>
              </a:cxn>
              <a:cxn ang="T64">
                <a:pos x="T20" y="T21"/>
              </a:cxn>
              <a:cxn ang="T65">
                <a:pos x="T22" y="T23"/>
              </a:cxn>
              <a:cxn ang="T66">
                <a:pos x="T24" y="T25"/>
              </a:cxn>
              <a:cxn ang="T67">
                <a:pos x="T26" y="T27"/>
              </a:cxn>
              <a:cxn ang="T68">
                <a:pos x="T28" y="T29"/>
              </a:cxn>
              <a:cxn ang="T69">
                <a:pos x="T30" y="T31"/>
              </a:cxn>
              <a:cxn ang="T70">
                <a:pos x="T32" y="T33"/>
              </a:cxn>
              <a:cxn ang="T71">
                <a:pos x="T34" y="T35"/>
              </a:cxn>
              <a:cxn ang="T72">
                <a:pos x="T36" y="T37"/>
              </a:cxn>
              <a:cxn ang="T73">
                <a:pos x="T38" y="T39"/>
              </a:cxn>
              <a:cxn ang="T74">
                <a:pos x="T40" y="T41"/>
              </a:cxn>
              <a:cxn ang="T75">
                <a:pos x="T42" y="T43"/>
              </a:cxn>
              <a:cxn ang="T76">
                <a:pos x="T44" y="T45"/>
              </a:cxn>
              <a:cxn ang="T77">
                <a:pos x="T46" y="T47"/>
              </a:cxn>
              <a:cxn ang="T78">
                <a:pos x="T48" y="T49"/>
              </a:cxn>
              <a:cxn ang="T79">
                <a:pos x="T50" y="T51"/>
              </a:cxn>
              <a:cxn ang="T80">
                <a:pos x="T52" y="T53"/>
              </a:cxn>
            </a:cxnLst>
            <a:rect l="T81" t="T82" r="T83" b="T84"/>
            <a:pathLst>
              <a:path w="282" h="459">
                <a:moveTo>
                  <a:pt x="282" y="459"/>
                </a:moveTo>
                <a:lnTo>
                  <a:pt x="258" y="414"/>
                </a:lnTo>
                <a:lnTo>
                  <a:pt x="243" y="374"/>
                </a:lnTo>
                <a:lnTo>
                  <a:pt x="255" y="348"/>
                </a:lnTo>
                <a:lnTo>
                  <a:pt x="231" y="348"/>
                </a:lnTo>
                <a:lnTo>
                  <a:pt x="213" y="329"/>
                </a:lnTo>
                <a:lnTo>
                  <a:pt x="195" y="329"/>
                </a:lnTo>
                <a:lnTo>
                  <a:pt x="176" y="308"/>
                </a:lnTo>
                <a:lnTo>
                  <a:pt x="174" y="278"/>
                </a:lnTo>
                <a:lnTo>
                  <a:pt x="186" y="272"/>
                </a:lnTo>
                <a:lnTo>
                  <a:pt x="176" y="254"/>
                </a:lnTo>
                <a:lnTo>
                  <a:pt x="159" y="254"/>
                </a:lnTo>
                <a:lnTo>
                  <a:pt x="159" y="243"/>
                </a:lnTo>
                <a:lnTo>
                  <a:pt x="147" y="243"/>
                </a:lnTo>
                <a:lnTo>
                  <a:pt x="143" y="233"/>
                </a:lnTo>
                <a:lnTo>
                  <a:pt x="132" y="233"/>
                </a:lnTo>
                <a:lnTo>
                  <a:pt x="98" y="224"/>
                </a:lnTo>
                <a:lnTo>
                  <a:pt x="89" y="216"/>
                </a:lnTo>
                <a:lnTo>
                  <a:pt x="98" y="198"/>
                </a:lnTo>
                <a:lnTo>
                  <a:pt x="89" y="188"/>
                </a:lnTo>
                <a:lnTo>
                  <a:pt x="53" y="189"/>
                </a:lnTo>
                <a:lnTo>
                  <a:pt x="36" y="114"/>
                </a:lnTo>
                <a:lnTo>
                  <a:pt x="11" y="92"/>
                </a:lnTo>
                <a:lnTo>
                  <a:pt x="0" y="72"/>
                </a:lnTo>
                <a:lnTo>
                  <a:pt x="2" y="44"/>
                </a:lnTo>
                <a:lnTo>
                  <a:pt x="18" y="15"/>
                </a:lnTo>
                <a:lnTo>
                  <a:pt x="29" y="0"/>
                </a:lnTo>
              </a:path>
            </a:pathLst>
          </a:custGeom>
          <a:noFill/>
          <a:ln w="3175" cap="flat" cmpd="sng">
            <a:solidFill>
              <a:srgbClr val="D9EAF7"/>
            </a:solidFill>
            <a:prstDash val="solid"/>
            <a:round/>
            <a:headEnd type="none" w="med" len="med"/>
            <a:tailEnd type="none" w="med" len="med"/>
          </a:ln>
        </p:spPr>
        <p:txBody>
          <a:bodyPr wrap="none" lIns="32632" tIns="32632" rIns="32632" bIns="32632" anchor="ctr"/>
          <a:lstStyle/>
          <a:p>
            <a:pPr defTabSz="891045"/>
            <a:endParaRPr lang="en-US" sz="1700" dirty="0">
              <a:solidFill>
                <a:srgbClr val="003149"/>
              </a:solidFill>
              <a:cs typeface="Arial" panose="020B0604020202020204" pitchFamily="34" charset="0"/>
            </a:endParaRPr>
          </a:p>
        </p:txBody>
      </p:sp>
      <p:sp>
        <p:nvSpPr>
          <p:cNvPr id="232" name="Freeform 715"/>
          <p:cNvSpPr>
            <a:spLocks noChangeAspect="1"/>
          </p:cNvSpPr>
          <p:nvPr>
            <p:custDataLst>
              <p:tags r:id="rId130"/>
            </p:custDataLst>
          </p:nvPr>
        </p:nvSpPr>
        <p:spPr bwMode="gray">
          <a:xfrm>
            <a:off x="3683792" y="3443308"/>
            <a:ext cx="305660" cy="159267"/>
          </a:xfrm>
          <a:custGeom>
            <a:avLst/>
            <a:gdLst>
              <a:gd name="T0" fmla="*/ 0 w 10136"/>
              <a:gd name="T1" fmla="*/ 0 h 10029"/>
              <a:gd name="T2" fmla="*/ 0 w 10136"/>
              <a:gd name="T3" fmla="*/ 0 h 10029"/>
              <a:gd name="T4" fmla="*/ 0 w 10136"/>
              <a:gd name="T5" fmla="*/ 0 h 10029"/>
              <a:gd name="T6" fmla="*/ 0 w 10136"/>
              <a:gd name="T7" fmla="*/ 0 h 10029"/>
              <a:gd name="T8" fmla="*/ 0 w 10136"/>
              <a:gd name="T9" fmla="*/ 0 h 10029"/>
              <a:gd name="T10" fmla="*/ 0 w 10136"/>
              <a:gd name="T11" fmla="*/ 0 h 10029"/>
              <a:gd name="T12" fmla="*/ 0 w 10136"/>
              <a:gd name="T13" fmla="*/ 0 h 10029"/>
              <a:gd name="T14" fmla="*/ 0 w 10136"/>
              <a:gd name="T15" fmla="*/ 0 h 10029"/>
              <a:gd name="T16" fmla="*/ 0 w 10136"/>
              <a:gd name="T17" fmla="*/ 0 h 10029"/>
              <a:gd name="T18" fmla="*/ 0 w 10136"/>
              <a:gd name="T19" fmla="*/ 0 h 10029"/>
              <a:gd name="T20" fmla="*/ 0 w 10136"/>
              <a:gd name="T21" fmla="*/ 0 h 10029"/>
              <a:gd name="T22" fmla="*/ 0 w 10136"/>
              <a:gd name="T23" fmla="*/ 0 h 10029"/>
              <a:gd name="T24" fmla="*/ 0 w 10136"/>
              <a:gd name="T25" fmla="*/ 0 h 10029"/>
              <a:gd name="T26" fmla="*/ 0 w 10136"/>
              <a:gd name="T27" fmla="*/ 0 h 10029"/>
              <a:gd name="T28" fmla="*/ 0 w 10136"/>
              <a:gd name="T29" fmla="*/ 0 h 10029"/>
              <a:gd name="T30" fmla="*/ 0 w 10136"/>
              <a:gd name="T31" fmla="*/ 0 h 10029"/>
              <a:gd name="T32" fmla="*/ 0 w 10136"/>
              <a:gd name="T33" fmla="*/ 0 h 10029"/>
              <a:gd name="T34" fmla="*/ 0 w 10136"/>
              <a:gd name="T35" fmla="*/ 0 h 10029"/>
              <a:gd name="T36" fmla="*/ 0 w 10136"/>
              <a:gd name="T37" fmla="*/ 0 h 10029"/>
              <a:gd name="T38" fmla="*/ 0 w 10136"/>
              <a:gd name="T39" fmla="*/ 0 h 10029"/>
              <a:gd name="T40" fmla="*/ 0 w 10136"/>
              <a:gd name="T41" fmla="*/ 0 h 10029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w 10136"/>
              <a:gd name="T64" fmla="*/ 0 h 10029"/>
              <a:gd name="T65" fmla="*/ 10136 w 10136"/>
              <a:gd name="T66" fmla="*/ 10029 h 10029"/>
            </a:gdLst>
            <a:ahLst/>
            <a:cxnLst>
              <a:cxn ang="T42">
                <a:pos x="T0" y="T1"/>
              </a:cxn>
              <a:cxn ang="T43">
                <a:pos x="T2" y="T3"/>
              </a:cxn>
              <a:cxn ang="T44">
                <a:pos x="T4" y="T5"/>
              </a:cxn>
              <a:cxn ang="T45">
                <a:pos x="T6" y="T7"/>
              </a:cxn>
              <a:cxn ang="T46">
                <a:pos x="T8" y="T9"/>
              </a:cxn>
              <a:cxn ang="T47">
                <a:pos x="T10" y="T11"/>
              </a:cxn>
              <a:cxn ang="T48">
                <a:pos x="T12" y="T13"/>
              </a:cxn>
              <a:cxn ang="T49">
                <a:pos x="T14" y="T15"/>
              </a:cxn>
              <a:cxn ang="T50">
                <a:pos x="T16" y="T17"/>
              </a:cxn>
              <a:cxn ang="T51">
                <a:pos x="T18" y="T19"/>
              </a:cxn>
              <a:cxn ang="T52">
                <a:pos x="T20" y="T21"/>
              </a:cxn>
              <a:cxn ang="T53">
                <a:pos x="T22" y="T23"/>
              </a:cxn>
              <a:cxn ang="T54">
                <a:pos x="T24" y="T25"/>
              </a:cxn>
              <a:cxn ang="T55">
                <a:pos x="T26" y="T27"/>
              </a:cxn>
              <a:cxn ang="T56">
                <a:pos x="T28" y="T29"/>
              </a:cxn>
              <a:cxn ang="T57">
                <a:pos x="T30" y="T31"/>
              </a:cxn>
              <a:cxn ang="T58">
                <a:pos x="T32" y="T33"/>
              </a:cxn>
              <a:cxn ang="T59">
                <a:pos x="T34" y="T35"/>
              </a:cxn>
              <a:cxn ang="T60">
                <a:pos x="T36" y="T37"/>
              </a:cxn>
              <a:cxn ang="T61">
                <a:pos x="T38" y="T39"/>
              </a:cxn>
              <a:cxn ang="T62">
                <a:pos x="T40" y="T41"/>
              </a:cxn>
            </a:cxnLst>
            <a:rect l="T63" t="T64" r="T65" b="T66"/>
            <a:pathLst>
              <a:path w="10136" h="10029">
                <a:moveTo>
                  <a:pt x="10136" y="10029"/>
                </a:moveTo>
                <a:lnTo>
                  <a:pt x="9346" y="9626"/>
                </a:lnTo>
                <a:lnTo>
                  <a:pt x="8589" y="8571"/>
                </a:lnTo>
                <a:lnTo>
                  <a:pt x="8180" y="7912"/>
                </a:lnTo>
                <a:lnTo>
                  <a:pt x="7270" y="5055"/>
                </a:lnTo>
                <a:lnTo>
                  <a:pt x="6155" y="1912"/>
                </a:lnTo>
                <a:lnTo>
                  <a:pt x="5665" y="857"/>
                </a:lnTo>
                <a:lnTo>
                  <a:pt x="5143" y="462"/>
                </a:lnTo>
                <a:lnTo>
                  <a:pt x="4928" y="242"/>
                </a:lnTo>
                <a:lnTo>
                  <a:pt x="4294" y="396"/>
                </a:lnTo>
                <a:lnTo>
                  <a:pt x="3589" y="659"/>
                </a:lnTo>
                <a:lnTo>
                  <a:pt x="3027" y="593"/>
                </a:lnTo>
                <a:lnTo>
                  <a:pt x="2577" y="462"/>
                </a:lnTo>
                <a:lnTo>
                  <a:pt x="2352" y="198"/>
                </a:lnTo>
                <a:lnTo>
                  <a:pt x="2014" y="132"/>
                </a:lnTo>
                <a:lnTo>
                  <a:pt x="1677" y="440"/>
                </a:lnTo>
                <a:lnTo>
                  <a:pt x="1370" y="725"/>
                </a:lnTo>
                <a:lnTo>
                  <a:pt x="1012" y="637"/>
                </a:lnTo>
                <a:lnTo>
                  <a:pt x="665" y="374"/>
                </a:lnTo>
                <a:lnTo>
                  <a:pt x="266" y="176"/>
                </a:lnTo>
                <a:lnTo>
                  <a:pt x="0" y="0"/>
                </a:lnTo>
              </a:path>
            </a:pathLst>
          </a:custGeom>
          <a:noFill/>
          <a:ln w="3175" cap="flat" cmpd="sng">
            <a:solidFill>
              <a:srgbClr val="D9EAF7"/>
            </a:solidFill>
            <a:prstDash val="solid"/>
            <a:round/>
            <a:headEnd type="none" w="med" len="med"/>
            <a:tailEnd type="none" w="med" len="med"/>
          </a:ln>
        </p:spPr>
        <p:txBody>
          <a:bodyPr wrap="none" lIns="32632" tIns="32632" rIns="32632" bIns="32632" anchor="ctr"/>
          <a:lstStyle/>
          <a:p>
            <a:pPr defTabSz="891045"/>
            <a:endParaRPr lang="en-US" sz="1700" dirty="0">
              <a:solidFill>
                <a:srgbClr val="003149"/>
              </a:solidFill>
              <a:cs typeface="Arial" panose="020B0604020202020204" pitchFamily="34" charset="0"/>
            </a:endParaRPr>
          </a:p>
        </p:txBody>
      </p:sp>
      <p:sp>
        <p:nvSpPr>
          <p:cNvPr id="233" name="Freeform 718"/>
          <p:cNvSpPr>
            <a:spLocks noChangeAspect="1"/>
          </p:cNvSpPr>
          <p:nvPr>
            <p:custDataLst>
              <p:tags r:id="rId131"/>
            </p:custDataLst>
          </p:nvPr>
        </p:nvSpPr>
        <p:spPr bwMode="gray">
          <a:xfrm>
            <a:off x="3500383" y="3505037"/>
            <a:ext cx="99518" cy="50219"/>
          </a:xfrm>
          <a:custGeom>
            <a:avLst/>
            <a:gdLst>
              <a:gd name="T0" fmla="*/ 0 w 324"/>
              <a:gd name="T1" fmla="*/ 521957485 h 144"/>
              <a:gd name="T2" fmla="*/ 463962231 w 324"/>
              <a:gd name="T3" fmla="*/ 0 h 144"/>
              <a:gd name="T4" fmla="*/ 463962231 w 324"/>
              <a:gd name="T5" fmla="*/ 521957485 h 144"/>
              <a:gd name="T6" fmla="*/ 463962231 w 324"/>
              <a:gd name="T7" fmla="*/ 521957485 h 144"/>
              <a:gd name="T8" fmla="*/ 463962231 w 324"/>
              <a:gd name="T9" fmla="*/ 521957485 h 144"/>
              <a:gd name="T10" fmla="*/ 463962231 w 324"/>
              <a:gd name="T11" fmla="*/ 521957485 h 144"/>
              <a:gd name="T12" fmla="*/ 463962231 w 324"/>
              <a:gd name="T13" fmla="*/ 521957485 h 144"/>
              <a:gd name="T14" fmla="*/ 463962231 w 324"/>
              <a:gd name="T15" fmla="*/ 521957485 h 144"/>
              <a:gd name="T16" fmla="*/ 463962231 w 324"/>
              <a:gd name="T17" fmla="*/ 521957485 h 144"/>
              <a:gd name="T18" fmla="*/ 463962231 w 324"/>
              <a:gd name="T19" fmla="*/ 521957485 h 144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w 324"/>
              <a:gd name="T31" fmla="*/ 0 h 144"/>
              <a:gd name="T32" fmla="*/ 324 w 324"/>
              <a:gd name="T33" fmla="*/ 144 h 144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T30" t="T31" r="T32" b="T33"/>
            <a:pathLst>
              <a:path w="324" h="144">
                <a:moveTo>
                  <a:pt x="0" y="9"/>
                </a:moveTo>
                <a:lnTo>
                  <a:pt x="36" y="0"/>
                </a:lnTo>
                <a:lnTo>
                  <a:pt x="90" y="14"/>
                </a:lnTo>
                <a:lnTo>
                  <a:pt x="142" y="44"/>
                </a:lnTo>
                <a:lnTo>
                  <a:pt x="193" y="93"/>
                </a:lnTo>
                <a:lnTo>
                  <a:pt x="232" y="138"/>
                </a:lnTo>
                <a:lnTo>
                  <a:pt x="250" y="144"/>
                </a:lnTo>
                <a:lnTo>
                  <a:pt x="288" y="137"/>
                </a:lnTo>
                <a:lnTo>
                  <a:pt x="316" y="135"/>
                </a:lnTo>
                <a:lnTo>
                  <a:pt x="324" y="141"/>
                </a:lnTo>
              </a:path>
            </a:pathLst>
          </a:custGeom>
          <a:noFill/>
          <a:ln w="3175" cap="flat" cmpd="sng">
            <a:solidFill>
              <a:srgbClr val="D9EAF7"/>
            </a:solidFill>
            <a:prstDash val="solid"/>
            <a:round/>
            <a:headEnd type="none" w="med" len="med"/>
            <a:tailEnd type="none" w="med" len="med"/>
          </a:ln>
        </p:spPr>
        <p:txBody>
          <a:bodyPr wrap="none" lIns="32632" tIns="32632" rIns="32632" bIns="32632" anchor="ctr"/>
          <a:lstStyle/>
          <a:p>
            <a:pPr defTabSz="891045"/>
            <a:endParaRPr lang="en-US" sz="1700" dirty="0">
              <a:solidFill>
                <a:srgbClr val="003149"/>
              </a:solidFill>
              <a:cs typeface="Arial" panose="020B0604020202020204" pitchFamily="34" charset="0"/>
            </a:endParaRPr>
          </a:p>
        </p:txBody>
      </p:sp>
      <p:sp>
        <p:nvSpPr>
          <p:cNvPr id="234" name="Freeform 719"/>
          <p:cNvSpPr>
            <a:spLocks noChangeAspect="1"/>
          </p:cNvSpPr>
          <p:nvPr>
            <p:custDataLst>
              <p:tags r:id="rId132"/>
            </p:custDataLst>
          </p:nvPr>
        </p:nvSpPr>
        <p:spPr bwMode="gray">
          <a:xfrm>
            <a:off x="3599899" y="3443317"/>
            <a:ext cx="89565" cy="111917"/>
          </a:xfrm>
          <a:custGeom>
            <a:avLst/>
            <a:gdLst>
              <a:gd name="T0" fmla="*/ 466522002 w 290"/>
              <a:gd name="T1" fmla="*/ 0 h 321"/>
              <a:gd name="T2" fmla="*/ 466522002 w 290"/>
              <a:gd name="T3" fmla="*/ 521818134 h 321"/>
              <a:gd name="T4" fmla="*/ 466522002 w 290"/>
              <a:gd name="T5" fmla="*/ 521818134 h 321"/>
              <a:gd name="T6" fmla="*/ 466522002 w 290"/>
              <a:gd name="T7" fmla="*/ 521818134 h 321"/>
              <a:gd name="T8" fmla="*/ 466522002 w 290"/>
              <a:gd name="T9" fmla="*/ 521818134 h 321"/>
              <a:gd name="T10" fmla="*/ 466522002 w 290"/>
              <a:gd name="T11" fmla="*/ 521818134 h 321"/>
              <a:gd name="T12" fmla="*/ 466522002 w 290"/>
              <a:gd name="T13" fmla="*/ 521818134 h 321"/>
              <a:gd name="T14" fmla="*/ 466522002 w 290"/>
              <a:gd name="T15" fmla="*/ 521818134 h 321"/>
              <a:gd name="T16" fmla="*/ 466522002 w 290"/>
              <a:gd name="T17" fmla="*/ 521818134 h 321"/>
              <a:gd name="T18" fmla="*/ 466522002 w 290"/>
              <a:gd name="T19" fmla="*/ 521818134 h 321"/>
              <a:gd name="T20" fmla="*/ 466522002 w 290"/>
              <a:gd name="T21" fmla="*/ 521818134 h 321"/>
              <a:gd name="T22" fmla="*/ 466522002 w 290"/>
              <a:gd name="T23" fmla="*/ 521818134 h 321"/>
              <a:gd name="T24" fmla="*/ 466522002 w 290"/>
              <a:gd name="T25" fmla="*/ 521818134 h 321"/>
              <a:gd name="T26" fmla="*/ 466522002 w 290"/>
              <a:gd name="T27" fmla="*/ 521818134 h 321"/>
              <a:gd name="T28" fmla="*/ 466522002 w 290"/>
              <a:gd name="T29" fmla="*/ 521818134 h 321"/>
              <a:gd name="T30" fmla="*/ 466522002 w 290"/>
              <a:gd name="T31" fmla="*/ 521818134 h 321"/>
              <a:gd name="T32" fmla="*/ 466522002 w 290"/>
              <a:gd name="T33" fmla="*/ 521818134 h 321"/>
              <a:gd name="T34" fmla="*/ 466522002 w 290"/>
              <a:gd name="T35" fmla="*/ 521818134 h 321"/>
              <a:gd name="T36" fmla="*/ 466522002 w 290"/>
              <a:gd name="T37" fmla="*/ 521818134 h 321"/>
              <a:gd name="T38" fmla="*/ 466522002 w 290"/>
              <a:gd name="T39" fmla="*/ 521818134 h 321"/>
              <a:gd name="T40" fmla="*/ 466522002 w 290"/>
              <a:gd name="T41" fmla="*/ 521818134 h 321"/>
              <a:gd name="T42" fmla="*/ 466522002 w 290"/>
              <a:gd name="T43" fmla="*/ 521818134 h 321"/>
              <a:gd name="T44" fmla="*/ 466522002 w 290"/>
              <a:gd name="T45" fmla="*/ 521818134 h 321"/>
              <a:gd name="T46" fmla="*/ 466522002 w 290"/>
              <a:gd name="T47" fmla="*/ 521818134 h 321"/>
              <a:gd name="T48" fmla="*/ 466522002 w 290"/>
              <a:gd name="T49" fmla="*/ 521818134 h 321"/>
              <a:gd name="T50" fmla="*/ 0 w 290"/>
              <a:gd name="T51" fmla="*/ 521818134 h 321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w 290"/>
              <a:gd name="T79" fmla="*/ 0 h 321"/>
              <a:gd name="T80" fmla="*/ 290 w 290"/>
              <a:gd name="T81" fmla="*/ 321 h 321"/>
            </a:gdLst>
            <a:ahLst/>
            <a:cxnLst>
              <a:cxn ang="T52">
                <a:pos x="T0" y="T1"/>
              </a:cxn>
              <a:cxn ang="T53">
                <a:pos x="T2" y="T3"/>
              </a:cxn>
              <a:cxn ang="T54">
                <a:pos x="T4" y="T5"/>
              </a:cxn>
              <a:cxn ang="T55">
                <a:pos x="T6" y="T7"/>
              </a:cxn>
              <a:cxn ang="T56">
                <a:pos x="T8" y="T9"/>
              </a:cxn>
              <a:cxn ang="T57">
                <a:pos x="T10" y="T11"/>
              </a:cxn>
              <a:cxn ang="T58">
                <a:pos x="T12" y="T13"/>
              </a:cxn>
              <a:cxn ang="T59">
                <a:pos x="T14" y="T15"/>
              </a:cxn>
              <a:cxn ang="T60">
                <a:pos x="T16" y="T17"/>
              </a:cxn>
              <a:cxn ang="T61">
                <a:pos x="T18" y="T19"/>
              </a:cxn>
              <a:cxn ang="T62">
                <a:pos x="T20" y="T21"/>
              </a:cxn>
              <a:cxn ang="T63">
                <a:pos x="T22" y="T23"/>
              </a:cxn>
              <a:cxn ang="T64">
                <a:pos x="T24" y="T25"/>
              </a:cxn>
              <a:cxn ang="T65">
                <a:pos x="T26" y="T27"/>
              </a:cxn>
              <a:cxn ang="T66">
                <a:pos x="T28" y="T29"/>
              </a:cxn>
              <a:cxn ang="T67">
                <a:pos x="T30" y="T31"/>
              </a:cxn>
              <a:cxn ang="T68">
                <a:pos x="T32" y="T33"/>
              </a:cxn>
              <a:cxn ang="T69">
                <a:pos x="T34" y="T35"/>
              </a:cxn>
              <a:cxn ang="T70">
                <a:pos x="T36" y="T37"/>
              </a:cxn>
              <a:cxn ang="T71">
                <a:pos x="T38" y="T39"/>
              </a:cxn>
              <a:cxn ang="T72">
                <a:pos x="T40" y="T41"/>
              </a:cxn>
              <a:cxn ang="T73">
                <a:pos x="T42" y="T43"/>
              </a:cxn>
              <a:cxn ang="T74">
                <a:pos x="T44" y="T45"/>
              </a:cxn>
              <a:cxn ang="T75">
                <a:pos x="T46" y="T47"/>
              </a:cxn>
              <a:cxn ang="T76">
                <a:pos x="T48" y="T49"/>
              </a:cxn>
              <a:cxn ang="T77">
                <a:pos x="T50" y="T51"/>
              </a:cxn>
            </a:cxnLst>
            <a:rect l="T78" t="T79" r="T80" b="T81"/>
            <a:pathLst>
              <a:path w="290" h="321">
                <a:moveTo>
                  <a:pt x="269" y="0"/>
                </a:moveTo>
                <a:lnTo>
                  <a:pt x="263" y="15"/>
                </a:lnTo>
                <a:lnTo>
                  <a:pt x="270" y="32"/>
                </a:lnTo>
                <a:lnTo>
                  <a:pt x="290" y="47"/>
                </a:lnTo>
                <a:lnTo>
                  <a:pt x="272" y="86"/>
                </a:lnTo>
                <a:lnTo>
                  <a:pt x="263" y="110"/>
                </a:lnTo>
                <a:lnTo>
                  <a:pt x="254" y="137"/>
                </a:lnTo>
                <a:lnTo>
                  <a:pt x="255" y="155"/>
                </a:lnTo>
                <a:lnTo>
                  <a:pt x="195" y="159"/>
                </a:lnTo>
                <a:lnTo>
                  <a:pt x="183" y="161"/>
                </a:lnTo>
                <a:lnTo>
                  <a:pt x="177" y="173"/>
                </a:lnTo>
                <a:lnTo>
                  <a:pt x="158" y="167"/>
                </a:lnTo>
                <a:lnTo>
                  <a:pt x="156" y="152"/>
                </a:lnTo>
                <a:lnTo>
                  <a:pt x="104" y="150"/>
                </a:lnTo>
                <a:lnTo>
                  <a:pt x="78" y="158"/>
                </a:lnTo>
                <a:lnTo>
                  <a:pt x="77" y="173"/>
                </a:lnTo>
                <a:lnTo>
                  <a:pt x="81" y="185"/>
                </a:lnTo>
                <a:lnTo>
                  <a:pt x="63" y="194"/>
                </a:lnTo>
                <a:lnTo>
                  <a:pt x="45" y="210"/>
                </a:lnTo>
                <a:lnTo>
                  <a:pt x="42" y="239"/>
                </a:lnTo>
                <a:lnTo>
                  <a:pt x="42" y="261"/>
                </a:lnTo>
                <a:lnTo>
                  <a:pt x="29" y="276"/>
                </a:lnTo>
                <a:lnTo>
                  <a:pt x="29" y="296"/>
                </a:lnTo>
                <a:lnTo>
                  <a:pt x="44" y="297"/>
                </a:lnTo>
                <a:lnTo>
                  <a:pt x="45" y="314"/>
                </a:lnTo>
                <a:lnTo>
                  <a:pt x="0" y="321"/>
                </a:lnTo>
              </a:path>
            </a:pathLst>
          </a:custGeom>
          <a:noFill/>
          <a:ln w="3175" cap="flat" cmpd="sng">
            <a:solidFill>
              <a:srgbClr val="D9EAF7"/>
            </a:solidFill>
            <a:prstDash val="solid"/>
            <a:round/>
            <a:headEnd type="none" w="med" len="med"/>
            <a:tailEnd type="none" w="med" len="med"/>
          </a:ln>
        </p:spPr>
        <p:txBody>
          <a:bodyPr wrap="none" lIns="32632" tIns="32632" rIns="32632" bIns="32632" anchor="ctr"/>
          <a:lstStyle/>
          <a:p>
            <a:pPr defTabSz="891045"/>
            <a:endParaRPr lang="en-US" sz="1700" dirty="0">
              <a:solidFill>
                <a:srgbClr val="003149"/>
              </a:solidFill>
              <a:cs typeface="Arial" panose="020B0604020202020204" pitchFamily="34" charset="0"/>
            </a:endParaRPr>
          </a:p>
        </p:txBody>
      </p:sp>
      <p:sp>
        <p:nvSpPr>
          <p:cNvPr id="235" name="Freeform 720"/>
          <p:cNvSpPr>
            <a:spLocks noChangeAspect="1"/>
          </p:cNvSpPr>
          <p:nvPr>
            <p:custDataLst>
              <p:tags r:id="rId133"/>
            </p:custDataLst>
          </p:nvPr>
        </p:nvSpPr>
        <p:spPr bwMode="gray">
          <a:xfrm>
            <a:off x="3973824" y="3637011"/>
            <a:ext cx="12795" cy="83220"/>
          </a:xfrm>
          <a:custGeom>
            <a:avLst/>
            <a:gdLst>
              <a:gd name="T0" fmla="*/ 0 w 23"/>
              <a:gd name="T1" fmla="*/ 0 h 119"/>
              <a:gd name="T2" fmla="*/ 840319209 w 23"/>
              <a:gd name="T3" fmla="*/ 1046672184 h 119"/>
              <a:gd name="T4" fmla="*/ 840319209 w 23"/>
              <a:gd name="T5" fmla="*/ 1046672184 h 119"/>
              <a:gd name="T6" fmla="*/ 840319209 w 23"/>
              <a:gd name="T7" fmla="*/ 1046672184 h 119"/>
              <a:gd name="T8" fmla="*/ 840319209 w 23"/>
              <a:gd name="T9" fmla="*/ 1046672184 h 119"/>
              <a:gd name="T10" fmla="*/ 840319209 w 23"/>
              <a:gd name="T11" fmla="*/ 1046672184 h 119"/>
              <a:gd name="T12" fmla="*/ 840319209 w 23"/>
              <a:gd name="T13" fmla="*/ 1046672184 h 119"/>
              <a:gd name="T14" fmla="*/ 840319209 w 23"/>
              <a:gd name="T15" fmla="*/ 1046672184 h 119"/>
              <a:gd name="T16" fmla="*/ 840319209 w 23"/>
              <a:gd name="T17" fmla="*/ 1046672184 h 119"/>
              <a:gd name="T18" fmla="*/ 840319209 w 23"/>
              <a:gd name="T19" fmla="*/ 1046672184 h 119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w 23"/>
              <a:gd name="T31" fmla="*/ 0 h 119"/>
              <a:gd name="T32" fmla="*/ 23 w 23"/>
              <a:gd name="T33" fmla="*/ 119 h 119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T30" t="T31" r="T32" b="T33"/>
            <a:pathLst>
              <a:path w="23" h="119">
                <a:moveTo>
                  <a:pt x="0" y="0"/>
                </a:moveTo>
                <a:lnTo>
                  <a:pt x="5" y="11"/>
                </a:lnTo>
                <a:lnTo>
                  <a:pt x="13" y="15"/>
                </a:lnTo>
                <a:lnTo>
                  <a:pt x="17" y="27"/>
                </a:lnTo>
                <a:lnTo>
                  <a:pt x="17" y="40"/>
                </a:lnTo>
                <a:lnTo>
                  <a:pt x="15" y="52"/>
                </a:lnTo>
                <a:lnTo>
                  <a:pt x="18" y="67"/>
                </a:lnTo>
                <a:lnTo>
                  <a:pt x="18" y="80"/>
                </a:lnTo>
                <a:lnTo>
                  <a:pt x="23" y="95"/>
                </a:lnTo>
                <a:lnTo>
                  <a:pt x="21" y="119"/>
                </a:lnTo>
              </a:path>
            </a:pathLst>
          </a:custGeom>
          <a:noFill/>
          <a:ln w="3175" cap="flat" cmpd="sng">
            <a:solidFill>
              <a:srgbClr val="D9EAF7"/>
            </a:solidFill>
            <a:prstDash val="solid"/>
            <a:round/>
            <a:headEnd type="none" w="med" len="med"/>
            <a:tailEnd type="none" w="med" len="med"/>
          </a:ln>
        </p:spPr>
        <p:txBody>
          <a:bodyPr wrap="none" lIns="32632" tIns="32632" rIns="32632" bIns="32632" anchor="ctr"/>
          <a:lstStyle/>
          <a:p>
            <a:pPr defTabSz="891045"/>
            <a:endParaRPr lang="en-US" sz="1700" dirty="0">
              <a:solidFill>
                <a:srgbClr val="003149"/>
              </a:solidFill>
              <a:cs typeface="Arial" panose="020B0604020202020204" pitchFamily="34" charset="0"/>
            </a:endParaRPr>
          </a:p>
        </p:txBody>
      </p:sp>
      <p:sp>
        <p:nvSpPr>
          <p:cNvPr id="236" name="Freeform 723"/>
          <p:cNvSpPr>
            <a:spLocks noChangeAspect="1"/>
          </p:cNvSpPr>
          <p:nvPr>
            <p:custDataLst>
              <p:tags r:id="rId134"/>
            </p:custDataLst>
          </p:nvPr>
        </p:nvSpPr>
        <p:spPr bwMode="gray">
          <a:xfrm>
            <a:off x="4327795" y="3546607"/>
            <a:ext cx="135059" cy="330012"/>
          </a:xfrm>
          <a:custGeom>
            <a:avLst/>
            <a:gdLst>
              <a:gd name="T0" fmla="*/ 0 w 10000"/>
              <a:gd name="T1" fmla="*/ 0 h 10057"/>
              <a:gd name="T2" fmla="*/ 0 w 10000"/>
              <a:gd name="T3" fmla="*/ 0 h 10057"/>
              <a:gd name="T4" fmla="*/ 0 w 10000"/>
              <a:gd name="T5" fmla="*/ 0 h 10057"/>
              <a:gd name="T6" fmla="*/ 0 w 10000"/>
              <a:gd name="T7" fmla="*/ 0 h 10057"/>
              <a:gd name="T8" fmla="*/ 0 w 10000"/>
              <a:gd name="T9" fmla="*/ 0 h 10057"/>
              <a:gd name="T10" fmla="*/ 0 w 10000"/>
              <a:gd name="T11" fmla="*/ 0 h 10057"/>
              <a:gd name="T12" fmla="*/ 0 w 10000"/>
              <a:gd name="T13" fmla="*/ 0 h 10057"/>
              <a:gd name="T14" fmla="*/ 0 w 10000"/>
              <a:gd name="T15" fmla="*/ 0 h 10057"/>
              <a:gd name="T16" fmla="*/ 0 w 10000"/>
              <a:gd name="T17" fmla="*/ 0 h 10057"/>
              <a:gd name="T18" fmla="*/ 0 w 10000"/>
              <a:gd name="T19" fmla="*/ 0 h 10057"/>
              <a:gd name="T20" fmla="*/ 0 w 10000"/>
              <a:gd name="T21" fmla="*/ 0 h 10057"/>
              <a:gd name="T22" fmla="*/ 0 w 10000"/>
              <a:gd name="T23" fmla="*/ 0 h 10057"/>
              <a:gd name="T24" fmla="*/ 0 w 10000"/>
              <a:gd name="T25" fmla="*/ 0 h 10057"/>
              <a:gd name="T26" fmla="*/ 0 w 10000"/>
              <a:gd name="T27" fmla="*/ 0 h 10057"/>
              <a:gd name="T28" fmla="*/ 0 w 10000"/>
              <a:gd name="T29" fmla="*/ 0 h 10057"/>
              <a:gd name="T30" fmla="*/ 0 w 10000"/>
              <a:gd name="T31" fmla="*/ 0 h 10057"/>
              <a:gd name="T32" fmla="*/ 0 w 10000"/>
              <a:gd name="T33" fmla="*/ 0 h 10057"/>
              <a:gd name="T34" fmla="*/ 0 w 10000"/>
              <a:gd name="T35" fmla="*/ 0 h 10057"/>
              <a:gd name="T36" fmla="*/ 0 w 10000"/>
              <a:gd name="T37" fmla="*/ 0 h 10057"/>
              <a:gd name="T38" fmla="*/ 0 w 10000"/>
              <a:gd name="T39" fmla="*/ 0 h 10057"/>
              <a:gd name="T40" fmla="*/ 0 w 10000"/>
              <a:gd name="T41" fmla="*/ 0 h 10057"/>
              <a:gd name="T42" fmla="*/ 0 w 10000"/>
              <a:gd name="T43" fmla="*/ 0 h 10057"/>
              <a:gd name="T44" fmla="*/ 0 w 10000"/>
              <a:gd name="T45" fmla="*/ 0 h 10057"/>
              <a:gd name="T46" fmla="*/ 0 w 10000"/>
              <a:gd name="T47" fmla="*/ 0 h 10057"/>
              <a:gd name="T48" fmla="*/ 0 w 10000"/>
              <a:gd name="T49" fmla="*/ 0 h 10057"/>
              <a:gd name="T50" fmla="*/ 0 w 10000"/>
              <a:gd name="T51" fmla="*/ 0 h 10057"/>
              <a:gd name="T52" fmla="*/ 0 w 10000"/>
              <a:gd name="T53" fmla="*/ 0 h 10057"/>
              <a:gd name="T54" fmla="*/ 0 w 10000"/>
              <a:gd name="T55" fmla="*/ 0 h 10057"/>
              <a:gd name="T56" fmla="*/ 0 w 10000"/>
              <a:gd name="T57" fmla="*/ 0 h 10057"/>
              <a:gd name="T58" fmla="*/ 0 w 10000"/>
              <a:gd name="T59" fmla="*/ 0 h 10057"/>
              <a:gd name="T60" fmla="*/ 0 w 10000"/>
              <a:gd name="T61" fmla="*/ 0 h 10057"/>
              <a:gd name="T62" fmla="*/ 0 w 10000"/>
              <a:gd name="T63" fmla="*/ 0 h 10057"/>
              <a:gd name="T64" fmla="*/ 0 w 10000"/>
              <a:gd name="T65" fmla="*/ 0 h 10057"/>
              <a:gd name="T66" fmla="*/ 0 w 10000"/>
              <a:gd name="T67" fmla="*/ 0 h 10057"/>
              <a:gd name="T68" fmla="*/ 0 w 10000"/>
              <a:gd name="T69" fmla="*/ 0 h 10057"/>
              <a:gd name="T70" fmla="*/ 0 w 10000"/>
              <a:gd name="T71" fmla="*/ 0 h 10057"/>
              <a:gd name="T72" fmla="*/ 0 w 10000"/>
              <a:gd name="T73" fmla="*/ 0 h 10057"/>
              <a:gd name="T74" fmla="*/ 0 w 10000"/>
              <a:gd name="T75" fmla="*/ 0 h 10057"/>
              <a:gd name="T76" fmla="*/ 0 w 10000"/>
              <a:gd name="T77" fmla="*/ 0 h 10057"/>
              <a:gd name="T78" fmla="*/ 0 w 10000"/>
              <a:gd name="T79" fmla="*/ 0 h 10057"/>
              <a:gd name="T80" fmla="*/ 0 w 10000"/>
              <a:gd name="T81" fmla="*/ 0 h 10057"/>
              <a:gd name="T82" fmla="*/ 0 w 10000"/>
              <a:gd name="T83" fmla="*/ 0 h 10057"/>
              <a:gd name="T84" fmla="*/ 0 w 10000"/>
              <a:gd name="T85" fmla="*/ 0 h 10057"/>
              <a:gd name="T86" fmla="*/ 0 w 10000"/>
              <a:gd name="T87" fmla="*/ 0 h 10057"/>
              <a:gd name="T88" fmla="*/ 0 w 10000"/>
              <a:gd name="T89" fmla="*/ 0 h 10057"/>
              <a:gd name="T90" fmla="*/ 0 w 10000"/>
              <a:gd name="T91" fmla="*/ 0 h 10057"/>
              <a:gd name="T92" fmla="*/ 0 w 10000"/>
              <a:gd name="T93" fmla="*/ 0 h 10057"/>
              <a:gd name="T94" fmla="*/ 0 w 10000"/>
              <a:gd name="T95" fmla="*/ 0 h 10057"/>
              <a:gd name="T96" fmla="*/ 0 w 10000"/>
              <a:gd name="T97" fmla="*/ 0 h 10057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w 10000"/>
              <a:gd name="T148" fmla="*/ 0 h 10057"/>
              <a:gd name="T149" fmla="*/ 10000 w 10000"/>
              <a:gd name="T150" fmla="*/ 10057 h 10057"/>
            </a:gdLst>
            <a:ahLst/>
            <a:cxnLst>
              <a:cxn ang="T98">
                <a:pos x="T0" y="T1"/>
              </a:cxn>
              <a:cxn ang="T99">
                <a:pos x="T2" y="T3"/>
              </a:cxn>
              <a:cxn ang="T100">
                <a:pos x="T4" y="T5"/>
              </a:cxn>
              <a:cxn ang="T101">
                <a:pos x="T6" y="T7"/>
              </a:cxn>
              <a:cxn ang="T102">
                <a:pos x="T8" y="T9"/>
              </a:cxn>
              <a:cxn ang="T103">
                <a:pos x="T10" y="T11"/>
              </a:cxn>
              <a:cxn ang="T104">
                <a:pos x="T12" y="T13"/>
              </a:cxn>
              <a:cxn ang="T105">
                <a:pos x="T14" y="T15"/>
              </a:cxn>
              <a:cxn ang="T106">
                <a:pos x="T16" y="T17"/>
              </a:cxn>
              <a:cxn ang="T107">
                <a:pos x="T18" y="T19"/>
              </a:cxn>
              <a:cxn ang="T108">
                <a:pos x="T20" y="T21"/>
              </a:cxn>
              <a:cxn ang="T109">
                <a:pos x="T22" y="T23"/>
              </a:cxn>
              <a:cxn ang="T110">
                <a:pos x="T24" y="T25"/>
              </a:cxn>
              <a:cxn ang="T111">
                <a:pos x="T26" y="T27"/>
              </a:cxn>
              <a:cxn ang="T112">
                <a:pos x="T28" y="T29"/>
              </a:cxn>
              <a:cxn ang="T113">
                <a:pos x="T30" y="T31"/>
              </a:cxn>
              <a:cxn ang="T114">
                <a:pos x="T32" y="T33"/>
              </a:cxn>
              <a:cxn ang="T115">
                <a:pos x="T34" y="T35"/>
              </a:cxn>
              <a:cxn ang="T116">
                <a:pos x="T36" y="T37"/>
              </a:cxn>
              <a:cxn ang="T117">
                <a:pos x="T38" y="T39"/>
              </a:cxn>
              <a:cxn ang="T118">
                <a:pos x="T40" y="T41"/>
              </a:cxn>
              <a:cxn ang="T119">
                <a:pos x="T42" y="T43"/>
              </a:cxn>
              <a:cxn ang="T120">
                <a:pos x="T44" y="T45"/>
              </a:cxn>
              <a:cxn ang="T121">
                <a:pos x="T46" y="T47"/>
              </a:cxn>
              <a:cxn ang="T122">
                <a:pos x="T48" y="T49"/>
              </a:cxn>
              <a:cxn ang="T123">
                <a:pos x="T50" y="T51"/>
              </a:cxn>
              <a:cxn ang="T124">
                <a:pos x="T52" y="T53"/>
              </a:cxn>
              <a:cxn ang="T125">
                <a:pos x="T54" y="T55"/>
              </a:cxn>
              <a:cxn ang="T126">
                <a:pos x="T56" y="T57"/>
              </a:cxn>
              <a:cxn ang="T127">
                <a:pos x="T58" y="T59"/>
              </a:cxn>
              <a:cxn ang="T128">
                <a:pos x="T60" y="T61"/>
              </a:cxn>
              <a:cxn ang="T129">
                <a:pos x="T62" y="T63"/>
              </a:cxn>
              <a:cxn ang="T130">
                <a:pos x="T64" y="T65"/>
              </a:cxn>
              <a:cxn ang="T131">
                <a:pos x="T66" y="T67"/>
              </a:cxn>
              <a:cxn ang="T132">
                <a:pos x="T68" y="T69"/>
              </a:cxn>
              <a:cxn ang="T133">
                <a:pos x="T70" y="T71"/>
              </a:cxn>
              <a:cxn ang="T134">
                <a:pos x="T72" y="T73"/>
              </a:cxn>
              <a:cxn ang="T135">
                <a:pos x="T74" y="T75"/>
              </a:cxn>
              <a:cxn ang="T136">
                <a:pos x="T76" y="T77"/>
              </a:cxn>
              <a:cxn ang="T137">
                <a:pos x="T78" y="T79"/>
              </a:cxn>
              <a:cxn ang="T138">
                <a:pos x="T80" y="T81"/>
              </a:cxn>
              <a:cxn ang="T139">
                <a:pos x="T82" y="T83"/>
              </a:cxn>
              <a:cxn ang="T140">
                <a:pos x="T84" y="T85"/>
              </a:cxn>
              <a:cxn ang="T141">
                <a:pos x="T86" y="T87"/>
              </a:cxn>
              <a:cxn ang="T142">
                <a:pos x="T88" y="T89"/>
              </a:cxn>
              <a:cxn ang="T143">
                <a:pos x="T90" y="T91"/>
              </a:cxn>
              <a:cxn ang="T144">
                <a:pos x="T92" y="T93"/>
              </a:cxn>
              <a:cxn ang="T145">
                <a:pos x="T94" y="T95"/>
              </a:cxn>
              <a:cxn ang="T146">
                <a:pos x="T96" y="T97"/>
              </a:cxn>
            </a:cxnLst>
            <a:rect l="T147" t="T148" r="T149" b="T150"/>
            <a:pathLst>
              <a:path w="10000" h="10057">
                <a:moveTo>
                  <a:pt x="360" y="0"/>
                </a:moveTo>
                <a:lnTo>
                  <a:pt x="676" y="771"/>
                </a:lnTo>
                <a:lnTo>
                  <a:pt x="991" y="1328"/>
                </a:lnTo>
                <a:lnTo>
                  <a:pt x="315" y="1456"/>
                </a:lnTo>
                <a:cubicBezTo>
                  <a:pt x="285" y="1599"/>
                  <a:pt x="255" y="1741"/>
                  <a:pt x="225" y="1884"/>
                </a:cubicBezTo>
                <a:lnTo>
                  <a:pt x="0" y="2056"/>
                </a:lnTo>
                <a:lnTo>
                  <a:pt x="901" y="2270"/>
                </a:lnTo>
                <a:lnTo>
                  <a:pt x="1937" y="2313"/>
                </a:lnTo>
                <a:lnTo>
                  <a:pt x="3018" y="2377"/>
                </a:lnTo>
                <a:lnTo>
                  <a:pt x="4189" y="2377"/>
                </a:lnTo>
                <a:lnTo>
                  <a:pt x="5090" y="2548"/>
                </a:lnTo>
                <a:lnTo>
                  <a:pt x="5946" y="2677"/>
                </a:lnTo>
                <a:cubicBezTo>
                  <a:pt x="5976" y="2820"/>
                  <a:pt x="6006" y="2962"/>
                  <a:pt x="6036" y="3105"/>
                </a:cubicBezTo>
                <a:lnTo>
                  <a:pt x="6802" y="3276"/>
                </a:lnTo>
                <a:lnTo>
                  <a:pt x="7117" y="3662"/>
                </a:lnTo>
                <a:lnTo>
                  <a:pt x="7523" y="4069"/>
                </a:lnTo>
                <a:lnTo>
                  <a:pt x="8288" y="4154"/>
                </a:lnTo>
                <a:lnTo>
                  <a:pt x="9099" y="4176"/>
                </a:lnTo>
                <a:lnTo>
                  <a:pt x="8919" y="4540"/>
                </a:lnTo>
                <a:lnTo>
                  <a:pt x="9324" y="4818"/>
                </a:lnTo>
                <a:cubicBezTo>
                  <a:pt x="9309" y="4882"/>
                  <a:pt x="9294" y="4947"/>
                  <a:pt x="9279" y="5011"/>
                </a:cubicBezTo>
                <a:lnTo>
                  <a:pt x="8694" y="4968"/>
                </a:lnTo>
                <a:lnTo>
                  <a:pt x="8288" y="5096"/>
                </a:lnTo>
                <a:lnTo>
                  <a:pt x="7748" y="5268"/>
                </a:lnTo>
                <a:lnTo>
                  <a:pt x="7387" y="5460"/>
                </a:lnTo>
                <a:lnTo>
                  <a:pt x="6892" y="5696"/>
                </a:lnTo>
                <a:lnTo>
                  <a:pt x="6667" y="5931"/>
                </a:lnTo>
                <a:cubicBezTo>
                  <a:pt x="6682" y="6102"/>
                  <a:pt x="6697" y="6274"/>
                  <a:pt x="6712" y="6445"/>
                </a:cubicBezTo>
                <a:lnTo>
                  <a:pt x="6982" y="6681"/>
                </a:lnTo>
                <a:lnTo>
                  <a:pt x="8153" y="6874"/>
                </a:lnTo>
                <a:lnTo>
                  <a:pt x="8874" y="7152"/>
                </a:lnTo>
                <a:lnTo>
                  <a:pt x="9730" y="7195"/>
                </a:lnTo>
                <a:lnTo>
                  <a:pt x="10000" y="7409"/>
                </a:lnTo>
                <a:lnTo>
                  <a:pt x="9910" y="7880"/>
                </a:lnTo>
                <a:lnTo>
                  <a:pt x="9189" y="7837"/>
                </a:lnTo>
                <a:lnTo>
                  <a:pt x="8874" y="8030"/>
                </a:lnTo>
                <a:lnTo>
                  <a:pt x="8964" y="8201"/>
                </a:lnTo>
                <a:lnTo>
                  <a:pt x="8604" y="8201"/>
                </a:lnTo>
                <a:lnTo>
                  <a:pt x="8288" y="8137"/>
                </a:lnTo>
                <a:lnTo>
                  <a:pt x="8018" y="8308"/>
                </a:lnTo>
                <a:cubicBezTo>
                  <a:pt x="7988" y="8394"/>
                  <a:pt x="7958" y="8479"/>
                  <a:pt x="7928" y="8565"/>
                </a:cubicBezTo>
                <a:lnTo>
                  <a:pt x="7523" y="8630"/>
                </a:lnTo>
                <a:lnTo>
                  <a:pt x="7207" y="8715"/>
                </a:lnTo>
                <a:cubicBezTo>
                  <a:pt x="7177" y="8772"/>
                  <a:pt x="7147" y="8830"/>
                  <a:pt x="7117" y="8887"/>
                </a:cubicBezTo>
                <a:lnTo>
                  <a:pt x="7613" y="8972"/>
                </a:lnTo>
                <a:lnTo>
                  <a:pt x="7432" y="9272"/>
                </a:lnTo>
                <a:lnTo>
                  <a:pt x="7207" y="9507"/>
                </a:lnTo>
                <a:lnTo>
                  <a:pt x="7432" y="9743"/>
                </a:lnTo>
                <a:lnTo>
                  <a:pt x="6652" y="10057"/>
                </a:lnTo>
              </a:path>
            </a:pathLst>
          </a:custGeom>
          <a:noFill/>
          <a:ln w="3175" cap="flat" cmpd="sng">
            <a:solidFill>
              <a:srgbClr val="D9EAF7"/>
            </a:solidFill>
            <a:prstDash val="solid"/>
            <a:round/>
            <a:headEnd type="none" w="med" len="med"/>
            <a:tailEnd type="none" w="med" len="med"/>
          </a:ln>
        </p:spPr>
        <p:txBody>
          <a:bodyPr wrap="none" lIns="32632" tIns="32632" rIns="32632" bIns="32632" anchor="ctr"/>
          <a:lstStyle/>
          <a:p>
            <a:pPr defTabSz="891045"/>
            <a:endParaRPr lang="en-US" sz="1700" dirty="0">
              <a:solidFill>
                <a:srgbClr val="003149"/>
              </a:solidFill>
              <a:cs typeface="Arial" panose="020B0604020202020204" pitchFamily="34" charset="0"/>
            </a:endParaRPr>
          </a:p>
        </p:txBody>
      </p:sp>
      <p:sp>
        <p:nvSpPr>
          <p:cNvPr id="237" name="Freeform 724"/>
          <p:cNvSpPr>
            <a:spLocks noChangeAspect="1"/>
          </p:cNvSpPr>
          <p:nvPr>
            <p:custDataLst>
              <p:tags r:id="rId135"/>
            </p:custDataLst>
          </p:nvPr>
        </p:nvSpPr>
        <p:spPr bwMode="gray">
          <a:xfrm>
            <a:off x="3889924" y="3720225"/>
            <a:ext cx="95252" cy="186529"/>
          </a:xfrm>
          <a:custGeom>
            <a:avLst/>
            <a:gdLst>
              <a:gd name="T0" fmla="*/ 0 w 8295"/>
              <a:gd name="T1" fmla="*/ 0 h 10987"/>
              <a:gd name="T2" fmla="*/ 0 w 8295"/>
              <a:gd name="T3" fmla="*/ 0 h 10987"/>
              <a:gd name="T4" fmla="*/ 0 w 8295"/>
              <a:gd name="T5" fmla="*/ 0 h 10987"/>
              <a:gd name="T6" fmla="*/ 0 w 8295"/>
              <a:gd name="T7" fmla="*/ 0 h 10987"/>
              <a:gd name="T8" fmla="*/ 0 w 8295"/>
              <a:gd name="T9" fmla="*/ 0 h 10987"/>
              <a:gd name="T10" fmla="*/ 0 w 8295"/>
              <a:gd name="T11" fmla="*/ 0 h 10987"/>
              <a:gd name="T12" fmla="*/ 0 w 8295"/>
              <a:gd name="T13" fmla="*/ 0 h 10987"/>
              <a:gd name="T14" fmla="*/ 0 w 8295"/>
              <a:gd name="T15" fmla="*/ 0 h 10987"/>
              <a:gd name="T16" fmla="*/ 0 w 8295"/>
              <a:gd name="T17" fmla="*/ 0 h 10987"/>
              <a:gd name="T18" fmla="*/ 0 w 8295"/>
              <a:gd name="T19" fmla="*/ 0 h 10987"/>
              <a:gd name="T20" fmla="*/ 0 w 8295"/>
              <a:gd name="T21" fmla="*/ 0 h 10987"/>
              <a:gd name="T22" fmla="*/ 0 w 8295"/>
              <a:gd name="T23" fmla="*/ 0 h 10987"/>
              <a:gd name="T24" fmla="*/ 0 w 8295"/>
              <a:gd name="T25" fmla="*/ 0 h 10987"/>
              <a:gd name="T26" fmla="*/ 0 w 8295"/>
              <a:gd name="T27" fmla="*/ 0 h 10987"/>
              <a:gd name="T28" fmla="*/ 0 w 8295"/>
              <a:gd name="T29" fmla="*/ 0 h 10987"/>
              <a:gd name="T30" fmla="*/ 0 w 8295"/>
              <a:gd name="T31" fmla="*/ 0 h 10987"/>
              <a:gd name="T32" fmla="*/ 0 w 8295"/>
              <a:gd name="T33" fmla="*/ 0 h 10987"/>
              <a:gd name="T34" fmla="*/ 0 w 8295"/>
              <a:gd name="T35" fmla="*/ 0 h 10987"/>
              <a:gd name="T36" fmla="*/ 0 w 8295"/>
              <a:gd name="T37" fmla="*/ 0 h 10987"/>
              <a:gd name="T38" fmla="*/ 0 w 8295"/>
              <a:gd name="T39" fmla="*/ 0 h 10987"/>
              <a:gd name="T40" fmla="*/ 0 w 8295"/>
              <a:gd name="T41" fmla="*/ 0 h 10987"/>
              <a:gd name="T42" fmla="*/ 0 w 8295"/>
              <a:gd name="T43" fmla="*/ 0 h 10987"/>
              <a:gd name="T44" fmla="*/ 0 w 8295"/>
              <a:gd name="T45" fmla="*/ 0 h 10987"/>
              <a:gd name="T46" fmla="*/ 0 w 8295"/>
              <a:gd name="T47" fmla="*/ 0 h 10987"/>
              <a:gd name="T48" fmla="*/ 0 w 8295"/>
              <a:gd name="T49" fmla="*/ 0 h 10987"/>
              <a:gd name="T50" fmla="*/ 0 w 8295"/>
              <a:gd name="T51" fmla="*/ 0 h 10987"/>
              <a:gd name="T52" fmla="*/ 0 w 8295"/>
              <a:gd name="T53" fmla="*/ 0 h 10987"/>
              <a:gd name="T54" fmla="*/ 0 w 8295"/>
              <a:gd name="T55" fmla="*/ 0 h 10987"/>
              <a:gd name="T56" fmla="*/ 0 w 8295"/>
              <a:gd name="T57" fmla="*/ 0 h 10987"/>
              <a:gd name="T58" fmla="*/ 0 w 8295"/>
              <a:gd name="T59" fmla="*/ 0 h 10987"/>
              <a:gd name="T60" fmla="*/ 0 w 8295"/>
              <a:gd name="T61" fmla="*/ 0 h 10987"/>
              <a:gd name="T62" fmla="*/ 0 w 8295"/>
              <a:gd name="T63" fmla="*/ 0 h 10987"/>
              <a:gd name="T64" fmla="*/ 0 w 8295"/>
              <a:gd name="T65" fmla="*/ 0 h 10987"/>
              <a:gd name="T66" fmla="*/ 0 w 8295"/>
              <a:gd name="T67" fmla="*/ 0 h 10987"/>
              <a:gd name="T68" fmla="*/ 0 w 8295"/>
              <a:gd name="T69" fmla="*/ 0 h 10987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w 8295"/>
              <a:gd name="T106" fmla="*/ 0 h 10987"/>
              <a:gd name="T107" fmla="*/ 8295 w 8295"/>
              <a:gd name="T108" fmla="*/ 10987 h 10987"/>
            </a:gdLst>
            <a:ahLst/>
            <a:cxnLst>
              <a:cxn ang="T70">
                <a:pos x="T0" y="T1"/>
              </a:cxn>
              <a:cxn ang="T71">
                <a:pos x="T2" y="T3"/>
              </a:cxn>
              <a:cxn ang="T72">
                <a:pos x="T4" y="T5"/>
              </a:cxn>
              <a:cxn ang="T73">
                <a:pos x="T6" y="T7"/>
              </a:cxn>
              <a:cxn ang="T74">
                <a:pos x="T8" y="T9"/>
              </a:cxn>
              <a:cxn ang="T75">
                <a:pos x="T10" y="T11"/>
              </a:cxn>
              <a:cxn ang="T76">
                <a:pos x="T12" y="T13"/>
              </a:cxn>
              <a:cxn ang="T77">
                <a:pos x="T14" y="T15"/>
              </a:cxn>
              <a:cxn ang="T78">
                <a:pos x="T16" y="T17"/>
              </a:cxn>
              <a:cxn ang="T79">
                <a:pos x="T18" y="T19"/>
              </a:cxn>
              <a:cxn ang="T80">
                <a:pos x="T20" y="T21"/>
              </a:cxn>
              <a:cxn ang="T81">
                <a:pos x="T22" y="T23"/>
              </a:cxn>
              <a:cxn ang="T82">
                <a:pos x="T24" y="T25"/>
              </a:cxn>
              <a:cxn ang="T83">
                <a:pos x="T26" y="T27"/>
              </a:cxn>
              <a:cxn ang="T84">
                <a:pos x="T28" y="T29"/>
              </a:cxn>
              <a:cxn ang="T85">
                <a:pos x="T30" y="T31"/>
              </a:cxn>
              <a:cxn ang="T86">
                <a:pos x="T32" y="T33"/>
              </a:cxn>
              <a:cxn ang="T87">
                <a:pos x="T34" y="T35"/>
              </a:cxn>
              <a:cxn ang="T88">
                <a:pos x="T36" y="T37"/>
              </a:cxn>
              <a:cxn ang="T89">
                <a:pos x="T38" y="T39"/>
              </a:cxn>
              <a:cxn ang="T90">
                <a:pos x="T40" y="T41"/>
              </a:cxn>
              <a:cxn ang="T91">
                <a:pos x="T42" y="T43"/>
              </a:cxn>
              <a:cxn ang="T92">
                <a:pos x="T44" y="T45"/>
              </a:cxn>
              <a:cxn ang="T93">
                <a:pos x="T46" y="T47"/>
              </a:cxn>
              <a:cxn ang="T94">
                <a:pos x="T48" y="T49"/>
              </a:cxn>
              <a:cxn ang="T95">
                <a:pos x="T50" y="T51"/>
              </a:cxn>
              <a:cxn ang="T96">
                <a:pos x="T52" y="T53"/>
              </a:cxn>
              <a:cxn ang="T97">
                <a:pos x="T54" y="T55"/>
              </a:cxn>
              <a:cxn ang="T98">
                <a:pos x="T56" y="T57"/>
              </a:cxn>
              <a:cxn ang="T99">
                <a:pos x="T58" y="T59"/>
              </a:cxn>
              <a:cxn ang="T100">
                <a:pos x="T60" y="T61"/>
              </a:cxn>
              <a:cxn ang="T101">
                <a:pos x="T62" y="T63"/>
              </a:cxn>
              <a:cxn ang="T102">
                <a:pos x="T64" y="T65"/>
              </a:cxn>
              <a:cxn ang="T103">
                <a:pos x="T66" y="T67"/>
              </a:cxn>
              <a:cxn ang="T104">
                <a:pos x="T68" y="T69"/>
              </a:cxn>
            </a:cxnLst>
            <a:rect l="T105" t="T106" r="T107" b="T108"/>
            <a:pathLst>
              <a:path w="8295" h="10987">
                <a:moveTo>
                  <a:pt x="8295" y="0"/>
                </a:moveTo>
                <a:cubicBezTo>
                  <a:pt x="8259" y="360"/>
                  <a:pt x="8222" y="719"/>
                  <a:pt x="8186" y="1079"/>
                </a:cubicBezTo>
                <a:lnTo>
                  <a:pt x="7802" y="1661"/>
                </a:lnTo>
                <a:lnTo>
                  <a:pt x="7253" y="1786"/>
                </a:lnTo>
                <a:lnTo>
                  <a:pt x="6486" y="1868"/>
                </a:lnTo>
                <a:lnTo>
                  <a:pt x="6102" y="1993"/>
                </a:lnTo>
                <a:lnTo>
                  <a:pt x="5609" y="2324"/>
                </a:lnTo>
                <a:lnTo>
                  <a:pt x="6595" y="2532"/>
                </a:lnTo>
                <a:cubicBezTo>
                  <a:pt x="6522" y="2670"/>
                  <a:pt x="6450" y="2809"/>
                  <a:pt x="6377" y="2947"/>
                </a:cubicBezTo>
                <a:lnTo>
                  <a:pt x="7089" y="3404"/>
                </a:lnTo>
                <a:lnTo>
                  <a:pt x="6595" y="3736"/>
                </a:lnTo>
                <a:lnTo>
                  <a:pt x="5883" y="3570"/>
                </a:lnTo>
                <a:lnTo>
                  <a:pt x="5115" y="3528"/>
                </a:lnTo>
                <a:lnTo>
                  <a:pt x="4293" y="3528"/>
                </a:lnTo>
                <a:lnTo>
                  <a:pt x="3635" y="3695"/>
                </a:lnTo>
                <a:lnTo>
                  <a:pt x="3142" y="3820"/>
                </a:lnTo>
                <a:lnTo>
                  <a:pt x="3142" y="4318"/>
                </a:lnTo>
                <a:lnTo>
                  <a:pt x="2704" y="4525"/>
                </a:lnTo>
                <a:lnTo>
                  <a:pt x="2155" y="4525"/>
                </a:lnTo>
                <a:lnTo>
                  <a:pt x="2155" y="5023"/>
                </a:lnTo>
                <a:cubicBezTo>
                  <a:pt x="2173" y="5120"/>
                  <a:pt x="2192" y="5216"/>
                  <a:pt x="2210" y="5314"/>
                </a:cubicBezTo>
                <a:cubicBezTo>
                  <a:pt x="2247" y="5438"/>
                  <a:pt x="2284" y="5562"/>
                  <a:pt x="2320" y="5687"/>
                </a:cubicBezTo>
                <a:lnTo>
                  <a:pt x="1279" y="5771"/>
                </a:lnTo>
                <a:lnTo>
                  <a:pt x="1498" y="6102"/>
                </a:lnTo>
                <a:cubicBezTo>
                  <a:pt x="1535" y="6254"/>
                  <a:pt x="1571" y="6407"/>
                  <a:pt x="1608" y="6559"/>
                </a:cubicBezTo>
                <a:lnTo>
                  <a:pt x="1443" y="7182"/>
                </a:lnTo>
                <a:lnTo>
                  <a:pt x="1059" y="7680"/>
                </a:lnTo>
                <a:lnTo>
                  <a:pt x="1553" y="7888"/>
                </a:lnTo>
                <a:lnTo>
                  <a:pt x="1826" y="8386"/>
                </a:lnTo>
                <a:lnTo>
                  <a:pt x="1826" y="8676"/>
                </a:lnTo>
                <a:lnTo>
                  <a:pt x="1937" y="9133"/>
                </a:lnTo>
                <a:lnTo>
                  <a:pt x="2155" y="9424"/>
                </a:lnTo>
                <a:lnTo>
                  <a:pt x="1717" y="9424"/>
                </a:lnTo>
                <a:lnTo>
                  <a:pt x="1333" y="9548"/>
                </a:lnTo>
                <a:lnTo>
                  <a:pt x="0" y="10987"/>
                </a:lnTo>
              </a:path>
            </a:pathLst>
          </a:custGeom>
          <a:noFill/>
          <a:ln w="3175" cap="flat" cmpd="sng">
            <a:solidFill>
              <a:srgbClr val="D9EAF7"/>
            </a:solidFill>
            <a:prstDash val="solid"/>
            <a:round/>
            <a:headEnd type="none" w="med" len="med"/>
            <a:tailEnd type="none" w="med" len="med"/>
          </a:ln>
        </p:spPr>
        <p:txBody>
          <a:bodyPr wrap="none" lIns="32632" tIns="32632" rIns="32632" bIns="32632" anchor="ctr"/>
          <a:lstStyle/>
          <a:p>
            <a:pPr defTabSz="891045"/>
            <a:endParaRPr lang="en-US" sz="1700" dirty="0">
              <a:solidFill>
                <a:srgbClr val="003149"/>
              </a:solidFill>
              <a:cs typeface="Arial" panose="020B0604020202020204" pitchFamily="34" charset="0"/>
            </a:endParaRPr>
          </a:p>
        </p:txBody>
      </p:sp>
      <p:sp>
        <p:nvSpPr>
          <p:cNvPr id="238" name="Freeform 726"/>
          <p:cNvSpPr>
            <a:spLocks noChangeAspect="1"/>
          </p:cNvSpPr>
          <p:nvPr>
            <p:custDataLst>
              <p:tags r:id="rId136"/>
            </p:custDataLst>
          </p:nvPr>
        </p:nvSpPr>
        <p:spPr bwMode="gray">
          <a:xfrm>
            <a:off x="3985175" y="3720227"/>
            <a:ext cx="267274" cy="156396"/>
          </a:xfrm>
          <a:custGeom>
            <a:avLst/>
            <a:gdLst>
              <a:gd name="T0" fmla="*/ 0 w 9761"/>
              <a:gd name="T1" fmla="*/ 0 h 10000"/>
              <a:gd name="T2" fmla="*/ 0 w 9761"/>
              <a:gd name="T3" fmla="*/ 0 h 10000"/>
              <a:gd name="T4" fmla="*/ 0 w 9761"/>
              <a:gd name="T5" fmla="*/ 0 h 10000"/>
              <a:gd name="T6" fmla="*/ 0 w 9761"/>
              <a:gd name="T7" fmla="*/ 0 h 10000"/>
              <a:gd name="T8" fmla="*/ 0 w 9761"/>
              <a:gd name="T9" fmla="*/ 0 h 10000"/>
              <a:gd name="T10" fmla="*/ 0 w 9761"/>
              <a:gd name="T11" fmla="*/ 0 h 10000"/>
              <a:gd name="T12" fmla="*/ 0 w 9761"/>
              <a:gd name="T13" fmla="*/ 0 h 10000"/>
              <a:gd name="T14" fmla="*/ 0 w 9761"/>
              <a:gd name="T15" fmla="*/ 0 h 10000"/>
              <a:gd name="T16" fmla="*/ 0 w 9761"/>
              <a:gd name="T17" fmla="*/ 0 h 10000"/>
              <a:gd name="T18" fmla="*/ 0 w 9761"/>
              <a:gd name="T19" fmla="*/ 0 h 10000"/>
              <a:gd name="T20" fmla="*/ 0 w 9761"/>
              <a:gd name="T21" fmla="*/ 0 h 10000"/>
              <a:gd name="T22" fmla="*/ 0 w 9761"/>
              <a:gd name="T23" fmla="*/ 0 h 10000"/>
              <a:gd name="T24" fmla="*/ 0 w 9761"/>
              <a:gd name="T25" fmla="*/ 0 h 10000"/>
              <a:gd name="T26" fmla="*/ 0 w 9761"/>
              <a:gd name="T27" fmla="*/ 0 h 10000"/>
              <a:gd name="T28" fmla="*/ 0 w 9761"/>
              <a:gd name="T29" fmla="*/ 0 h 10000"/>
              <a:gd name="T30" fmla="*/ 0 w 9761"/>
              <a:gd name="T31" fmla="*/ 0 h 10000"/>
              <a:gd name="T32" fmla="*/ 0 w 9761"/>
              <a:gd name="T33" fmla="*/ 0 h 10000"/>
              <a:gd name="T34" fmla="*/ 0 w 9761"/>
              <a:gd name="T35" fmla="*/ 0 h 10000"/>
              <a:gd name="T36" fmla="*/ 0 w 9761"/>
              <a:gd name="T37" fmla="*/ 0 h 10000"/>
              <a:gd name="T38" fmla="*/ 0 w 9761"/>
              <a:gd name="T39" fmla="*/ 0 h 10000"/>
              <a:gd name="T40" fmla="*/ 0 w 9761"/>
              <a:gd name="T41" fmla="*/ 0 h 10000"/>
              <a:gd name="T42" fmla="*/ 0 w 9761"/>
              <a:gd name="T43" fmla="*/ 0 h 10000"/>
              <a:gd name="T44" fmla="*/ 0 w 9761"/>
              <a:gd name="T45" fmla="*/ 0 h 10000"/>
              <a:gd name="T46" fmla="*/ 0 w 9761"/>
              <a:gd name="T47" fmla="*/ 0 h 10000"/>
              <a:gd name="T48" fmla="*/ 0 w 9761"/>
              <a:gd name="T49" fmla="*/ 0 h 10000"/>
              <a:gd name="T50" fmla="*/ 0 w 9761"/>
              <a:gd name="T51" fmla="*/ 0 h 10000"/>
              <a:gd name="T52" fmla="*/ 0 w 9761"/>
              <a:gd name="T53" fmla="*/ 0 h 10000"/>
              <a:gd name="T54" fmla="*/ 0 w 9761"/>
              <a:gd name="T55" fmla="*/ 0 h 10000"/>
              <a:gd name="T56" fmla="*/ 0 w 9761"/>
              <a:gd name="T57" fmla="*/ 0 h 10000"/>
              <a:gd name="T58" fmla="*/ 0 w 9761"/>
              <a:gd name="T59" fmla="*/ 0 h 10000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w 9761"/>
              <a:gd name="T91" fmla="*/ 0 h 10000"/>
              <a:gd name="T92" fmla="*/ 9761 w 9761"/>
              <a:gd name="T93" fmla="*/ 10000 h 10000"/>
            </a:gdLst>
            <a:ahLst/>
            <a:cxnLst>
              <a:cxn ang="T60">
                <a:pos x="T0" y="T1"/>
              </a:cxn>
              <a:cxn ang="T61">
                <a:pos x="T2" y="T3"/>
              </a:cxn>
              <a:cxn ang="T62">
                <a:pos x="T4" y="T5"/>
              </a:cxn>
              <a:cxn ang="T63">
                <a:pos x="T6" y="T7"/>
              </a:cxn>
              <a:cxn ang="T64">
                <a:pos x="T8" y="T9"/>
              </a:cxn>
              <a:cxn ang="T65">
                <a:pos x="T10" y="T11"/>
              </a:cxn>
              <a:cxn ang="T66">
                <a:pos x="T12" y="T13"/>
              </a:cxn>
              <a:cxn ang="T67">
                <a:pos x="T14" y="T15"/>
              </a:cxn>
              <a:cxn ang="T68">
                <a:pos x="T16" y="T17"/>
              </a:cxn>
              <a:cxn ang="T69">
                <a:pos x="T18" y="T19"/>
              </a:cxn>
              <a:cxn ang="T70">
                <a:pos x="T20" y="T21"/>
              </a:cxn>
              <a:cxn ang="T71">
                <a:pos x="T22" y="T23"/>
              </a:cxn>
              <a:cxn ang="T72">
                <a:pos x="T24" y="T25"/>
              </a:cxn>
              <a:cxn ang="T73">
                <a:pos x="T26" y="T27"/>
              </a:cxn>
              <a:cxn ang="T74">
                <a:pos x="T28" y="T29"/>
              </a:cxn>
              <a:cxn ang="T75">
                <a:pos x="T30" y="T31"/>
              </a:cxn>
              <a:cxn ang="T76">
                <a:pos x="T32" y="T33"/>
              </a:cxn>
              <a:cxn ang="T77">
                <a:pos x="T34" y="T35"/>
              </a:cxn>
              <a:cxn ang="T78">
                <a:pos x="T36" y="T37"/>
              </a:cxn>
              <a:cxn ang="T79">
                <a:pos x="T38" y="T39"/>
              </a:cxn>
              <a:cxn ang="T80">
                <a:pos x="T40" y="T41"/>
              </a:cxn>
              <a:cxn ang="T81">
                <a:pos x="T42" y="T43"/>
              </a:cxn>
              <a:cxn ang="T82">
                <a:pos x="T44" y="T45"/>
              </a:cxn>
              <a:cxn ang="T83">
                <a:pos x="T46" y="T47"/>
              </a:cxn>
              <a:cxn ang="T84">
                <a:pos x="T48" y="T49"/>
              </a:cxn>
              <a:cxn ang="T85">
                <a:pos x="T50" y="T51"/>
              </a:cxn>
              <a:cxn ang="T86">
                <a:pos x="T52" y="T53"/>
              </a:cxn>
              <a:cxn ang="T87">
                <a:pos x="T54" y="T55"/>
              </a:cxn>
              <a:cxn ang="T88">
                <a:pos x="T56" y="T57"/>
              </a:cxn>
              <a:cxn ang="T89">
                <a:pos x="T58" y="T59"/>
              </a:cxn>
            </a:cxnLst>
            <a:rect l="T90" t="T91" r="T92" b="T93"/>
            <a:pathLst>
              <a:path w="9761" h="10000">
                <a:moveTo>
                  <a:pt x="9761" y="9941"/>
                </a:moveTo>
                <a:lnTo>
                  <a:pt x="9450" y="9507"/>
                </a:lnTo>
                <a:lnTo>
                  <a:pt x="9066" y="9462"/>
                </a:lnTo>
                <a:cubicBezTo>
                  <a:pt x="9021" y="9611"/>
                  <a:pt x="8975" y="9761"/>
                  <a:pt x="8930" y="9910"/>
                </a:cubicBezTo>
                <a:lnTo>
                  <a:pt x="8682" y="10000"/>
                </a:lnTo>
                <a:lnTo>
                  <a:pt x="8388" y="10000"/>
                </a:lnTo>
                <a:lnTo>
                  <a:pt x="8139" y="9193"/>
                </a:lnTo>
                <a:lnTo>
                  <a:pt x="7688" y="8744"/>
                </a:lnTo>
                <a:lnTo>
                  <a:pt x="7461" y="8566"/>
                </a:lnTo>
                <a:cubicBezTo>
                  <a:pt x="7401" y="8416"/>
                  <a:pt x="7340" y="8267"/>
                  <a:pt x="7280" y="8117"/>
                </a:cubicBezTo>
                <a:lnTo>
                  <a:pt x="6941" y="7848"/>
                </a:lnTo>
                <a:lnTo>
                  <a:pt x="6534" y="7668"/>
                </a:lnTo>
                <a:lnTo>
                  <a:pt x="6263" y="7309"/>
                </a:lnTo>
                <a:lnTo>
                  <a:pt x="5969" y="7266"/>
                </a:lnTo>
                <a:cubicBezTo>
                  <a:pt x="5894" y="7071"/>
                  <a:pt x="5818" y="6877"/>
                  <a:pt x="5743" y="6682"/>
                </a:cubicBezTo>
                <a:lnTo>
                  <a:pt x="5336" y="6547"/>
                </a:lnTo>
                <a:lnTo>
                  <a:pt x="5064" y="6457"/>
                </a:lnTo>
                <a:lnTo>
                  <a:pt x="4748" y="6323"/>
                </a:lnTo>
                <a:lnTo>
                  <a:pt x="4432" y="5650"/>
                </a:lnTo>
                <a:lnTo>
                  <a:pt x="4069" y="4664"/>
                </a:lnTo>
                <a:lnTo>
                  <a:pt x="3730" y="3946"/>
                </a:lnTo>
                <a:lnTo>
                  <a:pt x="3187" y="2826"/>
                </a:lnTo>
                <a:lnTo>
                  <a:pt x="2600" y="2466"/>
                </a:lnTo>
                <a:lnTo>
                  <a:pt x="2103" y="2018"/>
                </a:lnTo>
                <a:lnTo>
                  <a:pt x="1695" y="1526"/>
                </a:lnTo>
                <a:lnTo>
                  <a:pt x="1334" y="1166"/>
                </a:lnTo>
                <a:lnTo>
                  <a:pt x="1062" y="807"/>
                </a:lnTo>
                <a:lnTo>
                  <a:pt x="769" y="583"/>
                </a:lnTo>
                <a:lnTo>
                  <a:pt x="430" y="314"/>
                </a:lnTo>
                <a:lnTo>
                  <a:pt x="0" y="0"/>
                </a:lnTo>
              </a:path>
            </a:pathLst>
          </a:custGeom>
          <a:noFill/>
          <a:ln w="3175" cap="flat" cmpd="sng">
            <a:solidFill>
              <a:srgbClr val="D9EAF7"/>
            </a:solidFill>
            <a:prstDash val="solid"/>
            <a:round/>
            <a:headEnd type="none" w="med" len="med"/>
            <a:tailEnd type="none" w="med" len="med"/>
          </a:ln>
        </p:spPr>
        <p:txBody>
          <a:bodyPr wrap="none" lIns="32632" tIns="32632" rIns="32632" bIns="32632" anchor="ctr"/>
          <a:lstStyle/>
          <a:p>
            <a:pPr defTabSz="891045"/>
            <a:endParaRPr lang="en-US" sz="1700" dirty="0">
              <a:solidFill>
                <a:srgbClr val="003149"/>
              </a:solidFill>
              <a:cs typeface="Arial" panose="020B0604020202020204" pitchFamily="34" charset="0"/>
            </a:endParaRPr>
          </a:p>
        </p:txBody>
      </p:sp>
      <p:sp>
        <p:nvSpPr>
          <p:cNvPr id="239" name="Freeform 728"/>
          <p:cNvSpPr>
            <a:spLocks noChangeAspect="1"/>
          </p:cNvSpPr>
          <p:nvPr/>
        </p:nvSpPr>
        <p:spPr bwMode="gray">
          <a:xfrm>
            <a:off x="4319264" y="4137759"/>
            <a:ext cx="28434" cy="41611"/>
          </a:xfrm>
          <a:custGeom>
            <a:avLst/>
            <a:gdLst>
              <a:gd name="T0" fmla="*/ 0 w 117"/>
              <a:gd name="T1" fmla="*/ 0 h 149"/>
              <a:gd name="T2" fmla="*/ 367091039 w 117"/>
              <a:gd name="T3" fmla="*/ 417966345 h 149"/>
              <a:gd name="T4" fmla="*/ 367091039 w 117"/>
              <a:gd name="T5" fmla="*/ 417966345 h 149"/>
              <a:gd name="T6" fmla="*/ 367091039 w 117"/>
              <a:gd name="T7" fmla="*/ 417966345 h 149"/>
              <a:gd name="T8" fmla="*/ 367091039 w 117"/>
              <a:gd name="T9" fmla="*/ 417966345 h 149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17"/>
              <a:gd name="T16" fmla="*/ 0 h 149"/>
              <a:gd name="T17" fmla="*/ 117 w 117"/>
              <a:gd name="T18" fmla="*/ 149 h 149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17" h="149">
                <a:moveTo>
                  <a:pt x="0" y="0"/>
                </a:moveTo>
                <a:lnTo>
                  <a:pt x="36" y="24"/>
                </a:lnTo>
                <a:lnTo>
                  <a:pt x="70" y="66"/>
                </a:lnTo>
                <a:lnTo>
                  <a:pt x="94" y="110"/>
                </a:lnTo>
                <a:lnTo>
                  <a:pt x="117" y="149"/>
                </a:lnTo>
              </a:path>
            </a:pathLst>
          </a:custGeom>
          <a:noFill/>
          <a:ln w="3175" cap="flat" cmpd="sng">
            <a:solidFill>
              <a:srgbClr val="D9EAF7"/>
            </a:solidFill>
            <a:prstDash val="solid"/>
            <a:round/>
            <a:headEnd type="none" w="med" len="med"/>
            <a:tailEnd type="none" w="med" len="med"/>
          </a:ln>
        </p:spPr>
        <p:txBody>
          <a:bodyPr wrap="none" lIns="32632" tIns="32632" rIns="32632" bIns="32632" anchor="ctr"/>
          <a:lstStyle/>
          <a:p>
            <a:pPr defTabSz="891045"/>
            <a:endParaRPr lang="en-US" sz="1700" dirty="0">
              <a:solidFill>
                <a:srgbClr val="003149"/>
              </a:solidFill>
              <a:cs typeface="Arial" panose="020B0604020202020204" pitchFamily="34" charset="0"/>
            </a:endParaRPr>
          </a:p>
        </p:txBody>
      </p:sp>
      <p:sp>
        <p:nvSpPr>
          <p:cNvPr id="240" name="Freeform 732"/>
          <p:cNvSpPr>
            <a:spLocks noChangeAspect="1"/>
          </p:cNvSpPr>
          <p:nvPr>
            <p:custDataLst>
              <p:tags r:id="rId137"/>
            </p:custDataLst>
          </p:nvPr>
        </p:nvSpPr>
        <p:spPr bwMode="gray">
          <a:xfrm>
            <a:off x="4333481" y="4176502"/>
            <a:ext cx="39806" cy="61698"/>
          </a:xfrm>
          <a:custGeom>
            <a:avLst/>
            <a:gdLst>
              <a:gd name="T0" fmla="*/ 985729717 w 61"/>
              <a:gd name="T1" fmla="*/ 0 h 84"/>
              <a:gd name="T2" fmla="*/ 985729717 w 61"/>
              <a:gd name="T3" fmla="*/ 1099306444 h 84"/>
              <a:gd name="T4" fmla="*/ 985729717 w 61"/>
              <a:gd name="T5" fmla="*/ 1099306444 h 84"/>
              <a:gd name="T6" fmla="*/ 985729717 w 61"/>
              <a:gd name="T7" fmla="*/ 1099306444 h 84"/>
              <a:gd name="T8" fmla="*/ 985729717 w 61"/>
              <a:gd name="T9" fmla="*/ 1099306444 h 84"/>
              <a:gd name="T10" fmla="*/ 985729717 w 61"/>
              <a:gd name="T11" fmla="*/ 1099306444 h 84"/>
              <a:gd name="T12" fmla="*/ 985729717 w 61"/>
              <a:gd name="T13" fmla="*/ 1099306444 h 84"/>
              <a:gd name="T14" fmla="*/ 985729717 w 61"/>
              <a:gd name="T15" fmla="*/ 1099306444 h 84"/>
              <a:gd name="T16" fmla="*/ 0 w 61"/>
              <a:gd name="T17" fmla="*/ 1099306444 h 84"/>
              <a:gd name="T18" fmla="*/ 985729717 w 61"/>
              <a:gd name="T19" fmla="*/ 1099306444 h 84"/>
              <a:gd name="T20" fmla="*/ 985729717 w 61"/>
              <a:gd name="T21" fmla="*/ 1099306444 h 84"/>
              <a:gd name="T22" fmla="*/ 985729717 w 61"/>
              <a:gd name="T23" fmla="*/ 1099306444 h 84"/>
              <a:gd name="T24" fmla="*/ 985729717 w 61"/>
              <a:gd name="T25" fmla="*/ 1099306444 h 84"/>
              <a:gd name="T26" fmla="*/ 985729717 w 61"/>
              <a:gd name="T27" fmla="*/ 1099306444 h 84"/>
              <a:gd name="T28" fmla="*/ 985729717 w 61"/>
              <a:gd name="T29" fmla="*/ 1099306444 h 84"/>
              <a:gd name="T30" fmla="*/ 985729717 w 61"/>
              <a:gd name="T31" fmla="*/ 1099306444 h 84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w 61"/>
              <a:gd name="T49" fmla="*/ 0 h 84"/>
              <a:gd name="T50" fmla="*/ 61 w 61"/>
              <a:gd name="T51" fmla="*/ 84 h 84"/>
            </a:gdLst>
            <a:ahLst/>
            <a:cxnLst>
              <a:cxn ang="T32">
                <a:pos x="T0" y="T1"/>
              </a:cxn>
              <a:cxn ang="T33">
                <a:pos x="T2" y="T3"/>
              </a:cxn>
              <a:cxn ang="T34">
                <a:pos x="T4" y="T5"/>
              </a:cxn>
              <a:cxn ang="T35">
                <a:pos x="T6" y="T7"/>
              </a:cxn>
              <a:cxn ang="T36">
                <a:pos x="T8" y="T9"/>
              </a:cxn>
              <a:cxn ang="T37">
                <a:pos x="T10" y="T11"/>
              </a:cxn>
              <a:cxn ang="T38">
                <a:pos x="T12" y="T13"/>
              </a:cxn>
              <a:cxn ang="T39">
                <a:pos x="T14" y="T15"/>
              </a:cxn>
              <a:cxn ang="T40">
                <a:pos x="T16" y="T17"/>
              </a:cxn>
              <a:cxn ang="T41">
                <a:pos x="T18" y="T19"/>
              </a:cxn>
              <a:cxn ang="T42">
                <a:pos x="T20" y="T21"/>
              </a:cxn>
              <a:cxn ang="T43">
                <a:pos x="T22" y="T23"/>
              </a:cxn>
              <a:cxn ang="T44">
                <a:pos x="T24" y="T25"/>
              </a:cxn>
              <a:cxn ang="T45">
                <a:pos x="T26" y="T27"/>
              </a:cxn>
              <a:cxn ang="T46">
                <a:pos x="T28" y="T29"/>
              </a:cxn>
              <a:cxn ang="T47">
                <a:pos x="T30" y="T31"/>
              </a:cxn>
            </a:cxnLst>
            <a:rect l="T48" t="T49" r="T50" b="T51"/>
            <a:pathLst>
              <a:path w="61" h="84">
                <a:moveTo>
                  <a:pt x="20" y="0"/>
                </a:moveTo>
                <a:lnTo>
                  <a:pt x="19" y="11"/>
                </a:lnTo>
                <a:lnTo>
                  <a:pt x="13" y="17"/>
                </a:lnTo>
                <a:lnTo>
                  <a:pt x="2" y="26"/>
                </a:lnTo>
                <a:lnTo>
                  <a:pt x="2" y="33"/>
                </a:lnTo>
                <a:lnTo>
                  <a:pt x="14" y="36"/>
                </a:lnTo>
                <a:lnTo>
                  <a:pt x="15" y="46"/>
                </a:lnTo>
                <a:lnTo>
                  <a:pt x="8" y="50"/>
                </a:lnTo>
                <a:lnTo>
                  <a:pt x="0" y="58"/>
                </a:lnTo>
                <a:lnTo>
                  <a:pt x="10" y="68"/>
                </a:lnTo>
                <a:lnTo>
                  <a:pt x="22" y="73"/>
                </a:lnTo>
                <a:lnTo>
                  <a:pt x="32" y="84"/>
                </a:lnTo>
                <a:lnTo>
                  <a:pt x="43" y="83"/>
                </a:lnTo>
                <a:lnTo>
                  <a:pt x="51" y="77"/>
                </a:lnTo>
                <a:lnTo>
                  <a:pt x="60" y="77"/>
                </a:lnTo>
                <a:lnTo>
                  <a:pt x="61" y="69"/>
                </a:lnTo>
              </a:path>
            </a:pathLst>
          </a:custGeom>
          <a:noFill/>
          <a:ln w="3175" cap="flat" cmpd="sng">
            <a:solidFill>
              <a:srgbClr val="D9EAF7"/>
            </a:solidFill>
            <a:prstDash val="solid"/>
            <a:round/>
            <a:headEnd type="none" w="med" len="med"/>
            <a:tailEnd type="none" w="med" len="med"/>
          </a:ln>
        </p:spPr>
        <p:txBody>
          <a:bodyPr wrap="none" lIns="32632" tIns="32632" rIns="32632" bIns="32632" anchor="ctr"/>
          <a:lstStyle/>
          <a:p>
            <a:pPr defTabSz="891045"/>
            <a:endParaRPr lang="en-US" sz="1700" dirty="0">
              <a:solidFill>
                <a:srgbClr val="003149"/>
              </a:solidFill>
              <a:cs typeface="Arial" panose="020B0604020202020204" pitchFamily="34" charset="0"/>
            </a:endParaRPr>
          </a:p>
        </p:txBody>
      </p:sp>
      <p:sp>
        <p:nvSpPr>
          <p:cNvPr id="241" name="Freeform 733"/>
          <p:cNvSpPr>
            <a:spLocks noChangeAspect="1"/>
          </p:cNvSpPr>
          <p:nvPr>
            <p:custDataLst>
              <p:tags r:id="rId138"/>
            </p:custDataLst>
          </p:nvPr>
        </p:nvSpPr>
        <p:spPr bwMode="gray">
          <a:xfrm>
            <a:off x="4347724" y="3955550"/>
            <a:ext cx="72505" cy="225269"/>
          </a:xfrm>
          <a:custGeom>
            <a:avLst/>
            <a:gdLst>
              <a:gd name="T0" fmla="*/ 0 w 10586"/>
              <a:gd name="T1" fmla="*/ 0 h 9959"/>
              <a:gd name="T2" fmla="*/ 0 w 10586"/>
              <a:gd name="T3" fmla="*/ 0 h 9959"/>
              <a:gd name="T4" fmla="*/ 0 w 10586"/>
              <a:gd name="T5" fmla="*/ 0 h 9959"/>
              <a:gd name="T6" fmla="*/ 0 w 10586"/>
              <a:gd name="T7" fmla="*/ 0 h 9959"/>
              <a:gd name="T8" fmla="*/ 0 w 10586"/>
              <a:gd name="T9" fmla="*/ 0 h 9959"/>
              <a:gd name="T10" fmla="*/ 0 w 10586"/>
              <a:gd name="T11" fmla="*/ 0 h 9959"/>
              <a:gd name="T12" fmla="*/ 0 w 10586"/>
              <a:gd name="T13" fmla="*/ 0 h 9959"/>
              <a:gd name="T14" fmla="*/ 0 w 10586"/>
              <a:gd name="T15" fmla="*/ 0 h 9959"/>
              <a:gd name="T16" fmla="*/ 0 w 10586"/>
              <a:gd name="T17" fmla="*/ 0 h 9959"/>
              <a:gd name="T18" fmla="*/ 0 w 10586"/>
              <a:gd name="T19" fmla="*/ 0 h 9959"/>
              <a:gd name="T20" fmla="*/ 0 w 10586"/>
              <a:gd name="T21" fmla="*/ 0 h 9959"/>
              <a:gd name="T22" fmla="*/ 0 w 10586"/>
              <a:gd name="T23" fmla="*/ 0 h 9959"/>
              <a:gd name="T24" fmla="*/ 0 w 10586"/>
              <a:gd name="T25" fmla="*/ 0 h 9959"/>
              <a:gd name="T26" fmla="*/ 0 w 10586"/>
              <a:gd name="T27" fmla="*/ 0 h 9959"/>
              <a:gd name="T28" fmla="*/ 0 w 10586"/>
              <a:gd name="T29" fmla="*/ 0 h 9959"/>
              <a:gd name="T30" fmla="*/ 0 w 10586"/>
              <a:gd name="T31" fmla="*/ 0 h 9959"/>
              <a:gd name="T32" fmla="*/ 0 w 10586"/>
              <a:gd name="T33" fmla="*/ 0 h 9959"/>
              <a:gd name="T34" fmla="*/ 0 w 10586"/>
              <a:gd name="T35" fmla="*/ 0 h 9959"/>
              <a:gd name="T36" fmla="*/ 0 w 10586"/>
              <a:gd name="T37" fmla="*/ 0 h 9959"/>
              <a:gd name="T38" fmla="*/ 0 w 10586"/>
              <a:gd name="T39" fmla="*/ 0 h 9959"/>
              <a:gd name="T40" fmla="*/ 0 w 10586"/>
              <a:gd name="T41" fmla="*/ 0 h 9959"/>
              <a:gd name="T42" fmla="*/ 0 w 10586"/>
              <a:gd name="T43" fmla="*/ 0 h 9959"/>
              <a:gd name="T44" fmla="*/ 0 w 10586"/>
              <a:gd name="T45" fmla="*/ 0 h 9959"/>
              <a:gd name="T46" fmla="*/ 0 w 10586"/>
              <a:gd name="T47" fmla="*/ 0 h 9959"/>
              <a:gd name="T48" fmla="*/ 0 w 10586"/>
              <a:gd name="T49" fmla="*/ 0 h 9959"/>
              <a:gd name="T50" fmla="*/ 0 w 10586"/>
              <a:gd name="T51" fmla="*/ 0 h 9959"/>
              <a:gd name="T52" fmla="*/ 0 w 10586"/>
              <a:gd name="T53" fmla="*/ 0 h 9959"/>
              <a:gd name="T54" fmla="*/ 0 w 10586"/>
              <a:gd name="T55" fmla="*/ 0 h 9959"/>
              <a:gd name="T56" fmla="*/ 0 w 10586"/>
              <a:gd name="T57" fmla="*/ 0 h 9959"/>
              <a:gd name="T58" fmla="*/ 0 w 10586"/>
              <a:gd name="T59" fmla="*/ 0 h 9959"/>
              <a:gd name="T60" fmla="*/ 0 w 10586"/>
              <a:gd name="T61" fmla="*/ 0 h 9959"/>
              <a:gd name="T62" fmla="*/ 0 w 10586"/>
              <a:gd name="T63" fmla="*/ 0 h 9959"/>
              <a:gd name="T64" fmla="*/ 0 w 10586"/>
              <a:gd name="T65" fmla="*/ 0 h 9959"/>
              <a:gd name="T66" fmla="*/ 0 w 10586"/>
              <a:gd name="T67" fmla="*/ 0 h 9959"/>
              <a:gd name="T68" fmla="*/ 0 w 10586"/>
              <a:gd name="T69" fmla="*/ 0 h 9959"/>
              <a:gd name="T70" fmla="*/ 0 w 10586"/>
              <a:gd name="T71" fmla="*/ 0 h 9959"/>
              <a:gd name="T72" fmla="*/ 0 w 10586"/>
              <a:gd name="T73" fmla="*/ 0 h 9959"/>
              <a:gd name="T74" fmla="*/ 0 w 10586"/>
              <a:gd name="T75" fmla="*/ 0 h 9959"/>
              <a:gd name="T76" fmla="*/ 0 w 10586"/>
              <a:gd name="T77" fmla="*/ 0 h 9959"/>
              <a:gd name="T78" fmla="*/ 0 w 10586"/>
              <a:gd name="T79" fmla="*/ 0 h 9959"/>
              <a:gd name="T80" fmla="*/ 0 w 10586"/>
              <a:gd name="T81" fmla="*/ 0 h 9959"/>
              <a:gd name="T82" fmla="*/ 0 w 10586"/>
              <a:gd name="T83" fmla="*/ 0 h 9959"/>
              <a:gd name="T84" fmla="*/ 0 w 10586"/>
              <a:gd name="T85" fmla="*/ 0 h 9959"/>
              <a:gd name="T86" fmla="*/ 0 w 10586"/>
              <a:gd name="T87" fmla="*/ 0 h 9959"/>
              <a:gd name="T88" fmla="*/ 0 w 10586"/>
              <a:gd name="T89" fmla="*/ 0 h 9959"/>
              <a:gd name="T90" fmla="*/ 0 w 10586"/>
              <a:gd name="T91" fmla="*/ 0 h 9959"/>
              <a:gd name="T92" fmla="*/ 0 w 10586"/>
              <a:gd name="T93" fmla="*/ 0 h 9959"/>
              <a:gd name="T94" fmla="*/ 0 w 10586"/>
              <a:gd name="T95" fmla="*/ 0 h 9959"/>
              <a:gd name="T96" fmla="*/ 0 w 10586"/>
              <a:gd name="T97" fmla="*/ 0 h 9959"/>
              <a:gd name="T98" fmla="*/ 0 w 10586"/>
              <a:gd name="T99" fmla="*/ 0 h 9959"/>
              <a:gd name="T100" fmla="*/ 0 w 10586"/>
              <a:gd name="T101" fmla="*/ 0 h 9959"/>
              <a:gd name="T102" fmla="*/ 0 w 10586"/>
              <a:gd name="T103" fmla="*/ 0 h 9959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w 10586"/>
              <a:gd name="T157" fmla="*/ 0 h 9959"/>
              <a:gd name="T158" fmla="*/ 10586 w 10586"/>
              <a:gd name="T159" fmla="*/ 9959 h 9959"/>
            </a:gdLst>
            <a:ahLst/>
            <a:cxnLst>
              <a:cxn ang="T104">
                <a:pos x="T0" y="T1"/>
              </a:cxn>
              <a:cxn ang="T105">
                <a:pos x="T2" y="T3"/>
              </a:cxn>
              <a:cxn ang="T106">
                <a:pos x="T4" y="T5"/>
              </a:cxn>
              <a:cxn ang="T107">
                <a:pos x="T6" y="T7"/>
              </a:cxn>
              <a:cxn ang="T108">
                <a:pos x="T8" y="T9"/>
              </a:cxn>
              <a:cxn ang="T109">
                <a:pos x="T10" y="T11"/>
              </a:cxn>
              <a:cxn ang="T110">
                <a:pos x="T12" y="T13"/>
              </a:cxn>
              <a:cxn ang="T111">
                <a:pos x="T14" y="T15"/>
              </a:cxn>
              <a:cxn ang="T112">
                <a:pos x="T16" y="T17"/>
              </a:cxn>
              <a:cxn ang="T113">
                <a:pos x="T18" y="T19"/>
              </a:cxn>
              <a:cxn ang="T114">
                <a:pos x="T20" y="T21"/>
              </a:cxn>
              <a:cxn ang="T115">
                <a:pos x="T22" y="T23"/>
              </a:cxn>
              <a:cxn ang="T116">
                <a:pos x="T24" y="T25"/>
              </a:cxn>
              <a:cxn ang="T117">
                <a:pos x="T26" y="T27"/>
              </a:cxn>
              <a:cxn ang="T118">
                <a:pos x="T28" y="T29"/>
              </a:cxn>
              <a:cxn ang="T119">
                <a:pos x="T30" y="T31"/>
              </a:cxn>
              <a:cxn ang="T120">
                <a:pos x="T32" y="T33"/>
              </a:cxn>
              <a:cxn ang="T121">
                <a:pos x="T34" y="T35"/>
              </a:cxn>
              <a:cxn ang="T122">
                <a:pos x="T36" y="T37"/>
              </a:cxn>
              <a:cxn ang="T123">
                <a:pos x="T38" y="T39"/>
              </a:cxn>
              <a:cxn ang="T124">
                <a:pos x="T40" y="T41"/>
              </a:cxn>
              <a:cxn ang="T125">
                <a:pos x="T42" y="T43"/>
              </a:cxn>
              <a:cxn ang="T126">
                <a:pos x="T44" y="T45"/>
              </a:cxn>
              <a:cxn ang="T127">
                <a:pos x="T46" y="T47"/>
              </a:cxn>
              <a:cxn ang="T128">
                <a:pos x="T48" y="T49"/>
              </a:cxn>
              <a:cxn ang="T129">
                <a:pos x="T50" y="T51"/>
              </a:cxn>
              <a:cxn ang="T130">
                <a:pos x="T52" y="T53"/>
              </a:cxn>
              <a:cxn ang="T131">
                <a:pos x="T54" y="T55"/>
              </a:cxn>
              <a:cxn ang="T132">
                <a:pos x="T56" y="T57"/>
              </a:cxn>
              <a:cxn ang="T133">
                <a:pos x="T58" y="T59"/>
              </a:cxn>
              <a:cxn ang="T134">
                <a:pos x="T60" y="T61"/>
              </a:cxn>
              <a:cxn ang="T135">
                <a:pos x="T62" y="T63"/>
              </a:cxn>
              <a:cxn ang="T136">
                <a:pos x="T64" y="T65"/>
              </a:cxn>
              <a:cxn ang="T137">
                <a:pos x="T66" y="T67"/>
              </a:cxn>
              <a:cxn ang="T138">
                <a:pos x="T68" y="T69"/>
              </a:cxn>
              <a:cxn ang="T139">
                <a:pos x="T70" y="T71"/>
              </a:cxn>
              <a:cxn ang="T140">
                <a:pos x="T72" y="T73"/>
              </a:cxn>
              <a:cxn ang="T141">
                <a:pos x="T74" y="T75"/>
              </a:cxn>
              <a:cxn ang="T142">
                <a:pos x="T76" y="T77"/>
              </a:cxn>
              <a:cxn ang="T143">
                <a:pos x="T78" y="T79"/>
              </a:cxn>
              <a:cxn ang="T144">
                <a:pos x="T80" y="T81"/>
              </a:cxn>
              <a:cxn ang="T145">
                <a:pos x="T82" y="T83"/>
              </a:cxn>
              <a:cxn ang="T146">
                <a:pos x="T84" y="T85"/>
              </a:cxn>
              <a:cxn ang="T147">
                <a:pos x="T86" y="T87"/>
              </a:cxn>
              <a:cxn ang="T148">
                <a:pos x="T88" y="T89"/>
              </a:cxn>
              <a:cxn ang="T149">
                <a:pos x="T90" y="T91"/>
              </a:cxn>
              <a:cxn ang="T150">
                <a:pos x="T92" y="T93"/>
              </a:cxn>
              <a:cxn ang="T151">
                <a:pos x="T94" y="T95"/>
              </a:cxn>
              <a:cxn ang="T152">
                <a:pos x="T96" y="T97"/>
              </a:cxn>
              <a:cxn ang="T153">
                <a:pos x="T98" y="T99"/>
              </a:cxn>
              <a:cxn ang="T154">
                <a:pos x="T100" y="T101"/>
              </a:cxn>
              <a:cxn ang="T155">
                <a:pos x="T102" y="T103"/>
              </a:cxn>
            </a:cxnLst>
            <a:rect l="T156" t="T157" r="T158" b="T159"/>
            <a:pathLst>
              <a:path w="10586" h="9959">
                <a:moveTo>
                  <a:pt x="9088" y="0"/>
                </a:moveTo>
                <a:cubicBezTo>
                  <a:pt x="9028" y="93"/>
                  <a:pt x="8672" y="144"/>
                  <a:pt x="8613" y="237"/>
                </a:cubicBezTo>
                <a:lnTo>
                  <a:pt x="7984" y="237"/>
                </a:lnTo>
                <a:lnTo>
                  <a:pt x="8254" y="607"/>
                </a:lnTo>
                <a:lnTo>
                  <a:pt x="8433" y="823"/>
                </a:lnTo>
                <a:lnTo>
                  <a:pt x="8433" y="1039"/>
                </a:lnTo>
                <a:cubicBezTo>
                  <a:pt x="8493" y="1183"/>
                  <a:pt x="8552" y="1327"/>
                  <a:pt x="8613" y="1471"/>
                </a:cubicBezTo>
                <a:lnTo>
                  <a:pt x="9060" y="1811"/>
                </a:lnTo>
                <a:lnTo>
                  <a:pt x="8433" y="1965"/>
                </a:lnTo>
                <a:lnTo>
                  <a:pt x="7895" y="2027"/>
                </a:lnTo>
                <a:lnTo>
                  <a:pt x="7625" y="2243"/>
                </a:lnTo>
                <a:lnTo>
                  <a:pt x="7625" y="2490"/>
                </a:lnTo>
                <a:lnTo>
                  <a:pt x="7177" y="2706"/>
                </a:lnTo>
                <a:lnTo>
                  <a:pt x="6459" y="2706"/>
                </a:lnTo>
                <a:lnTo>
                  <a:pt x="5831" y="2829"/>
                </a:lnTo>
                <a:lnTo>
                  <a:pt x="6638" y="3138"/>
                </a:lnTo>
                <a:lnTo>
                  <a:pt x="7805" y="3231"/>
                </a:lnTo>
                <a:lnTo>
                  <a:pt x="8343" y="3107"/>
                </a:lnTo>
                <a:lnTo>
                  <a:pt x="8792" y="2953"/>
                </a:lnTo>
                <a:lnTo>
                  <a:pt x="9868" y="3231"/>
                </a:lnTo>
                <a:lnTo>
                  <a:pt x="10496" y="3323"/>
                </a:lnTo>
                <a:cubicBezTo>
                  <a:pt x="10526" y="3477"/>
                  <a:pt x="10556" y="3632"/>
                  <a:pt x="10586" y="3786"/>
                </a:cubicBezTo>
                <a:lnTo>
                  <a:pt x="9599" y="3817"/>
                </a:lnTo>
                <a:lnTo>
                  <a:pt x="8972" y="4095"/>
                </a:lnTo>
                <a:lnTo>
                  <a:pt x="8972" y="4403"/>
                </a:lnTo>
                <a:lnTo>
                  <a:pt x="9868" y="4589"/>
                </a:lnTo>
                <a:cubicBezTo>
                  <a:pt x="9898" y="4723"/>
                  <a:pt x="9929" y="4856"/>
                  <a:pt x="9958" y="4990"/>
                </a:cubicBezTo>
                <a:lnTo>
                  <a:pt x="8972" y="5082"/>
                </a:lnTo>
                <a:lnTo>
                  <a:pt x="8164" y="5237"/>
                </a:lnTo>
                <a:lnTo>
                  <a:pt x="7266" y="5360"/>
                </a:lnTo>
                <a:lnTo>
                  <a:pt x="7446" y="5731"/>
                </a:lnTo>
                <a:lnTo>
                  <a:pt x="6548" y="6101"/>
                </a:lnTo>
                <a:lnTo>
                  <a:pt x="7266" y="6317"/>
                </a:lnTo>
                <a:lnTo>
                  <a:pt x="8164" y="6533"/>
                </a:lnTo>
                <a:lnTo>
                  <a:pt x="7805" y="6903"/>
                </a:lnTo>
                <a:lnTo>
                  <a:pt x="7266" y="7150"/>
                </a:lnTo>
                <a:lnTo>
                  <a:pt x="6818" y="7366"/>
                </a:lnTo>
                <a:lnTo>
                  <a:pt x="7266" y="7675"/>
                </a:lnTo>
                <a:lnTo>
                  <a:pt x="8254" y="7737"/>
                </a:lnTo>
                <a:lnTo>
                  <a:pt x="8523" y="7984"/>
                </a:lnTo>
                <a:lnTo>
                  <a:pt x="7536" y="8261"/>
                </a:lnTo>
                <a:cubicBezTo>
                  <a:pt x="7566" y="8364"/>
                  <a:pt x="7595" y="8467"/>
                  <a:pt x="7625" y="8570"/>
                </a:cubicBezTo>
                <a:lnTo>
                  <a:pt x="6907" y="8724"/>
                </a:lnTo>
                <a:lnTo>
                  <a:pt x="6101" y="9033"/>
                </a:lnTo>
                <a:lnTo>
                  <a:pt x="4844" y="9095"/>
                </a:lnTo>
                <a:lnTo>
                  <a:pt x="4485" y="9342"/>
                </a:lnTo>
                <a:cubicBezTo>
                  <a:pt x="4426" y="9404"/>
                  <a:pt x="4365" y="9465"/>
                  <a:pt x="4306" y="9527"/>
                </a:cubicBezTo>
                <a:lnTo>
                  <a:pt x="3408" y="9527"/>
                </a:lnTo>
                <a:lnTo>
                  <a:pt x="2512" y="9805"/>
                </a:lnTo>
                <a:lnTo>
                  <a:pt x="1525" y="9897"/>
                </a:lnTo>
                <a:lnTo>
                  <a:pt x="627" y="9959"/>
                </a:lnTo>
                <a:cubicBezTo>
                  <a:pt x="418" y="9928"/>
                  <a:pt x="209" y="9876"/>
                  <a:pt x="0" y="9845"/>
                </a:cubicBezTo>
              </a:path>
            </a:pathLst>
          </a:custGeom>
          <a:solidFill>
            <a:srgbClr val="70B0DF"/>
          </a:solidFill>
          <a:ln w="3175" cap="flat" cmpd="sng">
            <a:noFill/>
            <a:prstDash val="solid"/>
            <a:round/>
            <a:headEnd type="none" w="med" len="med"/>
            <a:tailEnd type="none" w="med" len="med"/>
          </a:ln>
        </p:spPr>
        <p:txBody>
          <a:bodyPr wrap="none" lIns="32632" tIns="32632" rIns="32632" bIns="32632" anchor="ctr"/>
          <a:lstStyle/>
          <a:p>
            <a:pPr defTabSz="891045"/>
            <a:endParaRPr lang="en-US" sz="1700" dirty="0">
              <a:solidFill>
                <a:srgbClr val="003149"/>
              </a:solidFill>
              <a:cs typeface="Arial" panose="020B0604020202020204" pitchFamily="34" charset="0"/>
            </a:endParaRPr>
          </a:p>
        </p:txBody>
      </p:sp>
      <p:sp>
        <p:nvSpPr>
          <p:cNvPr id="242" name="Freeform 736"/>
          <p:cNvSpPr>
            <a:spLocks noChangeAspect="1"/>
          </p:cNvSpPr>
          <p:nvPr>
            <p:custDataLst>
              <p:tags r:id="rId139"/>
            </p:custDataLst>
          </p:nvPr>
        </p:nvSpPr>
        <p:spPr bwMode="gray">
          <a:xfrm>
            <a:off x="4373287" y="4226718"/>
            <a:ext cx="31277" cy="117656"/>
          </a:xfrm>
          <a:custGeom>
            <a:avLst/>
            <a:gdLst>
              <a:gd name="T0" fmla="*/ 0 w 7566"/>
              <a:gd name="T1" fmla="*/ 0 h 10766"/>
              <a:gd name="T2" fmla="*/ 0 w 7566"/>
              <a:gd name="T3" fmla="*/ 0 h 10766"/>
              <a:gd name="T4" fmla="*/ 0 w 7566"/>
              <a:gd name="T5" fmla="*/ 0 h 10766"/>
              <a:gd name="T6" fmla="*/ 0 w 7566"/>
              <a:gd name="T7" fmla="*/ 0 h 10766"/>
              <a:gd name="T8" fmla="*/ 0 w 7566"/>
              <a:gd name="T9" fmla="*/ 0 h 10766"/>
              <a:gd name="T10" fmla="*/ 0 w 7566"/>
              <a:gd name="T11" fmla="*/ 0 h 10766"/>
              <a:gd name="T12" fmla="*/ 0 w 7566"/>
              <a:gd name="T13" fmla="*/ 0 h 10766"/>
              <a:gd name="T14" fmla="*/ 0 w 7566"/>
              <a:gd name="T15" fmla="*/ 0 h 10766"/>
              <a:gd name="T16" fmla="*/ 0 w 7566"/>
              <a:gd name="T17" fmla="*/ 0 h 10766"/>
              <a:gd name="T18" fmla="*/ 0 w 7566"/>
              <a:gd name="T19" fmla="*/ 0 h 10766"/>
              <a:gd name="T20" fmla="*/ 0 w 7566"/>
              <a:gd name="T21" fmla="*/ 0 h 10766"/>
              <a:gd name="T22" fmla="*/ 0 w 7566"/>
              <a:gd name="T23" fmla="*/ 0 h 10766"/>
              <a:gd name="T24" fmla="*/ 0 w 7566"/>
              <a:gd name="T25" fmla="*/ 0 h 10766"/>
              <a:gd name="T26" fmla="*/ 0 w 7566"/>
              <a:gd name="T27" fmla="*/ 0 h 10766"/>
              <a:gd name="T28" fmla="*/ 0 w 7566"/>
              <a:gd name="T29" fmla="*/ 0 h 10766"/>
              <a:gd name="T30" fmla="*/ 0 w 7566"/>
              <a:gd name="T31" fmla="*/ 0 h 10766"/>
              <a:gd name="T32" fmla="*/ 0 w 7566"/>
              <a:gd name="T33" fmla="*/ 0 h 10766"/>
              <a:gd name="T34" fmla="*/ 0 w 7566"/>
              <a:gd name="T35" fmla="*/ 0 h 10766"/>
              <a:gd name="T36" fmla="*/ 0 w 7566"/>
              <a:gd name="T37" fmla="*/ 0 h 10766"/>
              <a:gd name="T38" fmla="*/ 0 w 7566"/>
              <a:gd name="T39" fmla="*/ 0 h 1076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w 7566"/>
              <a:gd name="T61" fmla="*/ 0 h 10766"/>
              <a:gd name="T62" fmla="*/ 7566 w 7566"/>
              <a:gd name="T63" fmla="*/ 10766 h 10766"/>
            </a:gdLst>
            <a:ahLst/>
            <a:cxnLst>
              <a:cxn ang="T40">
                <a:pos x="T0" y="T1"/>
              </a:cxn>
              <a:cxn ang="T41">
                <a:pos x="T2" y="T3"/>
              </a:cxn>
              <a:cxn ang="T42">
                <a:pos x="T4" y="T5"/>
              </a:cxn>
              <a:cxn ang="T43">
                <a:pos x="T6" y="T7"/>
              </a:cxn>
              <a:cxn ang="T44">
                <a:pos x="T8" y="T9"/>
              </a:cxn>
              <a:cxn ang="T45">
                <a:pos x="T10" y="T11"/>
              </a:cxn>
              <a:cxn ang="T46">
                <a:pos x="T12" y="T13"/>
              </a:cxn>
              <a:cxn ang="T47">
                <a:pos x="T14" y="T15"/>
              </a:cxn>
              <a:cxn ang="T48">
                <a:pos x="T16" y="T17"/>
              </a:cxn>
              <a:cxn ang="T49">
                <a:pos x="T18" y="T19"/>
              </a:cxn>
              <a:cxn ang="T50">
                <a:pos x="T20" y="T21"/>
              </a:cxn>
              <a:cxn ang="T51">
                <a:pos x="T22" y="T23"/>
              </a:cxn>
              <a:cxn ang="T52">
                <a:pos x="T24" y="T25"/>
              </a:cxn>
              <a:cxn ang="T53">
                <a:pos x="T26" y="T27"/>
              </a:cxn>
              <a:cxn ang="T54">
                <a:pos x="T28" y="T29"/>
              </a:cxn>
              <a:cxn ang="T55">
                <a:pos x="T30" y="T31"/>
              </a:cxn>
              <a:cxn ang="T56">
                <a:pos x="T32" y="T33"/>
              </a:cxn>
              <a:cxn ang="T57">
                <a:pos x="T34" y="T35"/>
              </a:cxn>
              <a:cxn ang="T58">
                <a:pos x="T36" y="T37"/>
              </a:cxn>
              <a:cxn ang="T59">
                <a:pos x="T38" y="T39"/>
              </a:cxn>
            </a:cxnLst>
            <a:rect l="T60" t="T61" r="T62" b="T63"/>
            <a:pathLst>
              <a:path w="7566" h="10766">
                <a:moveTo>
                  <a:pt x="4305" y="10766"/>
                </a:moveTo>
                <a:cubicBezTo>
                  <a:pt x="4247" y="10431"/>
                  <a:pt x="4363" y="9929"/>
                  <a:pt x="4305" y="9597"/>
                </a:cubicBezTo>
                <a:lnTo>
                  <a:pt x="3784" y="8764"/>
                </a:lnTo>
                <a:lnTo>
                  <a:pt x="2087" y="8380"/>
                </a:lnTo>
                <a:lnTo>
                  <a:pt x="2609" y="7869"/>
                </a:lnTo>
                <a:lnTo>
                  <a:pt x="3784" y="7547"/>
                </a:lnTo>
                <a:lnTo>
                  <a:pt x="4305" y="6907"/>
                </a:lnTo>
                <a:lnTo>
                  <a:pt x="5740" y="7358"/>
                </a:lnTo>
                <a:lnTo>
                  <a:pt x="7566" y="7036"/>
                </a:lnTo>
                <a:lnTo>
                  <a:pt x="7044" y="6461"/>
                </a:lnTo>
                <a:lnTo>
                  <a:pt x="5870" y="6140"/>
                </a:lnTo>
                <a:cubicBezTo>
                  <a:pt x="5783" y="5885"/>
                  <a:pt x="5697" y="5629"/>
                  <a:pt x="5610" y="5374"/>
                </a:cubicBezTo>
                <a:cubicBezTo>
                  <a:pt x="5566" y="5204"/>
                  <a:pt x="5523" y="5033"/>
                  <a:pt x="5478" y="4860"/>
                </a:cubicBezTo>
                <a:lnTo>
                  <a:pt x="3784" y="4542"/>
                </a:lnTo>
                <a:lnTo>
                  <a:pt x="2609" y="3584"/>
                </a:lnTo>
                <a:lnTo>
                  <a:pt x="1956" y="2623"/>
                </a:lnTo>
                <a:lnTo>
                  <a:pt x="1174" y="1983"/>
                </a:lnTo>
                <a:cubicBezTo>
                  <a:pt x="1130" y="1685"/>
                  <a:pt x="1088" y="1384"/>
                  <a:pt x="1043" y="1087"/>
                </a:cubicBezTo>
                <a:lnTo>
                  <a:pt x="523" y="318"/>
                </a:lnTo>
                <a:lnTo>
                  <a:pt x="0" y="0"/>
                </a:lnTo>
              </a:path>
            </a:pathLst>
          </a:custGeom>
          <a:noFill/>
          <a:ln w="3175" cap="flat" cmpd="sng">
            <a:solidFill>
              <a:srgbClr val="D9EAF7"/>
            </a:solidFill>
            <a:prstDash val="solid"/>
            <a:round/>
            <a:headEnd type="none" w="med" len="med"/>
            <a:tailEnd type="none" w="med" len="med"/>
          </a:ln>
        </p:spPr>
        <p:txBody>
          <a:bodyPr wrap="none" lIns="32632" tIns="32632" rIns="32632" bIns="32632" anchor="ctr"/>
          <a:lstStyle/>
          <a:p>
            <a:pPr defTabSz="891045"/>
            <a:endParaRPr lang="en-US" sz="1700" dirty="0">
              <a:solidFill>
                <a:srgbClr val="003149"/>
              </a:solidFill>
              <a:cs typeface="Arial" panose="020B0604020202020204" pitchFamily="34" charset="0"/>
            </a:endParaRPr>
          </a:p>
        </p:txBody>
      </p:sp>
      <p:sp>
        <p:nvSpPr>
          <p:cNvPr id="243" name="Freeform 739"/>
          <p:cNvSpPr>
            <a:spLocks noChangeAspect="1"/>
          </p:cNvSpPr>
          <p:nvPr/>
        </p:nvSpPr>
        <p:spPr bwMode="gray">
          <a:xfrm>
            <a:off x="4373289" y="4198021"/>
            <a:ext cx="79614" cy="33001"/>
          </a:xfrm>
          <a:custGeom>
            <a:avLst/>
            <a:gdLst>
              <a:gd name="T0" fmla="*/ 0 w 10207"/>
              <a:gd name="T1" fmla="*/ 0 h 10000"/>
              <a:gd name="T2" fmla="*/ 0 w 10207"/>
              <a:gd name="T3" fmla="*/ 0 h 10000"/>
              <a:gd name="T4" fmla="*/ 0 w 10207"/>
              <a:gd name="T5" fmla="*/ 0 h 10000"/>
              <a:gd name="T6" fmla="*/ 0 w 10207"/>
              <a:gd name="T7" fmla="*/ 0 h 10000"/>
              <a:gd name="T8" fmla="*/ 0 w 10207"/>
              <a:gd name="T9" fmla="*/ 0 h 10000"/>
              <a:gd name="T10" fmla="*/ 0 w 10207"/>
              <a:gd name="T11" fmla="*/ 0 h 10000"/>
              <a:gd name="T12" fmla="*/ 0 w 10207"/>
              <a:gd name="T13" fmla="*/ 0 h 10000"/>
              <a:gd name="T14" fmla="*/ 0 w 10207"/>
              <a:gd name="T15" fmla="*/ 0 h 10000"/>
              <a:gd name="T16" fmla="*/ 0 w 10207"/>
              <a:gd name="T17" fmla="*/ 0 h 10000"/>
              <a:gd name="T18" fmla="*/ 0 w 10207"/>
              <a:gd name="T19" fmla="*/ 0 h 10000"/>
              <a:gd name="T20" fmla="*/ 0 w 10207"/>
              <a:gd name="T21" fmla="*/ 0 h 10000"/>
              <a:gd name="T22" fmla="*/ 0 w 10207"/>
              <a:gd name="T23" fmla="*/ 0 h 10000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w 10207"/>
              <a:gd name="T37" fmla="*/ 0 h 10000"/>
              <a:gd name="T38" fmla="*/ 10207 w 10207"/>
              <a:gd name="T39" fmla="*/ 10000 h 10000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T36" t="T37" r="T38" b="T39"/>
            <a:pathLst>
              <a:path w="10207" h="10000">
                <a:moveTo>
                  <a:pt x="0" y="9020"/>
                </a:moveTo>
                <a:cubicBezTo>
                  <a:pt x="99" y="8572"/>
                  <a:pt x="303" y="8263"/>
                  <a:pt x="402" y="7815"/>
                </a:cubicBezTo>
                <a:lnTo>
                  <a:pt x="1604" y="8319"/>
                </a:lnTo>
                <a:lnTo>
                  <a:pt x="3053" y="8487"/>
                </a:lnTo>
                <a:lnTo>
                  <a:pt x="4195" y="10000"/>
                </a:lnTo>
                <a:lnTo>
                  <a:pt x="5397" y="10000"/>
                </a:lnTo>
                <a:lnTo>
                  <a:pt x="6599" y="8319"/>
                </a:lnTo>
                <a:lnTo>
                  <a:pt x="7555" y="6555"/>
                </a:lnTo>
                <a:cubicBezTo>
                  <a:pt x="7606" y="5098"/>
                  <a:pt x="7659" y="3642"/>
                  <a:pt x="7710" y="2185"/>
                </a:cubicBezTo>
                <a:lnTo>
                  <a:pt x="8449" y="420"/>
                </a:lnTo>
                <a:lnTo>
                  <a:pt x="9498" y="168"/>
                </a:lnTo>
                <a:lnTo>
                  <a:pt x="10207" y="0"/>
                </a:lnTo>
              </a:path>
            </a:pathLst>
          </a:custGeom>
          <a:noFill/>
          <a:ln w="3175" cap="flat" cmpd="sng">
            <a:solidFill>
              <a:srgbClr val="D9EAF7"/>
            </a:solidFill>
            <a:prstDash val="solid"/>
            <a:round/>
            <a:headEnd type="none" w="med" len="med"/>
            <a:tailEnd type="none" w="med" len="med"/>
          </a:ln>
        </p:spPr>
        <p:txBody>
          <a:bodyPr wrap="none" lIns="32632" tIns="32632" rIns="32632" bIns="32632" anchor="ctr"/>
          <a:lstStyle/>
          <a:p>
            <a:pPr defTabSz="891045"/>
            <a:endParaRPr lang="en-US" sz="1700" dirty="0">
              <a:solidFill>
                <a:srgbClr val="003149"/>
              </a:solidFill>
              <a:cs typeface="Arial" panose="020B0604020202020204" pitchFamily="34" charset="0"/>
            </a:endParaRPr>
          </a:p>
        </p:txBody>
      </p:sp>
      <p:sp>
        <p:nvSpPr>
          <p:cNvPr id="244" name="Freeform 740"/>
          <p:cNvSpPr>
            <a:spLocks noChangeAspect="1"/>
          </p:cNvSpPr>
          <p:nvPr/>
        </p:nvSpPr>
        <p:spPr bwMode="gray">
          <a:xfrm>
            <a:off x="4407425" y="3955563"/>
            <a:ext cx="100939" cy="242487"/>
          </a:xfrm>
          <a:custGeom>
            <a:avLst/>
            <a:gdLst>
              <a:gd name="T0" fmla="*/ 0 w 10000"/>
              <a:gd name="T1" fmla="*/ 0 h 10237"/>
              <a:gd name="T2" fmla="*/ 0 w 10000"/>
              <a:gd name="T3" fmla="*/ 0 h 10237"/>
              <a:gd name="T4" fmla="*/ 0 w 10000"/>
              <a:gd name="T5" fmla="*/ 0 h 10237"/>
              <a:gd name="T6" fmla="*/ 0 w 10000"/>
              <a:gd name="T7" fmla="*/ 0 h 10237"/>
              <a:gd name="T8" fmla="*/ 0 w 10000"/>
              <a:gd name="T9" fmla="*/ 0 h 10237"/>
              <a:gd name="T10" fmla="*/ 0 w 10000"/>
              <a:gd name="T11" fmla="*/ 0 h 10237"/>
              <a:gd name="T12" fmla="*/ 0 w 10000"/>
              <a:gd name="T13" fmla="*/ 0 h 10237"/>
              <a:gd name="T14" fmla="*/ 0 w 10000"/>
              <a:gd name="T15" fmla="*/ 0 h 10237"/>
              <a:gd name="T16" fmla="*/ 0 w 10000"/>
              <a:gd name="T17" fmla="*/ 0 h 10237"/>
              <a:gd name="T18" fmla="*/ 0 w 10000"/>
              <a:gd name="T19" fmla="*/ 0 h 10237"/>
              <a:gd name="T20" fmla="*/ 0 w 10000"/>
              <a:gd name="T21" fmla="*/ 0 h 10237"/>
              <a:gd name="T22" fmla="*/ 0 w 10000"/>
              <a:gd name="T23" fmla="*/ 0 h 10237"/>
              <a:gd name="T24" fmla="*/ 0 w 10000"/>
              <a:gd name="T25" fmla="*/ 0 h 10237"/>
              <a:gd name="T26" fmla="*/ 0 w 10000"/>
              <a:gd name="T27" fmla="*/ 0 h 10237"/>
              <a:gd name="T28" fmla="*/ 0 w 10000"/>
              <a:gd name="T29" fmla="*/ 0 h 10237"/>
              <a:gd name="T30" fmla="*/ 0 w 10000"/>
              <a:gd name="T31" fmla="*/ 0 h 10237"/>
              <a:gd name="T32" fmla="*/ 0 w 10000"/>
              <a:gd name="T33" fmla="*/ 0 h 10237"/>
              <a:gd name="T34" fmla="*/ 0 w 10000"/>
              <a:gd name="T35" fmla="*/ 0 h 10237"/>
              <a:gd name="T36" fmla="*/ 0 w 10000"/>
              <a:gd name="T37" fmla="*/ 0 h 10237"/>
              <a:gd name="T38" fmla="*/ 0 w 10000"/>
              <a:gd name="T39" fmla="*/ 0 h 10237"/>
              <a:gd name="T40" fmla="*/ 0 w 10000"/>
              <a:gd name="T41" fmla="*/ 0 h 10237"/>
              <a:gd name="T42" fmla="*/ 0 w 10000"/>
              <a:gd name="T43" fmla="*/ 0 h 10237"/>
              <a:gd name="T44" fmla="*/ 0 w 10000"/>
              <a:gd name="T45" fmla="*/ 0 h 10237"/>
              <a:gd name="T46" fmla="*/ 0 w 10000"/>
              <a:gd name="T47" fmla="*/ 0 h 10237"/>
              <a:gd name="T48" fmla="*/ 0 w 10000"/>
              <a:gd name="T49" fmla="*/ 0 h 10237"/>
              <a:gd name="T50" fmla="*/ 0 w 10000"/>
              <a:gd name="T51" fmla="*/ 0 h 10237"/>
              <a:gd name="T52" fmla="*/ 0 w 10000"/>
              <a:gd name="T53" fmla="*/ 0 h 10237"/>
              <a:gd name="T54" fmla="*/ 0 w 10000"/>
              <a:gd name="T55" fmla="*/ 0 h 10237"/>
              <a:gd name="T56" fmla="*/ 0 w 10000"/>
              <a:gd name="T57" fmla="*/ 0 h 10237"/>
              <a:gd name="T58" fmla="*/ 0 w 10000"/>
              <a:gd name="T59" fmla="*/ 0 h 10237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w 10000"/>
              <a:gd name="T91" fmla="*/ 0 h 10237"/>
              <a:gd name="T92" fmla="*/ 10000 w 10000"/>
              <a:gd name="T93" fmla="*/ 10237 h 10237"/>
            </a:gdLst>
            <a:ahLst/>
            <a:cxnLst>
              <a:cxn ang="T60">
                <a:pos x="T0" y="T1"/>
              </a:cxn>
              <a:cxn ang="T61">
                <a:pos x="T2" y="T3"/>
              </a:cxn>
              <a:cxn ang="T62">
                <a:pos x="T4" y="T5"/>
              </a:cxn>
              <a:cxn ang="T63">
                <a:pos x="T6" y="T7"/>
              </a:cxn>
              <a:cxn ang="T64">
                <a:pos x="T8" y="T9"/>
              </a:cxn>
              <a:cxn ang="T65">
                <a:pos x="T10" y="T11"/>
              </a:cxn>
              <a:cxn ang="T66">
                <a:pos x="T12" y="T13"/>
              </a:cxn>
              <a:cxn ang="T67">
                <a:pos x="T14" y="T15"/>
              </a:cxn>
              <a:cxn ang="T68">
                <a:pos x="T16" y="T17"/>
              </a:cxn>
              <a:cxn ang="T69">
                <a:pos x="T18" y="T19"/>
              </a:cxn>
              <a:cxn ang="T70">
                <a:pos x="T20" y="T21"/>
              </a:cxn>
              <a:cxn ang="T71">
                <a:pos x="T22" y="T23"/>
              </a:cxn>
              <a:cxn ang="T72">
                <a:pos x="T24" y="T25"/>
              </a:cxn>
              <a:cxn ang="T73">
                <a:pos x="T26" y="T27"/>
              </a:cxn>
              <a:cxn ang="T74">
                <a:pos x="T28" y="T29"/>
              </a:cxn>
              <a:cxn ang="T75">
                <a:pos x="T30" y="T31"/>
              </a:cxn>
              <a:cxn ang="T76">
                <a:pos x="T32" y="T33"/>
              </a:cxn>
              <a:cxn ang="T77">
                <a:pos x="T34" y="T35"/>
              </a:cxn>
              <a:cxn ang="T78">
                <a:pos x="T36" y="T37"/>
              </a:cxn>
              <a:cxn ang="T79">
                <a:pos x="T38" y="T39"/>
              </a:cxn>
              <a:cxn ang="T80">
                <a:pos x="T40" y="T41"/>
              </a:cxn>
              <a:cxn ang="T81">
                <a:pos x="T42" y="T43"/>
              </a:cxn>
              <a:cxn ang="T82">
                <a:pos x="T44" y="T45"/>
              </a:cxn>
              <a:cxn ang="T83">
                <a:pos x="T46" y="T47"/>
              </a:cxn>
              <a:cxn ang="T84">
                <a:pos x="T48" y="T49"/>
              </a:cxn>
              <a:cxn ang="T85">
                <a:pos x="T50" y="T51"/>
              </a:cxn>
              <a:cxn ang="T86">
                <a:pos x="T52" y="T53"/>
              </a:cxn>
              <a:cxn ang="T87">
                <a:pos x="T54" y="T55"/>
              </a:cxn>
              <a:cxn ang="T88">
                <a:pos x="T56" y="T57"/>
              </a:cxn>
              <a:cxn ang="T89">
                <a:pos x="T58" y="T59"/>
              </a:cxn>
            </a:cxnLst>
            <a:rect l="T90" t="T91" r="T92" b="T93"/>
            <a:pathLst>
              <a:path w="10000" h="10237">
                <a:moveTo>
                  <a:pt x="0" y="0"/>
                </a:moveTo>
                <a:lnTo>
                  <a:pt x="831" y="0"/>
                </a:lnTo>
                <a:lnTo>
                  <a:pt x="1589" y="358"/>
                </a:lnTo>
                <a:lnTo>
                  <a:pt x="2029" y="728"/>
                </a:lnTo>
                <a:lnTo>
                  <a:pt x="2421" y="1029"/>
                </a:lnTo>
                <a:lnTo>
                  <a:pt x="3496" y="1051"/>
                </a:lnTo>
                <a:lnTo>
                  <a:pt x="4963" y="1051"/>
                </a:lnTo>
                <a:lnTo>
                  <a:pt x="6430" y="1595"/>
                </a:lnTo>
                <a:lnTo>
                  <a:pt x="7702" y="2172"/>
                </a:lnTo>
                <a:lnTo>
                  <a:pt x="8020" y="2715"/>
                </a:lnTo>
                <a:lnTo>
                  <a:pt x="8289" y="3038"/>
                </a:lnTo>
                <a:lnTo>
                  <a:pt x="8778" y="3466"/>
                </a:lnTo>
                <a:lnTo>
                  <a:pt x="9242" y="3790"/>
                </a:lnTo>
                <a:lnTo>
                  <a:pt x="9560" y="4240"/>
                </a:lnTo>
                <a:cubicBezTo>
                  <a:pt x="9519" y="4433"/>
                  <a:pt x="9479" y="4626"/>
                  <a:pt x="9438" y="4819"/>
                </a:cubicBezTo>
                <a:lnTo>
                  <a:pt x="8924" y="4968"/>
                </a:lnTo>
                <a:cubicBezTo>
                  <a:pt x="8875" y="5161"/>
                  <a:pt x="8827" y="5354"/>
                  <a:pt x="8778" y="5547"/>
                </a:cubicBezTo>
                <a:lnTo>
                  <a:pt x="9046" y="6148"/>
                </a:lnTo>
                <a:lnTo>
                  <a:pt x="9756" y="6505"/>
                </a:lnTo>
                <a:lnTo>
                  <a:pt x="10000" y="6806"/>
                </a:lnTo>
                <a:lnTo>
                  <a:pt x="9438" y="7141"/>
                </a:lnTo>
                <a:lnTo>
                  <a:pt x="8973" y="7464"/>
                </a:lnTo>
                <a:lnTo>
                  <a:pt x="8411" y="7684"/>
                </a:lnTo>
                <a:lnTo>
                  <a:pt x="7579" y="8135"/>
                </a:lnTo>
                <a:lnTo>
                  <a:pt x="6357" y="8550"/>
                </a:lnTo>
                <a:lnTo>
                  <a:pt x="5232" y="8758"/>
                </a:lnTo>
                <a:lnTo>
                  <a:pt x="4523" y="9243"/>
                </a:lnTo>
                <a:lnTo>
                  <a:pt x="4205" y="9695"/>
                </a:lnTo>
                <a:lnTo>
                  <a:pt x="4205" y="9995"/>
                </a:lnTo>
                <a:lnTo>
                  <a:pt x="4523" y="10237"/>
                </a:lnTo>
              </a:path>
            </a:pathLst>
          </a:custGeom>
          <a:noFill/>
          <a:ln w="3175" cap="flat" cmpd="sng">
            <a:solidFill>
              <a:srgbClr val="D9EAF7"/>
            </a:solidFill>
            <a:prstDash val="solid"/>
            <a:round/>
            <a:headEnd type="none" w="med" len="med"/>
            <a:tailEnd type="none" w="med" len="med"/>
          </a:ln>
        </p:spPr>
        <p:txBody>
          <a:bodyPr wrap="none" lIns="32632" tIns="32632" rIns="32632" bIns="32632" anchor="ctr"/>
          <a:lstStyle/>
          <a:p>
            <a:pPr defTabSz="891045"/>
            <a:endParaRPr lang="en-US" sz="1700" dirty="0">
              <a:solidFill>
                <a:srgbClr val="003149"/>
              </a:solidFill>
              <a:cs typeface="Arial" panose="020B0604020202020204" pitchFamily="34" charset="0"/>
            </a:endParaRPr>
          </a:p>
        </p:txBody>
      </p:sp>
      <p:sp>
        <p:nvSpPr>
          <p:cNvPr id="245" name="Freeform 741"/>
          <p:cNvSpPr>
            <a:spLocks noChangeAspect="1"/>
          </p:cNvSpPr>
          <p:nvPr/>
        </p:nvSpPr>
        <p:spPr bwMode="gray">
          <a:xfrm>
            <a:off x="4454323" y="4111949"/>
            <a:ext cx="250214" cy="104742"/>
          </a:xfrm>
          <a:custGeom>
            <a:avLst/>
            <a:gdLst>
              <a:gd name="T0" fmla="*/ 0 w 10133"/>
              <a:gd name="T1" fmla="*/ 0 h 10047"/>
              <a:gd name="T2" fmla="*/ 0 w 10133"/>
              <a:gd name="T3" fmla="*/ 0 h 10047"/>
              <a:gd name="T4" fmla="*/ 0 w 10133"/>
              <a:gd name="T5" fmla="*/ 0 h 10047"/>
              <a:gd name="T6" fmla="*/ 0 w 10133"/>
              <a:gd name="T7" fmla="*/ 0 h 10047"/>
              <a:gd name="T8" fmla="*/ 0 w 10133"/>
              <a:gd name="T9" fmla="*/ 0 h 10047"/>
              <a:gd name="T10" fmla="*/ 0 w 10133"/>
              <a:gd name="T11" fmla="*/ 0 h 10047"/>
              <a:gd name="T12" fmla="*/ 0 w 10133"/>
              <a:gd name="T13" fmla="*/ 0 h 10047"/>
              <a:gd name="T14" fmla="*/ 0 w 10133"/>
              <a:gd name="T15" fmla="*/ 0 h 10047"/>
              <a:gd name="T16" fmla="*/ 0 w 10133"/>
              <a:gd name="T17" fmla="*/ 0 h 10047"/>
              <a:gd name="T18" fmla="*/ 0 w 10133"/>
              <a:gd name="T19" fmla="*/ 0 h 10047"/>
              <a:gd name="T20" fmla="*/ 0 w 10133"/>
              <a:gd name="T21" fmla="*/ 0 h 10047"/>
              <a:gd name="T22" fmla="*/ 0 w 10133"/>
              <a:gd name="T23" fmla="*/ 0 h 10047"/>
              <a:gd name="T24" fmla="*/ 0 w 10133"/>
              <a:gd name="T25" fmla="*/ 0 h 10047"/>
              <a:gd name="T26" fmla="*/ 0 w 10133"/>
              <a:gd name="T27" fmla="*/ 0 h 10047"/>
              <a:gd name="T28" fmla="*/ 0 w 10133"/>
              <a:gd name="T29" fmla="*/ 0 h 10047"/>
              <a:gd name="T30" fmla="*/ 0 w 10133"/>
              <a:gd name="T31" fmla="*/ 0 h 10047"/>
              <a:gd name="T32" fmla="*/ 0 w 10133"/>
              <a:gd name="T33" fmla="*/ 0 h 10047"/>
              <a:gd name="T34" fmla="*/ 0 w 10133"/>
              <a:gd name="T35" fmla="*/ 0 h 10047"/>
              <a:gd name="T36" fmla="*/ 0 w 10133"/>
              <a:gd name="T37" fmla="*/ 0 h 10047"/>
              <a:gd name="T38" fmla="*/ 0 w 10133"/>
              <a:gd name="T39" fmla="*/ 0 h 10047"/>
              <a:gd name="T40" fmla="*/ 0 w 10133"/>
              <a:gd name="T41" fmla="*/ 0 h 10047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w 10133"/>
              <a:gd name="T64" fmla="*/ 0 h 10047"/>
              <a:gd name="T65" fmla="*/ 10133 w 10133"/>
              <a:gd name="T66" fmla="*/ 10047 h 10047"/>
            </a:gdLst>
            <a:ahLst/>
            <a:cxnLst>
              <a:cxn ang="T42">
                <a:pos x="T0" y="T1"/>
              </a:cxn>
              <a:cxn ang="T43">
                <a:pos x="T2" y="T3"/>
              </a:cxn>
              <a:cxn ang="T44">
                <a:pos x="T4" y="T5"/>
              </a:cxn>
              <a:cxn ang="T45">
                <a:pos x="T6" y="T7"/>
              </a:cxn>
              <a:cxn ang="T46">
                <a:pos x="T8" y="T9"/>
              </a:cxn>
              <a:cxn ang="T47">
                <a:pos x="T10" y="T11"/>
              </a:cxn>
              <a:cxn ang="T48">
                <a:pos x="T12" y="T13"/>
              </a:cxn>
              <a:cxn ang="T49">
                <a:pos x="T14" y="T15"/>
              </a:cxn>
              <a:cxn ang="T50">
                <a:pos x="T16" y="T17"/>
              </a:cxn>
              <a:cxn ang="T51">
                <a:pos x="T18" y="T19"/>
              </a:cxn>
              <a:cxn ang="T52">
                <a:pos x="T20" y="T21"/>
              </a:cxn>
              <a:cxn ang="T53">
                <a:pos x="T22" y="T23"/>
              </a:cxn>
              <a:cxn ang="T54">
                <a:pos x="T24" y="T25"/>
              </a:cxn>
              <a:cxn ang="T55">
                <a:pos x="T26" y="T27"/>
              </a:cxn>
              <a:cxn ang="T56">
                <a:pos x="T28" y="T29"/>
              </a:cxn>
              <a:cxn ang="T57">
                <a:pos x="T30" y="T31"/>
              </a:cxn>
              <a:cxn ang="T58">
                <a:pos x="T32" y="T33"/>
              </a:cxn>
              <a:cxn ang="T59">
                <a:pos x="T34" y="T35"/>
              </a:cxn>
              <a:cxn ang="T60">
                <a:pos x="T36" y="T37"/>
              </a:cxn>
              <a:cxn ang="T61">
                <a:pos x="T38" y="T39"/>
              </a:cxn>
              <a:cxn ang="T62">
                <a:pos x="T40" y="T41"/>
              </a:cxn>
            </a:cxnLst>
            <a:rect l="T63" t="T64" r="T65" b="T66"/>
            <a:pathLst>
              <a:path w="10133" h="10047">
                <a:moveTo>
                  <a:pt x="0" y="8306"/>
                </a:moveTo>
                <a:lnTo>
                  <a:pt x="446" y="8977"/>
                </a:lnTo>
                <a:lnTo>
                  <a:pt x="988" y="9708"/>
                </a:lnTo>
                <a:lnTo>
                  <a:pt x="1244" y="10047"/>
                </a:lnTo>
                <a:lnTo>
                  <a:pt x="1933" y="9838"/>
                </a:lnTo>
                <a:lnTo>
                  <a:pt x="2751" y="9159"/>
                </a:lnTo>
                <a:lnTo>
                  <a:pt x="3244" y="8820"/>
                </a:lnTo>
                <a:cubicBezTo>
                  <a:pt x="3319" y="8689"/>
                  <a:pt x="3396" y="8559"/>
                  <a:pt x="3470" y="8428"/>
                </a:cubicBezTo>
                <a:lnTo>
                  <a:pt x="4141" y="8089"/>
                </a:lnTo>
                <a:cubicBezTo>
                  <a:pt x="4176" y="7906"/>
                  <a:pt x="4213" y="7723"/>
                  <a:pt x="4248" y="7540"/>
                </a:cubicBezTo>
                <a:lnTo>
                  <a:pt x="5036" y="6183"/>
                </a:lnTo>
                <a:lnTo>
                  <a:pt x="5578" y="5217"/>
                </a:lnTo>
                <a:cubicBezTo>
                  <a:pt x="5594" y="4947"/>
                  <a:pt x="5612" y="4677"/>
                  <a:pt x="5628" y="4407"/>
                </a:cubicBezTo>
                <a:lnTo>
                  <a:pt x="6120" y="3728"/>
                </a:lnTo>
                <a:cubicBezTo>
                  <a:pt x="6189" y="3293"/>
                  <a:pt x="6258" y="2858"/>
                  <a:pt x="6328" y="2423"/>
                </a:cubicBezTo>
                <a:cubicBezTo>
                  <a:pt x="6420" y="2136"/>
                  <a:pt x="6510" y="1848"/>
                  <a:pt x="6602" y="1561"/>
                </a:cubicBezTo>
                <a:lnTo>
                  <a:pt x="7431" y="1196"/>
                </a:lnTo>
                <a:lnTo>
                  <a:pt x="8199" y="595"/>
                </a:lnTo>
                <a:lnTo>
                  <a:pt x="8682" y="178"/>
                </a:lnTo>
                <a:lnTo>
                  <a:pt x="9588" y="47"/>
                </a:lnTo>
                <a:lnTo>
                  <a:pt x="10133" y="0"/>
                </a:lnTo>
              </a:path>
            </a:pathLst>
          </a:custGeom>
          <a:noFill/>
          <a:ln w="3175" cap="flat" cmpd="sng">
            <a:solidFill>
              <a:srgbClr val="D9EAF7"/>
            </a:solidFill>
            <a:prstDash val="solid"/>
            <a:round/>
            <a:headEnd type="none" w="med" len="med"/>
            <a:tailEnd type="none" w="med" len="med"/>
          </a:ln>
        </p:spPr>
        <p:txBody>
          <a:bodyPr wrap="none" lIns="32632" tIns="32632" rIns="32632" bIns="32632" anchor="ctr"/>
          <a:lstStyle/>
          <a:p>
            <a:pPr defTabSz="891045"/>
            <a:endParaRPr lang="en-US" sz="1700" dirty="0">
              <a:solidFill>
                <a:srgbClr val="003149"/>
              </a:solidFill>
              <a:cs typeface="Arial" panose="020B0604020202020204" pitchFamily="34" charset="0"/>
            </a:endParaRPr>
          </a:p>
        </p:txBody>
      </p:sp>
      <p:sp>
        <p:nvSpPr>
          <p:cNvPr id="246" name="Freeform 747"/>
          <p:cNvSpPr>
            <a:spLocks noChangeAspect="1"/>
          </p:cNvSpPr>
          <p:nvPr>
            <p:custDataLst>
              <p:tags r:id="rId140"/>
            </p:custDataLst>
          </p:nvPr>
        </p:nvSpPr>
        <p:spPr bwMode="gray">
          <a:xfrm>
            <a:off x="4784153" y="4159281"/>
            <a:ext cx="28434" cy="58828"/>
          </a:xfrm>
          <a:custGeom>
            <a:avLst/>
            <a:gdLst>
              <a:gd name="T0" fmla="*/ 0 w 10000"/>
              <a:gd name="T1" fmla="*/ 0 h 10804"/>
              <a:gd name="T2" fmla="*/ 0 w 10000"/>
              <a:gd name="T3" fmla="*/ 0 h 10804"/>
              <a:gd name="T4" fmla="*/ 0 w 10000"/>
              <a:gd name="T5" fmla="*/ 0 h 10804"/>
              <a:gd name="T6" fmla="*/ 0 w 10000"/>
              <a:gd name="T7" fmla="*/ 0 h 10804"/>
              <a:gd name="T8" fmla="*/ 0 w 10000"/>
              <a:gd name="T9" fmla="*/ 0 h 10804"/>
              <a:gd name="T10" fmla="*/ 0 w 10000"/>
              <a:gd name="T11" fmla="*/ 0 h 10804"/>
              <a:gd name="T12" fmla="*/ 0 w 10000"/>
              <a:gd name="T13" fmla="*/ 0 h 10804"/>
              <a:gd name="T14" fmla="*/ 0 w 10000"/>
              <a:gd name="T15" fmla="*/ 0 h 10804"/>
              <a:gd name="T16" fmla="*/ 0 w 10000"/>
              <a:gd name="T17" fmla="*/ 0 h 10804"/>
              <a:gd name="T18" fmla="*/ 0 w 10000"/>
              <a:gd name="T19" fmla="*/ 0 h 10804"/>
              <a:gd name="T20" fmla="*/ 0 w 10000"/>
              <a:gd name="T21" fmla="*/ 0 h 10804"/>
              <a:gd name="T22" fmla="*/ 0 w 10000"/>
              <a:gd name="T23" fmla="*/ 0 h 10804"/>
              <a:gd name="T24" fmla="*/ 0 w 10000"/>
              <a:gd name="T25" fmla="*/ 0 h 10804"/>
              <a:gd name="T26" fmla="*/ 0 w 10000"/>
              <a:gd name="T27" fmla="*/ 0 h 10804"/>
              <a:gd name="T28" fmla="*/ 0 w 10000"/>
              <a:gd name="T29" fmla="*/ 0 h 10804"/>
              <a:gd name="T30" fmla="*/ 0 w 10000"/>
              <a:gd name="T31" fmla="*/ 0 h 10804"/>
              <a:gd name="T32" fmla="*/ 0 w 10000"/>
              <a:gd name="T33" fmla="*/ 0 h 10804"/>
              <a:gd name="T34" fmla="*/ 0 w 10000"/>
              <a:gd name="T35" fmla="*/ 0 h 10804"/>
              <a:gd name="T36" fmla="*/ 0 w 10000"/>
              <a:gd name="T37" fmla="*/ 0 h 10804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w 10000"/>
              <a:gd name="T58" fmla="*/ 0 h 10804"/>
              <a:gd name="T59" fmla="*/ 10000 w 10000"/>
              <a:gd name="T60" fmla="*/ 10804 h 10804"/>
            </a:gdLst>
            <a:ahLst/>
            <a:cxnLst>
              <a:cxn ang="T38">
                <a:pos x="T0" y="T1"/>
              </a:cxn>
              <a:cxn ang="T39">
                <a:pos x="T2" y="T3"/>
              </a:cxn>
              <a:cxn ang="T40">
                <a:pos x="T4" y="T5"/>
              </a:cxn>
              <a:cxn ang="T41">
                <a:pos x="T6" y="T7"/>
              </a:cxn>
              <a:cxn ang="T42">
                <a:pos x="T8" y="T9"/>
              </a:cxn>
              <a:cxn ang="T43">
                <a:pos x="T10" y="T11"/>
              </a:cxn>
              <a:cxn ang="T44">
                <a:pos x="T12" y="T13"/>
              </a:cxn>
              <a:cxn ang="T45">
                <a:pos x="T14" y="T15"/>
              </a:cxn>
              <a:cxn ang="T46">
                <a:pos x="T16" y="T17"/>
              </a:cxn>
              <a:cxn ang="T47">
                <a:pos x="T18" y="T19"/>
              </a:cxn>
              <a:cxn ang="T48">
                <a:pos x="T20" y="T21"/>
              </a:cxn>
              <a:cxn ang="T49">
                <a:pos x="T22" y="T23"/>
              </a:cxn>
              <a:cxn ang="T50">
                <a:pos x="T24" y="T25"/>
              </a:cxn>
              <a:cxn ang="T51">
                <a:pos x="T26" y="T27"/>
              </a:cxn>
              <a:cxn ang="T52">
                <a:pos x="T28" y="T29"/>
              </a:cxn>
              <a:cxn ang="T53">
                <a:pos x="T30" y="T31"/>
              </a:cxn>
              <a:cxn ang="T54">
                <a:pos x="T32" y="T33"/>
              </a:cxn>
              <a:cxn ang="T55">
                <a:pos x="T34" y="T35"/>
              </a:cxn>
              <a:cxn ang="T56">
                <a:pos x="T36" y="T37"/>
              </a:cxn>
            </a:cxnLst>
            <a:rect l="T57" t="T58" r="T59" b="T60"/>
            <a:pathLst>
              <a:path w="10000" h="10804">
                <a:moveTo>
                  <a:pt x="5028" y="10804"/>
                </a:moveTo>
                <a:lnTo>
                  <a:pt x="3985" y="10000"/>
                </a:lnTo>
                <a:lnTo>
                  <a:pt x="2656" y="9615"/>
                </a:lnTo>
                <a:lnTo>
                  <a:pt x="1328" y="10000"/>
                </a:lnTo>
                <a:lnTo>
                  <a:pt x="0" y="9232"/>
                </a:lnTo>
                <a:lnTo>
                  <a:pt x="332" y="8272"/>
                </a:lnTo>
                <a:lnTo>
                  <a:pt x="1328" y="7121"/>
                </a:lnTo>
                <a:cubicBezTo>
                  <a:pt x="1439" y="6736"/>
                  <a:pt x="1551" y="6353"/>
                  <a:pt x="1660" y="5968"/>
                </a:cubicBezTo>
                <a:lnTo>
                  <a:pt x="3652" y="5202"/>
                </a:lnTo>
                <a:lnTo>
                  <a:pt x="3652" y="4241"/>
                </a:lnTo>
                <a:lnTo>
                  <a:pt x="4317" y="3090"/>
                </a:lnTo>
                <a:lnTo>
                  <a:pt x="5313" y="2130"/>
                </a:lnTo>
                <a:lnTo>
                  <a:pt x="4317" y="1553"/>
                </a:lnTo>
                <a:lnTo>
                  <a:pt x="4980" y="18"/>
                </a:lnTo>
                <a:lnTo>
                  <a:pt x="6308" y="211"/>
                </a:lnTo>
                <a:lnTo>
                  <a:pt x="7304" y="979"/>
                </a:lnTo>
                <a:lnTo>
                  <a:pt x="8633" y="979"/>
                </a:lnTo>
                <a:lnTo>
                  <a:pt x="9960" y="979"/>
                </a:lnTo>
                <a:cubicBezTo>
                  <a:pt x="10181" y="594"/>
                  <a:pt x="9407" y="382"/>
                  <a:pt x="9628" y="0"/>
                </a:cubicBezTo>
              </a:path>
            </a:pathLst>
          </a:custGeom>
          <a:noFill/>
          <a:ln w="3175" cap="flat" cmpd="sng">
            <a:solidFill>
              <a:srgbClr val="D9EAF7"/>
            </a:solidFill>
            <a:prstDash val="solid"/>
            <a:round/>
            <a:headEnd type="none" w="med" len="med"/>
            <a:tailEnd type="none" w="med" len="med"/>
          </a:ln>
        </p:spPr>
        <p:txBody>
          <a:bodyPr wrap="none" lIns="32632" tIns="32632" rIns="32632" bIns="32632" anchor="ctr"/>
          <a:lstStyle/>
          <a:p>
            <a:pPr defTabSz="891045"/>
            <a:endParaRPr lang="en-US" sz="1700" dirty="0">
              <a:solidFill>
                <a:srgbClr val="003149"/>
              </a:solidFill>
              <a:cs typeface="Arial" panose="020B0604020202020204" pitchFamily="34" charset="0"/>
            </a:endParaRPr>
          </a:p>
        </p:txBody>
      </p:sp>
      <p:sp>
        <p:nvSpPr>
          <p:cNvPr id="247" name="Freeform 752"/>
          <p:cNvSpPr>
            <a:spLocks noChangeAspect="1"/>
          </p:cNvSpPr>
          <p:nvPr>
            <p:custDataLst>
              <p:tags r:id="rId141"/>
            </p:custDataLst>
          </p:nvPr>
        </p:nvSpPr>
        <p:spPr bwMode="gray">
          <a:xfrm>
            <a:off x="4704541" y="4107633"/>
            <a:ext cx="108047" cy="51654"/>
          </a:xfrm>
          <a:custGeom>
            <a:avLst/>
            <a:gdLst>
              <a:gd name="T0" fmla="*/ 0 w 479"/>
              <a:gd name="T1" fmla="*/ 396458301 h 195"/>
              <a:gd name="T2" fmla="*/ 0 w 479"/>
              <a:gd name="T3" fmla="*/ 396458301 h 195"/>
              <a:gd name="T4" fmla="*/ 0 w 479"/>
              <a:gd name="T5" fmla="*/ 396458301 h 195"/>
              <a:gd name="T6" fmla="*/ 0 w 479"/>
              <a:gd name="T7" fmla="*/ 396458301 h 195"/>
              <a:gd name="T8" fmla="*/ 0 w 479"/>
              <a:gd name="T9" fmla="*/ 396458301 h 195"/>
              <a:gd name="T10" fmla="*/ 0 w 479"/>
              <a:gd name="T11" fmla="*/ 396458301 h 195"/>
              <a:gd name="T12" fmla="*/ 0 w 479"/>
              <a:gd name="T13" fmla="*/ 396458301 h 195"/>
              <a:gd name="T14" fmla="*/ 0 w 479"/>
              <a:gd name="T15" fmla="*/ 396458301 h 195"/>
              <a:gd name="T16" fmla="*/ 0 w 479"/>
              <a:gd name="T17" fmla="*/ 396458301 h 195"/>
              <a:gd name="T18" fmla="*/ 0 w 479"/>
              <a:gd name="T19" fmla="*/ 396458301 h 195"/>
              <a:gd name="T20" fmla="*/ 0 w 479"/>
              <a:gd name="T21" fmla="*/ 396458301 h 195"/>
              <a:gd name="T22" fmla="*/ 0 w 479"/>
              <a:gd name="T23" fmla="*/ 396458301 h 195"/>
              <a:gd name="T24" fmla="*/ 0 w 479"/>
              <a:gd name="T25" fmla="*/ 396458301 h 195"/>
              <a:gd name="T26" fmla="*/ 0 w 479"/>
              <a:gd name="T27" fmla="*/ 396458301 h 195"/>
              <a:gd name="T28" fmla="*/ 0 w 479"/>
              <a:gd name="T29" fmla="*/ 396458301 h 195"/>
              <a:gd name="T30" fmla="*/ 0 w 479"/>
              <a:gd name="T31" fmla="*/ 396458301 h 195"/>
              <a:gd name="T32" fmla="*/ 0 w 479"/>
              <a:gd name="T33" fmla="*/ 396458301 h 195"/>
              <a:gd name="T34" fmla="*/ 0 w 479"/>
              <a:gd name="T35" fmla="*/ 396458301 h 195"/>
              <a:gd name="T36" fmla="*/ 0 w 479"/>
              <a:gd name="T37" fmla="*/ 396458301 h 195"/>
              <a:gd name="T38" fmla="*/ 0 w 479"/>
              <a:gd name="T39" fmla="*/ 396458301 h 195"/>
              <a:gd name="T40" fmla="*/ 0 w 479"/>
              <a:gd name="T41" fmla="*/ 396458301 h 195"/>
              <a:gd name="T42" fmla="*/ 0 w 479"/>
              <a:gd name="T43" fmla="*/ 396458301 h 195"/>
              <a:gd name="T44" fmla="*/ 0 w 479"/>
              <a:gd name="T45" fmla="*/ 396458301 h 195"/>
              <a:gd name="T46" fmla="*/ 0 w 479"/>
              <a:gd name="T47" fmla="*/ 396458301 h 195"/>
              <a:gd name="T48" fmla="*/ 0 w 479"/>
              <a:gd name="T49" fmla="*/ 0 h 195"/>
              <a:gd name="T50" fmla="*/ 0 w 479"/>
              <a:gd name="T51" fmla="*/ 0 h 195"/>
              <a:gd name="T52" fmla="*/ 0 w 479"/>
              <a:gd name="T53" fmla="*/ 396458301 h 195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w 479"/>
              <a:gd name="T82" fmla="*/ 0 h 195"/>
              <a:gd name="T83" fmla="*/ 479 w 479"/>
              <a:gd name="T84" fmla="*/ 195 h 195"/>
            </a:gdLst>
            <a:ahLst/>
            <a:cxnLst>
              <a:cxn ang="T54">
                <a:pos x="T0" y="T1"/>
              </a:cxn>
              <a:cxn ang="T55">
                <a:pos x="T2" y="T3"/>
              </a:cxn>
              <a:cxn ang="T56">
                <a:pos x="T4" y="T5"/>
              </a:cxn>
              <a:cxn ang="T57">
                <a:pos x="T6" y="T7"/>
              </a:cxn>
              <a:cxn ang="T58">
                <a:pos x="T8" y="T9"/>
              </a:cxn>
              <a:cxn ang="T59">
                <a:pos x="T10" y="T11"/>
              </a:cxn>
              <a:cxn ang="T60">
                <a:pos x="T12" y="T13"/>
              </a:cxn>
              <a:cxn ang="T61">
                <a:pos x="T14" y="T15"/>
              </a:cxn>
              <a:cxn ang="T62">
                <a:pos x="T16" y="T17"/>
              </a:cxn>
              <a:cxn ang="T63">
                <a:pos x="T18" y="T19"/>
              </a:cxn>
              <a:cxn ang="T64">
                <a:pos x="T20" y="T21"/>
              </a:cxn>
              <a:cxn ang="T65">
                <a:pos x="T22" y="T23"/>
              </a:cxn>
              <a:cxn ang="T66">
                <a:pos x="T24" y="T25"/>
              </a:cxn>
              <a:cxn ang="T67">
                <a:pos x="T26" y="T27"/>
              </a:cxn>
              <a:cxn ang="T68">
                <a:pos x="T28" y="T29"/>
              </a:cxn>
              <a:cxn ang="T69">
                <a:pos x="T30" y="T31"/>
              </a:cxn>
              <a:cxn ang="T70">
                <a:pos x="T32" y="T33"/>
              </a:cxn>
              <a:cxn ang="T71">
                <a:pos x="T34" y="T35"/>
              </a:cxn>
              <a:cxn ang="T72">
                <a:pos x="T36" y="T37"/>
              </a:cxn>
              <a:cxn ang="T73">
                <a:pos x="T38" y="T39"/>
              </a:cxn>
              <a:cxn ang="T74">
                <a:pos x="T40" y="T41"/>
              </a:cxn>
              <a:cxn ang="T75">
                <a:pos x="T42" y="T43"/>
              </a:cxn>
              <a:cxn ang="T76">
                <a:pos x="T44" y="T45"/>
              </a:cxn>
              <a:cxn ang="T77">
                <a:pos x="T46" y="T47"/>
              </a:cxn>
              <a:cxn ang="T78">
                <a:pos x="T48" y="T49"/>
              </a:cxn>
              <a:cxn ang="T79">
                <a:pos x="T50" y="T51"/>
              </a:cxn>
              <a:cxn ang="T80">
                <a:pos x="T52" y="T53"/>
              </a:cxn>
            </a:cxnLst>
            <a:rect l="T81" t="T82" r="T83" b="T84"/>
            <a:pathLst>
              <a:path w="479" h="195">
                <a:moveTo>
                  <a:pt x="479" y="195"/>
                </a:moveTo>
                <a:lnTo>
                  <a:pt x="455" y="195"/>
                </a:lnTo>
                <a:lnTo>
                  <a:pt x="436" y="181"/>
                </a:lnTo>
                <a:lnTo>
                  <a:pt x="425" y="163"/>
                </a:lnTo>
                <a:lnTo>
                  <a:pt x="425" y="152"/>
                </a:lnTo>
                <a:lnTo>
                  <a:pt x="411" y="144"/>
                </a:lnTo>
                <a:lnTo>
                  <a:pt x="401" y="152"/>
                </a:lnTo>
                <a:lnTo>
                  <a:pt x="373" y="152"/>
                </a:lnTo>
                <a:lnTo>
                  <a:pt x="349" y="160"/>
                </a:lnTo>
                <a:lnTo>
                  <a:pt x="333" y="163"/>
                </a:lnTo>
                <a:lnTo>
                  <a:pt x="311" y="155"/>
                </a:lnTo>
                <a:lnTo>
                  <a:pt x="300" y="144"/>
                </a:lnTo>
                <a:lnTo>
                  <a:pt x="306" y="125"/>
                </a:lnTo>
                <a:lnTo>
                  <a:pt x="276" y="120"/>
                </a:lnTo>
                <a:lnTo>
                  <a:pt x="254" y="107"/>
                </a:lnTo>
                <a:lnTo>
                  <a:pt x="235" y="96"/>
                </a:lnTo>
                <a:lnTo>
                  <a:pt x="222" y="88"/>
                </a:lnTo>
                <a:lnTo>
                  <a:pt x="195" y="91"/>
                </a:lnTo>
                <a:lnTo>
                  <a:pt x="170" y="77"/>
                </a:lnTo>
                <a:lnTo>
                  <a:pt x="152" y="61"/>
                </a:lnTo>
                <a:lnTo>
                  <a:pt x="133" y="24"/>
                </a:lnTo>
                <a:lnTo>
                  <a:pt x="116" y="24"/>
                </a:lnTo>
                <a:lnTo>
                  <a:pt x="92" y="13"/>
                </a:lnTo>
                <a:lnTo>
                  <a:pt x="65" y="5"/>
                </a:lnTo>
                <a:lnTo>
                  <a:pt x="46" y="0"/>
                </a:lnTo>
                <a:lnTo>
                  <a:pt x="22" y="0"/>
                </a:lnTo>
                <a:lnTo>
                  <a:pt x="0" y="13"/>
                </a:lnTo>
              </a:path>
            </a:pathLst>
          </a:custGeom>
          <a:noFill/>
          <a:ln w="3175" cap="flat" cmpd="sng">
            <a:solidFill>
              <a:srgbClr val="D9EAF7"/>
            </a:solidFill>
            <a:prstDash val="solid"/>
            <a:round/>
            <a:headEnd type="none" w="med" len="med"/>
            <a:tailEnd type="none" w="med" len="med"/>
          </a:ln>
        </p:spPr>
        <p:txBody>
          <a:bodyPr wrap="none" lIns="32632" tIns="32632" rIns="32632" bIns="32632" anchor="ctr"/>
          <a:lstStyle/>
          <a:p>
            <a:pPr defTabSz="891045"/>
            <a:endParaRPr lang="en-US" sz="1700" dirty="0">
              <a:solidFill>
                <a:srgbClr val="003149"/>
              </a:solidFill>
              <a:cs typeface="Arial" panose="020B0604020202020204" pitchFamily="34" charset="0"/>
            </a:endParaRPr>
          </a:p>
        </p:txBody>
      </p:sp>
      <p:sp>
        <p:nvSpPr>
          <p:cNvPr id="248" name="Freeform 672"/>
          <p:cNvSpPr>
            <a:spLocks noChangeAspect="1"/>
          </p:cNvSpPr>
          <p:nvPr>
            <p:custDataLst>
              <p:tags r:id="rId142"/>
            </p:custDataLst>
          </p:nvPr>
        </p:nvSpPr>
        <p:spPr bwMode="gray">
          <a:xfrm>
            <a:off x="3575731" y="2715838"/>
            <a:ext cx="422236" cy="156396"/>
          </a:xfrm>
          <a:custGeom>
            <a:avLst/>
            <a:gdLst>
              <a:gd name="T0" fmla="*/ 466912345 w 1366"/>
              <a:gd name="T1" fmla="*/ 523659056 h 447"/>
              <a:gd name="T2" fmla="*/ 466912345 w 1366"/>
              <a:gd name="T3" fmla="*/ 523659056 h 447"/>
              <a:gd name="T4" fmla="*/ 466912345 w 1366"/>
              <a:gd name="T5" fmla="*/ 523659056 h 447"/>
              <a:gd name="T6" fmla="*/ 466912345 w 1366"/>
              <a:gd name="T7" fmla="*/ 523659056 h 447"/>
              <a:gd name="T8" fmla="*/ 466912345 w 1366"/>
              <a:gd name="T9" fmla="*/ 523659056 h 447"/>
              <a:gd name="T10" fmla="*/ 466912345 w 1366"/>
              <a:gd name="T11" fmla="*/ 523659056 h 447"/>
              <a:gd name="T12" fmla="*/ 466912345 w 1366"/>
              <a:gd name="T13" fmla="*/ 523659056 h 447"/>
              <a:gd name="T14" fmla="*/ 466912345 w 1366"/>
              <a:gd name="T15" fmla="*/ 523659056 h 447"/>
              <a:gd name="T16" fmla="*/ 466912345 w 1366"/>
              <a:gd name="T17" fmla="*/ 523659056 h 447"/>
              <a:gd name="T18" fmla="*/ 466912345 w 1366"/>
              <a:gd name="T19" fmla="*/ 523659056 h 447"/>
              <a:gd name="T20" fmla="*/ 466912345 w 1366"/>
              <a:gd name="T21" fmla="*/ 523659056 h 447"/>
              <a:gd name="T22" fmla="*/ 466912345 w 1366"/>
              <a:gd name="T23" fmla="*/ 523659056 h 447"/>
              <a:gd name="T24" fmla="*/ 466912345 w 1366"/>
              <a:gd name="T25" fmla="*/ 523659056 h 447"/>
              <a:gd name="T26" fmla="*/ 466912345 w 1366"/>
              <a:gd name="T27" fmla="*/ 523659056 h 447"/>
              <a:gd name="T28" fmla="*/ 466912345 w 1366"/>
              <a:gd name="T29" fmla="*/ 523659056 h 447"/>
              <a:gd name="T30" fmla="*/ 466912345 w 1366"/>
              <a:gd name="T31" fmla="*/ 523659056 h 447"/>
              <a:gd name="T32" fmla="*/ 466912345 w 1366"/>
              <a:gd name="T33" fmla="*/ 523659056 h 447"/>
              <a:gd name="T34" fmla="*/ 466912345 w 1366"/>
              <a:gd name="T35" fmla="*/ 523659056 h 447"/>
              <a:gd name="T36" fmla="*/ 466912345 w 1366"/>
              <a:gd name="T37" fmla="*/ 523659056 h 447"/>
              <a:gd name="T38" fmla="*/ 466912345 w 1366"/>
              <a:gd name="T39" fmla="*/ 523659056 h 447"/>
              <a:gd name="T40" fmla="*/ 466912345 w 1366"/>
              <a:gd name="T41" fmla="*/ 523659056 h 447"/>
              <a:gd name="T42" fmla="*/ 466912345 w 1366"/>
              <a:gd name="T43" fmla="*/ 523659056 h 447"/>
              <a:gd name="T44" fmla="*/ 466912345 w 1366"/>
              <a:gd name="T45" fmla="*/ 523659056 h 447"/>
              <a:gd name="T46" fmla="*/ 466912345 w 1366"/>
              <a:gd name="T47" fmla="*/ 523659056 h 447"/>
              <a:gd name="T48" fmla="*/ 466912345 w 1366"/>
              <a:gd name="T49" fmla="*/ 523659056 h 447"/>
              <a:gd name="T50" fmla="*/ 466912345 w 1366"/>
              <a:gd name="T51" fmla="*/ 523659056 h 447"/>
              <a:gd name="T52" fmla="*/ 466912345 w 1366"/>
              <a:gd name="T53" fmla="*/ 523659056 h 447"/>
              <a:gd name="T54" fmla="*/ 466912345 w 1366"/>
              <a:gd name="T55" fmla="*/ 523659056 h 447"/>
              <a:gd name="T56" fmla="*/ 466912345 w 1366"/>
              <a:gd name="T57" fmla="*/ 523659056 h 447"/>
              <a:gd name="T58" fmla="*/ 466912345 w 1366"/>
              <a:gd name="T59" fmla="*/ 523659056 h 447"/>
              <a:gd name="T60" fmla="*/ 466912345 w 1366"/>
              <a:gd name="T61" fmla="*/ 523659056 h 447"/>
              <a:gd name="T62" fmla="*/ 466912345 w 1366"/>
              <a:gd name="T63" fmla="*/ 523659056 h 447"/>
              <a:gd name="T64" fmla="*/ 466912345 w 1366"/>
              <a:gd name="T65" fmla="*/ 523659056 h 447"/>
              <a:gd name="T66" fmla="*/ 466912345 w 1366"/>
              <a:gd name="T67" fmla="*/ 523659056 h 447"/>
              <a:gd name="T68" fmla="*/ 466912345 w 1366"/>
              <a:gd name="T69" fmla="*/ 523659056 h 447"/>
              <a:gd name="T70" fmla="*/ 466912345 w 1366"/>
              <a:gd name="T71" fmla="*/ 523659056 h 447"/>
              <a:gd name="T72" fmla="*/ 466912345 w 1366"/>
              <a:gd name="T73" fmla="*/ 523659056 h 447"/>
              <a:gd name="T74" fmla="*/ 466912345 w 1366"/>
              <a:gd name="T75" fmla="*/ 523659056 h 447"/>
              <a:gd name="T76" fmla="*/ 466912345 w 1366"/>
              <a:gd name="T77" fmla="*/ 523659056 h 447"/>
              <a:gd name="T78" fmla="*/ 466912345 w 1366"/>
              <a:gd name="T79" fmla="*/ 523659056 h 447"/>
              <a:gd name="T80" fmla="*/ 466912345 w 1366"/>
              <a:gd name="T81" fmla="*/ 523659056 h 447"/>
              <a:gd name="T82" fmla="*/ 466912345 w 1366"/>
              <a:gd name="T83" fmla="*/ 523659056 h 447"/>
              <a:gd name="T84" fmla="*/ 466912345 w 1366"/>
              <a:gd name="T85" fmla="*/ 523659056 h 447"/>
              <a:gd name="T86" fmla="*/ 466912345 w 1366"/>
              <a:gd name="T87" fmla="*/ 523659056 h 447"/>
              <a:gd name="T88" fmla="*/ 466912345 w 1366"/>
              <a:gd name="T89" fmla="*/ 523659056 h 447"/>
              <a:gd name="T90" fmla="*/ 466912345 w 1366"/>
              <a:gd name="T91" fmla="*/ 523659056 h 447"/>
              <a:gd name="T92" fmla="*/ 466912345 w 1366"/>
              <a:gd name="T93" fmla="*/ 523659056 h 447"/>
              <a:gd name="T94" fmla="*/ 466912345 w 1366"/>
              <a:gd name="T95" fmla="*/ 523659056 h 447"/>
              <a:gd name="T96" fmla="*/ 0 w 1366"/>
              <a:gd name="T97" fmla="*/ 0 h 447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w 1366"/>
              <a:gd name="T148" fmla="*/ 0 h 447"/>
              <a:gd name="T149" fmla="*/ 1366 w 1366"/>
              <a:gd name="T150" fmla="*/ 447 h 447"/>
            </a:gdLst>
            <a:ahLst/>
            <a:cxnLst>
              <a:cxn ang="T98">
                <a:pos x="T0" y="T1"/>
              </a:cxn>
              <a:cxn ang="T99">
                <a:pos x="T2" y="T3"/>
              </a:cxn>
              <a:cxn ang="T100">
                <a:pos x="T4" y="T5"/>
              </a:cxn>
              <a:cxn ang="T101">
                <a:pos x="T6" y="T7"/>
              </a:cxn>
              <a:cxn ang="T102">
                <a:pos x="T8" y="T9"/>
              </a:cxn>
              <a:cxn ang="T103">
                <a:pos x="T10" y="T11"/>
              </a:cxn>
              <a:cxn ang="T104">
                <a:pos x="T12" y="T13"/>
              </a:cxn>
              <a:cxn ang="T105">
                <a:pos x="T14" y="T15"/>
              </a:cxn>
              <a:cxn ang="T106">
                <a:pos x="T16" y="T17"/>
              </a:cxn>
              <a:cxn ang="T107">
                <a:pos x="T18" y="T19"/>
              </a:cxn>
              <a:cxn ang="T108">
                <a:pos x="T20" y="T21"/>
              </a:cxn>
              <a:cxn ang="T109">
                <a:pos x="T22" y="T23"/>
              </a:cxn>
              <a:cxn ang="T110">
                <a:pos x="T24" y="T25"/>
              </a:cxn>
              <a:cxn ang="T111">
                <a:pos x="T26" y="T27"/>
              </a:cxn>
              <a:cxn ang="T112">
                <a:pos x="T28" y="T29"/>
              </a:cxn>
              <a:cxn ang="T113">
                <a:pos x="T30" y="T31"/>
              </a:cxn>
              <a:cxn ang="T114">
                <a:pos x="T32" y="T33"/>
              </a:cxn>
              <a:cxn ang="T115">
                <a:pos x="T34" y="T35"/>
              </a:cxn>
              <a:cxn ang="T116">
                <a:pos x="T36" y="T37"/>
              </a:cxn>
              <a:cxn ang="T117">
                <a:pos x="T38" y="T39"/>
              </a:cxn>
              <a:cxn ang="T118">
                <a:pos x="T40" y="T41"/>
              </a:cxn>
              <a:cxn ang="T119">
                <a:pos x="T42" y="T43"/>
              </a:cxn>
              <a:cxn ang="T120">
                <a:pos x="T44" y="T45"/>
              </a:cxn>
              <a:cxn ang="T121">
                <a:pos x="T46" y="T47"/>
              </a:cxn>
              <a:cxn ang="T122">
                <a:pos x="T48" y="T49"/>
              </a:cxn>
              <a:cxn ang="T123">
                <a:pos x="T50" y="T51"/>
              </a:cxn>
              <a:cxn ang="T124">
                <a:pos x="T52" y="T53"/>
              </a:cxn>
              <a:cxn ang="T125">
                <a:pos x="T54" y="T55"/>
              </a:cxn>
              <a:cxn ang="T126">
                <a:pos x="T56" y="T57"/>
              </a:cxn>
              <a:cxn ang="T127">
                <a:pos x="T58" y="T59"/>
              </a:cxn>
              <a:cxn ang="T128">
                <a:pos x="T60" y="T61"/>
              </a:cxn>
              <a:cxn ang="T129">
                <a:pos x="T62" y="T63"/>
              </a:cxn>
              <a:cxn ang="T130">
                <a:pos x="T64" y="T65"/>
              </a:cxn>
              <a:cxn ang="T131">
                <a:pos x="T66" y="T67"/>
              </a:cxn>
              <a:cxn ang="T132">
                <a:pos x="T68" y="T69"/>
              </a:cxn>
              <a:cxn ang="T133">
                <a:pos x="T70" y="T71"/>
              </a:cxn>
              <a:cxn ang="T134">
                <a:pos x="T72" y="T73"/>
              </a:cxn>
              <a:cxn ang="T135">
                <a:pos x="T74" y="T75"/>
              </a:cxn>
              <a:cxn ang="T136">
                <a:pos x="T76" y="T77"/>
              </a:cxn>
              <a:cxn ang="T137">
                <a:pos x="T78" y="T79"/>
              </a:cxn>
              <a:cxn ang="T138">
                <a:pos x="T80" y="T81"/>
              </a:cxn>
              <a:cxn ang="T139">
                <a:pos x="T82" y="T83"/>
              </a:cxn>
              <a:cxn ang="T140">
                <a:pos x="T84" y="T85"/>
              </a:cxn>
              <a:cxn ang="T141">
                <a:pos x="T86" y="T87"/>
              </a:cxn>
              <a:cxn ang="T142">
                <a:pos x="T88" y="T89"/>
              </a:cxn>
              <a:cxn ang="T143">
                <a:pos x="T90" y="T91"/>
              </a:cxn>
              <a:cxn ang="T144">
                <a:pos x="T92" y="T93"/>
              </a:cxn>
              <a:cxn ang="T145">
                <a:pos x="T94" y="T95"/>
              </a:cxn>
              <a:cxn ang="T146">
                <a:pos x="T96" y="T97"/>
              </a:cxn>
            </a:cxnLst>
            <a:rect l="T147" t="T148" r="T149" b="T150"/>
            <a:pathLst>
              <a:path w="1366" h="447">
                <a:moveTo>
                  <a:pt x="1366" y="393"/>
                </a:moveTo>
                <a:lnTo>
                  <a:pt x="1338" y="375"/>
                </a:lnTo>
                <a:lnTo>
                  <a:pt x="1302" y="365"/>
                </a:lnTo>
                <a:lnTo>
                  <a:pt x="1270" y="375"/>
                </a:lnTo>
                <a:lnTo>
                  <a:pt x="1242" y="387"/>
                </a:lnTo>
                <a:lnTo>
                  <a:pt x="1216" y="387"/>
                </a:lnTo>
                <a:lnTo>
                  <a:pt x="1194" y="405"/>
                </a:lnTo>
                <a:lnTo>
                  <a:pt x="1174" y="413"/>
                </a:lnTo>
                <a:lnTo>
                  <a:pt x="1108" y="423"/>
                </a:lnTo>
                <a:lnTo>
                  <a:pt x="1066" y="437"/>
                </a:lnTo>
                <a:lnTo>
                  <a:pt x="1013" y="447"/>
                </a:lnTo>
                <a:lnTo>
                  <a:pt x="985" y="447"/>
                </a:lnTo>
                <a:lnTo>
                  <a:pt x="965" y="431"/>
                </a:lnTo>
                <a:lnTo>
                  <a:pt x="935" y="419"/>
                </a:lnTo>
                <a:lnTo>
                  <a:pt x="919" y="405"/>
                </a:lnTo>
                <a:lnTo>
                  <a:pt x="901" y="393"/>
                </a:lnTo>
                <a:lnTo>
                  <a:pt x="875" y="377"/>
                </a:lnTo>
                <a:lnTo>
                  <a:pt x="853" y="377"/>
                </a:lnTo>
                <a:lnTo>
                  <a:pt x="829" y="359"/>
                </a:lnTo>
                <a:lnTo>
                  <a:pt x="809" y="335"/>
                </a:lnTo>
                <a:lnTo>
                  <a:pt x="781" y="329"/>
                </a:lnTo>
                <a:lnTo>
                  <a:pt x="763" y="317"/>
                </a:lnTo>
                <a:lnTo>
                  <a:pt x="743" y="303"/>
                </a:lnTo>
                <a:lnTo>
                  <a:pt x="707" y="281"/>
                </a:lnTo>
                <a:lnTo>
                  <a:pt x="677" y="269"/>
                </a:lnTo>
                <a:lnTo>
                  <a:pt x="653" y="261"/>
                </a:lnTo>
                <a:lnTo>
                  <a:pt x="637" y="239"/>
                </a:lnTo>
                <a:lnTo>
                  <a:pt x="613" y="227"/>
                </a:lnTo>
                <a:lnTo>
                  <a:pt x="587" y="221"/>
                </a:lnTo>
                <a:lnTo>
                  <a:pt x="559" y="207"/>
                </a:lnTo>
                <a:lnTo>
                  <a:pt x="529" y="189"/>
                </a:lnTo>
                <a:lnTo>
                  <a:pt x="503" y="177"/>
                </a:lnTo>
                <a:lnTo>
                  <a:pt x="481" y="160"/>
                </a:lnTo>
                <a:lnTo>
                  <a:pt x="455" y="150"/>
                </a:lnTo>
                <a:lnTo>
                  <a:pt x="433" y="142"/>
                </a:lnTo>
                <a:lnTo>
                  <a:pt x="413" y="124"/>
                </a:lnTo>
                <a:lnTo>
                  <a:pt x="379" y="106"/>
                </a:lnTo>
                <a:lnTo>
                  <a:pt x="347" y="84"/>
                </a:lnTo>
                <a:lnTo>
                  <a:pt x="318" y="70"/>
                </a:lnTo>
                <a:lnTo>
                  <a:pt x="284" y="48"/>
                </a:lnTo>
                <a:lnTo>
                  <a:pt x="264" y="40"/>
                </a:lnTo>
                <a:lnTo>
                  <a:pt x="234" y="46"/>
                </a:lnTo>
                <a:lnTo>
                  <a:pt x="198" y="48"/>
                </a:lnTo>
                <a:lnTo>
                  <a:pt x="158" y="34"/>
                </a:lnTo>
                <a:lnTo>
                  <a:pt x="122" y="30"/>
                </a:lnTo>
                <a:lnTo>
                  <a:pt x="102" y="30"/>
                </a:lnTo>
                <a:lnTo>
                  <a:pt x="72" y="16"/>
                </a:lnTo>
                <a:lnTo>
                  <a:pt x="44" y="10"/>
                </a:lnTo>
                <a:lnTo>
                  <a:pt x="0" y="0"/>
                </a:lnTo>
              </a:path>
            </a:pathLst>
          </a:custGeom>
          <a:noFill/>
          <a:ln w="3175" cap="flat" cmpd="sng">
            <a:solidFill>
              <a:srgbClr val="D9EAF7"/>
            </a:solidFill>
            <a:prstDash val="solid"/>
            <a:round/>
            <a:headEnd type="none" w="med" len="med"/>
            <a:tailEnd type="none" w="sm" len="sm"/>
          </a:ln>
        </p:spPr>
        <p:txBody>
          <a:bodyPr wrap="none" lIns="32632" tIns="32632" rIns="32632" bIns="32632" anchor="ctr"/>
          <a:lstStyle/>
          <a:p>
            <a:pPr defTabSz="891045"/>
            <a:endParaRPr lang="en-US" sz="1700" dirty="0">
              <a:solidFill>
                <a:srgbClr val="003149"/>
              </a:solidFill>
              <a:cs typeface="Arial" panose="020B0604020202020204" pitchFamily="34" charset="0"/>
            </a:endParaRPr>
          </a:p>
        </p:txBody>
      </p:sp>
      <p:sp>
        <p:nvSpPr>
          <p:cNvPr id="249" name="Freeform 716"/>
          <p:cNvSpPr>
            <a:spLocks noChangeAspect="1"/>
          </p:cNvSpPr>
          <p:nvPr>
            <p:custDataLst>
              <p:tags r:id="rId143"/>
            </p:custDataLst>
          </p:nvPr>
        </p:nvSpPr>
        <p:spPr bwMode="gray">
          <a:xfrm>
            <a:off x="3804625" y="2974148"/>
            <a:ext cx="553031" cy="483539"/>
          </a:xfrm>
          <a:custGeom>
            <a:avLst/>
            <a:gdLst>
              <a:gd name="T0" fmla="*/ 0 w 10052"/>
              <a:gd name="T1" fmla="*/ 0 h 10127"/>
              <a:gd name="T2" fmla="*/ 0 w 10052"/>
              <a:gd name="T3" fmla="*/ 0 h 10127"/>
              <a:gd name="T4" fmla="*/ 0 w 10052"/>
              <a:gd name="T5" fmla="*/ 0 h 10127"/>
              <a:gd name="T6" fmla="*/ 0 w 10052"/>
              <a:gd name="T7" fmla="*/ 0 h 10127"/>
              <a:gd name="T8" fmla="*/ 0 w 10052"/>
              <a:gd name="T9" fmla="*/ 0 h 10127"/>
              <a:gd name="T10" fmla="*/ 0 w 10052"/>
              <a:gd name="T11" fmla="*/ 0 h 10127"/>
              <a:gd name="T12" fmla="*/ 0 w 10052"/>
              <a:gd name="T13" fmla="*/ 0 h 10127"/>
              <a:gd name="T14" fmla="*/ 0 w 10052"/>
              <a:gd name="T15" fmla="*/ 0 h 10127"/>
              <a:gd name="T16" fmla="*/ 0 w 10052"/>
              <a:gd name="T17" fmla="*/ 0 h 10127"/>
              <a:gd name="T18" fmla="*/ 0 w 10052"/>
              <a:gd name="T19" fmla="*/ 0 h 10127"/>
              <a:gd name="T20" fmla="*/ 0 w 10052"/>
              <a:gd name="T21" fmla="*/ 0 h 10127"/>
              <a:gd name="T22" fmla="*/ 0 w 10052"/>
              <a:gd name="T23" fmla="*/ 0 h 10127"/>
              <a:gd name="T24" fmla="*/ 0 w 10052"/>
              <a:gd name="T25" fmla="*/ 0 h 10127"/>
              <a:gd name="T26" fmla="*/ 0 w 10052"/>
              <a:gd name="T27" fmla="*/ 0 h 10127"/>
              <a:gd name="T28" fmla="*/ 0 w 10052"/>
              <a:gd name="T29" fmla="*/ 0 h 10127"/>
              <a:gd name="T30" fmla="*/ 0 w 10052"/>
              <a:gd name="T31" fmla="*/ 0 h 10127"/>
              <a:gd name="T32" fmla="*/ 0 w 10052"/>
              <a:gd name="T33" fmla="*/ 0 h 10127"/>
              <a:gd name="T34" fmla="*/ 0 w 10052"/>
              <a:gd name="T35" fmla="*/ 0 h 10127"/>
              <a:gd name="T36" fmla="*/ 0 w 10052"/>
              <a:gd name="T37" fmla="*/ 0 h 10127"/>
              <a:gd name="T38" fmla="*/ 0 w 10052"/>
              <a:gd name="T39" fmla="*/ 0 h 10127"/>
              <a:gd name="T40" fmla="*/ 0 w 10052"/>
              <a:gd name="T41" fmla="*/ 0 h 10127"/>
              <a:gd name="T42" fmla="*/ 0 w 10052"/>
              <a:gd name="T43" fmla="*/ 0 h 10127"/>
              <a:gd name="T44" fmla="*/ 0 w 10052"/>
              <a:gd name="T45" fmla="*/ 0 h 10127"/>
              <a:gd name="T46" fmla="*/ 0 w 10052"/>
              <a:gd name="T47" fmla="*/ 0 h 10127"/>
              <a:gd name="T48" fmla="*/ 0 w 10052"/>
              <a:gd name="T49" fmla="*/ 0 h 10127"/>
              <a:gd name="T50" fmla="*/ 0 w 10052"/>
              <a:gd name="T51" fmla="*/ 0 h 10127"/>
              <a:gd name="T52" fmla="*/ 0 w 10052"/>
              <a:gd name="T53" fmla="*/ 0 h 10127"/>
              <a:gd name="T54" fmla="*/ 0 w 10052"/>
              <a:gd name="T55" fmla="*/ 0 h 10127"/>
              <a:gd name="T56" fmla="*/ 0 w 10052"/>
              <a:gd name="T57" fmla="*/ 0 h 10127"/>
              <a:gd name="T58" fmla="*/ 0 w 10052"/>
              <a:gd name="T59" fmla="*/ 0 h 10127"/>
              <a:gd name="T60" fmla="*/ 0 w 10052"/>
              <a:gd name="T61" fmla="*/ 0 h 10127"/>
              <a:gd name="T62" fmla="*/ 0 w 10052"/>
              <a:gd name="T63" fmla="*/ 0 h 10127"/>
              <a:gd name="T64" fmla="*/ 0 w 10052"/>
              <a:gd name="T65" fmla="*/ 0 h 10127"/>
              <a:gd name="T66" fmla="*/ 0 w 10052"/>
              <a:gd name="T67" fmla="*/ 0 h 10127"/>
              <a:gd name="T68" fmla="*/ 0 w 10052"/>
              <a:gd name="T69" fmla="*/ 0 h 10127"/>
              <a:gd name="T70" fmla="*/ 0 w 10052"/>
              <a:gd name="T71" fmla="*/ 0 h 10127"/>
              <a:gd name="T72" fmla="*/ 0 w 10052"/>
              <a:gd name="T73" fmla="*/ 0 h 10127"/>
              <a:gd name="T74" fmla="*/ 0 w 10052"/>
              <a:gd name="T75" fmla="*/ 0 h 10127"/>
              <a:gd name="T76" fmla="*/ 0 w 10052"/>
              <a:gd name="T77" fmla="*/ 0 h 10127"/>
              <a:gd name="T78" fmla="*/ 0 w 10052"/>
              <a:gd name="T79" fmla="*/ 0 h 10127"/>
              <a:gd name="T80" fmla="*/ 0 w 10052"/>
              <a:gd name="T81" fmla="*/ 0 h 10127"/>
              <a:gd name="T82" fmla="*/ 0 w 10052"/>
              <a:gd name="T83" fmla="*/ 0 h 10127"/>
              <a:gd name="T84" fmla="*/ 0 w 10052"/>
              <a:gd name="T85" fmla="*/ 0 h 10127"/>
              <a:gd name="T86" fmla="*/ 0 w 10052"/>
              <a:gd name="T87" fmla="*/ 0 h 10127"/>
              <a:gd name="T88" fmla="*/ 0 w 10052"/>
              <a:gd name="T89" fmla="*/ 0 h 10127"/>
              <a:gd name="T90" fmla="*/ 0 w 10052"/>
              <a:gd name="T91" fmla="*/ 0 h 10127"/>
              <a:gd name="T92" fmla="*/ 0 w 10052"/>
              <a:gd name="T93" fmla="*/ 0 h 10127"/>
              <a:gd name="T94" fmla="*/ 0 w 10052"/>
              <a:gd name="T95" fmla="*/ 0 h 10127"/>
              <a:gd name="T96" fmla="*/ 0 w 10052"/>
              <a:gd name="T97" fmla="*/ 0 h 10127"/>
              <a:gd name="T98" fmla="*/ 0 w 10052"/>
              <a:gd name="T99" fmla="*/ 0 h 10127"/>
              <a:gd name="T100" fmla="*/ 0 w 10052"/>
              <a:gd name="T101" fmla="*/ 0 h 10127"/>
              <a:gd name="T102" fmla="*/ 0 w 10052"/>
              <a:gd name="T103" fmla="*/ 0 h 10127"/>
              <a:gd name="T104" fmla="*/ 0 w 10052"/>
              <a:gd name="T105" fmla="*/ 0 h 10127"/>
              <a:gd name="T106" fmla="*/ 0 w 10052"/>
              <a:gd name="T107" fmla="*/ 0 h 10127"/>
              <a:gd name="T108" fmla="*/ 0 w 10052"/>
              <a:gd name="T109" fmla="*/ 0 h 10127"/>
              <a:gd name="T110" fmla="*/ 0 w 10052"/>
              <a:gd name="T111" fmla="*/ 0 h 10127"/>
              <a:gd name="T112" fmla="*/ 0 w 10052"/>
              <a:gd name="T113" fmla="*/ 0 h 10127"/>
              <a:gd name="T114" fmla="*/ 0 w 10052"/>
              <a:gd name="T115" fmla="*/ 0 h 10127"/>
              <a:gd name="T116" fmla="*/ 0 w 10052"/>
              <a:gd name="T117" fmla="*/ 0 h 10127"/>
              <a:gd name="T118" fmla="*/ 0 w 10052"/>
              <a:gd name="T119" fmla="*/ 0 h 10127"/>
              <a:gd name="T120" fmla="*/ 0 w 10052"/>
              <a:gd name="T121" fmla="*/ 0 h 10127"/>
              <a:gd name="T122" fmla="*/ 0 w 10052"/>
              <a:gd name="T123" fmla="*/ 0 h 10127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w 10052"/>
              <a:gd name="T187" fmla="*/ 0 h 10127"/>
              <a:gd name="T188" fmla="*/ 10052 w 10052"/>
              <a:gd name="T189" fmla="*/ 10127 h 10127"/>
            </a:gdLst>
            <a:ahLst/>
            <a:cxnLst>
              <a:cxn ang="T124">
                <a:pos x="T0" y="T1"/>
              </a:cxn>
              <a:cxn ang="T125">
                <a:pos x="T2" y="T3"/>
              </a:cxn>
              <a:cxn ang="T126">
                <a:pos x="T4" y="T5"/>
              </a:cxn>
              <a:cxn ang="T127">
                <a:pos x="T6" y="T7"/>
              </a:cxn>
              <a:cxn ang="T128">
                <a:pos x="T8" y="T9"/>
              </a:cxn>
              <a:cxn ang="T129">
                <a:pos x="T10" y="T11"/>
              </a:cxn>
              <a:cxn ang="T130">
                <a:pos x="T12" y="T13"/>
              </a:cxn>
              <a:cxn ang="T131">
                <a:pos x="T14" y="T15"/>
              </a:cxn>
              <a:cxn ang="T132">
                <a:pos x="T16" y="T17"/>
              </a:cxn>
              <a:cxn ang="T133">
                <a:pos x="T18" y="T19"/>
              </a:cxn>
              <a:cxn ang="T134">
                <a:pos x="T20" y="T21"/>
              </a:cxn>
              <a:cxn ang="T135">
                <a:pos x="T22" y="T23"/>
              </a:cxn>
              <a:cxn ang="T136">
                <a:pos x="T24" y="T25"/>
              </a:cxn>
              <a:cxn ang="T137">
                <a:pos x="T26" y="T27"/>
              </a:cxn>
              <a:cxn ang="T138">
                <a:pos x="T28" y="T29"/>
              </a:cxn>
              <a:cxn ang="T139">
                <a:pos x="T30" y="T31"/>
              </a:cxn>
              <a:cxn ang="T140">
                <a:pos x="T32" y="T33"/>
              </a:cxn>
              <a:cxn ang="T141">
                <a:pos x="T34" y="T35"/>
              </a:cxn>
              <a:cxn ang="T142">
                <a:pos x="T36" y="T37"/>
              </a:cxn>
              <a:cxn ang="T143">
                <a:pos x="T38" y="T39"/>
              </a:cxn>
              <a:cxn ang="T144">
                <a:pos x="T40" y="T41"/>
              </a:cxn>
              <a:cxn ang="T145">
                <a:pos x="T42" y="T43"/>
              </a:cxn>
              <a:cxn ang="T146">
                <a:pos x="T44" y="T45"/>
              </a:cxn>
              <a:cxn ang="T147">
                <a:pos x="T46" y="T47"/>
              </a:cxn>
              <a:cxn ang="T148">
                <a:pos x="T48" y="T49"/>
              </a:cxn>
              <a:cxn ang="T149">
                <a:pos x="T50" y="T51"/>
              </a:cxn>
              <a:cxn ang="T150">
                <a:pos x="T52" y="T53"/>
              </a:cxn>
              <a:cxn ang="T151">
                <a:pos x="T54" y="T55"/>
              </a:cxn>
              <a:cxn ang="T152">
                <a:pos x="T56" y="T57"/>
              </a:cxn>
              <a:cxn ang="T153">
                <a:pos x="T58" y="T59"/>
              </a:cxn>
              <a:cxn ang="T154">
                <a:pos x="T60" y="T61"/>
              </a:cxn>
              <a:cxn ang="T155">
                <a:pos x="T62" y="T63"/>
              </a:cxn>
              <a:cxn ang="T156">
                <a:pos x="T64" y="T65"/>
              </a:cxn>
              <a:cxn ang="T157">
                <a:pos x="T66" y="T67"/>
              </a:cxn>
              <a:cxn ang="T158">
                <a:pos x="T68" y="T69"/>
              </a:cxn>
              <a:cxn ang="T159">
                <a:pos x="T70" y="T71"/>
              </a:cxn>
              <a:cxn ang="T160">
                <a:pos x="T72" y="T73"/>
              </a:cxn>
              <a:cxn ang="T161">
                <a:pos x="T74" y="T75"/>
              </a:cxn>
              <a:cxn ang="T162">
                <a:pos x="T76" y="T77"/>
              </a:cxn>
              <a:cxn ang="T163">
                <a:pos x="T78" y="T79"/>
              </a:cxn>
              <a:cxn ang="T164">
                <a:pos x="T80" y="T81"/>
              </a:cxn>
              <a:cxn ang="T165">
                <a:pos x="T82" y="T83"/>
              </a:cxn>
              <a:cxn ang="T166">
                <a:pos x="T84" y="T85"/>
              </a:cxn>
              <a:cxn ang="T167">
                <a:pos x="T86" y="T87"/>
              </a:cxn>
              <a:cxn ang="T168">
                <a:pos x="T88" y="T89"/>
              </a:cxn>
              <a:cxn ang="T169">
                <a:pos x="T90" y="T91"/>
              </a:cxn>
              <a:cxn ang="T170">
                <a:pos x="T92" y="T93"/>
              </a:cxn>
              <a:cxn ang="T171">
                <a:pos x="T94" y="T95"/>
              </a:cxn>
              <a:cxn ang="T172">
                <a:pos x="T96" y="T97"/>
              </a:cxn>
              <a:cxn ang="T173">
                <a:pos x="T98" y="T99"/>
              </a:cxn>
              <a:cxn ang="T174">
                <a:pos x="T100" y="T101"/>
              </a:cxn>
              <a:cxn ang="T175">
                <a:pos x="T102" y="T103"/>
              </a:cxn>
              <a:cxn ang="T176">
                <a:pos x="T104" y="T105"/>
              </a:cxn>
              <a:cxn ang="T177">
                <a:pos x="T106" y="T107"/>
              </a:cxn>
              <a:cxn ang="T178">
                <a:pos x="T108" y="T109"/>
              </a:cxn>
              <a:cxn ang="T179">
                <a:pos x="T110" y="T111"/>
              </a:cxn>
              <a:cxn ang="T180">
                <a:pos x="T112" y="T113"/>
              </a:cxn>
              <a:cxn ang="T181">
                <a:pos x="T114" y="T115"/>
              </a:cxn>
              <a:cxn ang="T182">
                <a:pos x="T116" y="T117"/>
              </a:cxn>
              <a:cxn ang="T183">
                <a:pos x="T118" y="T119"/>
              </a:cxn>
              <a:cxn ang="T184">
                <a:pos x="T120" y="T121"/>
              </a:cxn>
              <a:cxn ang="T185">
                <a:pos x="T122" y="T123"/>
              </a:cxn>
            </a:cxnLst>
            <a:rect l="T186" t="T187" r="T188" b="T189"/>
            <a:pathLst>
              <a:path w="10052" h="10127">
                <a:moveTo>
                  <a:pt x="10052" y="10127"/>
                </a:moveTo>
                <a:cubicBezTo>
                  <a:pt x="10017" y="10078"/>
                  <a:pt x="9929" y="9931"/>
                  <a:pt x="9894" y="9882"/>
                </a:cubicBezTo>
                <a:lnTo>
                  <a:pt x="9743" y="9699"/>
                </a:lnTo>
                <a:lnTo>
                  <a:pt x="9513" y="9574"/>
                </a:lnTo>
                <a:cubicBezTo>
                  <a:pt x="9483" y="9530"/>
                  <a:pt x="9454" y="9486"/>
                  <a:pt x="9424" y="9442"/>
                </a:cubicBezTo>
                <a:lnTo>
                  <a:pt x="9323" y="9245"/>
                </a:lnTo>
                <a:lnTo>
                  <a:pt x="9077" y="9113"/>
                </a:lnTo>
                <a:lnTo>
                  <a:pt x="8853" y="9017"/>
                </a:lnTo>
                <a:lnTo>
                  <a:pt x="8736" y="8863"/>
                </a:lnTo>
                <a:cubicBezTo>
                  <a:pt x="8715" y="8782"/>
                  <a:pt x="8695" y="8702"/>
                  <a:pt x="8674" y="8621"/>
                </a:cubicBezTo>
                <a:lnTo>
                  <a:pt x="8535" y="8519"/>
                </a:lnTo>
                <a:lnTo>
                  <a:pt x="8400" y="8357"/>
                </a:lnTo>
                <a:lnTo>
                  <a:pt x="8171" y="8269"/>
                </a:lnTo>
                <a:cubicBezTo>
                  <a:pt x="8126" y="8206"/>
                  <a:pt x="8082" y="8142"/>
                  <a:pt x="8037" y="8079"/>
                </a:cubicBezTo>
                <a:cubicBezTo>
                  <a:pt x="8020" y="8018"/>
                  <a:pt x="8004" y="7957"/>
                  <a:pt x="7987" y="7896"/>
                </a:cubicBezTo>
                <a:lnTo>
                  <a:pt x="7886" y="7815"/>
                </a:lnTo>
                <a:lnTo>
                  <a:pt x="7662" y="7830"/>
                </a:lnTo>
                <a:lnTo>
                  <a:pt x="7494" y="7969"/>
                </a:lnTo>
                <a:lnTo>
                  <a:pt x="7327" y="8050"/>
                </a:lnTo>
                <a:lnTo>
                  <a:pt x="7047" y="8072"/>
                </a:lnTo>
                <a:lnTo>
                  <a:pt x="6695" y="7874"/>
                </a:lnTo>
                <a:lnTo>
                  <a:pt x="6326" y="7617"/>
                </a:lnTo>
                <a:lnTo>
                  <a:pt x="6040" y="7375"/>
                </a:lnTo>
                <a:lnTo>
                  <a:pt x="5783" y="6862"/>
                </a:lnTo>
                <a:cubicBezTo>
                  <a:pt x="5705" y="6737"/>
                  <a:pt x="5626" y="6613"/>
                  <a:pt x="5548" y="6488"/>
                </a:cubicBezTo>
                <a:lnTo>
                  <a:pt x="5397" y="6268"/>
                </a:lnTo>
                <a:lnTo>
                  <a:pt x="4664" y="5784"/>
                </a:lnTo>
                <a:lnTo>
                  <a:pt x="4105" y="5520"/>
                </a:lnTo>
                <a:lnTo>
                  <a:pt x="3904" y="5410"/>
                </a:lnTo>
                <a:lnTo>
                  <a:pt x="3674" y="5198"/>
                </a:lnTo>
                <a:cubicBezTo>
                  <a:pt x="3628" y="5132"/>
                  <a:pt x="3581" y="5066"/>
                  <a:pt x="3535" y="5000"/>
                </a:cubicBezTo>
                <a:lnTo>
                  <a:pt x="3400" y="4860"/>
                </a:lnTo>
                <a:lnTo>
                  <a:pt x="3205" y="4934"/>
                </a:lnTo>
                <a:lnTo>
                  <a:pt x="3031" y="4816"/>
                </a:lnTo>
                <a:lnTo>
                  <a:pt x="2752" y="4486"/>
                </a:lnTo>
                <a:lnTo>
                  <a:pt x="2617" y="4311"/>
                </a:lnTo>
                <a:cubicBezTo>
                  <a:pt x="2612" y="4172"/>
                  <a:pt x="2606" y="4032"/>
                  <a:pt x="2601" y="3893"/>
                </a:cubicBezTo>
                <a:cubicBezTo>
                  <a:pt x="2549" y="3800"/>
                  <a:pt x="2496" y="3707"/>
                  <a:pt x="2444" y="3614"/>
                </a:cubicBezTo>
                <a:lnTo>
                  <a:pt x="2109" y="3651"/>
                </a:lnTo>
                <a:lnTo>
                  <a:pt x="1840" y="3651"/>
                </a:lnTo>
                <a:lnTo>
                  <a:pt x="1644" y="3519"/>
                </a:lnTo>
                <a:cubicBezTo>
                  <a:pt x="1586" y="3424"/>
                  <a:pt x="1529" y="3328"/>
                  <a:pt x="1471" y="3233"/>
                </a:cubicBezTo>
                <a:lnTo>
                  <a:pt x="1158" y="3101"/>
                </a:lnTo>
                <a:lnTo>
                  <a:pt x="923" y="3189"/>
                </a:lnTo>
                <a:lnTo>
                  <a:pt x="721" y="3211"/>
                </a:lnTo>
                <a:lnTo>
                  <a:pt x="498" y="3211"/>
                </a:lnTo>
                <a:cubicBezTo>
                  <a:pt x="459" y="3140"/>
                  <a:pt x="419" y="3069"/>
                  <a:pt x="380" y="2998"/>
                </a:cubicBezTo>
                <a:cubicBezTo>
                  <a:pt x="350" y="2947"/>
                  <a:pt x="321" y="2895"/>
                  <a:pt x="291" y="2844"/>
                </a:cubicBezTo>
                <a:lnTo>
                  <a:pt x="168" y="2624"/>
                </a:lnTo>
                <a:lnTo>
                  <a:pt x="56" y="2522"/>
                </a:lnTo>
                <a:cubicBezTo>
                  <a:pt x="37" y="2458"/>
                  <a:pt x="19" y="2395"/>
                  <a:pt x="0" y="2331"/>
                </a:cubicBezTo>
                <a:lnTo>
                  <a:pt x="235" y="1979"/>
                </a:lnTo>
                <a:cubicBezTo>
                  <a:pt x="242" y="1901"/>
                  <a:pt x="250" y="1823"/>
                  <a:pt x="257" y="1745"/>
                </a:cubicBezTo>
                <a:lnTo>
                  <a:pt x="257" y="1510"/>
                </a:lnTo>
                <a:cubicBezTo>
                  <a:pt x="265" y="1461"/>
                  <a:pt x="272" y="1412"/>
                  <a:pt x="280" y="1363"/>
                </a:cubicBezTo>
                <a:cubicBezTo>
                  <a:pt x="310" y="1329"/>
                  <a:pt x="339" y="1295"/>
                  <a:pt x="369" y="1261"/>
                </a:cubicBezTo>
                <a:lnTo>
                  <a:pt x="369" y="1026"/>
                </a:lnTo>
                <a:cubicBezTo>
                  <a:pt x="388" y="943"/>
                  <a:pt x="406" y="860"/>
                  <a:pt x="425" y="777"/>
                </a:cubicBezTo>
                <a:lnTo>
                  <a:pt x="291" y="630"/>
                </a:lnTo>
                <a:cubicBezTo>
                  <a:pt x="246" y="557"/>
                  <a:pt x="202" y="483"/>
                  <a:pt x="157" y="410"/>
                </a:cubicBezTo>
                <a:cubicBezTo>
                  <a:pt x="131" y="342"/>
                  <a:pt x="104" y="273"/>
                  <a:pt x="78" y="205"/>
                </a:cubicBezTo>
                <a:cubicBezTo>
                  <a:pt x="74" y="146"/>
                  <a:pt x="86" y="59"/>
                  <a:pt x="82" y="0"/>
                </a:cubicBezTo>
              </a:path>
            </a:pathLst>
          </a:custGeom>
          <a:noFill/>
          <a:ln w="3175" cap="flat" cmpd="sng">
            <a:solidFill>
              <a:srgbClr val="D9EAF7"/>
            </a:solidFill>
            <a:prstDash val="solid"/>
            <a:round/>
            <a:headEnd type="none" w="med" len="med"/>
            <a:tailEnd type="none" w="med" len="med"/>
          </a:ln>
        </p:spPr>
        <p:txBody>
          <a:bodyPr wrap="none" lIns="32632" tIns="32632" rIns="32632" bIns="32632" anchor="ctr"/>
          <a:lstStyle/>
          <a:p>
            <a:pPr defTabSz="891045"/>
            <a:endParaRPr lang="en-US" sz="1700" dirty="0">
              <a:solidFill>
                <a:srgbClr val="003149"/>
              </a:solidFill>
              <a:cs typeface="Arial" panose="020B0604020202020204" pitchFamily="34" charset="0"/>
            </a:endParaRPr>
          </a:p>
        </p:txBody>
      </p:sp>
      <p:sp>
        <p:nvSpPr>
          <p:cNvPr id="250" name="Freeform 717"/>
          <p:cNvSpPr>
            <a:spLocks noChangeAspect="1"/>
          </p:cNvSpPr>
          <p:nvPr>
            <p:custDataLst>
              <p:tags r:id="rId144"/>
            </p:custDataLst>
          </p:nvPr>
        </p:nvSpPr>
        <p:spPr bwMode="gray">
          <a:xfrm>
            <a:off x="3626911" y="3143419"/>
            <a:ext cx="58288" cy="299880"/>
          </a:xfrm>
          <a:custGeom>
            <a:avLst/>
            <a:gdLst>
              <a:gd name="T0" fmla="*/ 0 w 9861"/>
              <a:gd name="T1" fmla="*/ 0 h 10016"/>
              <a:gd name="T2" fmla="*/ 0 w 9861"/>
              <a:gd name="T3" fmla="*/ 0 h 10016"/>
              <a:gd name="T4" fmla="*/ 0 w 9861"/>
              <a:gd name="T5" fmla="*/ 0 h 10016"/>
              <a:gd name="T6" fmla="*/ 0 w 9861"/>
              <a:gd name="T7" fmla="*/ 0 h 10016"/>
              <a:gd name="T8" fmla="*/ 0 w 9861"/>
              <a:gd name="T9" fmla="*/ 0 h 10016"/>
              <a:gd name="T10" fmla="*/ 0 w 9861"/>
              <a:gd name="T11" fmla="*/ 0 h 10016"/>
              <a:gd name="T12" fmla="*/ 0 w 9861"/>
              <a:gd name="T13" fmla="*/ 0 h 10016"/>
              <a:gd name="T14" fmla="*/ 0 w 9861"/>
              <a:gd name="T15" fmla="*/ 0 h 10016"/>
              <a:gd name="T16" fmla="*/ 0 w 9861"/>
              <a:gd name="T17" fmla="*/ 0 h 10016"/>
              <a:gd name="T18" fmla="*/ 0 w 9861"/>
              <a:gd name="T19" fmla="*/ 0 h 10016"/>
              <a:gd name="T20" fmla="*/ 0 w 9861"/>
              <a:gd name="T21" fmla="*/ 0 h 10016"/>
              <a:gd name="T22" fmla="*/ 0 w 9861"/>
              <a:gd name="T23" fmla="*/ 0 h 10016"/>
              <a:gd name="T24" fmla="*/ 0 w 9861"/>
              <a:gd name="T25" fmla="*/ 0 h 10016"/>
              <a:gd name="T26" fmla="*/ 0 w 9861"/>
              <a:gd name="T27" fmla="*/ 0 h 10016"/>
              <a:gd name="T28" fmla="*/ 0 w 9861"/>
              <a:gd name="T29" fmla="*/ 0 h 10016"/>
              <a:gd name="T30" fmla="*/ 0 w 9861"/>
              <a:gd name="T31" fmla="*/ 0 h 10016"/>
              <a:gd name="T32" fmla="*/ 0 w 9861"/>
              <a:gd name="T33" fmla="*/ 0 h 10016"/>
              <a:gd name="T34" fmla="*/ 0 w 9861"/>
              <a:gd name="T35" fmla="*/ 0 h 10016"/>
              <a:gd name="T36" fmla="*/ 0 w 9861"/>
              <a:gd name="T37" fmla="*/ 0 h 10016"/>
              <a:gd name="T38" fmla="*/ 0 w 9861"/>
              <a:gd name="T39" fmla="*/ 0 h 10016"/>
              <a:gd name="T40" fmla="*/ 0 w 9861"/>
              <a:gd name="T41" fmla="*/ 0 h 10016"/>
              <a:gd name="T42" fmla="*/ 0 w 9861"/>
              <a:gd name="T43" fmla="*/ 0 h 10016"/>
              <a:gd name="T44" fmla="*/ 0 w 9861"/>
              <a:gd name="T45" fmla="*/ 0 h 10016"/>
              <a:gd name="T46" fmla="*/ 0 w 9861"/>
              <a:gd name="T47" fmla="*/ 0 h 10016"/>
              <a:gd name="T48" fmla="*/ 0 w 9861"/>
              <a:gd name="T49" fmla="*/ 0 h 10016"/>
              <a:gd name="T50" fmla="*/ 0 w 9861"/>
              <a:gd name="T51" fmla="*/ 0 h 1001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w 9861"/>
              <a:gd name="T79" fmla="*/ 0 h 10016"/>
              <a:gd name="T80" fmla="*/ 9861 w 9861"/>
              <a:gd name="T81" fmla="*/ 10016 h 10016"/>
            </a:gdLst>
            <a:ahLst/>
            <a:cxnLst>
              <a:cxn ang="T52">
                <a:pos x="T0" y="T1"/>
              </a:cxn>
              <a:cxn ang="T53">
                <a:pos x="T2" y="T3"/>
              </a:cxn>
              <a:cxn ang="T54">
                <a:pos x="T4" y="T5"/>
              </a:cxn>
              <a:cxn ang="T55">
                <a:pos x="T6" y="T7"/>
              </a:cxn>
              <a:cxn ang="T56">
                <a:pos x="T8" y="T9"/>
              </a:cxn>
              <a:cxn ang="T57">
                <a:pos x="T10" y="T11"/>
              </a:cxn>
              <a:cxn ang="T58">
                <a:pos x="T12" y="T13"/>
              </a:cxn>
              <a:cxn ang="T59">
                <a:pos x="T14" y="T15"/>
              </a:cxn>
              <a:cxn ang="T60">
                <a:pos x="T16" y="T17"/>
              </a:cxn>
              <a:cxn ang="T61">
                <a:pos x="T18" y="T19"/>
              </a:cxn>
              <a:cxn ang="T62">
                <a:pos x="T20" y="T21"/>
              </a:cxn>
              <a:cxn ang="T63">
                <a:pos x="T22" y="T23"/>
              </a:cxn>
              <a:cxn ang="T64">
                <a:pos x="T24" y="T25"/>
              </a:cxn>
              <a:cxn ang="T65">
                <a:pos x="T26" y="T27"/>
              </a:cxn>
              <a:cxn ang="T66">
                <a:pos x="T28" y="T29"/>
              </a:cxn>
              <a:cxn ang="T67">
                <a:pos x="T30" y="T31"/>
              </a:cxn>
              <a:cxn ang="T68">
                <a:pos x="T32" y="T33"/>
              </a:cxn>
              <a:cxn ang="T69">
                <a:pos x="T34" y="T35"/>
              </a:cxn>
              <a:cxn ang="T70">
                <a:pos x="T36" y="T37"/>
              </a:cxn>
              <a:cxn ang="T71">
                <a:pos x="T38" y="T39"/>
              </a:cxn>
              <a:cxn ang="T72">
                <a:pos x="T40" y="T41"/>
              </a:cxn>
              <a:cxn ang="T73">
                <a:pos x="T42" y="T43"/>
              </a:cxn>
              <a:cxn ang="T74">
                <a:pos x="T44" y="T45"/>
              </a:cxn>
              <a:cxn ang="T75">
                <a:pos x="T46" y="T47"/>
              </a:cxn>
              <a:cxn ang="T76">
                <a:pos x="T48" y="T49"/>
              </a:cxn>
              <a:cxn ang="T77">
                <a:pos x="T50" y="T51"/>
              </a:cxn>
            </a:cxnLst>
            <a:rect l="T78" t="T79" r="T80" b="T81"/>
            <a:pathLst>
              <a:path w="9861" h="10016">
                <a:moveTo>
                  <a:pt x="9236" y="10016"/>
                </a:moveTo>
                <a:lnTo>
                  <a:pt x="8716" y="9923"/>
                </a:lnTo>
                <a:lnTo>
                  <a:pt x="9236" y="9408"/>
                </a:lnTo>
                <a:lnTo>
                  <a:pt x="9861" y="9104"/>
                </a:lnTo>
                <a:lnTo>
                  <a:pt x="9861" y="8543"/>
                </a:lnTo>
                <a:lnTo>
                  <a:pt x="7257" y="8169"/>
                </a:lnTo>
                <a:lnTo>
                  <a:pt x="5173" y="7771"/>
                </a:lnTo>
                <a:lnTo>
                  <a:pt x="4965" y="7351"/>
                </a:lnTo>
                <a:lnTo>
                  <a:pt x="6424" y="6860"/>
                </a:lnTo>
                <a:lnTo>
                  <a:pt x="7257" y="6368"/>
                </a:lnTo>
                <a:lnTo>
                  <a:pt x="7048" y="5970"/>
                </a:lnTo>
                <a:lnTo>
                  <a:pt x="6528" y="5667"/>
                </a:lnTo>
                <a:lnTo>
                  <a:pt x="7152" y="5339"/>
                </a:lnTo>
                <a:lnTo>
                  <a:pt x="7257" y="4895"/>
                </a:lnTo>
                <a:lnTo>
                  <a:pt x="7569" y="4404"/>
                </a:lnTo>
                <a:lnTo>
                  <a:pt x="8194" y="4147"/>
                </a:lnTo>
                <a:lnTo>
                  <a:pt x="9549" y="3843"/>
                </a:lnTo>
                <a:lnTo>
                  <a:pt x="9236" y="3376"/>
                </a:lnTo>
                <a:lnTo>
                  <a:pt x="7673" y="2557"/>
                </a:lnTo>
                <a:lnTo>
                  <a:pt x="6319" y="1879"/>
                </a:lnTo>
                <a:lnTo>
                  <a:pt x="4860" y="1388"/>
                </a:lnTo>
                <a:lnTo>
                  <a:pt x="2152" y="1060"/>
                </a:lnTo>
                <a:lnTo>
                  <a:pt x="1006" y="780"/>
                </a:lnTo>
                <a:lnTo>
                  <a:pt x="1111" y="429"/>
                </a:lnTo>
                <a:lnTo>
                  <a:pt x="485" y="172"/>
                </a:lnTo>
                <a:cubicBezTo>
                  <a:pt x="207" y="141"/>
                  <a:pt x="278" y="31"/>
                  <a:pt x="0" y="0"/>
                </a:cubicBezTo>
              </a:path>
            </a:pathLst>
          </a:custGeom>
          <a:noFill/>
          <a:ln w="3175" cap="flat" cmpd="sng">
            <a:solidFill>
              <a:srgbClr val="D9EAF7"/>
            </a:solidFill>
            <a:prstDash val="solid"/>
            <a:round/>
            <a:headEnd type="none" w="med" len="med"/>
            <a:tailEnd type="none" w="med" len="med"/>
          </a:ln>
        </p:spPr>
        <p:txBody>
          <a:bodyPr wrap="none" lIns="32632" tIns="32632" rIns="32632" bIns="32632" anchor="ctr"/>
          <a:lstStyle/>
          <a:p>
            <a:pPr defTabSz="891045"/>
            <a:endParaRPr lang="en-US" sz="1700" dirty="0">
              <a:solidFill>
                <a:srgbClr val="003149"/>
              </a:solidFill>
              <a:cs typeface="Arial" panose="020B0604020202020204" pitchFamily="34" charset="0"/>
            </a:endParaRPr>
          </a:p>
        </p:txBody>
      </p:sp>
      <p:sp>
        <p:nvSpPr>
          <p:cNvPr id="251" name="Freeform 713"/>
          <p:cNvSpPr>
            <a:spLocks noChangeAspect="1"/>
          </p:cNvSpPr>
          <p:nvPr>
            <p:custDataLst>
              <p:tags r:id="rId145"/>
            </p:custDataLst>
          </p:nvPr>
        </p:nvSpPr>
        <p:spPr bwMode="gray">
          <a:xfrm>
            <a:off x="3447781" y="3506456"/>
            <a:ext cx="54024" cy="176485"/>
          </a:xfrm>
          <a:custGeom>
            <a:avLst/>
            <a:gdLst>
              <a:gd name="T0" fmla="*/ 461041418 w 177"/>
              <a:gd name="T1" fmla="*/ 530402331 h 498"/>
              <a:gd name="T2" fmla="*/ 461041418 w 177"/>
              <a:gd name="T3" fmla="*/ 530402331 h 498"/>
              <a:gd name="T4" fmla="*/ 461041418 w 177"/>
              <a:gd name="T5" fmla="*/ 530402331 h 498"/>
              <a:gd name="T6" fmla="*/ 461041418 w 177"/>
              <a:gd name="T7" fmla="*/ 530402331 h 498"/>
              <a:gd name="T8" fmla="*/ 461041418 w 177"/>
              <a:gd name="T9" fmla="*/ 530402331 h 498"/>
              <a:gd name="T10" fmla="*/ 461041418 w 177"/>
              <a:gd name="T11" fmla="*/ 530402331 h 498"/>
              <a:gd name="T12" fmla="*/ 461041418 w 177"/>
              <a:gd name="T13" fmla="*/ 530402331 h 498"/>
              <a:gd name="T14" fmla="*/ 461041418 w 177"/>
              <a:gd name="T15" fmla="*/ 530402331 h 498"/>
              <a:gd name="T16" fmla="*/ 461041418 w 177"/>
              <a:gd name="T17" fmla="*/ 530402331 h 498"/>
              <a:gd name="T18" fmla="*/ 461041418 w 177"/>
              <a:gd name="T19" fmla="*/ 530402331 h 498"/>
              <a:gd name="T20" fmla="*/ 461041418 w 177"/>
              <a:gd name="T21" fmla="*/ 530402331 h 498"/>
              <a:gd name="T22" fmla="*/ 461041418 w 177"/>
              <a:gd name="T23" fmla="*/ 530402331 h 498"/>
              <a:gd name="T24" fmla="*/ 461041418 w 177"/>
              <a:gd name="T25" fmla="*/ 530402331 h 498"/>
              <a:gd name="T26" fmla="*/ 0 w 177"/>
              <a:gd name="T27" fmla="*/ 530402331 h 498"/>
              <a:gd name="T28" fmla="*/ 461041418 w 177"/>
              <a:gd name="T29" fmla="*/ 530402331 h 498"/>
              <a:gd name="T30" fmla="*/ 461041418 w 177"/>
              <a:gd name="T31" fmla="*/ 530402331 h 498"/>
              <a:gd name="T32" fmla="*/ 461041418 w 177"/>
              <a:gd name="T33" fmla="*/ 530402331 h 498"/>
              <a:gd name="T34" fmla="*/ 461041418 w 177"/>
              <a:gd name="T35" fmla="*/ 530402331 h 498"/>
              <a:gd name="T36" fmla="*/ 461041418 w 177"/>
              <a:gd name="T37" fmla="*/ 530402331 h 498"/>
              <a:gd name="T38" fmla="*/ 461041418 w 177"/>
              <a:gd name="T39" fmla="*/ 530402331 h 498"/>
              <a:gd name="T40" fmla="*/ 461041418 w 177"/>
              <a:gd name="T41" fmla="*/ 530402331 h 498"/>
              <a:gd name="T42" fmla="*/ 461041418 w 177"/>
              <a:gd name="T43" fmla="*/ 530402331 h 498"/>
              <a:gd name="T44" fmla="*/ 461041418 w 177"/>
              <a:gd name="T45" fmla="*/ 530402331 h 498"/>
              <a:gd name="T46" fmla="*/ 461041418 w 177"/>
              <a:gd name="T47" fmla="*/ 0 h 498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w 177"/>
              <a:gd name="T73" fmla="*/ 0 h 498"/>
              <a:gd name="T74" fmla="*/ 177 w 177"/>
              <a:gd name="T75" fmla="*/ 498 h 498"/>
            </a:gdLst>
            <a:ahLst/>
            <a:cxnLst>
              <a:cxn ang="T48">
                <a:pos x="T0" y="T1"/>
              </a:cxn>
              <a:cxn ang="T49">
                <a:pos x="T2" y="T3"/>
              </a:cxn>
              <a:cxn ang="T50">
                <a:pos x="T4" y="T5"/>
              </a:cxn>
              <a:cxn ang="T51">
                <a:pos x="T6" y="T7"/>
              </a:cxn>
              <a:cxn ang="T52">
                <a:pos x="T8" y="T9"/>
              </a:cxn>
              <a:cxn ang="T53">
                <a:pos x="T10" y="T11"/>
              </a:cxn>
              <a:cxn ang="T54">
                <a:pos x="T12" y="T13"/>
              </a:cxn>
              <a:cxn ang="T55">
                <a:pos x="T14" y="T15"/>
              </a:cxn>
              <a:cxn ang="T56">
                <a:pos x="T16" y="T17"/>
              </a:cxn>
              <a:cxn ang="T57">
                <a:pos x="T18" y="T19"/>
              </a:cxn>
              <a:cxn ang="T58">
                <a:pos x="T20" y="T21"/>
              </a:cxn>
              <a:cxn ang="T59">
                <a:pos x="T22" y="T23"/>
              </a:cxn>
              <a:cxn ang="T60">
                <a:pos x="T24" y="T25"/>
              </a:cxn>
              <a:cxn ang="T61">
                <a:pos x="T26" y="T27"/>
              </a:cxn>
              <a:cxn ang="T62">
                <a:pos x="T28" y="T29"/>
              </a:cxn>
              <a:cxn ang="T63">
                <a:pos x="T30" y="T31"/>
              </a:cxn>
              <a:cxn ang="T64">
                <a:pos x="T32" y="T33"/>
              </a:cxn>
              <a:cxn ang="T65">
                <a:pos x="T34" y="T35"/>
              </a:cxn>
              <a:cxn ang="T66">
                <a:pos x="T36" y="T37"/>
              </a:cxn>
              <a:cxn ang="T67">
                <a:pos x="T38" y="T39"/>
              </a:cxn>
              <a:cxn ang="T68">
                <a:pos x="T40" y="T41"/>
              </a:cxn>
              <a:cxn ang="T69">
                <a:pos x="T42" y="T43"/>
              </a:cxn>
              <a:cxn ang="T70">
                <a:pos x="T44" y="T45"/>
              </a:cxn>
              <a:cxn ang="T71">
                <a:pos x="T46" y="T47"/>
              </a:cxn>
            </a:cxnLst>
            <a:rect l="T72" t="T73" r="T74" b="T75"/>
            <a:pathLst>
              <a:path w="177" h="498">
                <a:moveTo>
                  <a:pt x="84" y="498"/>
                </a:moveTo>
                <a:lnTo>
                  <a:pt x="84" y="481"/>
                </a:lnTo>
                <a:lnTo>
                  <a:pt x="93" y="475"/>
                </a:lnTo>
                <a:lnTo>
                  <a:pt x="96" y="454"/>
                </a:lnTo>
                <a:lnTo>
                  <a:pt x="100" y="432"/>
                </a:lnTo>
                <a:lnTo>
                  <a:pt x="123" y="411"/>
                </a:lnTo>
                <a:lnTo>
                  <a:pt x="141" y="397"/>
                </a:lnTo>
                <a:lnTo>
                  <a:pt x="124" y="388"/>
                </a:lnTo>
                <a:lnTo>
                  <a:pt x="111" y="373"/>
                </a:lnTo>
                <a:lnTo>
                  <a:pt x="93" y="367"/>
                </a:lnTo>
                <a:lnTo>
                  <a:pt x="60" y="345"/>
                </a:lnTo>
                <a:lnTo>
                  <a:pt x="33" y="333"/>
                </a:lnTo>
                <a:lnTo>
                  <a:pt x="10" y="310"/>
                </a:lnTo>
                <a:lnTo>
                  <a:pt x="0" y="285"/>
                </a:lnTo>
                <a:lnTo>
                  <a:pt x="3" y="261"/>
                </a:lnTo>
                <a:lnTo>
                  <a:pt x="49" y="238"/>
                </a:lnTo>
                <a:lnTo>
                  <a:pt x="108" y="208"/>
                </a:lnTo>
                <a:lnTo>
                  <a:pt x="139" y="178"/>
                </a:lnTo>
                <a:lnTo>
                  <a:pt x="144" y="139"/>
                </a:lnTo>
                <a:lnTo>
                  <a:pt x="157" y="103"/>
                </a:lnTo>
                <a:lnTo>
                  <a:pt x="160" y="61"/>
                </a:lnTo>
                <a:lnTo>
                  <a:pt x="172" y="46"/>
                </a:lnTo>
                <a:lnTo>
                  <a:pt x="177" y="25"/>
                </a:lnTo>
                <a:lnTo>
                  <a:pt x="172" y="0"/>
                </a:lnTo>
              </a:path>
            </a:pathLst>
          </a:custGeom>
          <a:solidFill>
            <a:srgbClr val="70B0DF"/>
          </a:solidFill>
          <a:ln w="3175" cap="flat" cmpd="sng">
            <a:noFill/>
            <a:prstDash val="solid"/>
            <a:round/>
            <a:headEnd type="none" w="med" len="med"/>
            <a:tailEnd type="none" w="med" len="med"/>
          </a:ln>
        </p:spPr>
        <p:txBody>
          <a:bodyPr wrap="none" lIns="32632" tIns="32632" rIns="32632" bIns="32632" anchor="ctr"/>
          <a:lstStyle/>
          <a:p>
            <a:pPr defTabSz="891045"/>
            <a:endParaRPr lang="en-US" sz="1700" dirty="0">
              <a:solidFill>
                <a:srgbClr val="003149"/>
              </a:solidFill>
              <a:cs typeface="Arial" panose="020B0604020202020204" pitchFamily="34" charset="0"/>
            </a:endParaRPr>
          </a:p>
        </p:txBody>
      </p:sp>
      <p:sp>
        <p:nvSpPr>
          <p:cNvPr id="252" name="Freeform 714"/>
          <p:cNvSpPr>
            <a:spLocks noChangeAspect="1"/>
          </p:cNvSpPr>
          <p:nvPr>
            <p:custDataLst>
              <p:tags r:id="rId146"/>
            </p:custDataLst>
          </p:nvPr>
        </p:nvSpPr>
        <p:spPr bwMode="gray">
          <a:xfrm>
            <a:off x="3396600" y="3454780"/>
            <a:ext cx="103782" cy="51654"/>
          </a:xfrm>
          <a:custGeom>
            <a:avLst/>
            <a:gdLst>
              <a:gd name="T0" fmla="*/ 0 w 10719"/>
              <a:gd name="T1" fmla="*/ 0 h 10000"/>
              <a:gd name="T2" fmla="*/ 0 w 10719"/>
              <a:gd name="T3" fmla="*/ 0 h 10000"/>
              <a:gd name="T4" fmla="*/ 0 w 10719"/>
              <a:gd name="T5" fmla="*/ 0 h 10000"/>
              <a:gd name="T6" fmla="*/ 0 w 10719"/>
              <a:gd name="T7" fmla="*/ 0 h 10000"/>
              <a:gd name="T8" fmla="*/ 0 w 10719"/>
              <a:gd name="T9" fmla="*/ 0 h 10000"/>
              <a:gd name="T10" fmla="*/ 0 w 10719"/>
              <a:gd name="T11" fmla="*/ 0 h 10000"/>
              <a:gd name="T12" fmla="*/ 0 w 10719"/>
              <a:gd name="T13" fmla="*/ 0 h 10000"/>
              <a:gd name="T14" fmla="*/ 0 w 10719"/>
              <a:gd name="T15" fmla="*/ 0 h 10000"/>
              <a:gd name="T16" fmla="*/ 0 w 10719"/>
              <a:gd name="T17" fmla="*/ 0 h 10000"/>
              <a:gd name="T18" fmla="*/ 0 w 10719"/>
              <a:gd name="T19" fmla="*/ 0 h 10000"/>
              <a:gd name="T20" fmla="*/ 0 w 10719"/>
              <a:gd name="T21" fmla="*/ 0 h 10000"/>
              <a:gd name="T22" fmla="*/ 0 w 10719"/>
              <a:gd name="T23" fmla="*/ 0 h 10000"/>
              <a:gd name="T24" fmla="*/ 0 w 10719"/>
              <a:gd name="T25" fmla="*/ 0 h 10000"/>
              <a:gd name="T26" fmla="*/ 0 w 10719"/>
              <a:gd name="T27" fmla="*/ 0 h 10000"/>
              <a:gd name="T28" fmla="*/ 0 w 10719"/>
              <a:gd name="T29" fmla="*/ 0 h 10000"/>
              <a:gd name="T30" fmla="*/ 0 w 10719"/>
              <a:gd name="T31" fmla="*/ 0 h 10000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w 10719"/>
              <a:gd name="T49" fmla="*/ 0 h 10000"/>
              <a:gd name="T50" fmla="*/ 10719 w 10719"/>
              <a:gd name="T51" fmla="*/ 10000 h 10000"/>
            </a:gdLst>
            <a:ahLst/>
            <a:cxnLst>
              <a:cxn ang="T32">
                <a:pos x="T0" y="T1"/>
              </a:cxn>
              <a:cxn ang="T33">
                <a:pos x="T2" y="T3"/>
              </a:cxn>
              <a:cxn ang="T34">
                <a:pos x="T4" y="T5"/>
              </a:cxn>
              <a:cxn ang="T35">
                <a:pos x="T6" y="T7"/>
              </a:cxn>
              <a:cxn ang="T36">
                <a:pos x="T8" y="T9"/>
              </a:cxn>
              <a:cxn ang="T37">
                <a:pos x="T10" y="T11"/>
              </a:cxn>
              <a:cxn ang="T38">
                <a:pos x="T12" y="T13"/>
              </a:cxn>
              <a:cxn ang="T39">
                <a:pos x="T14" y="T15"/>
              </a:cxn>
              <a:cxn ang="T40">
                <a:pos x="T16" y="T17"/>
              </a:cxn>
              <a:cxn ang="T41">
                <a:pos x="T18" y="T19"/>
              </a:cxn>
              <a:cxn ang="T42">
                <a:pos x="T20" y="T21"/>
              </a:cxn>
              <a:cxn ang="T43">
                <a:pos x="T22" y="T23"/>
              </a:cxn>
              <a:cxn ang="T44">
                <a:pos x="T24" y="T25"/>
              </a:cxn>
              <a:cxn ang="T45">
                <a:pos x="T26" y="T27"/>
              </a:cxn>
              <a:cxn ang="T46">
                <a:pos x="T28" y="T29"/>
              </a:cxn>
              <a:cxn ang="T47">
                <a:pos x="T30" y="T31"/>
              </a:cxn>
            </a:cxnLst>
            <a:rect l="T48" t="T49" r="T50" b="T51"/>
            <a:pathLst>
              <a:path w="10719" h="10000">
                <a:moveTo>
                  <a:pt x="10719" y="10000"/>
                </a:moveTo>
                <a:lnTo>
                  <a:pt x="10402" y="10000"/>
                </a:lnTo>
                <a:lnTo>
                  <a:pt x="9833" y="8553"/>
                </a:lnTo>
                <a:lnTo>
                  <a:pt x="8566" y="7105"/>
                </a:lnTo>
                <a:lnTo>
                  <a:pt x="7365" y="7105"/>
                </a:lnTo>
                <a:lnTo>
                  <a:pt x="6858" y="6053"/>
                </a:lnTo>
                <a:lnTo>
                  <a:pt x="6289" y="5921"/>
                </a:lnTo>
                <a:cubicBezTo>
                  <a:pt x="6247" y="5526"/>
                  <a:pt x="6204" y="5132"/>
                  <a:pt x="6162" y="4737"/>
                </a:cubicBezTo>
                <a:lnTo>
                  <a:pt x="5339" y="3553"/>
                </a:lnTo>
                <a:lnTo>
                  <a:pt x="4643" y="3289"/>
                </a:lnTo>
                <a:lnTo>
                  <a:pt x="3819" y="1711"/>
                </a:lnTo>
                <a:cubicBezTo>
                  <a:pt x="3693" y="1272"/>
                  <a:pt x="3566" y="834"/>
                  <a:pt x="3440" y="395"/>
                </a:cubicBezTo>
                <a:lnTo>
                  <a:pt x="2301" y="0"/>
                </a:lnTo>
                <a:lnTo>
                  <a:pt x="1225" y="132"/>
                </a:lnTo>
                <a:lnTo>
                  <a:pt x="719" y="1184"/>
                </a:lnTo>
                <a:lnTo>
                  <a:pt x="0" y="3511"/>
                </a:lnTo>
              </a:path>
            </a:pathLst>
          </a:custGeom>
          <a:noFill/>
          <a:ln w="3175" cap="flat" cmpd="sng">
            <a:solidFill>
              <a:srgbClr val="D9EAF7"/>
            </a:solidFill>
            <a:prstDash val="solid"/>
            <a:round/>
            <a:headEnd type="none" w="med" len="med"/>
            <a:tailEnd type="none" w="med" len="med"/>
          </a:ln>
        </p:spPr>
        <p:txBody>
          <a:bodyPr wrap="none" lIns="32632" tIns="32632" rIns="32632" bIns="32632" anchor="ctr"/>
          <a:lstStyle/>
          <a:p>
            <a:pPr defTabSz="891045"/>
            <a:endParaRPr lang="en-US" sz="1700" dirty="0">
              <a:solidFill>
                <a:srgbClr val="003149"/>
              </a:solidFill>
              <a:cs typeface="Arial" panose="020B0604020202020204" pitchFamily="34" charset="0"/>
            </a:endParaRPr>
          </a:p>
        </p:txBody>
      </p:sp>
      <p:sp>
        <p:nvSpPr>
          <p:cNvPr id="253" name="Freeform 754"/>
          <p:cNvSpPr>
            <a:spLocks noChangeAspect="1"/>
          </p:cNvSpPr>
          <p:nvPr>
            <p:custDataLst>
              <p:tags r:id="rId147"/>
            </p:custDataLst>
          </p:nvPr>
        </p:nvSpPr>
        <p:spPr bwMode="gray">
          <a:xfrm>
            <a:off x="4394615" y="3050179"/>
            <a:ext cx="135059" cy="57393"/>
          </a:xfrm>
          <a:custGeom>
            <a:avLst/>
            <a:gdLst>
              <a:gd name="T0" fmla="*/ 0 w 10000"/>
              <a:gd name="T1" fmla="*/ 0 h 11270"/>
              <a:gd name="T2" fmla="*/ 0 w 10000"/>
              <a:gd name="T3" fmla="*/ 0 h 11270"/>
              <a:gd name="T4" fmla="*/ 0 w 10000"/>
              <a:gd name="T5" fmla="*/ 0 h 11270"/>
              <a:gd name="T6" fmla="*/ 0 w 10000"/>
              <a:gd name="T7" fmla="*/ 0 h 11270"/>
              <a:gd name="T8" fmla="*/ 0 w 10000"/>
              <a:gd name="T9" fmla="*/ 0 h 11270"/>
              <a:gd name="T10" fmla="*/ 0 w 10000"/>
              <a:gd name="T11" fmla="*/ 0 h 11270"/>
              <a:gd name="T12" fmla="*/ 0 w 10000"/>
              <a:gd name="T13" fmla="*/ 0 h 11270"/>
              <a:gd name="T14" fmla="*/ 0 w 10000"/>
              <a:gd name="T15" fmla="*/ 0 h 11270"/>
              <a:gd name="T16" fmla="*/ 0 w 10000"/>
              <a:gd name="T17" fmla="*/ 0 h 11270"/>
              <a:gd name="T18" fmla="*/ 0 w 10000"/>
              <a:gd name="T19" fmla="*/ 0 h 11270"/>
              <a:gd name="T20" fmla="*/ 0 w 10000"/>
              <a:gd name="T21" fmla="*/ 0 h 11270"/>
              <a:gd name="T22" fmla="*/ 0 w 10000"/>
              <a:gd name="T23" fmla="*/ 0 h 11270"/>
              <a:gd name="T24" fmla="*/ 0 w 10000"/>
              <a:gd name="T25" fmla="*/ 0 h 11270"/>
              <a:gd name="T26" fmla="*/ 0 w 10000"/>
              <a:gd name="T27" fmla="*/ 0 h 11270"/>
              <a:gd name="T28" fmla="*/ 0 w 10000"/>
              <a:gd name="T29" fmla="*/ 0 h 11270"/>
              <a:gd name="T30" fmla="*/ 0 w 10000"/>
              <a:gd name="T31" fmla="*/ 0 h 11270"/>
              <a:gd name="T32" fmla="*/ 0 w 10000"/>
              <a:gd name="T33" fmla="*/ 0 h 11270"/>
              <a:gd name="T34" fmla="*/ 0 w 10000"/>
              <a:gd name="T35" fmla="*/ 0 h 11270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w 10000"/>
              <a:gd name="T55" fmla="*/ 0 h 11270"/>
              <a:gd name="T56" fmla="*/ 10000 w 10000"/>
              <a:gd name="T57" fmla="*/ 11270 h 11270"/>
            </a:gdLst>
            <a:ahLst/>
            <a:cxnLst>
              <a:cxn ang="T36">
                <a:pos x="T0" y="T1"/>
              </a:cxn>
              <a:cxn ang="T37">
                <a:pos x="T2" y="T3"/>
              </a:cxn>
              <a:cxn ang="T38">
                <a:pos x="T4" y="T5"/>
              </a:cxn>
              <a:cxn ang="T39">
                <a:pos x="T6" y="T7"/>
              </a:cxn>
              <a:cxn ang="T40">
                <a:pos x="T8" y="T9"/>
              </a:cxn>
              <a:cxn ang="T41">
                <a:pos x="T10" y="T11"/>
              </a:cxn>
              <a:cxn ang="T42">
                <a:pos x="T12" y="T13"/>
              </a:cxn>
              <a:cxn ang="T43">
                <a:pos x="T14" y="T15"/>
              </a:cxn>
              <a:cxn ang="T44">
                <a:pos x="T16" y="T17"/>
              </a:cxn>
              <a:cxn ang="T45">
                <a:pos x="T18" y="T19"/>
              </a:cxn>
              <a:cxn ang="T46">
                <a:pos x="T20" y="T21"/>
              </a:cxn>
              <a:cxn ang="T47">
                <a:pos x="T22" y="T23"/>
              </a:cxn>
              <a:cxn ang="T48">
                <a:pos x="T24" y="T25"/>
              </a:cxn>
              <a:cxn ang="T49">
                <a:pos x="T26" y="T27"/>
              </a:cxn>
              <a:cxn ang="T50">
                <a:pos x="T28" y="T29"/>
              </a:cxn>
              <a:cxn ang="T51">
                <a:pos x="T30" y="T31"/>
              </a:cxn>
              <a:cxn ang="T52">
                <a:pos x="T32" y="T33"/>
              </a:cxn>
              <a:cxn ang="T53">
                <a:pos x="T34" y="T35"/>
              </a:cxn>
            </a:cxnLst>
            <a:rect l="T54" t="T55" r="T56" b="T57"/>
            <a:pathLst>
              <a:path w="10000" h="11270">
                <a:moveTo>
                  <a:pt x="120" y="0"/>
                </a:moveTo>
                <a:lnTo>
                  <a:pt x="0" y="1576"/>
                </a:lnTo>
                <a:lnTo>
                  <a:pt x="899" y="4025"/>
                </a:lnTo>
                <a:lnTo>
                  <a:pt x="1714" y="5657"/>
                </a:lnTo>
                <a:lnTo>
                  <a:pt x="2912" y="5402"/>
                </a:lnTo>
                <a:cubicBezTo>
                  <a:pt x="3017" y="4484"/>
                  <a:pt x="3123" y="3565"/>
                  <a:pt x="3228" y="2647"/>
                </a:cubicBezTo>
                <a:lnTo>
                  <a:pt x="3993" y="1270"/>
                </a:lnTo>
                <a:lnTo>
                  <a:pt x="4759" y="1831"/>
                </a:lnTo>
                <a:lnTo>
                  <a:pt x="5291" y="3310"/>
                </a:lnTo>
                <a:lnTo>
                  <a:pt x="5657" y="4841"/>
                </a:lnTo>
                <a:cubicBezTo>
                  <a:pt x="5713" y="5335"/>
                  <a:pt x="5768" y="5828"/>
                  <a:pt x="5824" y="6321"/>
                </a:cubicBezTo>
                <a:lnTo>
                  <a:pt x="6589" y="7699"/>
                </a:lnTo>
                <a:lnTo>
                  <a:pt x="7271" y="8922"/>
                </a:lnTo>
                <a:lnTo>
                  <a:pt x="7937" y="8922"/>
                </a:lnTo>
                <a:lnTo>
                  <a:pt x="8436" y="10045"/>
                </a:lnTo>
                <a:lnTo>
                  <a:pt x="9235" y="10301"/>
                </a:lnTo>
                <a:lnTo>
                  <a:pt x="9817" y="10709"/>
                </a:lnTo>
                <a:lnTo>
                  <a:pt x="10000" y="11270"/>
                </a:lnTo>
              </a:path>
            </a:pathLst>
          </a:custGeom>
          <a:noFill/>
          <a:ln w="3175" cap="flat" cmpd="sng">
            <a:solidFill>
              <a:srgbClr val="D9EAF7"/>
            </a:solidFill>
            <a:prstDash val="solid"/>
            <a:round/>
            <a:headEnd type="none" w="med" len="med"/>
            <a:tailEnd type="none" w="med" len="med"/>
          </a:ln>
        </p:spPr>
        <p:txBody>
          <a:bodyPr wrap="none" lIns="32632" tIns="32632" rIns="32632" bIns="32632" anchor="ctr"/>
          <a:lstStyle/>
          <a:p>
            <a:pPr defTabSz="891045"/>
            <a:endParaRPr lang="en-US" sz="1700" dirty="0">
              <a:solidFill>
                <a:srgbClr val="003149"/>
              </a:solidFill>
              <a:cs typeface="Arial" panose="020B0604020202020204" pitchFamily="34" charset="0"/>
            </a:endParaRPr>
          </a:p>
        </p:txBody>
      </p:sp>
      <p:sp>
        <p:nvSpPr>
          <p:cNvPr id="254" name="Freeform 731"/>
          <p:cNvSpPr>
            <a:spLocks noChangeAspect="1"/>
          </p:cNvSpPr>
          <p:nvPr>
            <p:custDataLst>
              <p:tags r:id="rId148"/>
            </p:custDataLst>
          </p:nvPr>
        </p:nvSpPr>
        <p:spPr bwMode="gray">
          <a:xfrm>
            <a:off x="4407433" y="3876644"/>
            <a:ext cx="36963" cy="80351"/>
          </a:xfrm>
          <a:custGeom>
            <a:avLst/>
            <a:gdLst>
              <a:gd name="T0" fmla="*/ 0 w 10227"/>
              <a:gd name="T1" fmla="*/ 0 h 11088"/>
              <a:gd name="T2" fmla="*/ 0 w 10227"/>
              <a:gd name="T3" fmla="*/ 0 h 11088"/>
              <a:gd name="T4" fmla="*/ 0 w 10227"/>
              <a:gd name="T5" fmla="*/ 0 h 11088"/>
              <a:gd name="T6" fmla="*/ 0 w 10227"/>
              <a:gd name="T7" fmla="*/ 0 h 11088"/>
              <a:gd name="T8" fmla="*/ 0 w 10227"/>
              <a:gd name="T9" fmla="*/ 0 h 11088"/>
              <a:gd name="T10" fmla="*/ 0 w 10227"/>
              <a:gd name="T11" fmla="*/ 0 h 11088"/>
              <a:gd name="T12" fmla="*/ 0 w 10227"/>
              <a:gd name="T13" fmla="*/ 0 h 11088"/>
              <a:gd name="T14" fmla="*/ 0 w 10227"/>
              <a:gd name="T15" fmla="*/ 0 h 11088"/>
              <a:gd name="T16" fmla="*/ 0 w 10227"/>
              <a:gd name="T17" fmla="*/ 0 h 11088"/>
              <a:gd name="T18" fmla="*/ 0 w 10227"/>
              <a:gd name="T19" fmla="*/ 0 h 11088"/>
              <a:gd name="T20" fmla="*/ 0 w 10227"/>
              <a:gd name="T21" fmla="*/ 0 h 11088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10227"/>
              <a:gd name="T34" fmla="*/ 0 h 11088"/>
              <a:gd name="T35" fmla="*/ 10227 w 10227"/>
              <a:gd name="T36" fmla="*/ 11088 h 11088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10227" h="11088">
                <a:moveTo>
                  <a:pt x="2559" y="0"/>
                </a:moveTo>
                <a:lnTo>
                  <a:pt x="4981" y="895"/>
                </a:lnTo>
                <a:lnTo>
                  <a:pt x="8588" y="2530"/>
                </a:lnTo>
                <a:lnTo>
                  <a:pt x="8588" y="4165"/>
                </a:lnTo>
                <a:lnTo>
                  <a:pt x="9735" y="6280"/>
                </a:lnTo>
                <a:lnTo>
                  <a:pt x="10227" y="7337"/>
                </a:lnTo>
                <a:lnTo>
                  <a:pt x="6784" y="7818"/>
                </a:lnTo>
                <a:lnTo>
                  <a:pt x="4325" y="8299"/>
                </a:lnTo>
                <a:lnTo>
                  <a:pt x="2358" y="9549"/>
                </a:lnTo>
                <a:lnTo>
                  <a:pt x="555" y="10222"/>
                </a:lnTo>
                <a:lnTo>
                  <a:pt x="0" y="11088"/>
                </a:lnTo>
              </a:path>
            </a:pathLst>
          </a:custGeom>
          <a:noFill/>
          <a:ln w="3175" cap="flat" cmpd="sng">
            <a:solidFill>
              <a:srgbClr val="D9EAF7"/>
            </a:solidFill>
            <a:prstDash val="solid"/>
            <a:round/>
            <a:headEnd type="none" w="med" len="med"/>
            <a:tailEnd type="none" w="med" len="med"/>
          </a:ln>
        </p:spPr>
        <p:txBody>
          <a:bodyPr wrap="none" lIns="32632" tIns="32632" rIns="32632" bIns="32632" anchor="ctr"/>
          <a:lstStyle/>
          <a:p>
            <a:pPr defTabSz="891045"/>
            <a:endParaRPr lang="en-US" sz="1700" dirty="0">
              <a:solidFill>
                <a:srgbClr val="003149"/>
              </a:solidFill>
              <a:cs typeface="Arial" panose="020B0604020202020204" pitchFamily="34" charset="0"/>
            </a:endParaRPr>
          </a:p>
        </p:txBody>
      </p:sp>
      <p:sp>
        <p:nvSpPr>
          <p:cNvPr id="255" name="Freeform 725"/>
          <p:cNvSpPr>
            <a:spLocks noChangeAspect="1"/>
          </p:cNvSpPr>
          <p:nvPr>
            <p:custDataLst>
              <p:tags r:id="rId149"/>
            </p:custDataLst>
          </p:nvPr>
        </p:nvSpPr>
        <p:spPr bwMode="gray">
          <a:xfrm>
            <a:off x="4252446" y="3868025"/>
            <a:ext cx="166336" cy="8610"/>
          </a:xfrm>
          <a:custGeom>
            <a:avLst/>
            <a:gdLst>
              <a:gd name="T0" fmla="*/ 0 w 10280"/>
              <a:gd name="T1" fmla="*/ 0 h 2771"/>
              <a:gd name="T2" fmla="*/ 0 w 10280"/>
              <a:gd name="T3" fmla="*/ 0 h 2771"/>
              <a:gd name="T4" fmla="*/ 0 w 10280"/>
              <a:gd name="T5" fmla="*/ 0 h 2771"/>
              <a:gd name="T6" fmla="*/ 0 w 10280"/>
              <a:gd name="T7" fmla="*/ 0 h 2771"/>
              <a:gd name="T8" fmla="*/ 0 w 10280"/>
              <a:gd name="T9" fmla="*/ 0 h 2771"/>
              <a:gd name="T10" fmla="*/ 0 w 10280"/>
              <a:gd name="T11" fmla="*/ 0 h 2771"/>
              <a:gd name="T12" fmla="*/ 0 w 10280"/>
              <a:gd name="T13" fmla="*/ 0 h 2771"/>
              <a:gd name="T14" fmla="*/ 0 w 10280"/>
              <a:gd name="T15" fmla="*/ 0 h 2771"/>
              <a:gd name="T16" fmla="*/ 0 w 10280"/>
              <a:gd name="T17" fmla="*/ 0 h 2771"/>
              <a:gd name="T18" fmla="*/ 0 w 10280"/>
              <a:gd name="T19" fmla="*/ 0 h 2771"/>
              <a:gd name="T20" fmla="*/ 0 w 10280"/>
              <a:gd name="T21" fmla="*/ 0 h 2771"/>
              <a:gd name="T22" fmla="*/ 0 w 10280"/>
              <a:gd name="T23" fmla="*/ 0 h 2771"/>
              <a:gd name="T24" fmla="*/ 0 w 10280"/>
              <a:gd name="T25" fmla="*/ 0 h 2771"/>
              <a:gd name="T26" fmla="*/ 0 w 10280"/>
              <a:gd name="T27" fmla="*/ 0 h 2771"/>
              <a:gd name="T28" fmla="*/ 0 w 10280"/>
              <a:gd name="T29" fmla="*/ 0 h 2771"/>
              <a:gd name="T30" fmla="*/ 0 w 10280"/>
              <a:gd name="T31" fmla="*/ 0 h 2771"/>
              <a:gd name="T32" fmla="*/ 0 w 10280"/>
              <a:gd name="T33" fmla="*/ 0 h 2771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w 10280"/>
              <a:gd name="T52" fmla="*/ 0 h 2771"/>
              <a:gd name="T53" fmla="*/ 10280 w 10280"/>
              <a:gd name="T54" fmla="*/ 2771 h 2771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T51" t="T52" r="T53" b="T54"/>
            <a:pathLst>
              <a:path w="10280" h="2771">
                <a:moveTo>
                  <a:pt x="10280" y="2771"/>
                </a:moveTo>
                <a:lnTo>
                  <a:pt x="9606" y="221"/>
                </a:lnTo>
                <a:lnTo>
                  <a:pt x="9185" y="221"/>
                </a:lnTo>
                <a:cubicBezTo>
                  <a:pt x="9044" y="515"/>
                  <a:pt x="8905" y="809"/>
                  <a:pt x="8765" y="1103"/>
                </a:cubicBezTo>
                <a:lnTo>
                  <a:pt x="8152" y="1984"/>
                </a:lnTo>
                <a:lnTo>
                  <a:pt x="7426" y="2425"/>
                </a:lnTo>
                <a:lnTo>
                  <a:pt x="6817" y="2645"/>
                </a:lnTo>
                <a:lnTo>
                  <a:pt x="6318" y="1543"/>
                </a:lnTo>
                <a:lnTo>
                  <a:pt x="5593" y="0"/>
                </a:lnTo>
                <a:lnTo>
                  <a:pt x="4981" y="0"/>
                </a:lnTo>
                <a:lnTo>
                  <a:pt x="4140" y="0"/>
                </a:lnTo>
                <a:lnTo>
                  <a:pt x="3336" y="221"/>
                </a:lnTo>
                <a:lnTo>
                  <a:pt x="2611" y="882"/>
                </a:lnTo>
                <a:lnTo>
                  <a:pt x="2001" y="1543"/>
                </a:lnTo>
                <a:lnTo>
                  <a:pt x="1082" y="1543"/>
                </a:lnTo>
                <a:lnTo>
                  <a:pt x="280" y="1543"/>
                </a:lnTo>
                <a:lnTo>
                  <a:pt x="0" y="2063"/>
                </a:lnTo>
              </a:path>
            </a:pathLst>
          </a:custGeom>
          <a:noFill/>
          <a:ln w="3175" cap="flat" cmpd="sng">
            <a:solidFill>
              <a:srgbClr val="D9EAF7"/>
            </a:solidFill>
            <a:prstDash val="solid"/>
            <a:round/>
            <a:headEnd type="none" w="med" len="med"/>
            <a:tailEnd type="none" w="med" len="med"/>
          </a:ln>
        </p:spPr>
        <p:txBody>
          <a:bodyPr wrap="none" lIns="32632" tIns="32632" rIns="32632" bIns="32632" anchor="ctr"/>
          <a:lstStyle/>
          <a:p>
            <a:pPr defTabSz="891045"/>
            <a:endParaRPr lang="en-US" sz="1700" dirty="0">
              <a:solidFill>
                <a:srgbClr val="003149"/>
              </a:solidFill>
              <a:cs typeface="Arial" panose="020B0604020202020204" pitchFamily="34" charset="0"/>
            </a:endParaRPr>
          </a:p>
        </p:txBody>
      </p:sp>
      <p:sp>
        <p:nvSpPr>
          <p:cNvPr id="256" name="Freeform 729"/>
          <p:cNvSpPr>
            <a:spLocks noChangeAspect="1"/>
          </p:cNvSpPr>
          <p:nvPr/>
        </p:nvSpPr>
        <p:spPr bwMode="gray">
          <a:xfrm>
            <a:off x="4155797" y="4137759"/>
            <a:ext cx="160649" cy="93265"/>
          </a:xfrm>
          <a:custGeom>
            <a:avLst/>
            <a:gdLst>
              <a:gd name="T0" fmla="*/ 919187432 w 264"/>
              <a:gd name="T1" fmla="*/ 0 h 132"/>
              <a:gd name="T2" fmla="*/ 919187432 w 264"/>
              <a:gd name="T3" fmla="*/ 1057472267 h 132"/>
              <a:gd name="T4" fmla="*/ 919187432 w 264"/>
              <a:gd name="T5" fmla="*/ 1057472267 h 132"/>
              <a:gd name="T6" fmla="*/ 919187432 w 264"/>
              <a:gd name="T7" fmla="*/ 1057472267 h 132"/>
              <a:gd name="T8" fmla="*/ 919187432 w 264"/>
              <a:gd name="T9" fmla="*/ 1057472267 h 132"/>
              <a:gd name="T10" fmla="*/ 919187432 w 264"/>
              <a:gd name="T11" fmla="*/ 1057472267 h 132"/>
              <a:gd name="T12" fmla="*/ 919187432 w 264"/>
              <a:gd name="T13" fmla="*/ 1057472267 h 132"/>
              <a:gd name="T14" fmla="*/ 919187432 w 264"/>
              <a:gd name="T15" fmla="*/ 1057472267 h 132"/>
              <a:gd name="T16" fmla="*/ 919187432 w 264"/>
              <a:gd name="T17" fmla="*/ 1057472267 h 132"/>
              <a:gd name="T18" fmla="*/ 919187432 w 264"/>
              <a:gd name="T19" fmla="*/ 1057472267 h 132"/>
              <a:gd name="T20" fmla="*/ 919187432 w 264"/>
              <a:gd name="T21" fmla="*/ 1057472267 h 132"/>
              <a:gd name="T22" fmla="*/ 919187432 w 264"/>
              <a:gd name="T23" fmla="*/ 1057472267 h 132"/>
              <a:gd name="T24" fmla="*/ 919187432 w 264"/>
              <a:gd name="T25" fmla="*/ 1057472267 h 132"/>
              <a:gd name="T26" fmla="*/ 919187432 w 264"/>
              <a:gd name="T27" fmla="*/ 1057472267 h 132"/>
              <a:gd name="T28" fmla="*/ 919187432 w 264"/>
              <a:gd name="T29" fmla="*/ 1057472267 h 132"/>
              <a:gd name="T30" fmla="*/ 919187432 w 264"/>
              <a:gd name="T31" fmla="*/ 1057472267 h 132"/>
              <a:gd name="T32" fmla="*/ 919187432 w 264"/>
              <a:gd name="T33" fmla="*/ 1057472267 h 132"/>
              <a:gd name="T34" fmla="*/ 919187432 w 264"/>
              <a:gd name="T35" fmla="*/ 1057472267 h 132"/>
              <a:gd name="T36" fmla="*/ 919187432 w 264"/>
              <a:gd name="T37" fmla="*/ 1057472267 h 132"/>
              <a:gd name="T38" fmla="*/ 919187432 w 264"/>
              <a:gd name="T39" fmla="*/ 1057472267 h 132"/>
              <a:gd name="T40" fmla="*/ 919187432 w 264"/>
              <a:gd name="T41" fmla="*/ 1057472267 h 132"/>
              <a:gd name="T42" fmla="*/ 919187432 w 264"/>
              <a:gd name="T43" fmla="*/ 1057472267 h 132"/>
              <a:gd name="T44" fmla="*/ 919187432 w 264"/>
              <a:gd name="T45" fmla="*/ 1057472267 h 132"/>
              <a:gd name="T46" fmla="*/ 0 w 264"/>
              <a:gd name="T47" fmla="*/ 1057472267 h 132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w 264"/>
              <a:gd name="T73" fmla="*/ 0 h 132"/>
              <a:gd name="T74" fmla="*/ 264 w 264"/>
              <a:gd name="T75" fmla="*/ 132 h 132"/>
            </a:gdLst>
            <a:ahLst/>
            <a:cxnLst>
              <a:cxn ang="T48">
                <a:pos x="T0" y="T1"/>
              </a:cxn>
              <a:cxn ang="T49">
                <a:pos x="T2" y="T3"/>
              </a:cxn>
              <a:cxn ang="T50">
                <a:pos x="T4" y="T5"/>
              </a:cxn>
              <a:cxn ang="T51">
                <a:pos x="T6" y="T7"/>
              </a:cxn>
              <a:cxn ang="T52">
                <a:pos x="T8" y="T9"/>
              </a:cxn>
              <a:cxn ang="T53">
                <a:pos x="T10" y="T11"/>
              </a:cxn>
              <a:cxn ang="T54">
                <a:pos x="T12" y="T13"/>
              </a:cxn>
              <a:cxn ang="T55">
                <a:pos x="T14" y="T15"/>
              </a:cxn>
              <a:cxn ang="T56">
                <a:pos x="T16" y="T17"/>
              </a:cxn>
              <a:cxn ang="T57">
                <a:pos x="T18" y="T19"/>
              </a:cxn>
              <a:cxn ang="T58">
                <a:pos x="T20" y="T21"/>
              </a:cxn>
              <a:cxn ang="T59">
                <a:pos x="T22" y="T23"/>
              </a:cxn>
              <a:cxn ang="T60">
                <a:pos x="T24" y="T25"/>
              </a:cxn>
              <a:cxn ang="T61">
                <a:pos x="T26" y="T27"/>
              </a:cxn>
              <a:cxn ang="T62">
                <a:pos x="T28" y="T29"/>
              </a:cxn>
              <a:cxn ang="T63">
                <a:pos x="T30" y="T31"/>
              </a:cxn>
              <a:cxn ang="T64">
                <a:pos x="T32" y="T33"/>
              </a:cxn>
              <a:cxn ang="T65">
                <a:pos x="T34" y="T35"/>
              </a:cxn>
              <a:cxn ang="T66">
                <a:pos x="T36" y="T37"/>
              </a:cxn>
              <a:cxn ang="T67">
                <a:pos x="T38" y="T39"/>
              </a:cxn>
              <a:cxn ang="T68">
                <a:pos x="T40" y="T41"/>
              </a:cxn>
              <a:cxn ang="T69">
                <a:pos x="T42" y="T43"/>
              </a:cxn>
              <a:cxn ang="T70">
                <a:pos x="T44" y="T45"/>
              </a:cxn>
              <a:cxn ang="T71">
                <a:pos x="T46" y="T47"/>
              </a:cxn>
            </a:cxnLst>
            <a:rect l="T72" t="T73" r="T74" b="T75"/>
            <a:pathLst>
              <a:path w="264" h="132">
                <a:moveTo>
                  <a:pt x="264" y="0"/>
                </a:moveTo>
                <a:lnTo>
                  <a:pt x="254" y="5"/>
                </a:lnTo>
                <a:lnTo>
                  <a:pt x="248" y="14"/>
                </a:lnTo>
                <a:lnTo>
                  <a:pt x="241" y="14"/>
                </a:lnTo>
                <a:lnTo>
                  <a:pt x="236" y="26"/>
                </a:lnTo>
                <a:lnTo>
                  <a:pt x="224" y="30"/>
                </a:lnTo>
                <a:lnTo>
                  <a:pt x="208" y="30"/>
                </a:lnTo>
                <a:lnTo>
                  <a:pt x="196" y="37"/>
                </a:lnTo>
                <a:lnTo>
                  <a:pt x="180" y="33"/>
                </a:lnTo>
                <a:lnTo>
                  <a:pt x="165" y="26"/>
                </a:lnTo>
                <a:lnTo>
                  <a:pt x="152" y="26"/>
                </a:lnTo>
                <a:lnTo>
                  <a:pt x="140" y="28"/>
                </a:lnTo>
                <a:lnTo>
                  <a:pt x="130" y="39"/>
                </a:lnTo>
                <a:lnTo>
                  <a:pt x="113" y="50"/>
                </a:lnTo>
                <a:lnTo>
                  <a:pt x="93" y="53"/>
                </a:lnTo>
                <a:lnTo>
                  <a:pt x="69" y="62"/>
                </a:lnTo>
                <a:lnTo>
                  <a:pt x="54" y="71"/>
                </a:lnTo>
                <a:lnTo>
                  <a:pt x="39" y="70"/>
                </a:lnTo>
                <a:lnTo>
                  <a:pt x="23" y="80"/>
                </a:lnTo>
                <a:lnTo>
                  <a:pt x="13" y="90"/>
                </a:lnTo>
                <a:lnTo>
                  <a:pt x="18" y="99"/>
                </a:lnTo>
                <a:lnTo>
                  <a:pt x="24" y="114"/>
                </a:lnTo>
                <a:lnTo>
                  <a:pt x="18" y="126"/>
                </a:lnTo>
                <a:lnTo>
                  <a:pt x="0" y="132"/>
                </a:lnTo>
              </a:path>
            </a:pathLst>
          </a:custGeom>
          <a:noFill/>
          <a:ln w="3175" cap="flat" cmpd="sng">
            <a:solidFill>
              <a:srgbClr val="D9EAF7"/>
            </a:solidFill>
            <a:prstDash val="solid"/>
            <a:round/>
            <a:headEnd type="none" w="med" len="med"/>
            <a:tailEnd type="none" w="med" len="med"/>
          </a:ln>
        </p:spPr>
        <p:txBody>
          <a:bodyPr wrap="none" lIns="32632" tIns="32632" rIns="32632" bIns="32632" anchor="ctr"/>
          <a:lstStyle/>
          <a:p>
            <a:pPr defTabSz="891045"/>
            <a:endParaRPr lang="en-US" sz="1700" dirty="0">
              <a:solidFill>
                <a:srgbClr val="003149"/>
              </a:solidFill>
              <a:cs typeface="Arial" panose="020B0604020202020204" pitchFamily="34" charset="0"/>
            </a:endParaRPr>
          </a:p>
        </p:txBody>
      </p:sp>
      <p:sp>
        <p:nvSpPr>
          <p:cNvPr id="257" name="Freeform 730"/>
          <p:cNvSpPr>
            <a:spLocks noChangeAspect="1"/>
          </p:cNvSpPr>
          <p:nvPr/>
        </p:nvSpPr>
        <p:spPr bwMode="gray">
          <a:xfrm>
            <a:off x="4258157" y="3994281"/>
            <a:ext cx="61131" cy="144918"/>
          </a:xfrm>
          <a:custGeom>
            <a:avLst/>
            <a:gdLst>
              <a:gd name="T0" fmla="*/ 0 w 11684"/>
              <a:gd name="T1" fmla="*/ 0 h 9905"/>
              <a:gd name="T2" fmla="*/ 0 w 11684"/>
              <a:gd name="T3" fmla="*/ 0 h 9905"/>
              <a:gd name="T4" fmla="*/ 0 w 11684"/>
              <a:gd name="T5" fmla="*/ 0 h 9905"/>
              <a:gd name="T6" fmla="*/ 0 w 11684"/>
              <a:gd name="T7" fmla="*/ 0 h 9905"/>
              <a:gd name="T8" fmla="*/ 0 w 11684"/>
              <a:gd name="T9" fmla="*/ 0 h 9905"/>
              <a:gd name="T10" fmla="*/ 0 w 11684"/>
              <a:gd name="T11" fmla="*/ 0 h 9905"/>
              <a:gd name="T12" fmla="*/ 0 w 11684"/>
              <a:gd name="T13" fmla="*/ 0 h 9905"/>
              <a:gd name="T14" fmla="*/ 0 w 11684"/>
              <a:gd name="T15" fmla="*/ 0 h 9905"/>
              <a:gd name="T16" fmla="*/ 0 w 11684"/>
              <a:gd name="T17" fmla="*/ 0 h 9905"/>
              <a:gd name="T18" fmla="*/ 0 w 11684"/>
              <a:gd name="T19" fmla="*/ 0 h 9905"/>
              <a:gd name="T20" fmla="*/ 0 w 11684"/>
              <a:gd name="T21" fmla="*/ 0 h 9905"/>
              <a:gd name="T22" fmla="*/ 0 w 11684"/>
              <a:gd name="T23" fmla="*/ 0 h 9905"/>
              <a:gd name="T24" fmla="*/ 0 w 11684"/>
              <a:gd name="T25" fmla="*/ 0 h 9905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w 11684"/>
              <a:gd name="T40" fmla="*/ 0 h 9905"/>
              <a:gd name="T41" fmla="*/ 11684 w 11684"/>
              <a:gd name="T42" fmla="*/ 9905 h 9905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T39" t="T40" r="T41" b="T42"/>
            <a:pathLst>
              <a:path w="11684" h="9905">
                <a:moveTo>
                  <a:pt x="0" y="0"/>
                </a:moveTo>
                <a:lnTo>
                  <a:pt x="1684" y="872"/>
                </a:lnTo>
                <a:lnTo>
                  <a:pt x="3890" y="1781"/>
                </a:lnTo>
                <a:lnTo>
                  <a:pt x="5557" y="2504"/>
                </a:lnTo>
                <a:lnTo>
                  <a:pt x="6929" y="3135"/>
                </a:lnTo>
                <a:cubicBezTo>
                  <a:pt x="6847" y="3475"/>
                  <a:pt x="6766" y="3815"/>
                  <a:pt x="6685" y="4155"/>
                </a:cubicBezTo>
                <a:cubicBezTo>
                  <a:pt x="6766" y="4445"/>
                  <a:pt x="6847" y="4737"/>
                  <a:pt x="6929" y="5027"/>
                </a:cubicBezTo>
                <a:lnTo>
                  <a:pt x="7861" y="5992"/>
                </a:lnTo>
                <a:lnTo>
                  <a:pt x="9135" y="6715"/>
                </a:lnTo>
                <a:lnTo>
                  <a:pt x="11047" y="7252"/>
                </a:lnTo>
                <a:cubicBezTo>
                  <a:pt x="11129" y="7654"/>
                  <a:pt x="11210" y="8056"/>
                  <a:pt x="11292" y="8458"/>
                </a:cubicBezTo>
                <a:lnTo>
                  <a:pt x="11684" y="9330"/>
                </a:lnTo>
                <a:lnTo>
                  <a:pt x="11684" y="9905"/>
                </a:lnTo>
              </a:path>
            </a:pathLst>
          </a:custGeom>
          <a:noFill/>
          <a:ln w="3175" cap="flat" cmpd="sng">
            <a:solidFill>
              <a:srgbClr val="D9EAF7"/>
            </a:solidFill>
            <a:prstDash val="solid"/>
            <a:round/>
            <a:headEnd type="none" w="med" len="med"/>
            <a:tailEnd type="none" w="med" len="med"/>
          </a:ln>
        </p:spPr>
        <p:txBody>
          <a:bodyPr wrap="none" lIns="32632" tIns="32632" rIns="32632" bIns="32632" anchor="ctr"/>
          <a:lstStyle/>
          <a:p>
            <a:pPr defTabSz="891045"/>
            <a:endParaRPr lang="en-US" sz="1700" dirty="0">
              <a:solidFill>
                <a:srgbClr val="003149"/>
              </a:solidFill>
              <a:cs typeface="Arial" panose="020B0604020202020204" pitchFamily="34" charset="0"/>
            </a:endParaRPr>
          </a:p>
        </p:txBody>
      </p:sp>
      <p:sp>
        <p:nvSpPr>
          <p:cNvPr id="258" name="Freeform 734"/>
          <p:cNvSpPr>
            <a:spLocks noChangeAspect="1"/>
          </p:cNvSpPr>
          <p:nvPr>
            <p:custDataLst>
              <p:tags r:id="rId150"/>
            </p:custDataLst>
          </p:nvPr>
        </p:nvSpPr>
        <p:spPr bwMode="gray">
          <a:xfrm>
            <a:off x="3955340" y="3959842"/>
            <a:ext cx="302817" cy="51654"/>
          </a:xfrm>
          <a:custGeom>
            <a:avLst/>
            <a:gdLst>
              <a:gd name="T0" fmla="*/ 0 w 10391"/>
              <a:gd name="T1" fmla="*/ 0 h 10000"/>
              <a:gd name="T2" fmla="*/ 0 w 10391"/>
              <a:gd name="T3" fmla="*/ 0 h 10000"/>
              <a:gd name="T4" fmla="*/ 0 w 10391"/>
              <a:gd name="T5" fmla="*/ 0 h 10000"/>
              <a:gd name="T6" fmla="*/ 0 w 10391"/>
              <a:gd name="T7" fmla="*/ 0 h 10000"/>
              <a:gd name="T8" fmla="*/ 0 w 10391"/>
              <a:gd name="T9" fmla="*/ 0 h 10000"/>
              <a:gd name="T10" fmla="*/ 0 w 10391"/>
              <a:gd name="T11" fmla="*/ 0 h 10000"/>
              <a:gd name="T12" fmla="*/ 0 w 10391"/>
              <a:gd name="T13" fmla="*/ 0 h 10000"/>
              <a:gd name="T14" fmla="*/ 0 w 10391"/>
              <a:gd name="T15" fmla="*/ 0 h 10000"/>
              <a:gd name="T16" fmla="*/ 0 w 10391"/>
              <a:gd name="T17" fmla="*/ 0 h 10000"/>
              <a:gd name="T18" fmla="*/ 0 w 10391"/>
              <a:gd name="T19" fmla="*/ 0 h 10000"/>
              <a:gd name="T20" fmla="*/ 0 w 10391"/>
              <a:gd name="T21" fmla="*/ 0 h 10000"/>
              <a:gd name="T22" fmla="*/ 0 w 10391"/>
              <a:gd name="T23" fmla="*/ 0 h 10000"/>
              <a:gd name="T24" fmla="*/ 0 w 10391"/>
              <a:gd name="T25" fmla="*/ 0 h 10000"/>
              <a:gd name="T26" fmla="*/ 0 w 10391"/>
              <a:gd name="T27" fmla="*/ 0 h 10000"/>
              <a:gd name="T28" fmla="*/ 0 w 10391"/>
              <a:gd name="T29" fmla="*/ 0 h 10000"/>
              <a:gd name="T30" fmla="*/ 0 w 10391"/>
              <a:gd name="T31" fmla="*/ 0 h 10000"/>
              <a:gd name="T32" fmla="*/ 0 w 10391"/>
              <a:gd name="T33" fmla="*/ 0 h 10000"/>
              <a:gd name="T34" fmla="*/ 0 w 10391"/>
              <a:gd name="T35" fmla="*/ 0 h 10000"/>
              <a:gd name="T36" fmla="*/ 0 w 10391"/>
              <a:gd name="T37" fmla="*/ 0 h 10000"/>
              <a:gd name="T38" fmla="*/ 0 w 10391"/>
              <a:gd name="T39" fmla="*/ 0 h 10000"/>
              <a:gd name="T40" fmla="*/ 0 w 10391"/>
              <a:gd name="T41" fmla="*/ 0 h 10000"/>
              <a:gd name="T42" fmla="*/ 0 w 10391"/>
              <a:gd name="T43" fmla="*/ 0 h 10000"/>
              <a:gd name="T44" fmla="*/ 0 w 10391"/>
              <a:gd name="T45" fmla="*/ 0 h 10000"/>
              <a:gd name="T46" fmla="*/ 0 w 10391"/>
              <a:gd name="T47" fmla="*/ 0 h 10000"/>
              <a:gd name="T48" fmla="*/ 0 w 10391"/>
              <a:gd name="T49" fmla="*/ 0 h 10000"/>
              <a:gd name="T50" fmla="*/ 0 w 10391"/>
              <a:gd name="T51" fmla="*/ 0 h 10000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w 10391"/>
              <a:gd name="T79" fmla="*/ 0 h 10000"/>
              <a:gd name="T80" fmla="*/ 10391 w 10391"/>
              <a:gd name="T81" fmla="*/ 10000 h 10000"/>
            </a:gdLst>
            <a:ahLst/>
            <a:cxnLst>
              <a:cxn ang="T52">
                <a:pos x="T0" y="T1"/>
              </a:cxn>
              <a:cxn ang="T53">
                <a:pos x="T2" y="T3"/>
              </a:cxn>
              <a:cxn ang="T54">
                <a:pos x="T4" y="T5"/>
              </a:cxn>
              <a:cxn ang="T55">
                <a:pos x="T6" y="T7"/>
              </a:cxn>
              <a:cxn ang="T56">
                <a:pos x="T8" y="T9"/>
              </a:cxn>
              <a:cxn ang="T57">
                <a:pos x="T10" y="T11"/>
              </a:cxn>
              <a:cxn ang="T58">
                <a:pos x="T12" y="T13"/>
              </a:cxn>
              <a:cxn ang="T59">
                <a:pos x="T14" y="T15"/>
              </a:cxn>
              <a:cxn ang="T60">
                <a:pos x="T16" y="T17"/>
              </a:cxn>
              <a:cxn ang="T61">
                <a:pos x="T18" y="T19"/>
              </a:cxn>
              <a:cxn ang="T62">
                <a:pos x="T20" y="T21"/>
              </a:cxn>
              <a:cxn ang="T63">
                <a:pos x="T22" y="T23"/>
              </a:cxn>
              <a:cxn ang="T64">
                <a:pos x="T24" y="T25"/>
              </a:cxn>
              <a:cxn ang="T65">
                <a:pos x="T26" y="T27"/>
              </a:cxn>
              <a:cxn ang="T66">
                <a:pos x="T28" y="T29"/>
              </a:cxn>
              <a:cxn ang="T67">
                <a:pos x="T30" y="T31"/>
              </a:cxn>
              <a:cxn ang="T68">
                <a:pos x="T32" y="T33"/>
              </a:cxn>
              <a:cxn ang="T69">
                <a:pos x="T34" y="T35"/>
              </a:cxn>
              <a:cxn ang="T70">
                <a:pos x="T36" y="T37"/>
              </a:cxn>
              <a:cxn ang="T71">
                <a:pos x="T38" y="T39"/>
              </a:cxn>
              <a:cxn ang="T72">
                <a:pos x="T40" y="T41"/>
              </a:cxn>
              <a:cxn ang="T73">
                <a:pos x="T42" y="T43"/>
              </a:cxn>
              <a:cxn ang="T74">
                <a:pos x="T44" y="T45"/>
              </a:cxn>
              <a:cxn ang="T75">
                <a:pos x="T46" y="T47"/>
              </a:cxn>
              <a:cxn ang="T76">
                <a:pos x="T48" y="T49"/>
              </a:cxn>
              <a:cxn ang="T77">
                <a:pos x="T50" y="T51"/>
              </a:cxn>
            </a:cxnLst>
            <a:rect l="T78" t="T79" r="T80" b="T81"/>
            <a:pathLst>
              <a:path w="10391" h="10000">
                <a:moveTo>
                  <a:pt x="10391" y="6711"/>
                </a:moveTo>
                <a:cubicBezTo>
                  <a:pt x="10318" y="6041"/>
                  <a:pt x="9979" y="6833"/>
                  <a:pt x="9906" y="6163"/>
                </a:cubicBezTo>
                <a:lnTo>
                  <a:pt x="9001" y="6439"/>
                </a:lnTo>
                <a:lnTo>
                  <a:pt x="8305" y="6710"/>
                </a:lnTo>
                <a:lnTo>
                  <a:pt x="7674" y="7123"/>
                </a:lnTo>
                <a:lnTo>
                  <a:pt x="7253" y="8081"/>
                </a:lnTo>
                <a:lnTo>
                  <a:pt x="6831" y="9314"/>
                </a:lnTo>
                <a:lnTo>
                  <a:pt x="6326" y="10000"/>
                </a:lnTo>
                <a:lnTo>
                  <a:pt x="5947" y="8767"/>
                </a:lnTo>
                <a:cubicBezTo>
                  <a:pt x="5798" y="7762"/>
                  <a:pt x="5652" y="6757"/>
                  <a:pt x="5505" y="5752"/>
                </a:cubicBezTo>
                <a:cubicBezTo>
                  <a:pt x="5385" y="5113"/>
                  <a:pt x="5266" y="4474"/>
                  <a:pt x="5146" y="3835"/>
                </a:cubicBezTo>
                <a:cubicBezTo>
                  <a:pt x="5034" y="3104"/>
                  <a:pt x="4923" y="2373"/>
                  <a:pt x="4811" y="1642"/>
                </a:cubicBezTo>
                <a:cubicBezTo>
                  <a:pt x="4677" y="1139"/>
                  <a:pt x="4542" y="637"/>
                  <a:pt x="4409" y="134"/>
                </a:cubicBezTo>
                <a:lnTo>
                  <a:pt x="4071" y="0"/>
                </a:lnTo>
                <a:lnTo>
                  <a:pt x="3693" y="0"/>
                </a:lnTo>
                <a:lnTo>
                  <a:pt x="3145" y="1233"/>
                </a:lnTo>
                <a:lnTo>
                  <a:pt x="2514" y="2466"/>
                </a:lnTo>
                <a:lnTo>
                  <a:pt x="1883" y="3286"/>
                </a:lnTo>
                <a:lnTo>
                  <a:pt x="1587" y="3424"/>
                </a:lnTo>
                <a:lnTo>
                  <a:pt x="1165" y="3835"/>
                </a:lnTo>
                <a:cubicBezTo>
                  <a:pt x="1096" y="4019"/>
                  <a:pt x="1027" y="4199"/>
                  <a:pt x="956" y="4383"/>
                </a:cubicBezTo>
                <a:lnTo>
                  <a:pt x="725" y="4383"/>
                </a:lnTo>
                <a:cubicBezTo>
                  <a:pt x="681" y="4063"/>
                  <a:pt x="642" y="3744"/>
                  <a:pt x="598" y="3424"/>
                </a:cubicBezTo>
                <a:lnTo>
                  <a:pt x="345" y="3013"/>
                </a:lnTo>
                <a:lnTo>
                  <a:pt x="134" y="3013"/>
                </a:lnTo>
                <a:cubicBezTo>
                  <a:pt x="71" y="3104"/>
                  <a:pt x="63" y="3286"/>
                  <a:pt x="0" y="3379"/>
                </a:cubicBezTo>
              </a:path>
            </a:pathLst>
          </a:custGeom>
          <a:noFill/>
          <a:ln w="3175" cap="flat" cmpd="sng">
            <a:solidFill>
              <a:srgbClr val="D9EAF7"/>
            </a:solidFill>
            <a:prstDash val="solid"/>
            <a:round/>
            <a:headEnd type="none" w="med" len="med"/>
            <a:tailEnd type="none" w="med" len="med"/>
          </a:ln>
        </p:spPr>
        <p:txBody>
          <a:bodyPr wrap="none" lIns="32632" tIns="32632" rIns="32632" bIns="32632" anchor="ctr"/>
          <a:lstStyle/>
          <a:p>
            <a:pPr defTabSz="891045"/>
            <a:endParaRPr lang="en-US" sz="1700" dirty="0">
              <a:solidFill>
                <a:srgbClr val="003149"/>
              </a:solidFill>
              <a:cs typeface="Arial" panose="020B0604020202020204" pitchFamily="34" charset="0"/>
            </a:endParaRPr>
          </a:p>
        </p:txBody>
      </p:sp>
      <p:sp>
        <p:nvSpPr>
          <p:cNvPr id="259" name="Freeform 735"/>
          <p:cNvSpPr>
            <a:spLocks noChangeAspect="1"/>
          </p:cNvSpPr>
          <p:nvPr>
            <p:custDataLst>
              <p:tags r:id="rId151"/>
            </p:custDataLst>
          </p:nvPr>
        </p:nvSpPr>
        <p:spPr bwMode="gray">
          <a:xfrm>
            <a:off x="4252471" y="3875209"/>
            <a:ext cx="5687" cy="119091"/>
          </a:xfrm>
          <a:custGeom>
            <a:avLst/>
            <a:gdLst>
              <a:gd name="T0" fmla="*/ 0 w 3502"/>
              <a:gd name="T1" fmla="*/ 0 h 10288"/>
              <a:gd name="T2" fmla="*/ 0 w 3502"/>
              <a:gd name="T3" fmla="*/ 0 h 10288"/>
              <a:gd name="T4" fmla="*/ 0 w 3502"/>
              <a:gd name="T5" fmla="*/ 0 h 10288"/>
              <a:gd name="T6" fmla="*/ 0 w 3502"/>
              <a:gd name="T7" fmla="*/ 0 h 10288"/>
              <a:gd name="T8" fmla="*/ 0 w 3502"/>
              <a:gd name="T9" fmla="*/ 0 h 10288"/>
              <a:gd name="T10" fmla="*/ 0 w 3502"/>
              <a:gd name="T11" fmla="*/ 0 h 10288"/>
              <a:gd name="T12" fmla="*/ 0 w 3502"/>
              <a:gd name="T13" fmla="*/ 0 h 10288"/>
              <a:gd name="T14" fmla="*/ 0 w 3502"/>
              <a:gd name="T15" fmla="*/ 0 h 10288"/>
              <a:gd name="T16" fmla="*/ 0 w 3502"/>
              <a:gd name="T17" fmla="*/ 0 h 10288"/>
              <a:gd name="T18" fmla="*/ 0 w 3502"/>
              <a:gd name="T19" fmla="*/ 0 h 10288"/>
              <a:gd name="T20" fmla="*/ 0 w 3502"/>
              <a:gd name="T21" fmla="*/ 0 h 10288"/>
              <a:gd name="T22" fmla="*/ 0 w 3502"/>
              <a:gd name="T23" fmla="*/ 0 h 10288"/>
              <a:gd name="T24" fmla="*/ 0 w 3502"/>
              <a:gd name="T25" fmla="*/ 0 h 10288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w 3502"/>
              <a:gd name="T40" fmla="*/ 0 h 10288"/>
              <a:gd name="T41" fmla="*/ 3502 w 3502"/>
              <a:gd name="T42" fmla="*/ 10288 h 10288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T39" t="T40" r="T41" b="T42"/>
            <a:pathLst>
              <a:path w="3502" h="10288">
                <a:moveTo>
                  <a:pt x="69" y="0"/>
                </a:moveTo>
                <a:lnTo>
                  <a:pt x="466" y="288"/>
                </a:lnTo>
                <a:lnTo>
                  <a:pt x="466" y="898"/>
                </a:lnTo>
                <a:cubicBezTo>
                  <a:pt x="388" y="1345"/>
                  <a:pt x="311" y="1793"/>
                  <a:pt x="233" y="2240"/>
                </a:cubicBezTo>
                <a:lnTo>
                  <a:pt x="700" y="3458"/>
                </a:lnTo>
                <a:lnTo>
                  <a:pt x="0" y="4435"/>
                </a:lnTo>
                <a:lnTo>
                  <a:pt x="2101" y="4923"/>
                </a:lnTo>
                <a:lnTo>
                  <a:pt x="3268" y="5593"/>
                </a:lnTo>
                <a:lnTo>
                  <a:pt x="3502" y="6691"/>
                </a:lnTo>
                <a:lnTo>
                  <a:pt x="3502" y="8093"/>
                </a:lnTo>
                <a:lnTo>
                  <a:pt x="3268" y="9252"/>
                </a:lnTo>
                <a:lnTo>
                  <a:pt x="3502" y="9739"/>
                </a:lnTo>
                <a:lnTo>
                  <a:pt x="3502" y="10288"/>
                </a:lnTo>
              </a:path>
            </a:pathLst>
          </a:custGeom>
          <a:solidFill>
            <a:srgbClr val="70B0DF"/>
          </a:solidFill>
          <a:ln w="3175" cap="flat" cmpd="sng">
            <a:noFill/>
            <a:prstDash val="solid"/>
            <a:round/>
            <a:headEnd type="none" w="med" len="med"/>
            <a:tailEnd type="none" w="med" len="med"/>
          </a:ln>
        </p:spPr>
        <p:txBody>
          <a:bodyPr wrap="none" lIns="32632" tIns="32632" rIns="32632" bIns="32632" anchor="ctr"/>
          <a:lstStyle/>
          <a:p>
            <a:pPr defTabSz="891045"/>
            <a:endParaRPr lang="en-US" sz="1700" dirty="0">
              <a:solidFill>
                <a:srgbClr val="003149"/>
              </a:solidFill>
              <a:cs typeface="Arial" panose="020B0604020202020204" pitchFamily="34" charset="0"/>
            </a:endParaRPr>
          </a:p>
        </p:txBody>
      </p:sp>
      <p:sp>
        <p:nvSpPr>
          <p:cNvPr id="260" name="Freeform 650"/>
          <p:cNvSpPr>
            <a:spLocks noChangeAspect="1"/>
          </p:cNvSpPr>
          <p:nvPr>
            <p:custDataLst>
              <p:tags r:id="rId152"/>
            </p:custDataLst>
          </p:nvPr>
        </p:nvSpPr>
        <p:spPr bwMode="gray">
          <a:xfrm>
            <a:off x="3083847" y="3124774"/>
            <a:ext cx="78192" cy="107613"/>
          </a:xfrm>
          <a:custGeom>
            <a:avLst/>
            <a:gdLst>
              <a:gd name="T0" fmla="*/ 0 w 10000"/>
              <a:gd name="T1" fmla="*/ 0 h 10402"/>
              <a:gd name="T2" fmla="*/ 0 w 10000"/>
              <a:gd name="T3" fmla="*/ 0 h 10402"/>
              <a:gd name="T4" fmla="*/ 0 w 10000"/>
              <a:gd name="T5" fmla="*/ 0 h 10402"/>
              <a:gd name="T6" fmla="*/ 0 w 10000"/>
              <a:gd name="T7" fmla="*/ 0 h 10402"/>
              <a:gd name="T8" fmla="*/ 0 w 10000"/>
              <a:gd name="T9" fmla="*/ 0 h 10402"/>
              <a:gd name="T10" fmla="*/ 0 w 10000"/>
              <a:gd name="T11" fmla="*/ 0 h 10402"/>
              <a:gd name="T12" fmla="*/ 0 w 10000"/>
              <a:gd name="T13" fmla="*/ 0 h 10402"/>
              <a:gd name="T14" fmla="*/ 0 w 10000"/>
              <a:gd name="T15" fmla="*/ 0 h 10402"/>
              <a:gd name="T16" fmla="*/ 0 w 10000"/>
              <a:gd name="T17" fmla="*/ 0 h 10402"/>
              <a:gd name="T18" fmla="*/ 0 w 10000"/>
              <a:gd name="T19" fmla="*/ 0 h 10402"/>
              <a:gd name="T20" fmla="*/ 0 w 10000"/>
              <a:gd name="T21" fmla="*/ 0 h 10402"/>
              <a:gd name="T22" fmla="*/ 0 w 10000"/>
              <a:gd name="T23" fmla="*/ 0 h 10402"/>
              <a:gd name="T24" fmla="*/ 0 w 10000"/>
              <a:gd name="T25" fmla="*/ 0 h 10402"/>
              <a:gd name="T26" fmla="*/ 0 w 10000"/>
              <a:gd name="T27" fmla="*/ 0 h 10402"/>
              <a:gd name="T28" fmla="*/ 0 w 10000"/>
              <a:gd name="T29" fmla="*/ 0 h 10402"/>
              <a:gd name="T30" fmla="*/ 0 w 10000"/>
              <a:gd name="T31" fmla="*/ 0 h 10402"/>
              <a:gd name="T32" fmla="*/ 0 w 10000"/>
              <a:gd name="T33" fmla="*/ 0 h 10402"/>
              <a:gd name="T34" fmla="*/ 0 w 10000"/>
              <a:gd name="T35" fmla="*/ 0 h 10402"/>
              <a:gd name="T36" fmla="*/ 0 w 10000"/>
              <a:gd name="T37" fmla="*/ 0 h 10402"/>
              <a:gd name="T38" fmla="*/ 0 w 10000"/>
              <a:gd name="T39" fmla="*/ 0 h 10402"/>
              <a:gd name="T40" fmla="*/ 0 w 10000"/>
              <a:gd name="T41" fmla="*/ 0 h 10402"/>
              <a:gd name="T42" fmla="*/ 0 w 10000"/>
              <a:gd name="T43" fmla="*/ 0 h 10402"/>
              <a:gd name="T44" fmla="*/ 0 w 10000"/>
              <a:gd name="T45" fmla="*/ 0 h 10402"/>
              <a:gd name="T46" fmla="*/ 0 w 10000"/>
              <a:gd name="T47" fmla="*/ 0 h 10402"/>
              <a:gd name="T48" fmla="*/ 0 w 10000"/>
              <a:gd name="T49" fmla="*/ 0 h 10402"/>
              <a:gd name="T50" fmla="*/ 0 w 10000"/>
              <a:gd name="T51" fmla="*/ 0 h 10402"/>
              <a:gd name="T52" fmla="*/ 0 w 10000"/>
              <a:gd name="T53" fmla="*/ 0 h 10402"/>
              <a:gd name="T54" fmla="*/ 0 w 10000"/>
              <a:gd name="T55" fmla="*/ 0 h 10402"/>
              <a:gd name="T56" fmla="*/ 0 w 10000"/>
              <a:gd name="T57" fmla="*/ 0 h 10402"/>
              <a:gd name="T58" fmla="*/ 0 w 10000"/>
              <a:gd name="T59" fmla="*/ 0 h 10402"/>
              <a:gd name="T60" fmla="*/ 0 w 10000"/>
              <a:gd name="T61" fmla="*/ 0 h 10402"/>
              <a:gd name="T62" fmla="*/ 0 w 10000"/>
              <a:gd name="T63" fmla="*/ 0 h 10402"/>
              <a:gd name="T64" fmla="*/ 0 w 10000"/>
              <a:gd name="T65" fmla="*/ 0 h 10402"/>
              <a:gd name="T66" fmla="*/ 0 w 10000"/>
              <a:gd name="T67" fmla="*/ 0 h 10402"/>
              <a:gd name="T68" fmla="*/ 0 w 10000"/>
              <a:gd name="T69" fmla="*/ 0 h 10402"/>
              <a:gd name="T70" fmla="*/ 0 w 10000"/>
              <a:gd name="T71" fmla="*/ 0 h 10402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w 10000"/>
              <a:gd name="T109" fmla="*/ 0 h 10402"/>
              <a:gd name="T110" fmla="*/ 10000 w 10000"/>
              <a:gd name="T111" fmla="*/ 10402 h 10402"/>
            </a:gdLst>
            <a:ahLst/>
            <a:cxnLst>
              <a:cxn ang="T72">
                <a:pos x="T0" y="T1"/>
              </a:cxn>
              <a:cxn ang="T73">
                <a:pos x="T2" y="T3"/>
              </a:cxn>
              <a:cxn ang="T74">
                <a:pos x="T4" y="T5"/>
              </a:cxn>
              <a:cxn ang="T75">
                <a:pos x="T6" y="T7"/>
              </a:cxn>
              <a:cxn ang="T76">
                <a:pos x="T8" y="T9"/>
              </a:cxn>
              <a:cxn ang="T77">
                <a:pos x="T10" y="T11"/>
              </a:cxn>
              <a:cxn ang="T78">
                <a:pos x="T12" y="T13"/>
              </a:cxn>
              <a:cxn ang="T79">
                <a:pos x="T14" y="T15"/>
              </a:cxn>
              <a:cxn ang="T80">
                <a:pos x="T16" y="T17"/>
              </a:cxn>
              <a:cxn ang="T81">
                <a:pos x="T18" y="T19"/>
              </a:cxn>
              <a:cxn ang="T82">
                <a:pos x="T20" y="T21"/>
              </a:cxn>
              <a:cxn ang="T83">
                <a:pos x="T22" y="T23"/>
              </a:cxn>
              <a:cxn ang="T84">
                <a:pos x="T24" y="T25"/>
              </a:cxn>
              <a:cxn ang="T85">
                <a:pos x="T26" y="T27"/>
              </a:cxn>
              <a:cxn ang="T86">
                <a:pos x="T28" y="T29"/>
              </a:cxn>
              <a:cxn ang="T87">
                <a:pos x="T30" y="T31"/>
              </a:cxn>
              <a:cxn ang="T88">
                <a:pos x="T32" y="T33"/>
              </a:cxn>
              <a:cxn ang="T89">
                <a:pos x="T34" y="T35"/>
              </a:cxn>
              <a:cxn ang="T90">
                <a:pos x="T36" y="T37"/>
              </a:cxn>
              <a:cxn ang="T91">
                <a:pos x="T38" y="T39"/>
              </a:cxn>
              <a:cxn ang="T92">
                <a:pos x="T40" y="T41"/>
              </a:cxn>
              <a:cxn ang="T93">
                <a:pos x="T42" y="T43"/>
              </a:cxn>
              <a:cxn ang="T94">
                <a:pos x="T44" y="T45"/>
              </a:cxn>
              <a:cxn ang="T95">
                <a:pos x="T46" y="T47"/>
              </a:cxn>
              <a:cxn ang="T96">
                <a:pos x="T48" y="T49"/>
              </a:cxn>
              <a:cxn ang="T97">
                <a:pos x="T50" y="T51"/>
              </a:cxn>
              <a:cxn ang="T98">
                <a:pos x="T52" y="T53"/>
              </a:cxn>
              <a:cxn ang="T99">
                <a:pos x="T54" y="T55"/>
              </a:cxn>
              <a:cxn ang="T100">
                <a:pos x="T56" y="T57"/>
              </a:cxn>
              <a:cxn ang="T101">
                <a:pos x="T58" y="T59"/>
              </a:cxn>
              <a:cxn ang="T102">
                <a:pos x="T60" y="T61"/>
              </a:cxn>
              <a:cxn ang="T103">
                <a:pos x="T62" y="T63"/>
              </a:cxn>
              <a:cxn ang="T104">
                <a:pos x="T64" y="T65"/>
              </a:cxn>
              <a:cxn ang="T105">
                <a:pos x="T66" y="T67"/>
              </a:cxn>
              <a:cxn ang="T106">
                <a:pos x="T68" y="T69"/>
              </a:cxn>
              <a:cxn ang="T107">
                <a:pos x="T70" y="T71"/>
              </a:cxn>
            </a:cxnLst>
            <a:rect l="T108" t="T109" r="T110" b="T111"/>
            <a:pathLst>
              <a:path w="10000" h="10402">
                <a:moveTo>
                  <a:pt x="8955" y="10402"/>
                </a:moveTo>
                <a:lnTo>
                  <a:pt x="10000" y="9030"/>
                </a:lnTo>
                <a:lnTo>
                  <a:pt x="9529" y="8462"/>
                </a:lnTo>
                <a:lnTo>
                  <a:pt x="9529" y="7742"/>
                </a:lnTo>
                <a:lnTo>
                  <a:pt x="9882" y="7274"/>
                </a:lnTo>
                <a:lnTo>
                  <a:pt x="9373" y="6722"/>
                </a:lnTo>
                <a:lnTo>
                  <a:pt x="8588" y="6538"/>
                </a:lnTo>
                <a:cubicBezTo>
                  <a:pt x="8575" y="6365"/>
                  <a:pt x="8562" y="6193"/>
                  <a:pt x="8549" y="6020"/>
                </a:cubicBezTo>
                <a:lnTo>
                  <a:pt x="8902" y="5619"/>
                </a:lnTo>
                <a:cubicBezTo>
                  <a:pt x="8895" y="5485"/>
                  <a:pt x="8889" y="5351"/>
                  <a:pt x="8882" y="5217"/>
                </a:cubicBezTo>
                <a:lnTo>
                  <a:pt x="8608" y="4967"/>
                </a:lnTo>
                <a:lnTo>
                  <a:pt x="8902" y="4816"/>
                </a:lnTo>
                <a:lnTo>
                  <a:pt x="9314" y="4799"/>
                </a:lnTo>
                <a:lnTo>
                  <a:pt x="9431" y="4381"/>
                </a:lnTo>
                <a:lnTo>
                  <a:pt x="8863" y="4298"/>
                </a:lnTo>
                <a:lnTo>
                  <a:pt x="8392" y="4615"/>
                </a:lnTo>
                <a:lnTo>
                  <a:pt x="7647" y="5251"/>
                </a:lnTo>
                <a:lnTo>
                  <a:pt x="7353" y="4448"/>
                </a:lnTo>
                <a:lnTo>
                  <a:pt x="7059" y="3997"/>
                </a:lnTo>
                <a:lnTo>
                  <a:pt x="6588" y="3662"/>
                </a:lnTo>
                <a:lnTo>
                  <a:pt x="5765" y="3177"/>
                </a:lnTo>
                <a:lnTo>
                  <a:pt x="5353" y="3110"/>
                </a:lnTo>
                <a:lnTo>
                  <a:pt x="4725" y="3328"/>
                </a:lnTo>
                <a:lnTo>
                  <a:pt x="4353" y="2926"/>
                </a:lnTo>
                <a:lnTo>
                  <a:pt x="4000" y="2943"/>
                </a:lnTo>
                <a:lnTo>
                  <a:pt x="3765" y="2709"/>
                </a:lnTo>
                <a:lnTo>
                  <a:pt x="3588" y="2492"/>
                </a:lnTo>
                <a:lnTo>
                  <a:pt x="3314" y="2291"/>
                </a:lnTo>
                <a:lnTo>
                  <a:pt x="2373" y="2140"/>
                </a:lnTo>
                <a:lnTo>
                  <a:pt x="1725" y="2258"/>
                </a:lnTo>
                <a:lnTo>
                  <a:pt x="1353" y="2258"/>
                </a:lnTo>
                <a:lnTo>
                  <a:pt x="588" y="2057"/>
                </a:lnTo>
                <a:lnTo>
                  <a:pt x="255" y="1706"/>
                </a:lnTo>
                <a:lnTo>
                  <a:pt x="882" y="1338"/>
                </a:lnTo>
                <a:lnTo>
                  <a:pt x="392" y="602"/>
                </a:lnTo>
                <a:lnTo>
                  <a:pt x="0" y="0"/>
                </a:lnTo>
              </a:path>
            </a:pathLst>
          </a:custGeom>
          <a:noFill/>
          <a:ln w="3175" cap="flat" cmpd="sng">
            <a:solidFill>
              <a:srgbClr val="D9EAF7"/>
            </a:solidFill>
            <a:prstDash val="solid"/>
            <a:round/>
            <a:headEnd type="none" w="med" len="med"/>
            <a:tailEnd type="none" w="med" len="med"/>
          </a:ln>
        </p:spPr>
        <p:txBody>
          <a:bodyPr wrap="none" lIns="32632" tIns="32632" rIns="32632" bIns="32632" anchor="ctr"/>
          <a:lstStyle/>
          <a:p>
            <a:pPr defTabSz="891045"/>
            <a:endParaRPr lang="en-US" sz="1700" dirty="0">
              <a:solidFill>
                <a:srgbClr val="003149"/>
              </a:solidFill>
              <a:cs typeface="Arial" panose="020B0604020202020204" pitchFamily="34" charset="0"/>
            </a:endParaRPr>
          </a:p>
        </p:txBody>
      </p:sp>
      <p:sp>
        <p:nvSpPr>
          <p:cNvPr id="261" name="Freeform 658"/>
          <p:cNvSpPr>
            <a:spLocks noChangeAspect="1"/>
          </p:cNvSpPr>
          <p:nvPr>
            <p:custDataLst>
              <p:tags r:id="rId153"/>
            </p:custDataLst>
          </p:nvPr>
        </p:nvSpPr>
        <p:spPr bwMode="gray">
          <a:xfrm>
            <a:off x="3113687" y="2545126"/>
            <a:ext cx="112312" cy="130569"/>
          </a:xfrm>
          <a:custGeom>
            <a:avLst/>
            <a:gdLst>
              <a:gd name="T0" fmla="*/ 472565766 w 359"/>
              <a:gd name="T1" fmla="*/ 0 h 374"/>
              <a:gd name="T2" fmla="*/ 472565766 w 359"/>
              <a:gd name="T3" fmla="*/ 522515780 h 374"/>
              <a:gd name="T4" fmla="*/ 472565766 w 359"/>
              <a:gd name="T5" fmla="*/ 522515780 h 374"/>
              <a:gd name="T6" fmla="*/ 472565766 w 359"/>
              <a:gd name="T7" fmla="*/ 522515780 h 374"/>
              <a:gd name="T8" fmla="*/ 472565766 w 359"/>
              <a:gd name="T9" fmla="*/ 522515780 h 374"/>
              <a:gd name="T10" fmla="*/ 472565766 w 359"/>
              <a:gd name="T11" fmla="*/ 522515780 h 374"/>
              <a:gd name="T12" fmla="*/ 472565766 w 359"/>
              <a:gd name="T13" fmla="*/ 522515780 h 374"/>
              <a:gd name="T14" fmla="*/ 472565766 w 359"/>
              <a:gd name="T15" fmla="*/ 522515780 h 374"/>
              <a:gd name="T16" fmla="*/ 472565766 w 359"/>
              <a:gd name="T17" fmla="*/ 522515780 h 374"/>
              <a:gd name="T18" fmla="*/ 472565766 w 359"/>
              <a:gd name="T19" fmla="*/ 522515780 h 374"/>
              <a:gd name="T20" fmla="*/ 472565766 w 359"/>
              <a:gd name="T21" fmla="*/ 522515780 h 374"/>
              <a:gd name="T22" fmla="*/ 472565766 w 359"/>
              <a:gd name="T23" fmla="*/ 522515780 h 374"/>
              <a:gd name="T24" fmla="*/ 472565766 w 359"/>
              <a:gd name="T25" fmla="*/ 522515780 h 374"/>
              <a:gd name="T26" fmla="*/ 472565766 w 359"/>
              <a:gd name="T27" fmla="*/ 522515780 h 374"/>
              <a:gd name="T28" fmla="*/ 472565766 w 359"/>
              <a:gd name="T29" fmla="*/ 522515780 h 374"/>
              <a:gd name="T30" fmla="*/ 472565766 w 359"/>
              <a:gd name="T31" fmla="*/ 522515780 h 374"/>
              <a:gd name="T32" fmla="*/ 472565766 w 359"/>
              <a:gd name="T33" fmla="*/ 522515780 h 374"/>
              <a:gd name="T34" fmla="*/ 472565766 w 359"/>
              <a:gd name="T35" fmla="*/ 522515780 h 374"/>
              <a:gd name="T36" fmla="*/ 472565766 w 359"/>
              <a:gd name="T37" fmla="*/ 522515780 h 374"/>
              <a:gd name="T38" fmla="*/ 472565766 w 359"/>
              <a:gd name="T39" fmla="*/ 522515780 h 374"/>
              <a:gd name="T40" fmla="*/ 472565766 w 359"/>
              <a:gd name="T41" fmla="*/ 522515780 h 374"/>
              <a:gd name="T42" fmla="*/ 472565766 w 359"/>
              <a:gd name="T43" fmla="*/ 522515780 h 374"/>
              <a:gd name="T44" fmla="*/ 472565766 w 359"/>
              <a:gd name="T45" fmla="*/ 522515780 h 374"/>
              <a:gd name="T46" fmla="*/ 472565766 w 359"/>
              <a:gd name="T47" fmla="*/ 522515780 h 374"/>
              <a:gd name="T48" fmla="*/ 472565766 w 359"/>
              <a:gd name="T49" fmla="*/ 522515780 h 374"/>
              <a:gd name="T50" fmla="*/ 472565766 w 359"/>
              <a:gd name="T51" fmla="*/ 522515780 h 374"/>
              <a:gd name="T52" fmla="*/ 0 w 359"/>
              <a:gd name="T53" fmla="*/ 522515780 h 374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w 359"/>
              <a:gd name="T82" fmla="*/ 0 h 374"/>
              <a:gd name="T83" fmla="*/ 359 w 359"/>
              <a:gd name="T84" fmla="*/ 374 h 374"/>
            </a:gdLst>
            <a:ahLst/>
            <a:cxnLst>
              <a:cxn ang="T54">
                <a:pos x="T0" y="T1"/>
              </a:cxn>
              <a:cxn ang="T55">
                <a:pos x="T2" y="T3"/>
              </a:cxn>
              <a:cxn ang="T56">
                <a:pos x="T4" y="T5"/>
              </a:cxn>
              <a:cxn ang="T57">
                <a:pos x="T6" y="T7"/>
              </a:cxn>
              <a:cxn ang="T58">
                <a:pos x="T8" y="T9"/>
              </a:cxn>
              <a:cxn ang="T59">
                <a:pos x="T10" y="T11"/>
              </a:cxn>
              <a:cxn ang="T60">
                <a:pos x="T12" y="T13"/>
              </a:cxn>
              <a:cxn ang="T61">
                <a:pos x="T14" y="T15"/>
              </a:cxn>
              <a:cxn ang="T62">
                <a:pos x="T16" y="T17"/>
              </a:cxn>
              <a:cxn ang="T63">
                <a:pos x="T18" y="T19"/>
              </a:cxn>
              <a:cxn ang="T64">
                <a:pos x="T20" y="T21"/>
              </a:cxn>
              <a:cxn ang="T65">
                <a:pos x="T22" y="T23"/>
              </a:cxn>
              <a:cxn ang="T66">
                <a:pos x="T24" y="T25"/>
              </a:cxn>
              <a:cxn ang="T67">
                <a:pos x="T26" y="T27"/>
              </a:cxn>
              <a:cxn ang="T68">
                <a:pos x="T28" y="T29"/>
              </a:cxn>
              <a:cxn ang="T69">
                <a:pos x="T30" y="T31"/>
              </a:cxn>
              <a:cxn ang="T70">
                <a:pos x="T32" y="T33"/>
              </a:cxn>
              <a:cxn ang="T71">
                <a:pos x="T34" y="T35"/>
              </a:cxn>
              <a:cxn ang="T72">
                <a:pos x="T36" y="T37"/>
              </a:cxn>
              <a:cxn ang="T73">
                <a:pos x="T38" y="T39"/>
              </a:cxn>
              <a:cxn ang="T74">
                <a:pos x="T40" y="T41"/>
              </a:cxn>
              <a:cxn ang="T75">
                <a:pos x="T42" y="T43"/>
              </a:cxn>
              <a:cxn ang="T76">
                <a:pos x="T44" y="T45"/>
              </a:cxn>
              <a:cxn ang="T77">
                <a:pos x="T46" y="T47"/>
              </a:cxn>
              <a:cxn ang="T78">
                <a:pos x="T48" y="T49"/>
              </a:cxn>
              <a:cxn ang="T79">
                <a:pos x="T50" y="T51"/>
              </a:cxn>
              <a:cxn ang="T80">
                <a:pos x="T52" y="T53"/>
              </a:cxn>
            </a:cxnLst>
            <a:rect l="T81" t="T82" r="T83" b="T84"/>
            <a:pathLst>
              <a:path w="359" h="374">
                <a:moveTo>
                  <a:pt x="359" y="0"/>
                </a:moveTo>
                <a:lnTo>
                  <a:pt x="335" y="6"/>
                </a:lnTo>
                <a:lnTo>
                  <a:pt x="305" y="14"/>
                </a:lnTo>
                <a:lnTo>
                  <a:pt x="283" y="26"/>
                </a:lnTo>
                <a:lnTo>
                  <a:pt x="259" y="18"/>
                </a:lnTo>
                <a:lnTo>
                  <a:pt x="239" y="18"/>
                </a:lnTo>
                <a:lnTo>
                  <a:pt x="223" y="32"/>
                </a:lnTo>
                <a:lnTo>
                  <a:pt x="205" y="44"/>
                </a:lnTo>
                <a:lnTo>
                  <a:pt x="199" y="68"/>
                </a:lnTo>
                <a:lnTo>
                  <a:pt x="181" y="80"/>
                </a:lnTo>
                <a:lnTo>
                  <a:pt x="163" y="90"/>
                </a:lnTo>
                <a:lnTo>
                  <a:pt x="144" y="108"/>
                </a:lnTo>
                <a:lnTo>
                  <a:pt x="144" y="126"/>
                </a:lnTo>
                <a:lnTo>
                  <a:pt x="142" y="146"/>
                </a:lnTo>
                <a:lnTo>
                  <a:pt x="148" y="174"/>
                </a:lnTo>
                <a:lnTo>
                  <a:pt x="169" y="192"/>
                </a:lnTo>
                <a:lnTo>
                  <a:pt x="175" y="212"/>
                </a:lnTo>
                <a:lnTo>
                  <a:pt x="161" y="228"/>
                </a:lnTo>
                <a:lnTo>
                  <a:pt x="142" y="240"/>
                </a:lnTo>
                <a:lnTo>
                  <a:pt x="124" y="248"/>
                </a:lnTo>
                <a:lnTo>
                  <a:pt x="100" y="258"/>
                </a:lnTo>
                <a:lnTo>
                  <a:pt x="106" y="278"/>
                </a:lnTo>
                <a:lnTo>
                  <a:pt x="82" y="312"/>
                </a:lnTo>
                <a:lnTo>
                  <a:pt x="70" y="338"/>
                </a:lnTo>
                <a:lnTo>
                  <a:pt x="40" y="350"/>
                </a:lnTo>
                <a:lnTo>
                  <a:pt x="18" y="356"/>
                </a:lnTo>
                <a:lnTo>
                  <a:pt x="0" y="374"/>
                </a:lnTo>
              </a:path>
            </a:pathLst>
          </a:custGeom>
          <a:noFill/>
          <a:ln w="3175" cap="flat" cmpd="sng">
            <a:solidFill>
              <a:srgbClr val="D9EAF7"/>
            </a:solidFill>
            <a:prstDash val="solid"/>
            <a:round/>
            <a:headEnd type="none" w="med" len="med"/>
            <a:tailEnd type="none" w="sm" len="sm"/>
          </a:ln>
        </p:spPr>
        <p:txBody>
          <a:bodyPr wrap="none" lIns="32632" tIns="32632" rIns="32632" bIns="32632"/>
          <a:lstStyle/>
          <a:p>
            <a:pPr defTabSz="891045"/>
            <a:endParaRPr lang="en-US" sz="1700" dirty="0">
              <a:solidFill>
                <a:srgbClr val="003149"/>
              </a:solidFill>
              <a:cs typeface="Arial" panose="020B0604020202020204" pitchFamily="34" charset="0"/>
            </a:endParaRPr>
          </a:p>
        </p:txBody>
      </p:sp>
      <p:sp>
        <p:nvSpPr>
          <p:cNvPr id="262" name="Freeform 694"/>
          <p:cNvSpPr>
            <a:spLocks noChangeAspect="1"/>
          </p:cNvSpPr>
          <p:nvPr>
            <p:custDataLst>
              <p:tags r:id="rId154"/>
            </p:custDataLst>
          </p:nvPr>
        </p:nvSpPr>
        <p:spPr bwMode="gray">
          <a:xfrm>
            <a:off x="3137856" y="3348602"/>
            <a:ext cx="95252" cy="113352"/>
          </a:xfrm>
          <a:custGeom>
            <a:avLst/>
            <a:gdLst>
              <a:gd name="T0" fmla="*/ 462640880 w 311"/>
              <a:gd name="T1" fmla="*/ 0 h 317"/>
              <a:gd name="T2" fmla="*/ 462640880 w 311"/>
              <a:gd name="T3" fmla="*/ 535176979 h 317"/>
              <a:gd name="T4" fmla="*/ 462640880 w 311"/>
              <a:gd name="T5" fmla="*/ 535176979 h 317"/>
              <a:gd name="T6" fmla="*/ 462640880 w 311"/>
              <a:gd name="T7" fmla="*/ 535176979 h 317"/>
              <a:gd name="T8" fmla="*/ 462640880 w 311"/>
              <a:gd name="T9" fmla="*/ 535176979 h 317"/>
              <a:gd name="T10" fmla="*/ 462640880 w 311"/>
              <a:gd name="T11" fmla="*/ 535176979 h 317"/>
              <a:gd name="T12" fmla="*/ 462640880 w 311"/>
              <a:gd name="T13" fmla="*/ 535176979 h 317"/>
              <a:gd name="T14" fmla="*/ 462640880 w 311"/>
              <a:gd name="T15" fmla="*/ 535176979 h 317"/>
              <a:gd name="T16" fmla="*/ 462640880 w 311"/>
              <a:gd name="T17" fmla="*/ 535176979 h 317"/>
              <a:gd name="T18" fmla="*/ 462640880 w 311"/>
              <a:gd name="T19" fmla="*/ 535176979 h 317"/>
              <a:gd name="T20" fmla="*/ 462640880 w 311"/>
              <a:gd name="T21" fmla="*/ 535176979 h 317"/>
              <a:gd name="T22" fmla="*/ 462640880 w 311"/>
              <a:gd name="T23" fmla="*/ 535176979 h 317"/>
              <a:gd name="T24" fmla="*/ 462640880 w 311"/>
              <a:gd name="T25" fmla="*/ 535176979 h 317"/>
              <a:gd name="T26" fmla="*/ 462640880 w 311"/>
              <a:gd name="T27" fmla="*/ 535176979 h 317"/>
              <a:gd name="T28" fmla="*/ 462640880 w 311"/>
              <a:gd name="T29" fmla="*/ 535176979 h 317"/>
              <a:gd name="T30" fmla="*/ 462640880 w 311"/>
              <a:gd name="T31" fmla="*/ 535176979 h 317"/>
              <a:gd name="T32" fmla="*/ 462640880 w 311"/>
              <a:gd name="T33" fmla="*/ 535176979 h 317"/>
              <a:gd name="T34" fmla="*/ 462640880 w 311"/>
              <a:gd name="T35" fmla="*/ 535176979 h 317"/>
              <a:gd name="T36" fmla="*/ 462640880 w 311"/>
              <a:gd name="T37" fmla="*/ 535176979 h 317"/>
              <a:gd name="T38" fmla="*/ 462640880 w 311"/>
              <a:gd name="T39" fmla="*/ 535176979 h 317"/>
              <a:gd name="T40" fmla="*/ 462640880 w 311"/>
              <a:gd name="T41" fmla="*/ 535176979 h 317"/>
              <a:gd name="T42" fmla="*/ 462640880 w 311"/>
              <a:gd name="T43" fmla="*/ 535176979 h 317"/>
              <a:gd name="T44" fmla="*/ 462640880 w 311"/>
              <a:gd name="T45" fmla="*/ 535176979 h 317"/>
              <a:gd name="T46" fmla="*/ 462640880 w 311"/>
              <a:gd name="T47" fmla="*/ 535176979 h 317"/>
              <a:gd name="T48" fmla="*/ 462640880 w 311"/>
              <a:gd name="T49" fmla="*/ 535176979 h 317"/>
              <a:gd name="T50" fmla="*/ 462640880 w 311"/>
              <a:gd name="T51" fmla="*/ 535176979 h 317"/>
              <a:gd name="T52" fmla="*/ 462640880 w 311"/>
              <a:gd name="T53" fmla="*/ 535176979 h 317"/>
              <a:gd name="T54" fmla="*/ 462640880 w 311"/>
              <a:gd name="T55" fmla="*/ 535176979 h 317"/>
              <a:gd name="T56" fmla="*/ 462640880 w 311"/>
              <a:gd name="T57" fmla="*/ 535176979 h 317"/>
              <a:gd name="T58" fmla="*/ 462640880 w 311"/>
              <a:gd name="T59" fmla="*/ 535176979 h 317"/>
              <a:gd name="T60" fmla="*/ 462640880 w 311"/>
              <a:gd name="T61" fmla="*/ 535176979 h 317"/>
              <a:gd name="T62" fmla="*/ 462640880 w 311"/>
              <a:gd name="T63" fmla="*/ 535176979 h 317"/>
              <a:gd name="T64" fmla="*/ 462640880 w 311"/>
              <a:gd name="T65" fmla="*/ 535176979 h 317"/>
              <a:gd name="T66" fmla="*/ 462640880 w 311"/>
              <a:gd name="T67" fmla="*/ 535176979 h 317"/>
              <a:gd name="T68" fmla="*/ 462640880 w 311"/>
              <a:gd name="T69" fmla="*/ 535176979 h 317"/>
              <a:gd name="T70" fmla="*/ 0 w 311"/>
              <a:gd name="T71" fmla="*/ 535176979 h 317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w 311"/>
              <a:gd name="T109" fmla="*/ 0 h 317"/>
              <a:gd name="T110" fmla="*/ 311 w 311"/>
              <a:gd name="T111" fmla="*/ 317 h 317"/>
            </a:gdLst>
            <a:ahLst/>
            <a:cxnLst>
              <a:cxn ang="T72">
                <a:pos x="T0" y="T1"/>
              </a:cxn>
              <a:cxn ang="T73">
                <a:pos x="T2" y="T3"/>
              </a:cxn>
              <a:cxn ang="T74">
                <a:pos x="T4" y="T5"/>
              </a:cxn>
              <a:cxn ang="T75">
                <a:pos x="T6" y="T7"/>
              </a:cxn>
              <a:cxn ang="T76">
                <a:pos x="T8" y="T9"/>
              </a:cxn>
              <a:cxn ang="T77">
                <a:pos x="T10" y="T11"/>
              </a:cxn>
              <a:cxn ang="T78">
                <a:pos x="T12" y="T13"/>
              </a:cxn>
              <a:cxn ang="T79">
                <a:pos x="T14" y="T15"/>
              </a:cxn>
              <a:cxn ang="T80">
                <a:pos x="T16" y="T17"/>
              </a:cxn>
              <a:cxn ang="T81">
                <a:pos x="T18" y="T19"/>
              </a:cxn>
              <a:cxn ang="T82">
                <a:pos x="T20" y="T21"/>
              </a:cxn>
              <a:cxn ang="T83">
                <a:pos x="T22" y="T23"/>
              </a:cxn>
              <a:cxn ang="T84">
                <a:pos x="T24" y="T25"/>
              </a:cxn>
              <a:cxn ang="T85">
                <a:pos x="T26" y="T27"/>
              </a:cxn>
              <a:cxn ang="T86">
                <a:pos x="T28" y="T29"/>
              </a:cxn>
              <a:cxn ang="T87">
                <a:pos x="T30" y="T31"/>
              </a:cxn>
              <a:cxn ang="T88">
                <a:pos x="T32" y="T33"/>
              </a:cxn>
              <a:cxn ang="T89">
                <a:pos x="T34" y="T35"/>
              </a:cxn>
              <a:cxn ang="T90">
                <a:pos x="T36" y="T37"/>
              </a:cxn>
              <a:cxn ang="T91">
                <a:pos x="T38" y="T39"/>
              </a:cxn>
              <a:cxn ang="T92">
                <a:pos x="T40" y="T41"/>
              </a:cxn>
              <a:cxn ang="T93">
                <a:pos x="T42" y="T43"/>
              </a:cxn>
              <a:cxn ang="T94">
                <a:pos x="T44" y="T45"/>
              </a:cxn>
              <a:cxn ang="T95">
                <a:pos x="T46" y="T47"/>
              </a:cxn>
              <a:cxn ang="T96">
                <a:pos x="T48" y="T49"/>
              </a:cxn>
              <a:cxn ang="T97">
                <a:pos x="T50" y="T51"/>
              </a:cxn>
              <a:cxn ang="T98">
                <a:pos x="T52" y="T53"/>
              </a:cxn>
              <a:cxn ang="T99">
                <a:pos x="T54" y="T55"/>
              </a:cxn>
              <a:cxn ang="T100">
                <a:pos x="T56" y="T57"/>
              </a:cxn>
              <a:cxn ang="T101">
                <a:pos x="T58" y="T59"/>
              </a:cxn>
              <a:cxn ang="T102">
                <a:pos x="T60" y="T61"/>
              </a:cxn>
              <a:cxn ang="T103">
                <a:pos x="T62" y="T63"/>
              </a:cxn>
              <a:cxn ang="T104">
                <a:pos x="T64" y="T65"/>
              </a:cxn>
              <a:cxn ang="T105">
                <a:pos x="T66" y="T67"/>
              </a:cxn>
              <a:cxn ang="T106">
                <a:pos x="T68" y="T69"/>
              </a:cxn>
              <a:cxn ang="T107">
                <a:pos x="T70" y="T71"/>
              </a:cxn>
            </a:cxnLst>
            <a:rect l="T108" t="T109" r="T110" b="T111"/>
            <a:pathLst>
              <a:path w="311" h="317">
                <a:moveTo>
                  <a:pt x="311" y="0"/>
                </a:moveTo>
                <a:lnTo>
                  <a:pt x="295" y="16"/>
                </a:lnTo>
                <a:lnTo>
                  <a:pt x="279" y="42"/>
                </a:lnTo>
                <a:lnTo>
                  <a:pt x="287" y="64"/>
                </a:lnTo>
                <a:lnTo>
                  <a:pt x="302" y="79"/>
                </a:lnTo>
                <a:lnTo>
                  <a:pt x="303" y="93"/>
                </a:lnTo>
                <a:lnTo>
                  <a:pt x="304" y="107"/>
                </a:lnTo>
                <a:lnTo>
                  <a:pt x="291" y="117"/>
                </a:lnTo>
                <a:lnTo>
                  <a:pt x="267" y="120"/>
                </a:lnTo>
                <a:lnTo>
                  <a:pt x="253" y="119"/>
                </a:lnTo>
                <a:lnTo>
                  <a:pt x="240" y="127"/>
                </a:lnTo>
                <a:lnTo>
                  <a:pt x="229" y="136"/>
                </a:lnTo>
                <a:lnTo>
                  <a:pt x="208" y="131"/>
                </a:lnTo>
                <a:lnTo>
                  <a:pt x="191" y="131"/>
                </a:lnTo>
                <a:lnTo>
                  <a:pt x="171" y="136"/>
                </a:lnTo>
                <a:lnTo>
                  <a:pt x="160" y="135"/>
                </a:lnTo>
                <a:lnTo>
                  <a:pt x="147" y="130"/>
                </a:lnTo>
                <a:lnTo>
                  <a:pt x="132" y="124"/>
                </a:lnTo>
                <a:lnTo>
                  <a:pt x="123" y="124"/>
                </a:lnTo>
                <a:lnTo>
                  <a:pt x="111" y="128"/>
                </a:lnTo>
                <a:lnTo>
                  <a:pt x="108" y="139"/>
                </a:lnTo>
                <a:lnTo>
                  <a:pt x="123" y="145"/>
                </a:lnTo>
                <a:lnTo>
                  <a:pt x="129" y="167"/>
                </a:lnTo>
                <a:lnTo>
                  <a:pt x="123" y="182"/>
                </a:lnTo>
                <a:lnTo>
                  <a:pt x="125" y="198"/>
                </a:lnTo>
                <a:lnTo>
                  <a:pt x="109" y="218"/>
                </a:lnTo>
                <a:lnTo>
                  <a:pt x="88" y="224"/>
                </a:lnTo>
                <a:lnTo>
                  <a:pt x="72" y="226"/>
                </a:lnTo>
                <a:lnTo>
                  <a:pt x="58" y="236"/>
                </a:lnTo>
                <a:lnTo>
                  <a:pt x="48" y="247"/>
                </a:lnTo>
                <a:lnTo>
                  <a:pt x="39" y="254"/>
                </a:lnTo>
                <a:lnTo>
                  <a:pt x="33" y="261"/>
                </a:lnTo>
                <a:lnTo>
                  <a:pt x="24" y="277"/>
                </a:lnTo>
                <a:lnTo>
                  <a:pt x="17" y="294"/>
                </a:lnTo>
                <a:lnTo>
                  <a:pt x="9" y="305"/>
                </a:lnTo>
                <a:lnTo>
                  <a:pt x="0" y="317"/>
                </a:lnTo>
              </a:path>
            </a:pathLst>
          </a:custGeom>
          <a:noFill/>
          <a:ln w="3175" cap="flat" cmpd="sng">
            <a:solidFill>
              <a:srgbClr val="D9EAF7"/>
            </a:solidFill>
            <a:prstDash val="solid"/>
            <a:round/>
            <a:headEnd type="none" w="med" len="med"/>
            <a:tailEnd type="none" w="med" len="med"/>
          </a:ln>
        </p:spPr>
        <p:txBody>
          <a:bodyPr wrap="none" lIns="32632" tIns="32632" rIns="32632" bIns="32632" anchor="ctr"/>
          <a:lstStyle/>
          <a:p>
            <a:pPr defTabSz="891045"/>
            <a:endParaRPr lang="en-US" sz="1700" dirty="0">
              <a:solidFill>
                <a:srgbClr val="003149"/>
              </a:solidFill>
              <a:cs typeface="Arial" panose="020B0604020202020204" pitchFamily="34" charset="0"/>
            </a:endParaRPr>
          </a:p>
        </p:txBody>
      </p:sp>
      <p:sp>
        <p:nvSpPr>
          <p:cNvPr id="263" name="Freeform 701"/>
          <p:cNvSpPr>
            <a:spLocks noChangeAspect="1"/>
          </p:cNvSpPr>
          <p:nvPr>
            <p:custDataLst>
              <p:tags r:id="rId155"/>
            </p:custDataLst>
          </p:nvPr>
        </p:nvSpPr>
        <p:spPr bwMode="gray">
          <a:xfrm>
            <a:off x="3154931" y="3232381"/>
            <a:ext cx="15638" cy="63133"/>
          </a:xfrm>
          <a:custGeom>
            <a:avLst/>
            <a:gdLst>
              <a:gd name="T0" fmla="*/ 0 w 11250"/>
              <a:gd name="T1" fmla="*/ 0 h 9784"/>
              <a:gd name="T2" fmla="*/ 0 w 11250"/>
              <a:gd name="T3" fmla="*/ 0 h 9784"/>
              <a:gd name="T4" fmla="*/ 0 w 11250"/>
              <a:gd name="T5" fmla="*/ 0 h 9784"/>
              <a:gd name="T6" fmla="*/ 0 w 11250"/>
              <a:gd name="T7" fmla="*/ 0 h 9784"/>
              <a:gd name="T8" fmla="*/ 0 w 11250"/>
              <a:gd name="T9" fmla="*/ 0 h 9784"/>
              <a:gd name="T10" fmla="*/ 0 w 11250"/>
              <a:gd name="T11" fmla="*/ 0 h 9784"/>
              <a:gd name="T12" fmla="*/ 0 w 11250"/>
              <a:gd name="T13" fmla="*/ 0 h 9784"/>
              <a:gd name="T14" fmla="*/ 0 w 11250"/>
              <a:gd name="T15" fmla="*/ 0 h 9784"/>
              <a:gd name="T16" fmla="*/ 0 w 11250"/>
              <a:gd name="T17" fmla="*/ 0 h 9784"/>
              <a:gd name="T18" fmla="*/ 0 w 11250"/>
              <a:gd name="T19" fmla="*/ 0 h 9784"/>
              <a:gd name="T20" fmla="*/ 0 w 11250"/>
              <a:gd name="T21" fmla="*/ 0 h 9784"/>
              <a:gd name="T22" fmla="*/ 0 w 11250"/>
              <a:gd name="T23" fmla="*/ 0 h 9784"/>
              <a:gd name="T24" fmla="*/ 0 w 11250"/>
              <a:gd name="T25" fmla="*/ 0 h 9784"/>
              <a:gd name="T26" fmla="*/ 0 w 11250"/>
              <a:gd name="T27" fmla="*/ 0 h 9784"/>
              <a:gd name="T28" fmla="*/ 0 w 11250"/>
              <a:gd name="T29" fmla="*/ 0 h 9784"/>
              <a:gd name="T30" fmla="*/ 0 w 11250"/>
              <a:gd name="T31" fmla="*/ 0 h 9784"/>
              <a:gd name="T32" fmla="*/ 0 w 11250"/>
              <a:gd name="T33" fmla="*/ 0 h 9784"/>
              <a:gd name="T34" fmla="*/ 0 w 11250"/>
              <a:gd name="T35" fmla="*/ 0 h 9784"/>
              <a:gd name="T36" fmla="*/ 0 w 11250"/>
              <a:gd name="T37" fmla="*/ 0 h 9784"/>
              <a:gd name="T38" fmla="*/ 0 w 11250"/>
              <a:gd name="T39" fmla="*/ 0 h 9784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w 11250"/>
              <a:gd name="T61" fmla="*/ 0 h 9784"/>
              <a:gd name="T62" fmla="*/ 11250 w 11250"/>
              <a:gd name="T63" fmla="*/ 9784 h 9784"/>
            </a:gdLst>
            <a:ahLst/>
            <a:cxnLst>
              <a:cxn ang="T40">
                <a:pos x="T0" y="T1"/>
              </a:cxn>
              <a:cxn ang="T41">
                <a:pos x="T2" y="T3"/>
              </a:cxn>
              <a:cxn ang="T42">
                <a:pos x="T4" y="T5"/>
              </a:cxn>
              <a:cxn ang="T43">
                <a:pos x="T6" y="T7"/>
              </a:cxn>
              <a:cxn ang="T44">
                <a:pos x="T8" y="T9"/>
              </a:cxn>
              <a:cxn ang="T45">
                <a:pos x="T10" y="T11"/>
              </a:cxn>
              <a:cxn ang="T46">
                <a:pos x="T12" y="T13"/>
              </a:cxn>
              <a:cxn ang="T47">
                <a:pos x="T14" y="T15"/>
              </a:cxn>
              <a:cxn ang="T48">
                <a:pos x="T16" y="T17"/>
              </a:cxn>
              <a:cxn ang="T49">
                <a:pos x="T18" y="T19"/>
              </a:cxn>
              <a:cxn ang="T50">
                <a:pos x="T20" y="T21"/>
              </a:cxn>
              <a:cxn ang="T51">
                <a:pos x="T22" y="T23"/>
              </a:cxn>
              <a:cxn ang="T52">
                <a:pos x="T24" y="T25"/>
              </a:cxn>
              <a:cxn ang="T53">
                <a:pos x="T26" y="T27"/>
              </a:cxn>
              <a:cxn ang="T54">
                <a:pos x="T28" y="T29"/>
              </a:cxn>
              <a:cxn ang="T55">
                <a:pos x="T30" y="T31"/>
              </a:cxn>
              <a:cxn ang="T56">
                <a:pos x="T32" y="T33"/>
              </a:cxn>
              <a:cxn ang="T57">
                <a:pos x="T34" y="T35"/>
              </a:cxn>
              <a:cxn ang="T58">
                <a:pos x="T36" y="T37"/>
              </a:cxn>
              <a:cxn ang="T59">
                <a:pos x="T38" y="T39"/>
              </a:cxn>
            </a:cxnLst>
            <a:rect l="T60" t="T61" r="T62" b="T63"/>
            <a:pathLst>
              <a:path w="11250" h="9784">
                <a:moveTo>
                  <a:pt x="11250" y="9784"/>
                </a:moveTo>
                <a:lnTo>
                  <a:pt x="7073" y="9781"/>
                </a:lnTo>
                <a:lnTo>
                  <a:pt x="4634" y="9344"/>
                </a:lnTo>
                <a:lnTo>
                  <a:pt x="2683" y="8361"/>
                </a:lnTo>
                <a:lnTo>
                  <a:pt x="1707" y="7705"/>
                </a:lnTo>
                <a:lnTo>
                  <a:pt x="2683" y="7049"/>
                </a:lnTo>
                <a:lnTo>
                  <a:pt x="2683" y="6721"/>
                </a:lnTo>
                <a:lnTo>
                  <a:pt x="3171" y="6066"/>
                </a:lnTo>
                <a:lnTo>
                  <a:pt x="6585" y="5519"/>
                </a:lnTo>
                <a:lnTo>
                  <a:pt x="7073" y="4754"/>
                </a:lnTo>
                <a:lnTo>
                  <a:pt x="4634" y="4973"/>
                </a:lnTo>
                <a:lnTo>
                  <a:pt x="2683" y="4973"/>
                </a:lnTo>
                <a:lnTo>
                  <a:pt x="1220" y="4645"/>
                </a:lnTo>
                <a:lnTo>
                  <a:pt x="2683" y="3661"/>
                </a:lnTo>
                <a:lnTo>
                  <a:pt x="5122" y="2678"/>
                </a:lnTo>
                <a:lnTo>
                  <a:pt x="5122" y="2022"/>
                </a:lnTo>
                <a:lnTo>
                  <a:pt x="5122" y="1475"/>
                </a:lnTo>
                <a:lnTo>
                  <a:pt x="4634" y="492"/>
                </a:lnTo>
                <a:lnTo>
                  <a:pt x="2683" y="710"/>
                </a:lnTo>
                <a:lnTo>
                  <a:pt x="0" y="0"/>
                </a:lnTo>
              </a:path>
            </a:pathLst>
          </a:custGeom>
          <a:noFill/>
          <a:ln w="3175" cap="flat" cmpd="sng">
            <a:solidFill>
              <a:srgbClr val="D9EAF7"/>
            </a:solidFill>
            <a:prstDash val="solid"/>
            <a:round/>
            <a:headEnd type="none" w="med" len="med"/>
            <a:tailEnd type="none" w="med" len="med"/>
          </a:ln>
        </p:spPr>
        <p:txBody>
          <a:bodyPr wrap="none" lIns="32632" tIns="32632" rIns="32632" bIns="32632" anchor="ctr"/>
          <a:lstStyle/>
          <a:p>
            <a:pPr defTabSz="891045"/>
            <a:endParaRPr lang="en-US" sz="1700" dirty="0">
              <a:solidFill>
                <a:srgbClr val="003149"/>
              </a:solidFill>
              <a:cs typeface="Arial" panose="020B0604020202020204" pitchFamily="34" charset="0"/>
            </a:endParaRPr>
          </a:p>
        </p:txBody>
      </p:sp>
      <p:sp>
        <p:nvSpPr>
          <p:cNvPr id="264" name="Freeform 702"/>
          <p:cNvSpPr>
            <a:spLocks noChangeAspect="1"/>
          </p:cNvSpPr>
          <p:nvPr>
            <p:custDataLst>
              <p:tags r:id="rId156"/>
            </p:custDataLst>
          </p:nvPr>
        </p:nvSpPr>
        <p:spPr bwMode="gray">
          <a:xfrm>
            <a:off x="3071037" y="3219472"/>
            <a:ext cx="83878" cy="22958"/>
          </a:xfrm>
          <a:custGeom>
            <a:avLst/>
            <a:gdLst>
              <a:gd name="T0" fmla="*/ 0 w 10000"/>
              <a:gd name="T1" fmla="*/ 0 h 10000"/>
              <a:gd name="T2" fmla="*/ 0 w 10000"/>
              <a:gd name="T3" fmla="*/ 0 h 10000"/>
              <a:gd name="T4" fmla="*/ 0 w 10000"/>
              <a:gd name="T5" fmla="*/ 0 h 10000"/>
              <a:gd name="T6" fmla="*/ 0 w 10000"/>
              <a:gd name="T7" fmla="*/ 0 h 10000"/>
              <a:gd name="T8" fmla="*/ 0 w 10000"/>
              <a:gd name="T9" fmla="*/ 0 h 10000"/>
              <a:gd name="T10" fmla="*/ 0 w 10000"/>
              <a:gd name="T11" fmla="*/ 0 h 10000"/>
              <a:gd name="T12" fmla="*/ 0 w 10000"/>
              <a:gd name="T13" fmla="*/ 0 h 10000"/>
              <a:gd name="T14" fmla="*/ 0 w 10000"/>
              <a:gd name="T15" fmla="*/ 0 h 10000"/>
              <a:gd name="T16" fmla="*/ 0 w 10000"/>
              <a:gd name="T17" fmla="*/ 0 h 10000"/>
              <a:gd name="T18" fmla="*/ 0 w 10000"/>
              <a:gd name="T19" fmla="*/ 0 h 10000"/>
              <a:gd name="T20" fmla="*/ 0 w 10000"/>
              <a:gd name="T21" fmla="*/ 0 h 10000"/>
              <a:gd name="T22" fmla="*/ 0 w 10000"/>
              <a:gd name="T23" fmla="*/ 0 h 10000"/>
              <a:gd name="T24" fmla="*/ 0 w 10000"/>
              <a:gd name="T25" fmla="*/ 0 h 10000"/>
              <a:gd name="T26" fmla="*/ 0 w 10000"/>
              <a:gd name="T27" fmla="*/ 0 h 10000"/>
              <a:gd name="T28" fmla="*/ 0 w 10000"/>
              <a:gd name="T29" fmla="*/ 0 h 10000"/>
              <a:gd name="T30" fmla="*/ 0 w 10000"/>
              <a:gd name="T31" fmla="*/ 0 h 10000"/>
              <a:gd name="T32" fmla="*/ 0 w 10000"/>
              <a:gd name="T33" fmla="*/ 0 h 10000"/>
              <a:gd name="T34" fmla="*/ 0 w 10000"/>
              <a:gd name="T35" fmla="*/ 0 h 10000"/>
              <a:gd name="T36" fmla="*/ 0 w 10000"/>
              <a:gd name="T37" fmla="*/ 0 h 10000"/>
              <a:gd name="T38" fmla="*/ 0 w 10000"/>
              <a:gd name="T39" fmla="*/ 0 h 10000"/>
              <a:gd name="T40" fmla="*/ 0 w 10000"/>
              <a:gd name="T41" fmla="*/ 0 h 10000"/>
              <a:gd name="T42" fmla="*/ 0 w 10000"/>
              <a:gd name="T43" fmla="*/ 0 h 10000"/>
              <a:gd name="T44" fmla="*/ 0 w 10000"/>
              <a:gd name="T45" fmla="*/ 0 h 10000"/>
              <a:gd name="T46" fmla="*/ 0 w 10000"/>
              <a:gd name="T47" fmla="*/ 0 h 10000"/>
              <a:gd name="T48" fmla="*/ 0 w 10000"/>
              <a:gd name="T49" fmla="*/ 0 h 10000"/>
              <a:gd name="T50" fmla="*/ 0 w 10000"/>
              <a:gd name="T51" fmla="*/ 0 h 10000"/>
              <a:gd name="T52" fmla="*/ 0 w 10000"/>
              <a:gd name="T53" fmla="*/ 0 h 10000"/>
              <a:gd name="T54" fmla="*/ 0 w 10000"/>
              <a:gd name="T55" fmla="*/ 0 h 10000"/>
              <a:gd name="T56" fmla="*/ 0 w 10000"/>
              <a:gd name="T57" fmla="*/ 0 h 10000"/>
              <a:gd name="T58" fmla="*/ 0 w 10000"/>
              <a:gd name="T59" fmla="*/ 0 h 10000"/>
              <a:gd name="T60" fmla="*/ 0 w 10000"/>
              <a:gd name="T61" fmla="*/ 0 h 10000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w 10000"/>
              <a:gd name="T94" fmla="*/ 0 h 10000"/>
              <a:gd name="T95" fmla="*/ 10000 w 10000"/>
              <a:gd name="T96" fmla="*/ 10000 h 10000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T93" t="T94" r="T95" b="T96"/>
            <a:pathLst>
              <a:path w="10000" h="10000">
                <a:moveTo>
                  <a:pt x="10000" y="5313"/>
                </a:moveTo>
                <a:lnTo>
                  <a:pt x="9414" y="7188"/>
                </a:lnTo>
                <a:lnTo>
                  <a:pt x="9780" y="7500"/>
                </a:lnTo>
                <a:cubicBezTo>
                  <a:pt x="9756" y="8125"/>
                  <a:pt x="9731" y="8750"/>
                  <a:pt x="9707" y="9375"/>
                </a:cubicBezTo>
                <a:lnTo>
                  <a:pt x="8828" y="10000"/>
                </a:lnTo>
                <a:lnTo>
                  <a:pt x="8315" y="9375"/>
                </a:lnTo>
                <a:lnTo>
                  <a:pt x="8535" y="8750"/>
                </a:lnTo>
                <a:lnTo>
                  <a:pt x="8205" y="7813"/>
                </a:lnTo>
                <a:lnTo>
                  <a:pt x="7839" y="7813"/>
                </a:lnTo>
                <a:cubicBezTo>
                  <a:pt x="7888" y="7292"/>
                  <a:pt x="7936" y="6771"/>
                  <a:pt x="7985" y="6250"/>
                </a:cubicBezTo>
                <a:lnTo>
                  <a:pt x="7985" y="5313"/>
                </a:lnTo>
                <a:cubicBezTo>
                  <a:pt x="7863" y="4896"/>
                  <a:pt x="7740" y="4480"/>
                  <a:pt x="7619" y="4063"/>
                </a:cubicBezTo>
                <a:lnTo>
                  <a:pt x="6886" y="4375"/>
                </a:lnTo>
                <a:cubicBezTo>
                  <a:pt x="6911" y="3646"/>
                  <a:pt x="6936" y="2917"/>
                  <a:pt x="6960" y="2188"/>
                </a:cubicBezTo>
                <a:lnTo>
                  <a:pt x="6447" y="2500"/>
                </a:lnTo>
                <a:lnTo>
                  <a:pt x="6008" y="4063"/>
                </a:lnTo>
                <a:lnTo>
                  <a:pt x="5714" y="4063"/>
                </a:lnTo>
                <a:lnTo>
                  <a:pt x="5714" y="1875"/>
                </a:lnTo>
                <a:cubicBezTo>
                  <a:pt x="5739" y="1563"/>
                  <a:pt x="5763" y="1250"/>
                  <a:pt x="5787" y="938"/>
                </a:cubicBezTo>
                <a:lnTo>
                  <a:pt x="5129" y="0"/>
                </a:lnTo>
                <a:lnTo>
                  <a:pt x="4689" y="625"/>
                </a:lnTo>
                <a:lnTo>
                  <a:pt x="3810" y="625"/>
                </a:lnTo>
                <a:lnTo>
                  <a:pt x="3297" y="1563"/>
                </a:lnTo>
                <a:lnTo>
                  <a:pt x="2857" y="3438"/>
                </a:lnTo>
                <a:cubicBezTo>
                  <a:pt x="2760" y="3855"/>
                  <a:pt x="2661" y="4271"/>
                  <a:pt x="2564" y="4688"/>
                </a:cubicBezTo>
                <a:lnTo>
                  <a:pt x="2125" y="2813"/>
                </a:lnTo>
                <a:lnTo>
                  <a:pt x="1612" y="4063"/>
                </a:lnTo>
                <a:lnTo>
                  <a:pt x="1026" y="5313"/>
                </a:lnTo>
                <a:cubicBezTo>
                  <a:pt x="928" y="4792"/>
                  <a:pt x="830" y="4271"/>
                  <a:pt x="733" y="3750"/>
                </a:cubicBezTo>
                <a:lnTo>
                  <a:pt x="293" y="4375"/>
                </a:lnTo>
                <a:cubicBezTo>
                  <a:pt x="147" y="4375"/>
                  <a:pt x="146" y="3958"/>
                  <a:pt x="0" y="3958"/>
                </a:cubicBezTo>
              </a:path>
            </a:pathLst>
          </a:custGeom>
          <a:noFill/>
          <a:ln w="3175" cap="flat" cmpd="sng">
            <a:solidFill>
              <a:srgbClr val="D9EAF7"/>
            </a:solidFill>
            <a:prstDash val="solid"/>
            <a:round/>
            <a:headEnd type="none" w="med" len="med"/>
            <a:tailEnd type="none" w="med" len="med"/>
          </a:ln>
        </p:spPr>
        <p:txBody>
          <a:bodyPr wrap="none" lIns="32632" tIns="32632" rIns="32632" bIns="32632" anchor="ctr"/>
          <a:lstStyle/>
          <a:p>
            <a:pPr defTabSz="891045"/>
            <a:endParaRPr lang="en-US" sz="1700" dirty="0">
              <a:solidFill>
                <a:srgbClr val="003149"/>
              </a:solidFill>
              <a:cs typeface="Arial" panose="020B0604020202020204" pitchFamily="34" charset="0"/>
            </a:endParaRPr>
          </a:p>
        </p:txBody>
      </p:sp>
      <p:sp>
        <p:nvSpPr>
          <p:cNvPr id="265" name="Freeform 708"/>
          <p:cNvSpPr>
            <a:spLocks noChangeAspect="1"/>
          </p:cNvSpPr>
          <p:nvPr>
            <p:custDataLst>
              <p:tags r:id="rId157"/>
            </p:custDataLst>
          </p:nvPr>
        </p:nvSpPr>
        <p:spPr bwMode="gray">
          <a:xfrm>
            <a:off x="3342577" y="3096069"/>
            <a:ext cx="65396" cy="113352"/>
          </a:xfrm>
          <a:custGeom>
            <a:avLst/>
            <a:gdLst>
              <a:gd name="T0" fmla="*/ 931926376 w 106"/>
              <a:gd name="T1" fmla="*/ 0 h 161"/>
              <a:gd name="T2" fmla="*/ 931926376 w 106"/>
              <a:gd name="T3" fmla="*/ 1053733562 h 161"/>
              <a:gd name="T4" fmla="*/ 931926376 w 106"/>
              <a:gd name="T5" fmla="*/ 1053733562 h 161"/>
              <a:gd name="T6" fmla="*/ 931926376 w 106"/>
              <a:gd name="T7" fmla="*/ 1053733562 h 161"/>
              <a:gd name="T8" fmla="*/ 931926376 w 106"/>
              <a:gd name="T9" fmla="*/ 1053733562 h 161"/>
              <a:gd name="T10" fmla="*/ 931926376 w 106"/>
              <a:gd name="T11" fmla="*/ 1053733562 h 161"/>
              <a:gd name="T12" fmla="*/ 931926376 w 106"/>
              <a:gd name="T13" fmla="*/ 1053733562 h 161"/>
              <a:gd name="T14" fmla="*/ 931926376 w 106"/>
              <a:gd name="T15" fmla="*/ 1053733562 h 161"/>
              <a:gd name="T16" fmla="*/ 931926376 w 106"/>
              <a:gd name="T17" fmla="*/ 1053733562 h 161"/>
              <a:gd name="T18" fmla="*/ 931926376 w 106"/>
              <a:gd name="T19" fmla="*/ 1053733562 h 161"/>
              <a:gd name="T20" fmla="*/ 931926376 w 106"/>
              <a:gd name="T21" fmla="*/ 1053733562 h 161"/>
              <a:gd name="T22" fmla="*/ 931926376 w 106"/>
              <a:gd name="T23" fmla="*/ 1053733562 h 161"/>
              <a:gd name="T24" fmla="*/ 931926376 w 106"/>
              <a:gd name="T25" fmla="*/ 1053733562 h 161"/>
              <a:gd name="T26" fmla="*/ 931926376 w 106"/>
              <a:gd name="T27" fmla="*/ 1053733562 h 161"/>
              <a:gd name="T28" fmla="*/ 931926376 w 106"/>
              <a:gd name="T29" fmla="*/ 1053733562 h 161"/>
              <a:gd name="T30" fmla="*/ 931926376 w 106"/>
              <a:gd name="T31" fmla="*/ 1053733562 h 161"/>
              <a:gd name="T32" fmla="*/ 931926376 w 106"/>
              <a:gd name="T33" fmla="*/ 1053733562 h 161"/>
              <a:gd name="T34" fmla="*/ 0 w 106"/>
              <a:gd name="T35" fmla="*/ 1053733562 h 161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w 106"/>
              <a:gd name="T55" fmla="*/ 0 h 161"/>
              <a:gd name="T56" fmla="*/ 106 w 106"/>
              <a:gd name="T57" fmla="*/ 161 h 161"/>
            </a:gdLst>
            <a:ahLst/>
            <a:cxnLst>
              <a:cxn ang="T36">
                <a:pos x="T0" y="T1"/>
              </a:cxn>
              <a:cxn ang="T37">
                <a:pos x="T2" y="T3"/>
              </a:cxn>
              <a:cxn ang="T38">
                <a:pos x="T4" y="T5"/>
              </a:cxn>
              <a:cxn ang="T39">
                <a:pos x="T6" y="T7"/>
              </a:cxn>
              <a:cxn ang="T40">
                <a:pos x="T8" y="T9"/>
              </a:cxn>
              <a:cxn ang="T41">
                <a:pos x="T10" y="T11"/>
              </a:cxn>
              <a:cxn ang="T42">
                <a:pos x="T12" y="T13"/>
              </a:cxn>
              <a:cxn ang="T43">
                <a:pos x="T14" y="T15"/>
              </a:cxn>
              <a:cxn ang="T44">
                <a:pos x="T16" y="T17"/>
              </a:cxn>
              <a:cxn ang="T45">
                <a:pos x="T18" y="T19"/>
              </a:cxn>
              <a:cxn ang="T46">
                <a:pos x="T20" y="T21"/>
              </a:cxn>
              <a:cxn ang="T47">
                <a:pos x="T22" y="T23"/>
              </a:cxn>
              <a:cxn ang="T48">
                <a:pos x="T24" y="T25"/>
              </a:cxn>
              <a:cxn ang="T49">
                <a:pos x="T26" y="T27"/>
              </a:cxn>
              <a:cxn ang="T50">
                <a:pos x="T28" y="T29"/>
              </a:cxn>
              <a:cxn ang="T51">
                <a:pos x="T30" y="T31"/>
              </a:cxn>
              <a:cxn ang="T52">
                <a:pos x="T32" y="T33"/>
              </a:cxn>
              <a:cxn ang="T53">
                <a:pos x="T34" y="T35"/>
              </a:cxn>
            </a:cxnLst>
            <a:rect l="T54" t="T55" r="T56" b="T57"/>
            <a:pathLst>
              <a:path w="106" h="161">
                <a:moveTo>
                  <a:pt x="58" y="0"/>
                </a:moveTo>
                <a:lnTo>
                  <a:pt x="66" y="11"/>
                </a:lnTo>
                <a:lnTo>
                  <a:pt x="70" y="16"/>
                </a:lnTo>
                <a:lnTo>
                  <a:pt x="77" y="23"/>
                </a:lnTo>
                <a:lnTo>
                  <a:pt x="98" y="39"/>
                </a:lnTo>
                <a:lnTo>
                  <a:pt x="106" y="46"/>
                </a:lnTo>
                <a:lnTo>
                  <a:pt x="87" y="59"/>
                </a:lnTo>
                <a:lnTo>
                  <a:pt x="59" y="79"/>
                </a:lnTo>
                <a:lnTo>
                  <a:pt x="36" y="87"/>
                </a:lnTo>
                <a:lnTo>
                  <a:pt x="28" y="95"/>
                </a:lnTo>
                <a:lnTo>
                  <a:pt x="23" y="103"/>
                </a:lnTo>
                <a:lnTo>
                  <a:pt x="22" y="111"/>
                </a:lnTo>
                <a:lnTo>
                  <a:pt x="27" y="116"/>
                </a:lnTo>
                <a:lnTo>
                  <a:pt x="28" y="128"/>
                </a:lnTo>
                <a:lnTo>
                  <a:pt x="25" y="131"/>
                </a:lnTo>
                <a:lnTo>
                  <a:pt x="21" y="137"/>
                </a:lnTo>
                <a:lnTo>
                  <a:pt x="10" y="143"/>
                </a:lnTo>
                <a:lnTo>
                  <a:pt x="0" y="161"/>
                </a:lnTo>
              </a:path>
            </a:pathLst>
          </a:custGeom>
          <a:noFill/>
          <a:ln w="3175" cap="flat" cmpd="sng">
            <a:solidFill>
              <a:srgbClr val="D9EAF7"/>
            </a:solidFill>
            <a:prstDash val="solid"/>
            <a:round/>
            <a:headEnd type="none" w="med" len="med"/>
            <a:tailEnd type="none" w="sm" len="sm"/>
          </a:ln>
        </p:spPr>
        <p:txBody>
          <a:bodyPr wrap="none" lIns="32632" tIns="32632" rIns="32632" bIns="32632" anchor="ctr"/>
          <a:lstStyle/>
          <a:p>
            <a:pPr defTabSz="891045"/>
            <a:endParaRPr lang="en-US" sz="1700" dirty="0">
              <a:solidFill>
                <a:srgbClr val="003149"/>
              </a:solidFill>
              <a:cs typeface="Arial" panose="020B0604020202020204" pitchFamily="34" charset="0"/>
            </a:endParaRPr>
          </a:p>
        </p:txBody>
      </p:sp>
      <p:sp>
        <p:nvSpPr>
          <p:cNvPr id="266" name="Freeform 711"/>
          <p:cNvSpPr>
            <a:spLocks noChangeAspect="1"/>
          </p:cNvSpPr>
          <p:nvPr>
            <p:custDataLst>
              <p:tags r:id="rId158"/>
            </p:custDataLst>
          </p:nvPr>
        </p:nvSpPr>
        <p:spPr bwMode="gray">
          <a:xfrm>
            <a:off x="3250185" y="3206576"/>
            <a:ext cx="92409" cy="139179"/>
          </a:xfrm>
          <a:custGeom>
            <a:avLst/>
            <a:gdLst>
              <a:gd name="T0" fmla="*/ 924412897 w 151"/>
              <a:gd name="T1" fmla="*/ 0 h 195"/>
              <a:gd name="T2" fmla="*/ 924412897 w 151"/>
              <a:gd name="T3" fmla="*/ 1068234867 h 195"/>
              <a:gd name="T4" fmla="*/ 924412897 w 151"/>
              <a:gd name="T5" fmla="*/ 1068234867 h 195"/>
              <a:gd name="T6" fmla="*/ 924412897 w 151"/>
              <a:gd name="T7" fmla="*/ 1068234867 h 195"/>
              <a:gd name="T8" fmla="*/ 924412897 w 151"/>
              <a:gd name="T9" fmla="*/ 1068234867 h 195"/>
              <a:gd name="T10" fmla="*/ 924412897 w 151"/>
              <a:gd name="T11" fmla="*/ 1068234867 h 195"/>
              <a:gd name="T12" fmla="*/ 924412897 w 151"/>
              <a:gd name="T13" fmla="*/ 1068234867 h 195"/>
              <a:gd name="T14" fmla="*/ 924412897 w 151"/>
              <a:gd name="T15" fmla="*/ 1068234867 h 195"/>
              <a:gd name="T16" fmla="*/ 924412897 w 151"/>
              <a:gd name="T17" fmla="*/ 1068234867 h 195"/>
              <a:gd name="T18" fmla="*/ 924412897 w 151"/>
              <a:gd name="T19" fmla="*/ 1068234867 h 195"/>
              <a:gd name="T20" fmla="*/ 924412897 w 151"/>
              <a:gd name="T21" fmla="*/ 1068234867 h 195"/>
              <a:gd name="T22" fmla="*/ 924412897 w 151"/>
              <a:gd name="T23" fmla="*/ 1068234867 h 195"/>
              <a:gd name="T24" fmla="*/ 924412897 w 151"/>
              <a:gd name="T25" fmla="*/ 1068234867 h 195"/>
              <a:gd name="T26" fmla="*/ 924412897 w 151"/>
              <a:gd name="T27" fmla="*/ 1068234867 h 195"/>
              <a:gd name="T28" fmla="*/ 924412897 w 151"/>
              <a:gd name="T29" fmla="*/ 1068234867 h 195"/>
              <a:gd name="T30" fmla="*/ 924412897 w 151"/>
              <a:gd name="T31" fmla="*/ 1068234867 h 195"/>
              <a:gd name="T32" fmla="*/ 924412897 w 151"/>
              <a:gd name="T33" fmla="*/ 1068234867 h 195"/>
              <a:gd name="T34" fmla="*/ 924412897 w 151"/>
              <a:gd name="T35" fmla="*/ 1068234867 h 195"/>
              <a:gd name="T36" fmla="*/ 924412897 w 151"/>
              <a:gd name="T37" fmla="*/ 1068234867 h 195"/>
              <a:gd name="T38" fmla="*/ 0 w 151"/>
              <a:gd name="T39" fmla="*/ 1068234867 h 195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w 151"/>
              <a:gd name="T61" fmla="*/ 0 h 195"/>
              <a:gd name="T62" fmla="*/ 151 w 151"/>
              <a:gd name="T63" fmla="*/ 195 h 195"/>
            </a:gdLst>
            <a:ahLst/>
            <a:cxnLst>
              <a:cxn ang="T40">
                <a:pos x="T0" y="T1"/>
              </a:cxn>
              <a:cxn ang="T41">
                <a:pos x="T2" y="T3"/>
              </a:cxn>
              <a:cxn ang="T42">
                <a:pos x="T4" y="T5"/>
              </a:cxn>
              <a:cxn ang="T43">
                <a:pos x="T6" y="T7"/>
              </a:cxn>
              <a:cxn ang="T44">
                <a:pos x="T8" y="T9"/>
              </a:cxn>
              <a:cxn ang="T45">
                <a:pos x="T10" y="T11"/>
              </a:cxn>
              <a:cxn ang="T46">
                <a:pos x="T12" y="T13"/>
              </a:cxn>
              <a:cxn ang="T47">
                <a:pos x="T14" y="T15"/>
              </a:cxn>
              <a:cxn ang="T48">
                <a:pos x="T16" y="T17"/>
              </a:cxn>
              <a:cxn ang="T49">
                <a:pos x="T18" y="T19"/>
              </a:cxn>
              <a:cxn ang="T50">
                <a:pos x="T20" y="T21"/>
              </a:cxn>
              <a:cxn ang="T51">
                <a:pos x="T22" y="T23"/>
              </a:cxn>
              <a:cxn ang="T52">
                <a:pos x="T24" y="T25"/>
              </a:cxn>
              <a:cxn ang="T53">
                <a:pos x="T26" y="T27"/>
              </a:cxn>
              <a:cxn ang="T54">
                <a:pos x="T28" y="T29"/>
              </a:cxn>
              <a:cxn ang="T55">
                <a:pos x="T30" y="T31"/>
              </a:cxn>
              <a:cxn ang="T56">
                <a:pos x="T32" y="T33"/>
              </a:cxn>
              <a:cxn ang="T57">
                <a:pos x="T34" y="T35"/>
              </a:cxn>
              <a:cxn ang="T58">
                <a:pos x="T36" y="T37"/>
              </a:cxn>
              <a:cxn ang="T59">
                <a:pos x="T38" y="T39"/>
              </a:cxn>
            </a:cxnLst>
            <a:rect l="T60" t="T61" r="T62" b="T63"/>
            <a:pathLst>
              <a:path w="151" h="195">
                <a:moveTo>
                  <a:pt x="151" y="0"/>
                </a:moveTo>
                <a:lnTo>
                  <a:pt x="130" y="11"/>
                </a:lnTo>
                <a:lnTo>
                  <a:pt x="125" y="19"/>
                </a:lnTo>
                <a:lnTo>
                  <a:pt x="124" y="37"/>
                </a:lnTo>
                <a:lnTo>
                  <a:pt x="114" y="53"/>
                </a:lnTo>
                <a:lnTo>
                  <a:pt x="114" y="61"/>
                </a:lnTo>
                <a:lnTo>
                  <a:pt x="106" y="68"/>
                </a:lnTo>
                <a:lnTo>
                  <a:pt x="102" y="81"/>
                </a:lnTo>
                <a:lnTo>
                  <a:pt x="91" y="95"/>
                </a:lnTo>
                <a:lnTo>
                  <a:pt x="75" y="114"/>
                </a:lnTo>
                <a:lnTo>
                  <a:pt x="65" y="127"/>
                </a:lnTo>
                <a:lnTo>
                  <a:pt x="53" y="132"/>
                </a:lnTo>
                <a:lnTo>
                  <a:pt x="42" y="133"/>
                </a:lnTo>
                <a:lnTo>
                  <a:pt x="32" y="137"/>
                </a:lnTo>
                <a:lnTo>
                  <a:pt x="13" y="145"/>
                </a:lnTo>
                <a:lnTo>
                  <a:pt x="17" y="162"/>
                </a:lnTo>
                <a:lnTo>
                  <a:pt x="24" y="171"/>
                </a:lnTo>
                <a:lnTo>
                  <a:pt x="27" y="181"/>
                </a:lnTo>
                <a:lnTo>
                  <a:pt x="18" y="187"/>
                </a:lnTo>
                <a:lnTo>
                  <a:pt x="0" y="195"/>
                </a:lnTo>
              </a:path>
            </a:pathLst>
          </a:custGeom>
          <a:noFill/>
          <a:ln w="3175" cap="flat" cmpd="sng">
            <a:solidFill>
              <a:srgbClr val="D9EAF7"/>
            </a:solidFill>
            <a:prstDash val="solid"/>
            <a:round/>
            <a:headEnd type="none" w="med" len="med"/>
            <a:tailEnd type="none" w="sm" len="sm"/>
          </a:ln>
        </p:spPr>
        <p:txBody>
          <a:bodyPr wrap="none" lIns="32632" tIns="32632" rIns="32632" bIns="32632" anchor="ctr"/>
          <a:lstStyle/>
          <a:p>
            <a:pPr defTabSz="891045"/>
            <a:endParaRPr lang="en-US" sz="1700" dirty="0">
              <a:solidFill>
                <a:srgbClr val="003149"/>
              </a:solidFill>
              <a:cs typeface="Arial" panose="020B0604020202020204" pitchFamily="34" charset="0"/>
            </a:endParaRPr>
          </a:p>
        </p:txBody>
      </p:sp>
      <p:sp>
        <p:nvSpPr>
          <p:cNvPr id="267" name="Freeform 704"/>
          <p:cNvSpPr>
            <a:spLocks noChangeAspect="1"/>
          </p:cNvSpPr>
          <p:nvPr>
            <p:custDataLst>
              <p:tags r:id="rId159"/>
            </p:custDataLst>
          </p:nvPr>
        </p:nvSpPr>
        <p:spPr bwMode="gray">
          <a:xfrm>
            <a:off x="2971520" y="3053039"/>
            <a:ext cx="183395" cy="153528"/>
          </a:xfrm>
          <a:custGeom>
            <a:avLst/>
            <a:gdLst>
              <a:gd name="T0" fmla="*/ 0 w 10000"/>
              <a:gd name="T1" fmla="*/ 0 h 10000"/>
              <a:gd name="T2" fmla="*/ 0 w 10000"/>
              <a:gd name="T3" fmla="*/ 0 h 10000"/>
              <a:gd name="T4" fmla="*/ 0 w 10000"/>
              <a:gd name="T5" fmla="*/ 0 h 10000"/>
              <a:gd name="T6" fmla="*/ 0 w 10000"/>
              <a:gd name="T7" fmla="*/ 0 h 10000"/>
              <a:gd name="T8" fmla="*/ 0 w 10000"/>
              <a:gd name="T9" fmla="*/ 0 h 10000"/>
              <a:gd name="T10" fmla="*/ 0 w 10000"/>
              <a:gd name="T11" fmla="*/ 0 h 10000"/>
              <a:gd name="T12" fmla="*/ 0 w 10000"/>
              <a:gd name="T13" fmla="*/ 0 h 10000"/>
              <a:gd name="T14" fmla="*/ 0 w 10000"/>
              <a:gd name="T15" fmla="*/ 0 h 10000"/>
              <a:gd name="T16" fmla="*/ 0 w 10000"/>
              <a:gd name="T17" fmla="*/ 0 h 10000"/>
              <a:gd name="T18" fmla="*/ 0 w 10000"/>
              <a:gd name="T19" fmla="*/ 0 h 10000"/>
              <a:gd name="T20" fmla="*/ 0 w 10000"/>
              <a:gd name="T21" fmla="*/ 0 h 10000"/>
              <a:gd name="T22" fmla="*/ 0 w 10000"/>
              <a:gd name="T23" fmla="*/ 0 h 10000"/>
              <a:gd name="T24" fmla="*/ 0 w 10000"/>
              <a:gd name="T25" fmla="*/ 0 h 10000"/>
              <a:gd name="T26" fmla="*/ 0 w 10000"/>
              <a:gd name="T27" fmla="*/ 0 h 10000"/>
              <a:gd name="T28" fmla="*/ 0 w 10000"/>
              <a:gd name="T29" fmla="*/ 0 h 10000"/>
              <a:gd name="T30" fmla="*/ 0 w 10000"/>
              <a:gd name="T31" fmla="*/ 0 h 10000"/>
              <a:gd name="T32" fmla="*/ 0 w 10000"/>
              <a:gd name="T33" fmla="*/ 0 h 10000"/>
              <a:gd name="T34" fmla="*/ 0 w 10000"/>
              <a:gd name="T35" fmla="*/ 0 h 10000"/>
              <a:gd name="T36" fmla="*/ 0 w 10000"/>
              <a:gd name="T37" fmla="*/ 0 h 10000"/>
              <a:gd name="T38" fmla="*/ 0 w 10000"/>
              <a:gd name="T39" fmla="*/ 0 h 10000"/>
              <a:gd name="T40" fmla="*/ 0 w 10000"/>
              <a:gd name="T41" fmla="*/ 0 h 10000"/>
              <a:gd name="T42" fmla="*/ 0 w 10000"/>
              <a:gd name="T43" fmla="*/ 0 h 10000"/>
              <a:gd name="T44" fmla="*/ 0 w 10000"/>
              <a:gd name="T45" fmla="*/ 0 h 10000"/>
              <a:gd name="T46" fmla="*/ 0 w 10000"/>
              <a:gd name="T47" fmla="*/ 0 h 10000"/>
              <a:gd name="T48" fmla="*/ 0 w 10000"/>
              <a:gd name="T49" fmla="*/ 0 h 10000"/>
              <a:gd name="T50" fmla="*/ 0 w 10000"/>
              <a:gd name="T51" fmla="*/ 0 h 10000"/>
              <a:gd name="T52" fmla="*/ 0 w 10000"/>
              <a:gd name="T53" fmla="*/ 0 h 10000"/>
              <a:gd name="T54" fmla="*/ 0 w 10000"/>
              <a:gd name="T55" fmla="*/ 0 h 10000"/>
              <a:gd name="T56" fmla="*/ 0 w 10000"/>
              <a:gd name="T57" fmla="*/ 0 h 10000"/>
              <a:gd name="T58" fmla="*/ 0 w 10000"/>
              <a:gd name="T59" fmla="*/ 0 h 10000"/>
              <a:gd name="T60" fmla="*/ 0 w 10000"/>
              <a:gd name="T61" fmla="*/ 0 h 10000"/>
              <a:gd name="T62" fmla="*/ 0 w 10000"/>
              <a:gd name="T63" fmla="*/ 0 h 10000"/>
              <a:gd name="T64" fmla="*/ 0 w 10000"/>
              <a:gd name="T65" fmla="*/ 0 h 10000"/>
              <a:gd name="T66" fmla="*/ 0 w 10000"/>
              <a:gd name="T67" fmla="*/ 0 h 10000"/>
              <a:gd name="T68" fmla="*/ 0 w 10000"/>
              <a:gd name="T69" fmla="*/ 0 h 10000"/>
              <a:gd name="T70" fmla="*/ 0 w 10000"/>
              <a:gd name="T71" fmla="*/ 0 h 10000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w 10000"/>
              <a:gd name="T109" fmla="*/ 0 h 10000"/>
              <a:gd name="T110" fmla="*/ 10000 w 10000"/>
              <a:gd name="T111" fmla="*/ 10000 h 10000"/>
            </a:gdLst>
            <a:ahLst/>
            <a:cxnLst>
              <a:cxn ang="T72">
                <a:pos x="T0" y="T1"/>
              </a:cxn>
              <a:cxn ang="T73">
                <a:pos x="T2" y="T3"/>
              </a:cxn>
              <a:cxn ang="T74">
                <a:pos x="T4" y="T5"/>
              </a:cxn>
              <a:cxn ang="T75">
                <a:pos x="T6" y="T7"/>
              </a:cxn>
              <a:cxn ang="T76">
                <a:pos x="T8" y="T9"/>
              </a:cxn>
              <a:cxn ang="T77">
                <a:pos x="T10" y="T11"/>
              </a:cxn>
              <a:cxn ang="T78">
                <a:pos x="T12" y="T13"/>
              </a:cxn>
              <a:cxn ang="T79">
                <a:pos x="T14" y="T15"/>
              </a:cxn>
              <a:cxn ang="T80">
                <a:pos x="T16" y="T17"/>
              </a:cxn>
              <a:cxn ang="T81">
                <a:pos x="T18" y="T19"/>
              </a:cxn>
              <a:cxn ang="T82">
                <a:pos x="T20" y="T21"/>
              </a:cxn>
              <a:cxn ang="T83">
                <a:pos x="T22" y="T23"/>
              </a:cxn>
              <a:cxn ang="T84">
                <a:pos x="T24" y="T25"/>
              </a:cxn>
              <a:cxn ang="T85">
                <a:pos x="T26" y="T27"/>
              </a:cxn>
              <a:cxn ang="T86">
                <a:pos x="T28" y="T29"/>
              </a:cxn>
              <a:cxn ang="T87">
                <a:pos x="T30" y="T31"/>
              </a:cxn>
              <a:cxn ang="T88">
                <a:pos x="T32" y="T33"/>
              </a:cxn>
              <a:cxn ang="T89">
                <a:pos x="T34" y="T35"/>
              </a:cxn>
              <a:cxn ang="T90">
                <a:pos x="T36" y="T37"/>
              </a:cxn>
              <a:cxn ang="T91">
                <a:pos x="T38" y="T39"/>
              </a:cxn>
              <a:cxn ang="T92">
                <a:pos x="T40" y="T41"/>
              </a:cxn>
              <a:cxn ang="T93">
                <a:pos x="T42" y="T43"/>
              </a:cxn>
              <a:cxn ang="T94">
                <a:pos x="T44" y="T45"/>
              </a:cxn>
              <a:cxn ang="T95">
                <a:pos x="T46" y="T47"/>
              </a:cxn>
              <a:cxn ang="T96">
                <a:pos x="T48" y="T49"/>
              </a:cxn>
              <a:cxn ang="T97">
                <a:pos x="T50" y="T51"/>
              </a:cxn>
              <a:cxn ang="T98">
                <a:pos x="T52" y="T53"/>
              </a:cxn>
              <a:cxn ang="T99">
                <a:pos x="T54" y="T55"/>
              </a:cxn>
              <a:cxn ang="T100">
                <a:pos x="T56" y="T57"/>
              </a:cxn>
              <a:cxn ang="T101">
                <a:pos x="T58" y="T59"/>
              </a:cxn>
              <a:cxn ang="T102">
                <a:pos x="T60" y="T61"/>
              </a:cxn>
              <a:cxn ang="T103">
                <a:pos x="T62" y="T63"/>
              </a:cxn>
              <a:cxn ang="T104">
                <a:pos x="T64" y="T65"/>
              </a:cxn>
              <a:cxn ang="T105">
                <a:pos x="T66" y="T67"/>
              </a:cxn>
              <a:cxn ang="T106">
                <a:pos x="T68" y="T69"/>
              </a:cxn>
              <a:cxn ang="T107">
                <a:pos x="T70" y="T71"/>
              </a:cxn>
            </a:cxnLst>
            <a:rect l="T108" t="T109" r="T110" b="T111"/>
            <a:pathLst>
              <a:path w="10000" h="10000">
                <a:moveTo>
                  <a:pt x="9044" y="0"/>
                </a:moveTo>
                <a:lnTo>
                  <a:pt x="8785" y="335"/>
                </a:lnTo>
                <a:lnTo>
                  <a:pt x="8483" y="609"/>
                </a:lnTo>
                <a:cubicBezTo>
                  <a:pt x="8528" y="807"/>
                  <a:pt x="8572" y="1004"/>
                  <a:pt x="8617" y="1202"/>
                </a:cubicBezTo>
                <a:lnTo>
                  <a:pt x="9022" y="1613"/>
                </a:lnTo>
                <a:lnTo>
                  <a:pt x="9393" y="2117"/>
                </a:lnTo>
                <a:lnTo>
                  <a:pt x="9798" y="2525"/>
                </a:lnTo>
                <a:cubicBezTo>
                  <a:pt x="9865" y="2663"/>
                  <a:pt x="9933" y="2800"/>
                  <a:pt x="10000" y="2938"/>
                </a:cubicBezTo>
                <a:cubicBezTo>
                  <a:pt x="9966" y="3090"/>
                  <a:pt x="9934" y="3243"/>
                  <a:pt x="9900" y="3395"/>
                </a:cubicBezTo>
                <a:lnTo>
                  <a:pt x="9426" y="3623"/>
                </a:lnTo>
                <a:lnTo>
                  <a:pt x="9090" y="3944"/>
                </a:lnTo>
                <a:lnTo>
                  <a:pt x="8617" y="3897"/>
                </a:lnTo>
                <a:lnTo>
                  <a:pt x="8315" y="3533"/>
                </a:lnTo>
                <a:lnTo>
                  <a:pt x="7976" y="3259"/>
                </a:lnTo>
                <a:lnTo>
                  <a:pt x="7505" y="3259"/>
                </a:lnTo>
                <a:lnTo>
                  <a:pt x="7067" y="3486"/>
                </a:lnTo>
                <a:lnTo>
                  <a:pt x="6762" y="3760"/>
                </a:lnTo>
                <a:lnTo>
                  <a:pt x="6291" y="4216"/>
                </a:lnTo>
                <a:cubicBezTo>
                  <a:pt x="6213" y="4353"/>
                  <a:pt x="6133" y="4489"/>
                  <a:pt x="6055" y="4626"/>
                </a:cubicBezTo>
                <a:lnTo>
                  <a:pt x="5447" y="4307"/>
                </a:lnTo>
                <a:lnTo>
                  <a:pt x="4976" y="4080"/>
                </a:lnTo>
                <a:lnTo>
                  <a:pt x="4471" y="3944"/>
                </a:lnTo>
                <a:lnTo>
                  <a:pt x="3948" y="3944"/>
                </a:lnTo>
                <a:lnTo>
                  <a:pt x="3543" y="4307"/>
                </a:lnTo>
                <a:lnTo>
                  <a:pt x="3038" y="4719"/>
                </a:lnTo>
                <a:cubicBezTo>
                  <a:pt x="2971" y="4917"/>
                  <a:pt x="2903" y="5115"/>
                  <a:pt x="2836" y="5313"/>
                </a:cubicBezTo>
                <a:cubicBezTo>
                  <a:pt x="2892" y="5488"/>
                  <a:pt x="2947" y="5664"/>
                  <a:pt x="3003" y="5837"/>
                </a:cubicBezTo>
                <a:lnTo>
                  <a:pt x="2733" y="6204"/>
                </a:lnTo>
                <a:lnTo>
                  <a:pt x="2228" y="6385"/>
                </a:lnTo>
                <a:lnTo>
                  <a:pt x="1688" y="6614"/>
                </a:lnTo>
                <a:lnTo>
                  <a:pt x="1317" y="7207"/>
                </a:lnTo>
                <a:cubicBezTo>
                  <a:pt x="1272" y="7390"/>
                  <a:pt x="1228" y="7574"/>
                  <a:pt x="1182" y="7757"/>
                </a:cubicBezTo>
                <a:lnTo>
                  <a:pt x="879" y="8396"/>
                </a:lnTo>
                <a:lnTo>
                  <a:pt x="576" y="8987"/>
                </a:lnTo>
                <a:lnTo>
                  <a:pt x="172" y="9536"/>
                </a:lnTo>
                <a:cubicBezTo>
                  <a:pt x="75" y="9706"/>
                  <a:pt x="33" y="9895"/>
                  <a:pt x="0" y="10000"/>
                </a:cubicBezTo>
              </a:path>
            </a:pathLst>
          </a:custGeom>
          <a:noFill/>
          <a:ln w="3175" cap="flat" cmpd="sng">
            <a:solidFill>
              <a:srgbClr val="D9EAF7"/>
            </a:solidFill>
            <a:prstDash val="solid"/>
            <a:round/>
            <a:headEnd/>
            <a:tailEnd/>
          </a:ln>
        </p:spPr>
        <p:txBody>
          <a:bodyPr wrap="none" lIns="32632" tIns="32632" rIns="32632" bIns="32632" anchor="ctr"/>
          <a:lstStyle/>
          <a:p>
            <a:pPr defTabSz="891045"/>
            <a:endParaRPr lang="en-US" sz="1700" dirty="0">
              <a:solidFill>
                <a:srgbClr val="003149"/>
              </a:solidFill>
              <a:cs typeface="Arial" panose="020B0604020202020204" pitchFamily="34" charset="0"/>
            </a:endParaRPr>
          </a:p>
        </p:txBody>
      </p:sp>
      <p:sp>
        <p:nvSpPr>
          <p:cNvPr id="268" name="Freeform 703"/>
          <p:cNvSpPr>
            <a:spLocks noChangeAspect="1"/>
          </p:cNvSpPr>
          <p:nvPr>
            <p:custDataLst>
              <p:tags r:id="rId160"/>
            </p:custDataLst>
          </p:nvPr>
        </p:nvSpPr>
        <p:spPr bwMode="gray">
          <a:xfrm>
            <a:off x="3167735" y="3185044"/>
            <a:ext cx="160649" cy="110482"/>
          </a:xfrm>
          <a:custGeom>
            <a:avLst/>
            <a:gdLst>
              <a:gd name="T0" fmla="*/ 0 w 1022"/>
              <a:gd name="T1" fmla="*/ 0 h 629"/>
              <a:gd name="T2" fmla="*/ 0 w 1022"/>
              <a:gd name="T3" fmla="*/ 0 h 629"/>
              <a:gd name="T4" fmla="*/ 0 w 1022"/>
              <a:gd name="T5" fmla="*/ 0 h 629"/>
              <a:gd name="T6" fmla="*/ 0 w 1022"/>
              <a:gd name="T7" fmla="*/ 0 h 629"/>
              <a:gd name="T8" fmla="*/ 0 w 1022"/>
              <a:gd name="T9" fmla="*/ 0 h 629"/>
              <a:gd name="T10" fmla="*/ 0 w 1022"/>
              <a:gd name="T11" fmla="*/ 0 h 629"/>
              <a:gd name="T12" fmla="*/ 0 w 1022"/>
              <a:gd name="T13" fmla="*/ 0 h 629"/>
              <a:gd name="T14" fmla="*/ 0 w 1022"/>
              <a:gd name="T15" fmla="*/ 0 h 629"/>
              <a:gd name="T16" fmla="*/ 0 w 1022"/>
              <a:gd name="T17" fmla="*/ 0 h 629"/>
              <a:gd name="T18" fmla="*/ 0 w 1022"/>
              <a:gd name="T19" fmla="*/ 0 h 629"/>
              <a:gd name="T20" fmla="*/ 0 w 1022"/>
              <a:gd name="T21" fmla="*/ 0 h 629"/>
              <a:gd name="T22" fmla="*/ 0 w 1022"/>
              <a:gd name="T23" fmla="*/ 0 h 629"/>
              <a:gd name="T24" fmla="*/ 0 w 1022"/>
              <a:gd name="T25" fmla="*/ 0 h 629"/>
              <a:gd name="T26" fmla="*/ 0 w 1022"/>
              <a:gd name="T27" fmla="*/ 0 h 629"/>
              <a:gd name="T28" fmla="*/ 0 w 1022"/>
              <a:gd name="T29" fmla="*/ 0 h 629"/>
              <a:gd name="T30" fmla="*/ 0 w 1022"/>
              <a:gd name="T31" fmla="*/ 0 h 629"/>
              <a:gd name="T32" fmla="*/ 0 w 1022"/>
              <a:gd name="T33" fmla="*/ 0 h 629"/>
              <a:gd name="T34" fmla="*/ 0 w 1022"/>
              <a:gd name="T35" fmla="*/ 0 h 629"/>
              <a:gd name="T36" fmla="*/ 0 w 1022"/>
              <a:gd name="T37" fmla="*/ 0 h 629"/>
              <a:gd name="T38" fmla="*/ 0 w 1022"/>
              <a:gd name="T39" fmla="*/ 0 h 629"/>
              <a:gd name="T40" fmla="*/ 0 w 1022"/>
              <a:gd name="T41" fmla="*/ 0 h 629"/>
              <a:gd name="T42" fmla="*/ 0 w 1022"/>
              <a:gd name="T43" fmla="*/ 0 h 629"/>
              <a:gd name="T44" fmla="*/ 0 w 1022"/>
              <a:gd name="T45" fmla="*/ 0 h 629"/>
              <a:gd name="T46" fmla="*/ 0 w 1022"/>
              <a:gd name="T47" fmla="*/ 0 h 629"/>
              <a:gd name="T48" fmla="*/ 0 w 1022"/>
              <a:gd name="T49" fmla="*/ 0 h 629"/>
              <a:gd name="T50" fmla="*/ 0 w 1022"/>
              <a:gd name="T51" fmla="*/ 0 h 629"/>
              <a:gd name="T52" fmla="*/ 0 w 1022"/>
              <a:gd name="T53" fmla="*/ 0 h 629"/>
              <a:gd name="T54" fmla="*/ 0 w 1022"/>
              <a:gd name="T55" fmla="*/ 0 h 629"/>
              <a:gd name="T56" fmla="*/ 0 w 1022"/>
              <a:gd name="T57" fmla="*/ 0 h 629"/>
              <a:gd name="T58" fmla="*/ 0 w 1022"/>
              <a:gd name="T59" fmla="*/ 0 h 629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w 1022"/>
              <a:gd name="T91" fmla="*/ 0 h 629"/>
              <a:gd name="T92" fmla="*/ 1022 w 1022"/>
              <a:gd name="T93" fmla="*/ 629 h 629"/>
            </a:gdLst>
            <a:ahLst/>
            <a:cxnLst>
              <a:cxn ang="T60">
                <a:pos x="T0" y="T1"/>
              </a:cxn>
              <a:cxn ang="T61">
                <a:pos x="T2" y="T3"/>
              </a:cxn>
              <a:cxn ang="T62">
                <a:pos x="T4" y="T5"/>
              </a:cxn>
              <a:cxn ang="T63">
                <a:pos x="T6" y="T7"/>
              </a:cxn>
              <a:cxn ang="T64">
                <a:pos x="T8" y="T9"/>
              </a:cxn>
              <a:cxn ang="T65">
                <a:pos x="T10" y="T11"/>
              </a:cxn>
              <a:cxn ang="T66">
                <a:pos x="T12" y="T13"/>
              </a:cxn>
              <a:cxn ang="T67">
                <a:pos x="T14" y="T15"/>
              </a:cxn>
              <a:cxn ang="T68">
                <a:pos x="T16" y="T17"/>
              </a:cxn>
              <a:cxn ang="T69">
                <a:pos x="T18" y="T19"/>
              </a:cxn>
              <a:cxn ang="T70">
                <a:pos x="T20" y="T21"/>
              </a:cxn>
              <a:cxn ang="T71">
                <a:pos x="T22" y="T23"/>
              </a:cxn>
              <a:cxn ang="T72">
                <a:pos x="T24" y="T25"/>
              </a:cxn>
              <a:cxn ang="T73">
                <a:pos x="T26" y="T27"/>
              </a:cxn>
              <a:cxn ang="T74">
                <a:pos x="T28" y="T29"/>
              </a:cxn>
              <a:cxn ang="T75">
                <a:pos x="T30" y="T31"/>
              </a:cxn>
              <a:cxn ang="T76">
                <a:pos x="T32" y="T33"/>
              </a:cxn>
              <a:cxn ang="T77">
                <a:pos x="T34" y="T35"/>
              </a:cxn>
              <a:cxn ang="T78">
                <a:pos x="T36" y="T37"/>
              </a:cxn>
              <a:cxn ang="T79">
                <a:pos x="T38" y="T39"/>
              </a:cxn>
              <a:cxn ang="T80">
                <a:pos x="T40" y="T41"/>
              </a:cxn>
              <a:cxn ang="T81">
                <a:pos x="T42" y="T43"/>
              </a:cxn>
              <a:cxn ang="T82">
                <a:pos x="T44" y="T45"/>
              </a:cxn>
              <a:cxn ang="T83">
                <a:pos x="T46" y="T47"/>
              </a:cxn>
              <a:cxn ang="T84">
                <a:pos x="T48" y="T49"/>
              </a:cxn>
              <a:cxn ang="T85">
                <a:pos x="T50" y="T51"/>
              </a:cxn>
              <a:cxn ang="T86">
                <a:pos x="T52" y="T53"/>
              </a:cxn>
              <a:cxn ang="T87">
                <a:pos x="T54" y="T55"/>
              </a:cxn>
              <a:cxn ang="T88">
                <a:pos x="T56" y="T57"/>
              </a:cxn>
              <a:cxn ang="T89">
                <a:pos x="T58" y="T59"/>
              </a:cxn>
            </a:cxnLst>
            <a:rect l="T90" t="T91" r="T92" b="T93"/>
            <a:pathLst>
              <a:path w="1022" h="629">
                <a:moveTo>
                  <a:pt x="1022" y="202"/>
                </a:moveTo>
                <a:lnTo>
                  <a:pt x="970" y="197"/>
                </a:lnTo>
                <a:lnTo>
                  <a:pt x="926" y="159"/>
                </a:lnTo>
                <a:lnTo>
                  <a:pt x="917" y="120"/>
                </a:lnTo>
                <a:lnTo>
                  <a:pt x="859" y="67"/>
                </a:lnTo>
                <a:lnTo>
                  <a:pt x="802" y="10"/>
                </a:lnTo>
                <a:lnTo>
                  <a:pt x="778" y="0"/>
                </a:lnTo>
                <a:lnTo>
                  <a:pt x="720" y="0"/>
                </a:lnTo>
                <a:lnTo>
                  <a:pt x="672" y="5"/>
                </a:lnTo>
                <a:lnTo>
                  <a:pt x="643" y="72"/>
                </a:lnTo>
                <a:lnTo>
                  <a:pt x="605" y="111"/>
                </a:lnTo>
                <a:lnTo>
                  <a:pt x="576" y="144"/>
                </a:lnTo>
                <a:lnTo>
                  <a:pt x="518" y="168"/>
                </a:lnTo>
                <a:lnTo>
                  <a:pt x="461" y="192"/>
                </a:lnTo>
                <a:lnTo>
                  <a:pt x="398" y="149"/>
                </a:lnTo>
                <a:lnTo>
                  <a:pt x="360" y="135"/>
                </a:lnTo>
                <a:lnTo>
                  <a:pt x="298" y="139"/>
                </a:lnTo>
                <a:lnTo>
                  <a:pt x="278" y="197"/>
                </a:lnTo>
                <a:lnTo>
                  <a:pt x="254" y="211"/>
                </a:lnTo>
                <a:lnTo>
                  <a:pt x="254" y="250"/>
                </a:lnTo>
                <a:lnTo>
                  <a:pt x="226" y="264"/>
                </a:lnTo>
                <a:lnTo>
                  <a:pt x="206" y="298"/>
                </a:lnTo>
                <a:lnTo>
                  <a:pt x="178" y="336"/>
                </a:lnTo>
                <a:lnTo>
                  <a:pt x="125" y="341"/>
                </a:lnTo>
                <a:lnTo>
                  <a:pt x="72" y="341"/>
                </a:lnTo>
                <a:lnTo>
                  <a:pt x="67" y="423"/>
                </a:lnTo>
                <a:lnTo>
                  <a:pt x="29" y="451"/>
                </a:lnTo>
                <a:lnTo>
                  <a:pt x="0" y="528"/>
                </a:lnTo>
                <a:lnTo>
                  <a:pt x="0" y="567"/>
                </a:lnTo>
                <a:lnTo>
                  <a:pt x="0" y="629"/>
                </a:lnTo>
              </a:path>
            </a:pathLst>
          </a:custGeom>
          <a:noFill/>
          <a:ln w="3175" cap="flat" cmpd="sng">
            <a:solidFill>
              <a:srgbClr val="D9EAF7"/>
            </a:solidFill>
            <a:prstDash val="solid"/>
            <a:round/>
            <a:headEnd type="none" w="med" len="med"/>
            <a:tailEnd type="none" w="med" len="med"/>
          </a:ln>
        </p:spPr>
        <p:txBody>
          <a:bodyPr wrap="none" lIns="32632" tIns="32632" rIns="32632" bIns="32632" anchor="ctr"/>
          <a:lstStyle/>
          <a:p>
            <a:pPr defTabSz="891045"/>
            <a:endParaRPr lang="en-US" sz="1700" dirty="0">
              <a:solidFill>
                <a:srgbClr val="003149"/>
              </a:solidFill>
              <a:cs typeface="Arial" panose="020B0604020202020204" pitchFamily="34" charset="0"/>
            </a:endParaRPr>
          </a:p>
        </p:txBody>
      </p:sp>
      <p:sp>
        <p:nvSpPr>
          <p:cNvPr id="269" name="Freeform 697"/>
          <p:cNvSpPr>
            <a:spLocks noChangeAspect="1"/>
          </p:cNvSpPr>
          <p:nvPr>
            <p:custDataLst>
              <p:tags r:id="rId161"/>
            </p:custDataLst>
          </p:nvPr>
        </p:nvSpPr>
        <p:spPr bwMode="gray">
          <a:xfrm>
            <a:off x="3250183" y="3345735"/>
            <a:ext cx="100939" cy="88960"/>
          </a:xfrm>
          <a:custGeom>
            <a:avLst/>
            <a:gdLst>
              <a:gd name="T0" fmla="*/ 0 w 329"/>
              <a:gd name="T1" fmla="*/ 0 h 251"/>
              <a:gd name="T2" fmla="*/ 463438438 w 329"/>
              <a:gd name="T3" fmla="*/ 530453873 h 251"/>
              <a:gd name="T4" fmla="*/ 463438438 w 329"/>
              <a:gd name="T5" fmla="*/ 530453873 h 251"/>
              <a:gd name="T6" fmla="*/ 463438438 w 329"/>
              <a:gd name="T7" fmla="*/ 530453873 h 251"/>
              <a:gd name="T8" fmla="*/ 463438438 w 329"/>
              <a:gd name="T9" fmla="*/ 530453873 h 251"/>
              <a:gd name="T10" fmla="*/ 463438438 w 329"/>
              <a:gd name="T11" fmla="*/ 530453873 h 251"/>
              <a:gd name="T12" fmla="*/ 463438438 w 329"/>
              <a:gd name="T13" fmla="*/ 530453873 h 251"/>
              <a:gd name="T14" fmla="*/ 463438438 w 329"/>
              <a:gd name="T15" fmla="*/ 530453873 h 251"/>
              <a:gd name="T16" fmla="*/ 463438438 w 329"/>
              <a:gd name="T17" fmla="*/ 530453873 h 251"/>
              <a:gd name="T18" fmla="*/ 463438438 w 329"/>
              <a:gd name="T19" fmla="*/ 530453873 h 251"/>
              <a:gd name="T20" fmla="*/ 463438438 w 329"/>
              <a:gd name="T21" fmla="*/ 530453873 h 251"/>
              <a:gd name="T22" fmla="*/ 463438438 w 329"/>
              <a:gd name="T23" fmla="*/ 530453873 h 251"/>
              <a:gd name="T24" fmla="*/ 463438438 w 329"/>
              <a:gd name="T25" fmla="*/ 530453873 h 251"/>
              <a:gd name="T26" fmla="*/ 463438438 w 329"/>
              <a:gd name="T27" fmla="*/ 530453873 h 251"/>
              <a:gd name="T28" fmla="*/ 463438438 w 329"/>
              <a:gd name="T29" fmla="*/ 530453873 h 251"/>
              <a:gd name="T30" fmla="*/ 463438438 w 329"/>
              <a:gd name="T31" fmla="*/ 530453873 h 251"/>
              <a:gd name="T32" fmla="*/ 463438438 w 329"/>
              <a:gd name="T33" fmla="*/ 530453873 h 251"/>
              <a:gd name="T34" fmla="*/ 463438438 w 329"/>
              <a:gd name="T35" fmla="*/ 530453873 h 251"/>
              <a:gd name="T36" fmla="*/ 463438438 w 329"/>
              <a:gd name="T37" fmla="*/ 530453873 h 251"/>
              <a:gd name="T38" fmla="*/ 463438438 w 329"/>
              <a:gd name="T39" fmla="*/ 530453873 h 251"/>
              <a:gd name="T40" fmla="*/ 463438438 w 329"/>
              <a:gd name="T41" fmla="*/ 530453873 h 251"/>
              <a:gd name="T42" fmla="*/ 463438438 w 329"/>
              <a:gd name="T43" fmla="*/ 530453873 h 251"/>
              <a:gd name="T44" fmla="*/ 463438438 w 329"/>
              <a:gd name="T45" fmla="*/ 530453873 h 251"/>
              <a:gd name="T46" fmla="*/ 463438438 w 329"/>
              <a:gd name="T47" fmla="*/ 530453873 h 251"/>
              <a:gd name="T48" fmla="*/ 463438438 w 329"/>
              <a:gd name="T49" fmla="*/ 530453873 h 251"/>
              <a:gd name="T50" fmla="*/ 463438438 w 329"/>
              <a:gd name="T51" fmla="*/ 530453873 h 251"/>
              <a:gd name="T52" fmla="*/ 463438438 w 329"/>
              <a:gd name="T53" fmla="*/ 530453873 h 251"/>
              <a:gd name="T54" fmla="*/ 463438438 w 329"/>
              <a:gd name="T55" fmla="*/ 530453873 h 251"/>
              <a:gd name="T56" fmla="*/ 463438438 w 329"/>
              <a:gd name="T57" fmla="*/ 530453873 h 251"/>
              <a:gd name="T58" fmla="*/ 463438438 w 329"/>
              <a:gd name="T59" fmla="*/ 530453873 h 251"/>
              <a:gd name="T60" fmla="*/ 463438438 w 329"/>
              <a:gd name="T61" fmla="*/ 530453873 h 251"/>
              <a:gd name="T62" fmla="*/ 463438438 w 329"/>
              <a:gd name="T63" fmla="*/ 530453873 h 251"/>
              <a:gd name="T64" fmla="*/ 463438438 w 329"/>
              <a:gd name="T65" fmla="*/ 530453873 h 251"/>
              <a:gd name="T66" fmla="*/ 463438438 w 329"/>
              <a:gd name="T67" fmla="*/ 530453873 h 251"/>
              <a:gd name="T68" fmla="*/ 463438438 w 329"/>
              <a:gd name="T69" fmla="*/ 530453873 h 251"/>
              <a:gd name="T70" fmla="*/ 463438438 w 329"/>
              <a:gd name="T71" fmla="*/ 530453873 h 251"/>
              <a:gd name="T72" fmla="*/ 463438438 w 329"/>
              <a:gd name="T73" fmla="*/ 530453873 h 251"/>
              <a:gd name="T74" fmla="*/ 463438438 w 329"/>
              <a:gd name="T75" fmla="*/ 530453873 h 251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w 329"/>
              <a:gd name="T115" fmla="*/ 0 h 251"/>
              <a:gd name="T116" fmla="*/ 329 w 329"/>
              <a:gd name="T117" fmla="*/ 251 h 251"/>
            </a:gdLst>
            <a:ahLst/>
            <a:cxnLst>
              <a:cxn ang="T76">
                <a:pos x="T0" y="T1"/>
              </a:cxn>
              <a:cxn ang="T77">
                <a:pos x="T2" y="T3"/>
              </a:cxn>
              <a:cxn ang="T78">
                <a:pos x="T4" y="T5"/>
              </a:cxn>
              <a:cxn ang="T79">
                <a:pos x="T6" y="T7"/>
              </a:cxn>
              <a:cxn ang="T80">
                <a:pos x="T8" y="T9"/>
              </a:cxn>
              <a:cxn ang="T81">
                <a:pos x="T10" y="T11"/>
              </a:cxn>
              <a:cxn ang="T82">
                <a:pos x="T12" y="T13"/>
              </a:cxn>
              <a:cxn ang="T83">
                <a:pos x="T14" y="T15"/>
              </a:cxn>
              <a:cxn ang="T84">
                <a:pos x="T16" y="T17"/>
              </a:cxn>
              <a:cxn ang="T85">
                <a:pos x="T18" y="T19"/>
              </a:cxn>
              <a:cxn ang="T86">
                <a:pos x="T20" y="T21"/>
              </a:cxn>
              <a:cxn ang="T87">
                <a:pos x="T22" y="T23"/>
              </a:cxn>
              <a:cxn ang="T88">
                <a:pos x="T24" y="T25"/>
              </a:cxn>
              <a:cxn ang="T89">
                <a:pos x="T26" y="T27"/>
              </a:cxn>
              <a:cxn ang="T90">
                <a:pos x="T28" y="T29"/>
              </a:cxn>
              <a:cxn ang="T91">
                <a:pos x="T30" y="T31"/>
              </a:cxn>
              <a:cxn ang="T92">
                <a:pos x="T32" y="T33"/>
              </a:cxn>
              <a:cxn ang="T93">
                <a:pos x="T34" y="T35"/>
              </a:cxn>
              <a:cxn ang="T94">
                <a:pos x="T36" y="T37"/>
              </a:cxn>
              <a:cxn ang="T95">
                <a:pos x="T38" y="T39"/>
              </a:cxn>
              <a:cxn ang="T96">
                <a:pos x="T40" y="T41"/>
              </a:cxn>
              <a:cxn ang="T97">
                <a:pos x="T42" y="T43"/>
              </a:cxn>
              <a:cxn ang="T98">
                <a:pos x="T44" y="T45"/>
              </a:cxn>
              <a:cxn ang="T99">
                <a:pos x="T46" y="T47"/>
              </a:cxn>
              <a:cxn ang="T100">
                <a:pos x="T48" y="T49"/>
              </a:cxn>
              <a:cxn ang="T101">
                <a:pos x="T50" y="T51"/>
              </a:cxn>
              <a:cxn ang="T102">
                <a:pos x="T52" y="T53"/>
              </a:cxn>
              <a:cxn ang="T103">
                <a:pos x="T54" y="T55"/>
              </a:cxn>
              <a:cxn ang="T104">
                <a:pos x="T56" y="T57"/>
              </a:cxn>
              <a:cxn ang="T105">
                <a:pos x="T58" y="T59"/>
              </a:cxn>
              <a:cxn ang="T106">
                <a:pos x="T60" y="T61"/>
              </a:cxn>
              <a:cxn ang="T107">
                <a:pos x="T62" y="T63"/>
              </a:cxn>
              <a:cxn ang="T108">
                <a:pos x="T64" y="T65"/>
              </a:cxn>
              <a:cxn ang="T109">
                <a:pos x="T66" y="T67"/>
              </a:cxn>
              <a:cxn ang="T110">
                <a:pos x="T68" y="T69"/>
              </a:cxn>
              <a:cxn ang="T111">
                <a:pos x="T70" y="T71"/>
              </a:cxn>
              <a:cxn ang="T112">
                <a:pos x="T72" y="T73"/>
              </a:cxn>
              <a:cxn ang="T113">
                <a:pos x="T74" y="T75"/>
              </a:cxn>
            </a:cxnLst>
            <a:rect l="T114" t="T115" r="T116" b="T117"/>
            <a:pathLst>
              <a:path w="329" h="251">
                <a:moveTo>
                  <a:pt x="0" y="0"/>
                </a:moveTo>
                <a:lnTo>
                  <a:pt x="13" y="22"/>
                </a:lnTo>
                <a:lnTo>
                  <a:pt x="23" y="46"/>
                </a:lnTo>
                <a:lnTo>
                  <a:pt x="36" y="47"/>
                </a:lnTo>
                <a:lnTo>
                  <a:pt x="39" y="32"/>
                </a:lnTo>
                <a:lnTo>
                  <a:pt x="44" y="23"/>
                </a:lnTo>
                <a:lnTo>
                  <a:pt x="52" y="24"/>
                </a:lnTo>
                <a:lnTo>
                  <a:pt x="59" y="26"/>
                </a:lnTo>
                <a:lnTo>
                  <a:pt x="70" y="19"/>
                </a:lnTo>
                <a:lnTo>
                  <a:pt x="84" y="23"/>
                </a:lnTo>
                <a:lnTo>
                  <a:pt x="86" y="33"/>
                </a:lnTo>
                <a:lnTo>
                  <a:pt x="90" y="62"/>
                </a:lnTo>
                <a:lnTo>
                  <a:pt x="96" y="71"/>
                </a:lnTo>
                <a:lnTo>
                  <a:pt x="108" y="76"/>
                </a:lnTo>
                <a:lnTo>
                  <a:pt x="118" y="84"/>
                </a:lnTo>
                <a:lnTo>
                  <a:pt x="127" y="97"/>
                </a:lnTo>
                <a:lnTo>
                  <a:pt x="151" y="98"/>
                </a:lnTo>
                <a:lnTo>
                  <a:pt x="173" y="103"/>
                </a:lnTo>
                <a:lnTo>
                  <a:pt x="188" y="112"/>
                </a:lnTo>
                <a:lnTo>
                  <a:pt x="189" y="121"/>
                </a:lnTo>
                <a:lnTo>
                  <a:pt x="187" y="130"/>
                </a:lnTo>
                <a:lnTo>
                  <a:pt x="190" y="141"/>
                </a:lnTo>
                <a:lnTo>
                  <a:pt x="187" y="148"/>
                </a:lnTo>
                <a:lnTo>
                  <a:pt x="188" y="160"/>
                </a:lnTo>
                <a:lnTo>
                  <a:pt x="206" y="166"/>
                </a:lnTo>
                <a:lnTo>
                  <a:pt x="227" y="166"/>
                </a:lnTo>
                <a:lnTo>
                  <a:pt x="244" y="168"/>
                </a:lnTo>
                <a:lnTo>
                  <a:pt x="260" y="166"/>
                </a:lnTo>
                <a:lnTo>
                  <a:pt x="254" y="176"/>
                </a:lnTo>
                <a:lnTo>
                  <a:pt x="242" y="180"/>
                </a:lnTo>
                <a:lnTo>
                  <a:pt x="233" y="188"/>
                </a:lnTo>
                <a:lnTo>
                  <a:pt x="231" y="207"/>
                </a:lnTo>
                <a:lnTo>
                  <a:pt x="235" y="230"/>
                </a:lnTo>
                <a:lnTo>
                  <a:pt x="251" y="246"/>
                </a:lnTo>
                <a:lnTo>
                  <a:pt x="275" y="251"/>
                </a:lnTo>
                <a:lnTo>
                  <a:pt x="299" y="245"/>
                </a:lnTo>
                <a:lnTo>
                  <a:pt x="317" y="238"/>
                </a:lnTo>
                <a:lnTo>
                  <a:pt x="329" y="233"/>
                </a:lnTo>
              </a:path>
            </a:pathLst>
          </a:custGeom>
          <a:noFill/>
          <a:ln w="3175" cap="flat" cmpd="sng">
            <a:solidFill>
              <a:srgbClr val="D9EAF7"/>
            </a:solidFill>
            <a:prstDash val="solid"/>
            <a:round/>
            <a:headEnd type="none" w="med" len="med"/>
            <a:tailEnd type="none" w="med" len="med"/>
          </a:ln>
        </p:spPr>
        <p:txBody>
          <a:bodyPr wrap="none" lIns="32632" tIns="32632" rIns="32632" bIns="32632" anchor="ctr"/>
          <a:lstStyle/>
          <a:p>
            <a:pPr defTabSz="891045"/>
            <a:endParaRPr lang="en-US" sz="1700" dirty="0">
              <a:solidFill>
                <a:srgbClr val="003149"/>
              </a:solidFill>
              <a:cs typeface="Arial" panose="020B0604020202020204" pitchFamily="34" charset="0"/>
            </a:endParaRPr>
          </a:p>
        </p:txBody>
      </p:sp>
      <p:sp>
        <p:nvSpPr>
          <p:cNvPr id="270" name="Freeform 699"/>
          <p:cNvSpPr>
            <a:spLocks noChangeAspect="1"/>
          </p:cNvSpPr>
          <p:nvPr>
            <p:custDataLst>
              <p:tags r:id="rId162"/>
            </p:custDataLst>
          </p:nvPr>
        </p:nvSpPr>
        <p:spPr bwMode="gray">
          <a:xfrm>
            <a:off x="3157759" y="3294082"/>
            <a:ext cx="76770" cy="55959"/>
          </a:xfrm>
          <a:custGeom>
            <a:avLst/>
            <a:gdLst>
              <a:gd name="T0" fmla="*/ 0 w 10000"/>
              <a:gd name="T1" fmla="*/ 0 h 10258"/>
              <a:gd name="T2" fmla="*/ 0 w 10000"/>
              <a:gd name="T3" fmla="*/ 0 h 10258"/>
              <a:gd name="T4" fmla="*/ 0 w 10000"/>
              <a:gd name="T5" fmla="*/ 0 h 10258"/>
              <a:gd name="T6" fmla="*/ 0 w 10000"/>
              <a:gd name="T7" fmla="*/ 0 h 10258"/>
              <a:gd name="T8" fmla="*/ 0 w 10000"/>
              <a:gd name="T9" fmla="*/ 0 h 10258"/>
              <a:gd name="T10" fmla="*/ 0 w 10000"/>
              <a:gd name="T11" fmla="*/ 0 h 10258"/>
              <a:gd name="T12" fmla="*/ 0 w 10000"/>
              <a:gd name="T13" fmla="*/ 0 h 10258"/>
              <a:gd name="T14" fmla="*/ 0 w 10000"/>
              <a:gd name="T15" fmla="*/ 0 h 10258"/>
              <a:gd name="T16" fmla="*/ 0 w 10000"/>
              <a:gd name="T17" fmla="*/ 0 h 10258"/>
              <a:gd name="T18" fmla="*/ 0 w 10000"/>
              <a:gd name="T19" fmla="*/ 0 h 10258"/>
              <a:gd name="T20" fmla="*/ 0 w 10000"/>
              <a:gd name="T21" fmla="*/ 0 h 10258"/>
              <a:gd name="T22" fmla="*/ 0 w 10000"/>
              <a:gd name="T23" fmla="*/ 0 h 10258"/>
              <a:gd name="T24" fmla="*/ 0 w 10000"/>
              <a:gd name="T25" fmla="*/ 0 h 10258"/>
              <a:gd name="T26" fmla="*/ 0 w 10000"/>
              <a:gd name="T27" fmla="*/ 0 h 10258"/>
              <a:gd name="T28" fmla="*/ 0 w 10000"/>
              <a:gd name="T29" fmla="*/ 0 h 10258"/>
              <a:gd name="T30" fmla="*/ 0 w 10000"/>
              <a:gd name="T31" fmla="*/ 0 h 10258"/>
              <a:gd name="T32" fmla="*/ 0 w 10000"/>
              <a:gd name="T33" fmla="*/ 0 h 10258"/>
              <a:gd name="T34" fmla="*/ 0 w 10000"/>
              <a:gd name="T35" fmla="*/ 0 h 10258"/>
              <a:gd name="T36" fmla="*/ 0 w 10000"/>
              <a:gd name="T37" fmla="*/ 0 h 10258"/>
              <a:gd name="T38" fmla="*/ 0 w 10000"/>
              <a:gd name="T39" fmla="*/ 0 h 10258"/>
              <a:gd name="T40" fmla="*/ 0 w 10000"/>
              <a:gd name="T41" fmla="*/ 0 h 10258"/>
              <a:gd name="T42" fmla="*/ 0 w 10000"/>
              <a:gd name="T43" fmla="*/ 0 h 10258"/>
              <a:gd name="T44" fmla="*/ 0 w 10000"/>
              <a:gd name="T45" fmla="*/ 0 h 10258"/>
              <a:gd name="T46" fmla="*/ 0 w 10000"/>
              <a:gd name="T47" fmla="*/ 0 h 10258"/>
              <a:gd name="T48" fmla="*/ 0 w 10000"/>
              <a:gd name="T49" fmla="*/ 0 h 10258"/>
              <a:gd name="T50" fmla="*/ 0 w 10000"/>
              <a:gd name="T51" fmla="*/ 0 h 10258"/>
              <a:gd name="T52" fmla="*/ 0 w 10000"/>
              <a:gd name="T53" fmla="*/ 0 h 10258"/>
              <a:gd name="T54" fmla="*/ 0 w 10000"/>
              <a:gd name="T55" fmla="*/ 0 h 10258"/>
              <a:gd name="T56" fmla="*/ 0 w 10000"/>
              <a:gd name="T57" fmla="*/ 0 h 10258"/>
              <a:gd name="T58" fmla="*/ 0 w 10000"/>
              <a:gd name="T59" fmla="*/ 0 h 10258"/>
              <a:gd name="T60" fmla="*/ 0 w 10000"/>
              <a:gd name="T61" fmla="*/ 0 h 10258"/>
              <a:gd name="T62" fmla="*/ 0 w 10000"/>
              <a:gd name="T63" fmla="*/ 0 h 10258"/>
              <a:gd name="T64" fmla="*/ 0 w 10000"/>
              <a:gd name="T65" fmla="*/ 0 h 10258"/>
              <a:gd name="T66" fmla="*/ 0 w 10000"/>
              <a:gd name="T67" fmla="*/ 0 h 10258"/>
              <a:gd name="T68" fmla="*/ 0 w 10000"/>
              <a:gd name="T69" fmla="*/ 0 h 10258"/>
              <a:gd name="T70" fmla="*/ 0 w 10000"/>
              <a:gd name="T71" fmla="*/ 0 h 10258"/>
              <a:gd name="T72" fmla="*/ 0 w 10000"/>
              <a:gd name="T73" fmla="*/ 0 h 10258"/>
              <a:gd name="T74" fmla="*/ 0 w 10000"/>
              <a:gd name="T75" fmla="*/ 0 h 10258"/>
              <a:gd name="T76" fmla="*/ 0 w 10000"/>
              <a:gd name="T77" fmla="*/ 0 h 10258"/>
              <a:gd name="T78" fmla="*/ 0 w 10000"/>
              <a:gd name="T79" fmla="*/ 0 h 10258"/>
              <a:gd name="T80" fmla="*/ 0 w 10000"/>
              <a:gd name="T81" fmla="*/ 0 h 10258"/>
              <a:gd name="T82" fmla="*/ 0 w 10000"/>
              <a:gd name="T83" fmla="*/ 0 h 10258"/>
              <a:gd name="T84" fmla="*/ 0 w 10000"/>
              <a:gd name="T85" fmla="*/ 0 h 10258"/>
              <a:gd name="T86" fmla="*/ 0 w 10000"/>
              <a:gd name="T87" fmla="*/ 0 h 10258"/>
              <a:gd name="T88" fmla="*/ 0 w 10000"/>
              <a:gd name="T89" fmla="*/ 0 h 10258"/>
              <a:gd name="T90" fmla="*/ 0 w 10000"/>
              <a:gd name="T91" fmla="*/ 0 h 10258"/>
              <a:gd name="T92" fmla="*/ 0 w 10000"/>
              <a:gd name="T93" fmla="*/ 0 h 10258"/>
              <a:gd name="T94" fmla="*/ 0 w 10000"/>
              <a:gd name="T95" fmla="*/ 0 h 10258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w 10000"/>
              <a:gd name="T145" fmla="*/ 0 h 10258"/>
              <a:gd name="T146" fmla="*/ 10000 w 10000"/>
              <a:gd name="T147" fmla="*/ 10258 h 10258"/>
            </a:gdLst>
            <a:ahLst/>
            <a:cxnLst>
              <a:cxn ang="T96">
                <a:pos x="T0" y="T1"/>
              </a:cxn>
              <a:cxn ang="T97">
                <a:pos x="T2" y="T3"/>
              </a:cxn>
              <a:cxn ang="T98">
                <a:pos x="T4" y="T5"/>
              </a:cxn>
              <a:cxn ang="T99">
                <a:pos x="T6" y="T7"/>
              </a:cxn>
              <a:cxn ang="T100">
                <a:pos x="T8" y="T9"/>
              </a:cxn>
              <a:cxn ang="T101">
                <a:pos x="T10" y="T11"/>
              </a:cxn>
              <a:cxn ang="T102">
                <a:pos x="T12" y="T13"/>
              </a:cxn>
              <a:cxn ang="T103">
                <a:pos x="T14" y="T15"/>
              </a:cxn>
              <a:cxn ang="T104">
                <a:pos x="T16" y="T17"/>
              </a:cxn>
              <a:cxn ang="T105">
                <a:pos x="T18" y="T19"/>
              </a:cxn>
              <a:cxn ang="T106">
                <a:pos x="T20" y="T21"/>
              </a:cxn>
              <a:cxn ang="T107">
                <a:pos x="T22" y="T23"/>
              </a:cxn>
              <a:cxn ang="T108">
                <a:pos x="T24" y="T25"/>
              </a:cxn>
              <a:cxn ang="T109">
                <a:pos x="T26" y="T27"/>
              </a:cxn>
              <a:cxn ang="T110">
                <a:pos x="T28" y="T29"/>
              </a:cxn>
              <a:cxn ang="T111">
                <a:pos x="T30" y="T31"/>
              </a:cxn>
              <a:cxn ang="T112">
                <a:pos x="T32" y="T33"/>
              </a:cxn>
              <a:cxn ang="T113">
                <a:pos x="T34" y="T35"/>
              </a:cxn>
              <a:cxn ang="T114">
                <a:pos x="T36" y="T37"/>
              </a:cxn>
              <a:cxn ang="T115">
                <a:pos x="T38" y="T39"/>
              </a:cxn>
              <a:cxn ang="T116">
                <a:pos x="T40" y="T41"/>
              </a:cxn>
              <a:cxn ang="T117">
                <a:pos x="T42" y="T43"/>
              </a:cxn>
              <a:cxn ang="T118">
                <a:pos x="T44" y="T45"/>
              </a:cxn>
              <a:cxn ang="T119">
                <a:pos x="T46" y="T47"/>
              </a:cxn>
              <a:cxn ang="T120">
                <a:pos x="T48" y="T49"/>
              </a:cxn>
              <a:cxn ang="T121">
                <a:pos x="T50" y="T51"/>
              </a:cxn>
              <a:cxn ang="T122">
                <a:pos x="T52" y="T53"/>
              </a:cxn>
              <a:cxn ang="T123">
                <a:pos x="T54" y="T55"/>
              </a:cxn>
              <a:cxn ang="T124">
                <a:pos x="T56" y="T57"/>
              </a:cxn>
              <a:cxn ang="T125">
                <a:pos x="T58" y="T59"/>
              </a:cxn>
              <a:cxn ang="T126">
                <a:pos x="T60" y="T61"/>
              </a:cxn>
              <a:cxn ang="T127">
                <a:pos x="T62" y="T63"/>
              </a:cxn>
              <a:cxn ang="T128">
                <a:pos x="T64" y="T65"/>
              </a:cxn>
              <a:cxn ang="T129">
                <a:pos x="T66" y="T67"/>
              </a:cxn>
              <a:cxn ang="T130">
                <a:pos x="T68" y="T69"/>
              </a:cxn>
              <a:cxn ang="T131">
                <a:pos x="T70" y="T71"/>
              </a:cxn>
              <a:cxn ang="T132">
                <a:pos x="T72" y="T73"/>
              </a:cxn>
              <a:cxn ang="T133">
                <a:pos x="T74" y="T75"/>
              </a:cxn>
              <a:cxn ang="T134">
                <a:pos x="T76" y="T77"/>
              </a:cxn>
              <a:cxn ang="T135">
                <a:pos x="T78" y="T79"/>
              </a:cxn>
              <a:cxn ang="T136">
                <a:pos x="T80" y="T81"/>
              </a:cxn>
              <a:cxn ang="T137">
                <a:pos x="T82" y="T83"/>
              </a:cxn>
              <a:cxn ang="T138">
                <a:pos x="T84" y="T85"/>
              </a:cxn>
              <a:cxn ang="T139">
                <a:pos x="T86" y="T87"/>
              </a:cxn>
              <a:cxn ang="T140">
                <a:pos x="T88" y="T89"/>
              </a:cxn>
              <a:cxn ang="T141">
                <a:pos x="T90" y="T91"/>
              </a:cxn>
              <a:cxn ang="T142">
                <a:pos x="T92" y="T93"/>
              </a:cxn>
              <a:cxn ang="T143">
                <a:pos x="T94" y="T95"/>
              </a:cxn>
            </a:cxnLst>
            <a:rect l="T144" t="T145" r="T146" b="T147"/>
            <a:pathLst>
              <a:path w="10000" h="10258">
                <a:moveTo>
                  <a:pt x="1443" y="0"/>
                </a:moveTo>
                <a:cubicBezTo>
                  <a:pt x="1497" y="258"/>
                  <a:pt x="1660" y="431"/>
                  <a:pt x="1714" y="689"/>
                </a:cubicBezTo>
                <a:lnTo>
                  <a:pt x="1306" y="1077"/>
                </a:lnTo>
                <a:lnTo>
                  <a:pt x="408" y="1077"/>
                </a:lnTo>
                <a:lnTo>
                  <a:pt x="0" y="1724"/>
                </a:lnTo>
                <a:lnTo>
                  <a:pt x="980" y="2887"/>
                </a:lnTo>
                <a:lnTo>
                  <a:pt x="1796" y="4569"/>
                </a:lnTo>
                <a:lnTo>
                  <a:pt x="2449" y="4956"/>
                </a:lnTo>
                <a:cubicBezTo>
                  <a:pt x="2395" y="5259"/>
                  <a:pt x="2340" y="5560"/>
                  <a:pt x="2286" y="5862"/>
                </a:cubicBezTo>
                <a:lnTo>
                  <a:pt x="2694" y="6249"/>
                </a:lnTo>
                <a:lnTo>
                  <a:pt x="3102" y="5991"/>
                </a:lnTo>
                <a:cubicBezTo>
                  <a:pt x="3156" y="5818"/>
                  <a:pt x="3211" y="5646"/>
                  <a:pt x="3265" y="5473"/>
                </a:cubicBezTo>
                <a:lnTo>
                  <a:pt x="3592" y="4827"/>
                </a:lnTo>
                <a:lnTo>
                  <a:pt x="4245" y="4956"/>
                </a:lnTo>
                <a:lnTo>
                  <a:pt x="4245" y="5733"/>
                </a:lnTo>
                <a:lnTo>
                  <a:pt x="4653" y="5862"/>
                </a:lnTo>
                <a:cubicBezTo>
                  <a:pt x="4707" y="6465"/>
                  <a:pt x="4762" y="7069"/>
                  <a:pt x="4816" y="7672"/>
                </a:cubicBezTo>
                <a:lnTo>
                  <a:pt x="5551" y="7542"/>
                </a:lnTo>
                <a:lnTo>
                  <a:pt x="5551" y="6508"/>
                </a:lnTo>
                <a:cubicBezTo>
                  <a:pt x="5605" y="6421"/>
                  <a:pt x="5660" y="6336"/>
                  <a:pt x="5714" y="6249"/>
                </a:cubicBezTo>
                <a:cubicBezTo>
                  <a:pt x="5796" y="6378"/>
                  <a:pt x="5877" y="6509"/>
                  <a:pt x="5959" y="6638"/>
                </a:cubicBezTo>
                <a:cubicBezTo>
                  <a:pt x="6041" y="6810"/>
                  <a:pt x="6122" y="6983"/>
                  <a:pt x="6204" y="7155"/>
                </a:cubicBezTo>
                <a:lnTo>
                  <a:pt x="6612" y="7025"/>
                </a:lnTo>
                <a:cubicBezTo>
                  <a:pt x="6585" y="6638"/>
                  <a:pt x="6558" y="6249"/>
                  <a:pt x="6531" y="5862"/>
                </a:cubicBezTo>
                <a:lnTo>
                  <a:pt x="6204" y="5344"/>
                </a:lnTo>
                <a:cubicBezTo>
                  <a:pt x="6122" y="5172"/>
                  <a:pt x="6041" y="4999"/>
                  <a:pt x="5959" y="4827"/>
                </a:cubicBezTo>
                <a:lnTo>
                  <a:pt x="6286" y="4309"/>
                </a:lnTo>
                <a:lnTo>
                  <a:pt x="6776" y="4051"/>
                </a:lnTo>
                <a:lnTo>
                  <a:pt x="7347" y="3922"/>
                </a:lnTo>
                <a:cubicBezTo>
                  <a:pt x="7401" y="4051"/>
                  <a:pt x="7456" y="4180"/>
                  <a:pt x="7510" y="4309"/>
                </a:cubicBezTo>
                <a:lnTo>
                  <a:pt x="8204" y="4309"/>
                </a:lnTo>
                <a:cubicBezTo>
                  <a:pt x="8231" y="3966"/>
                  <a:pt x="8259" y="3620"/>
                  <a:pt x="8286" y="3275"/>
                </a:cubicBezTo>
                <a:cubicBezTo>
                  <a:pt x="8368" y="3103"/>
                  <a:pt x="8449" y="2930"/>
                  <a:pt x="8531" y="2758"/>
                </a:cubicBezTo>
                <a:lnTo>
                  <a:pt x="9265" y="2758"/>
                </a:lnTo>
                <a:lnTo>
                  <a:pt x="9592" y="3404"/>
                </a:lnTo>
                <a:lnTo>
                  <a:pt x="9837" y="4051"/>
                </a:lnTo>
                <a:lnTo>
                  <a:pt x="9184" y="5086"/>
                </a:lnTo>
                <a:lnTo>
                  <a:pt x="8531" y="5862"/>
                </a:lnTo>
                <a:lnTo>
                  <a:pt x="8204" y="5991"/>
                </a:lnTo>
                <a:cubicBezTo>
                  <a:pt x="8082" y="6336"/>
                  <a:pt x="7959" y="6680"/>
                  <a:pt x="7837" y="7025"/>
                </a:cubicBezTo>
                <a:cubicBezTo>
                  <a:pt x="7810" y="7284"/>
                  <a:pt x="7782" y="7542"/>
                  <a:pt x="7755" y="7801"/>
                </a:cubicBezTo>
                <a:cubicBezTo>
                  <a:pt x="7782" y="7974"/>
                  <a:pt x="7810" y="8145"/>
                  <a:pt x="7837" y="8318"/>
                </a:cubicBezTo>
                <a:lnTo>
                  <a:pt x="8286" y="8965"/>
                </a:lnTo>
                <a:lnTo>
                  <a:pt x="8531" y="8965"/>
                </a:lnTo>
                <a:cubicBezTo>
                  <a:pt x="8613" y="8663"/>
                  <a:pt x="8694" y="8362"/>
                  <a:pt x="8776" y="8060"/>
                </a:cubicBezTo>
                <a:lnTo>
                  <a:pt x="9592" y="8060"/>
                </a:lnTo>
                <a:lnTo>
                  <a:pt x="10000" y="8836"/>
                </a:lnTo>
                <a:cubicBezTo>
                  <a:pt x="9946" y="9309"/>
                  <a:pt x="9891" y="9784"/>
                  <a:pt x="9837" y="10258"/>
                </a:cubicBezTo>
              </a:path>
            </a:pathLst>
          </a:custGeom>
          <a:noFill/>
          <a:ln w="3175" cap="flat" cmpd="sng">
            <a:solidFill>
              <a:srgbClr val="D9EAF7"/>
            </a:solidFill>
            <a:prstDash val="solid"/>
            <a:round/>
            <a:headEnd type="none" w="med" len="med"/>
            <a:tailEnd type="none" w="med" len="med"/>
          </a:ln>
        </p:spPr>
        <p:txBody>
          <a:bodyPr wrap="none" lIns="32632" tIns="32632" rIns="32632" bIns="32632" anchor="ctr"/>
          <a:lstStyle/>
          <a:p>
            <a:pPr defTabSz="891045"/>
            <a:endParaRPr lang="en-US" sz="1700" dirty="0">
              <a:solidFill>
                <a:srgbClr val="003149"/>
              </a:solidFill>
              <a:cs typeface="Arial" panose="020B0604020202020204" pitchFamily="34" charset="0"/>
            </a:endParaRPr>
          </a:p>
        </p:txBody>
      </p:sp>
      <p:sp>
        <p:nvSpPr>
          <p:cNvPr id="271" name="Freeform 698"/>
          <p:cNvSpPr>
            <a:spLocks noChangeAspect="1"/>
          </p:cNvSpPr>
          <p:nvPr>
            <p:custDataLst>
              <p:tags r:id="rId163"/>
            </p:custDataLst>
          </p:nvPr>
        </p:nvSpPr>
        <p:spPr bwMode="gray">
          <a:xfrm>
            <a:off x="3233113" y="3345730"/>
            <a:ext cx="17060" cy="15784"/>
          </a:xfrm>
          <a:custGeom>
            <a:avLst/>
            <a:gdLst>
              <a:gd name="T0" fmla="*/ 477218340 w 54"/>
              <a:gd name="T1" fmla="*/ 0 h 42"/>
              <a:gd name="T2" fmla="*/ 477218340 w 54"/>
              <a:gd name="T3" fmla="*/ 562435855 h 42"/>
              <a:gd name="T4" fmla="*/ 477218340 w 54"/>
              <a:gd name="T5" fmla="*/ 562435855 h 42"/>
              <a:gd name="T6" fmla="*/ 477218340 w 54"/>
              <a:gd name="T7" fmla="*/ 562435855 h 42"/>
              <a:gd name="T8" fmla="*/ 0 w 54"/>
              <a:gd name="T9" fmla="*/ 562435855 h 4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54"/>
              <a:gd name="T16" fmla="*/ 0 h 42"/>
              <a:gd name="T17" fmla="*/ 54 w 54"/>
              <a:gd name="T18" fmla="*/ 42 h 42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54" h="42">
                <a:moveTo>
                  <a:pt x="54" y="0"/>
                </a:moveTo>
                <a:lnTo>
                  <a:pt x="54" y="34"/>
                </a:lnTo>
                <a:lnTo>
                  <a:pt x="28" y="42"/>
                </a:lnTo>
                <a:lnTo>
                  <a:pt x="10" y="37"/>
                </a:lnTo>
                <a:lnTo>
                  <a:pt x="0" y="13"/>
                </a:lnTo>
              </a:path>
            </a:pathLst>
          </a:custGeom>
          <a:noFill/>
          <a:ln w="3175" cap="flat" cmpd="sng">
            <a:solidFill>
              <a:srgbClr val="D9EAF7"/>
            </a:solidFill>
            <a:prstDash val="solid"/>
            <a:round/>
            <a:headEnd type="none" w="med" len="med"/>
            <a:tailEnd type="none" w="med" len="med"/>
          </a:ln>
        </p:spPr>
        <p:txBody>
          <a:bodyPr wrap="none" lIns="32632" tIns="32632" rIns="32632" bIns="32632" anchor="ctr"/>
          <a:lstStyle/>
          <a:p>
            <a:pPr defTabSz="891045"/>
            <a:endParaRPr lang="en-US" sz="1700" dirty="0">
              <a:solidFill>
                <a:srgbClr val="003149"/>
              </a:solidFill>
              <a:cs typeface="Arial" panose="020B0604020202020204" pitchFamily="34" charset="0"/>
            </a:endParaRPr>
          </a:p>
        </p:txBody>
      </p:sp>
      <p:sp>
        <p:nvSpPr>
          <p:cNvPr id="272" name="Freeform 686"/>
          <p:cNvSpPr>
            <a:spLocks noChangeAspect="1"/>
          </p:cNvSpPr>
          <p:nvPr>
            <p:custDataLst>
              <p:tags r:id="rId164"/>
            </p:custDataLst>
          </p:nvPr>
        </p:nvSpPr>
        <p:spPr bwMode="gray">
          <a:xfrm>
            <a:off x="3129350" y="3555216"/>
            <a:ext cx="109469" cy="165006"/>
          </a:xfrm>
          <a:custGeom>
            <a:avLst/>
            <a:gdLst>
              <a:gd name="T0" fmla="*/ 0 w 10000"/>
              <a:gd name="T1" fmla="*/ 0 h 10000"/>
              <a:gd name="T2" fmla="*/ 0 w 10000"/>
              <a:gd name="T3" fmla="*/ 0 h 10000"/>
              <a:gd name="T4" fmla="*/ 0 w 10000"/>
              <a:gd name="T5" fmla="*/ 0 h 10000"/>
              <a:gd name="T6" fmla="*/ 0 w 10000"/>
              <a:gd name="T7" fmla="*/ 0 h 10000"/>
              <a:gd name="T8" fmla="*/ 0 w 10000"/>
              <a:gd name="T9" fmla="*/ 0 h 10000"/>
              <a:gd name="T10" fmla="*/ 0 w 10000"/>
              <a:gd name="T11" fmla="*/ 0 h 10000"/>
              <a:gd name="T12" fmla="*/ 0 w 10000"/>
              <a:gd name="T13" fmla="*/ 0 h 10000"/>
              <a:gd name="T14" fmla="*/ 0 w 10000"/>
              <a:gd name="T15" fmla="*/ 0 h 10000"/>
              <a:gd name="T16" fmla="*/ 0 w 10000"/>
              <a:gd name="T17" fmla="*/ 0 h 10000"/>
              <a:gd name="T18" fmla="*/ 0 w 10000"/>
              <a:gd name="T19" fmla="*/ 0 h 10000"/>
              <a:gd name="T20" fmla="*/ 0 w 10000"/>
              <a:gd name="T21" fmla="*/ 0 h 10000"/>
              <a:gd name="T22" fmla="*/ 0 w 10000"/>
              <a:gd name="T23" fmla="*/ 0 h 10000"/>
              <a:gd name="T24" fmla="*/ 0 w 10000"/>
              <a:gd name="T25" fmla="*/ 0 h 10000"/>
              <a:gd name="T26" fmla="*/ 0 w 10000"/>
              <a:gd name="T27" fmla="*/ 0 h 10000"/>
              <a:gd name="T28" fmla="*/ 0 w 10000"/>
              <a:gd name="T29" fmla="*/ 0 h 10000"/>
              <a:gd name="T30" fmla="*/ 0 w 10000"/>
              <a:gd name="T31" fmla="*/ 0 h 10000"/>
              <a:gd name="T32" fmla="*/ 0 w 10000"/>
              <a:gd name="T33" fmla="*/ 0 h 10000"/>
              <a:gd name="T34" fmla="*/ 0 w 10000"/>
              <a:gd name="T35" fmla="*/ 0 h 10000"/>
              <a:gd name="T36" fmla="*/ 0 w 10000"/>
              <a:gd name="T37" fmla="*/ 0 h 10000"/>
              <a:gd name="T38" fmla="*/ 0 w 10000"/>
              <a:gd name="T39" fmla="*/ 0 h 10000"/>
              <a:gd name="T40" fmla="*/ 0 w 10000"/>
              <a:gd name="T41" fmla="*/ 0 h 10000"/>
              <a:gd name="T42" fmla="*/ 0 w 10000"/>
              <a:gd name="T43" fmla="*/ 0 h 10000"/>
              <a:gd name="T44" fmla="*/ 0 w 10000"/>
              <a:gd name="T45" fmla="*/ 0 h 10000"/>
              <a:gd name="T46" fmla="*/ 0 w 10000"/>
              <a:gd name="T47" fmla="*/ 0 h 10000"/>
              <a:gd name="T48" fmla="*/ 0 w 10000"/>
              <a:gd name="T49" fmla="*/ 0 h 10000"/>
              <a:gd name="T50" fmla="*/ 0 w 10000"/>
              <a:gd name="T51" fmla="*/ 0 h 10000"/>
              <a:gd name="T52" fmla="*/ 0 w 10000"/>
              <a:gd name="T53" fmla="*/ 0 h 10000"/>
              <a:gd name="T54" fmla="*/ 0 w 10000"/>
              <a:gd name="T55" fmla="*/ 0 h 10000"/>
              <a:gd name="T56" fmla="*/ 0 w 10000"/>
              <a:gd name="T57" fmla="*/ 0 h 10000"/>
              <a:gd name="T58" fmla="*/ 0 w 10000"/>
              <a:gd name="T59" fmla="*/ 0 h 10000"/>
              <a:gd name="T60" fmla="*/ 0 w 10000"/>
              <a:gd name="T61" fmla="*/ 0 h 10000"/>
              <a:gd name="T62" fmla="*/ 0 w 10000"/>
              <a:gd name="T63" fmla="*/ 0 h 10000"/>
              <a:gd name="T64" fmla="*/ 0 w 10000"/>
              <a:gd name="T65" fmla="*/ 0 h 10000"/>
              <a:gd name="T66" fmla="*/ 0 w 10000"/>
              <a:gd name="T67" fmla="*/ 0 h 10000"/>
              <a:gd name="T68" fmla="*/ 0 w 10000"/>
              <a:gd name="T69" fmla="*/ 0 h 10000"/>
              <a:gd name="T70" fmla="*/ 0 w 10000"/>
              <a:gd name="T71" fmla="*/ 0 h 10000"/>
              <a:gd name="T72" fmla="*/ 0 w 10000"/>
              <a:gd name="T73" fmla="*/ 0 h 10000"/>
              <a:gd name="T74" fmla="*/ 0 w 10000"/>
              <a:gd name="T75" fmla="*/ 0 h 10000"/>
              <a:gd name="T76" fmla="*/ 0 w 10000"/>
              <a:gd name="T77" fmla="*/ 0 h 10000"/>
              <a:gd name="T78" fmla="*/ 0 w 10000"/>
              <a:gd name="T79" fmla="*/ 0 h 10000"/>
              <a:gd name="T80" fmla="*/ 0 w 10000"/>
              <a:gd name="T81" fmla="*/ 0 h 10000"/>
              <a:gd name="T82" fmla="*/ 0 w 10000"/>
              <a:gd name="T83" fmla="*/ 0 h 10000"/>
              <a:gd name="T84" fmla="*/ 0 w 10000"/>
              <a:gd name="T85" fmla="*/ 0 h 10000"/>
              <a:gd name="T86" fmla="*/ 0 w 10000"/>
              <a:gd name="T87" fmla="*/ 0 h 10000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w 10000"/>
              <a:gd name="T133" fmla="*/ 0 h 10000"/>
              <a:gd name="T134" fmla="*/ 10000 w 10000"/>
              <a:gd name="T135" fmla="*/ 10000 h 10000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T132" t="T133" r="T134" b="T135"/>
            <a:pathLst>
              <a:path w="10000" h="10000">
                <a:moveTo>
                  <a:pt x="10000" y="8729"/>
                </a:moveTo>
                <a:lnTo>
                  <a:pt x="9778" y="8708"/>
                </a:lnTo>
                <a:lnTo>
                  <a:pt x="9583" y="8623"/>
                </a:lnTo>
                <a:lnTo>
                  <a:pt x="9361" y="8475"/>
                </a:lnTo>
                <a:lnTo>
                  <a:pt x="9083" y="8475"/>
                </a:lnTo>
                <a:lnTo>
                  <a:pt x="8694" y="8475"/>
                </a:lnTo>
                <a:lnTo>
                  <a:pt x="8528" y="8644"/>
                </a:lnTo>
                <a:lnTo>
                  <a:pt x="8528" y="8877"/>
                </a:lnTo>
                <a:cubicBezTo>
                  <a:pt x="8519" y="8941"/>
                  <a:pt x="8509" y="9004"/>
                  <a:pt x="8500" y="9068"/>
                </a:cubicBezTo>
                <a:cubicBezTo>
                  <a:pt x="8528" y="9117"/>
                  <a:pt x="8555" y="9167"/>
                  <a:pt x="8583" y="9216"/>
                </a:cubicBezTo>
                <a:lnTo>
                  <a:pt x="8472" y="9343"/>
                </a:lnTo>
                <a:lnTo>
                  <a:pt x="8083" y="9280"/>
                </a:lnTo>
                <a:lnTo>
                  <a:pt x="7833" y="9449"/>
                </a:lnTo>
                <a:cubicBezTo>
                  <a:pt x="7805" y="9555"/>
                  <a:pt x="7778" y="9661"/>
                  <a:pt x="7750" y="9767"/>
                </a:cubicBezTo>
                <a:lnTo>
                  <a:pt x="7417" y="9958"/>
                </a:lnTo>
                <a:lnTo>
                  <a:pt x="7028" y="10000"/>
                </a:lnTo>
                <a:lnTo>
                  <a:pt x="6639" y="9979"/>
                </a:lnTo>
                <a:lnTo>
                  <a:pt x="6361" y="9852"/>
                </a:lnTo>
                <a:lnTo>
                  <a:pt x="5778" y="9703"/>
                </a:lnTo>
                <a:lnTo>
                  <a:pt x="5389" y="9619"/>
                </a:lnTo>
                <a:lnTo>
                  <a:pt x="5389" y="9153"/>
                </a:lnTo>
                <a:cubicBezTo>
                  <a:pt x="5343" y="9061"/>
                  <a:pt x="5296" y="8969"/>
                  <a:pt x="5250" y="8877"/>
                </a:cubicBezTo>
                <a:cubicBezTo>
                  <a:pt x="5204" y="8799"/>
                  <a:pt x="5157" y="8722"/>
                  <a:pt x="5111" y="8644"/>
                </a:cubicBezTo>
                <a:lnTo>
                  <a:pt x="4889" y="8517"/>
                </a:lnTo>
                <a:lnTo>
                  <a:pt x="4472" y="8411"/>
                </a:lnTo>
                <a:lnTo>
                  <a:pt x="4250" y="8453"/>
                </a:lnTo>
                <a:lnTo>
                  <a:pt x="4028" y="8496"/>
                </a:lnTo>
                <a:lnTo>
                  <a:pt x="3722" y="8496"/>
                </a:lnTo>
                <a:lnTo>
                  <a:pt x="3528" y="8390"/>
                </a:lnTo>
                <a:lnTo>
                  <a:pt x="3361" y="8326"/>
                </a:lnTo>
                <a:lnTo>
                  <a:pt x="3139" y="8305"/>
                </a:lnTo>
                <a:lnTo>
                  <a:pt x="3000" y="8369"/>
                </a:lnTo>
                <a:lnTo>
                  <a:pt x="3000" y="8538"/>
                </a:lnTo>
                <a:lnTo>
                  <a:pt x="2861" y="8623"/>
                </a:lnTo>
                <a:lnTo>
                  <a:pt x="2639" y="8623"/>
                </a:lnTo>
                <a:lnTo>
                  <a:pt x="2417" y="8496"/>
                </a:lnTo>
                <a:lnTo>
                  <a:pt x="2167" y="8453"/>
                </a:lnTo>
                <a:cubicBezTo>
                  <a:pt x="2148" y="8404"/>
                  <a:pt x="2130" y="8354"/>
                  <a:pt x="2111" y="8305"/>
                </a:cubicBezTo>
                <a:cubicBezTo>
                  <a:pt x="2139" y="8227"/>
                  <a:pt x="2166" y="8150"/>
                  <a:pt x="2194" y="8072"/>
                </a:cubicBezTo>
                <a:lnTo>
                  <a:pt x="2417" y="8072"/>
                </a:lnTo>
                <a:cubicBezTo>
                  <a:pt x="2398" y="8030"/>
                  <a:pt x="2380" y="7987"/>
                  <a:pt x="2361" y="7945"/>
                </a:cubicBezTo>
                <a:lnTo>
                  <a:pt x="2222" y="7881"/>
                </a:lnTo>
                <a:cubicBezTo>
                  <a:pt x="2204" y="7810"/>
                  <a:pt x="2185" y="7740"/>
                  <a:pt x="2167" y="7669"/>
                </a:cubicBezTo>
                <a:cubicBezTo>
                  <a:pt x="2195" y="7591"/>
                  <a:pt x="2222" y="7514"/>
                  <a:pt x="2250" y="7436"/>
                </a:cubicBezTo>
                <a:cubicBezTo>
                  <a:pt x="2241" y="7351"/>
                  <a:pt x="2231" y="7267"/>
                  <a:pt x="2222" y="7182"/>
                </a:cubicBezTo>
                <a:lnTo>
                  <a:pt x="1917" y="7055"/>
                </a:lnTo>
                <a:lnTo>
                  <a:pt x="1694" y="7034"/>
                </a:lnTo>
                <a:cubicBezTo>
                  <a:pt x="1666" y="7098"/>
                  <a:pt x="1639" y="7161"/>
                  <a:pt x="1611" y="7225"/>
                </a:cubicBezTo>
                <a:cubicBezTo>
                  <a:pt x="1583" y="7274"/>
                  <a:pt x="1556" y="7324"/>
                  <a:pt x="1528" y="7373"/>
                </a:cubicBezTo>
                <a:lnTo>
                  <a:pt x="1528" y="7627"/>
                </a:lnTo>
                <a:cubicBezTo>
                  <a:pt x="1509" y="7669"/>
                  <a:pt x="1491" y="7712"/>
                  <a:pt x="1472" y="7754"/>
                </a:cubicBezTo>
                <a:lnTo>
                  <a:pt x="1306" y="7797"/>
                </a:lnTo>
                <a:lnTo>
                  <a:pt x="1139" y="7754"/>
                </a:lnTo>
                <a:cubicBezTo>
                  <a:pt x="1130" y="7648"/>
                  <a:pt x="1120" y="7542"/>
                  <a:pt x="1111" y="7436"/>
                </a:cubicBezTo>
                <a:lnTo>
                  <a:pt x="1306" y="7140"/>
                </a:lnTo>
                <a:lnTo>
                  <a:pt x="1417" y="6907"/>
                </a:lnTo>
                <a:lnTo>
                  <a:pt x="1417" y="6737"/>
                </a:lnTo>
                <a:lnTo>
                  <a:pt x="1528" y="6610"/>
                </a:lnTo>
                <a:lnTo>
                  <a:pt x="1667" y="6525"/>
                </a:lnTo>
                <a:lnTo>
                  <a:pt x="1917" y="6525"/>
                </a:lnTo>
                <a:lnTo>
                  <a:pt x="2167" y="6462"/>
                </a:lnTo>
                <a:lnTo>
                  <a:pt x="2167" y="6229"/>
                </a:lnTo>
                <a:lnTo>
                  <a:pt x="2500" y="5932"/>
                </a:lnTo>
                <a:cubicBezTo>
                  <a:pt x="2509" y="5869"/>
                  <a:pt x="2519" y="5805"/>
                  <a:pt x="2528" y="5742"/>
                </a:cubicBezTo>
                <a:lnTo>
                  <a:pt x="2361" y="5657"/>
                </a:lnTo>
                <a:lnTo>
                  <a:pt x="2083" y="5530"/>
                </a:lnTo>
                <a:lnTo>
                  <a:pt x="2083" y="5360"/>
                </a:lnTo>
                <a:lnTo>
                  <a:pt x="1917" y="5275"/>
                </a:lnTo>
                <a:lnTo>
                  <a:pt x="1639" y="5275"/>
                </a:lnTo>
                <a:lnTo>
                  <a:pt x="1417" y="5233"/>
                </a:lnTo>
                <a:cubicBezTo>
                  <a:pt x="1389" y="5155"/>
                  <a:pt x="1361" y="5078"/>
                  <a:pt x="1333" y="5000"/>
                </a:cubicBezTo>
                <a:cubicBezTo>
                  <a:pt x="1361" y="4936"/>
                  <a:pt x="1389" y="4873"/>
                  <a:pt x="1417" y="4809"/>
                </a:cubicBezTo>
                <a:lnTo>
                  <a:pt x="1917" y="4788"/>
                </a:lnTo>
                <a:lnTo>
                  <a:pt x="2333" y="4788"/>
                </a:lnTo>
                <a:lnTo>
                  <a:pt x="2556" y="4619"/>
                </a:lnTo>
                <a:lnTo>
                  <a:pt x="2944" y="4576"/>
                </a:lnTo>
                <a:cubicBezTo>
                  <a:pt x="3000" y="4520"/>
                  <a:pt x="3055" y="4463"/>
                  <a:pt x="3111" y="4407"/>
                </a:cubicBezTo>
                <a:lnTo>
                  <a:pt x="3333" y="4237"/>
                </a:lnTo>
                <a:lnTo>
                  <a:pt x="3444" y="4047"/>
                </a:lnTo>
                <a:lnTo>
                  <a:pt x="3306" y="3983"/>
                </a:lnTo>
                <a:lnTo>
                  <a:pt x="3083" y="4047"/>
                </a:lnTo>
                <a:cubicBezTo>
                  <a:pt x="3065" y="4096"/>
                  <a:pt x="3046" y="4146"/>
                  <a:pt x="3028" y="4195"/>
                </a:cubicBezTo>
                <a:lnTo>
                  <a:pt x="2917" y="4258"/>
                </a:lnTo>
                <a:cubicBezTo>
                  <a:pt x="2889" y="4202"/>
                  <a:pt x="2861" y="4145"/>
                  <a:pt x="2833" y="4089"/>
                </a:cubicBezTo>
                <a:cubicBezTo>
                  <a:pt x="2861" y="4047"/>
                  <a:pt x="2889" y="4004"/>
                  <a:pt x="2917" y="3962"/>
                </a:cubicBezTo>
                <a:lnTo>
                  <a:pt x="2917" y="3792"/>
                </a:lnTo>
                <a:lnTo>
                  <a:pt x="3083" y="3771"/>
                </a:lnTo>
                <a:lnTo>
                  <a:pt x="3250" y="3708"/>
                </a:lnTo>
                <a:lnTo>
                  <a:pt x="3250" y="3559"/>
                </a:lnTo>
                <a:lnTo>
                  <a:pt x="3056" y="3517"/>
                </a:lnTo>
                <a:lnTo>
                  <a:pt x="2778" y="3242"/>
                </a:lnTo>
                <a:lnTo>
                  <a:pt x="2667" y="3114"/>
                </a:lnTo>
                <a:lnTo>
                  <a:pt x="2333" y="3136"/>
                </a:lnTo>
                <a:lnTo>
                  <a:pt x="2167" y="3284"/>
                </a:lnTo>
                <a:lnTo>
                  <a:pt x="1917" y="3305"/>
                </a:lnTo>
                <a:lnTo>
                  <a:pt x="1750" y="3305"/>
                </a:lnTo>
                <a:cubicBezTo>
                  <a:pt x="1694" y="3347"/>
                  <a:pt x="1639" y="3390"/>
                  <a:pt x="1583" y="3432"/>
                </a:cubicBezTo>
                <a:cubicBezTo>
                  <a:pt x="1537" y="3489"/>
                  <a:pt x="1490" y="3545"/>
                  <a:pt x="1444" y="3602"/>
                </a:cubicBezTo>
                <a:lnTo>
                  <a:pt x="1000" y="3665"/>
                </a:lnTo>
                <a:lnTo>
                  <a:pt x="722" y="3665"/>
                </a:lnTo>
                <a:lnTo>
                  <a:pt x="472" y="3432"/>
                </a:lnTo>
                <a:lnTo>
                  <a:pt x="222" y="3411"/>
                </a:lnTo>
                <a:lnTo>
                  <a:pt x="0" y="3369"/>
                </a:lnTo>
                <a:cubicBezTo>
                  <a:pt x="9" y="3270"/>
                  <a:pt x="19" y="3171"/>
                  <a:pt x="28" y="3072"/>
                </a:cubicBezTo>
                <a:cubicBezTo>
                  <a:pt x="83" y="2973"/>
                  <a:pt x="139" y="2874"/>
                  <a:pt x="194" y="2775"/>
                </a:cubicBezTo>
                <a:lnTo>
                  <a:pt x="333" y="2669"/>
                </a:lnTo>
                <a:lnTo>
                  <a:pt x="611" y="2606"/>
                </a:lnTo>
                <a:lnTo>
                  <a:pt x="833" y="2479"/>
                </a:lnTo>
                <a:cubicBezTo>
                  <a:pt x="861" y="2437"/>
                  <a:pt x="889" y="2394"/>
                  <a:pt x="917" y="2352"/>
                </a:cubicBezTo>
                <a:cubicBezTo>
                  <a:pt x="889" y="2317"/>
                  <a:pt x="861" y="2281"/>
                  <a:pt x="833" y="2246"/>
                </a:cubicBezTo>
                <a:cubicBezTo>
                  <a:pt x="787" y="2175"/>
                  <a:pt x="740" y="2105"/>
                  <a:pt x="694" y="2034"/>
                </a:cubicBezTo>
                <a:lnTo>
                  <a:pt x="444" y="2034"/>
                </a:lnTo>
                <a:lnTo>
                  <a:pt x="333" y="2076"/>
                </a:lnTo>
                <a:cubicBezTo>
                  <a:pt x="315" y="2034"/>
                  <a:pt x="296" y="1991"/>
                  <a:pt x="278" y="1949"/>
                </a:cubicBezTo>
                <a:lnTo>
                  <a:pt x="556" y="1653"/>
                </a:lnTo>
                <a:lnTo>
                  <a:pt x="694" y="1525"/>
                </a:lnTo>
                <a:lnTo>
                  <a:pt x="944" y="1737"/>
                </a:lnTo>
                <a:lnTo>
                  <a:pt x="1167" y="1822"/>
                </a:lnTo>
                <a:cubicBezTo>
                  <a:pt x="1195" y="1780"/>
                  <a:pt x="1222" y="1737"/>
                  <a:pt x="1250" y="1695"/>
                </a:cubicBezTo>
                <a:lnTo>
                  <a:pt x="1250" y="1483"/>
                </a:lnTo>
                <a:lnTo>
                  <a:pt x="1361" y="1398"/>
                </a:lnTo>
                <a:lnTo>
                  <a:pt x="1583" y="1398"/>
                </a:lnTo>
                <a:lnTo>
                  <a:pt x="1722" y="1398"/>
                </a:lnTo>
                <a:lnTo>
                  <a:pt x="1722" y="1250"/>
                </a:lnTo>
                <a:lnTo>
                  <a:pt x="1583" y="1208"/>
                </a:lnTo>
                <a:lnTo>
                  <a:pt x="1417" y="1144"/>
                </a:lnTo>
                <a:lnTo>
                  <a:pt x="1222" y="1081"/>
                </a:lnTo>
                <a:lnTo>
                  <a:pt x="917" y="1081"/>
                </a:lnTo>
                <a:lnTo>
                  <a:pt x="611" y="1081"/>
                </a:lnTo>
                <a:lnTo>
                  <a:pt x="806" y="551"/>
                </a:lnTo>
                <a:cubicBezTo>
                  <a:pt x="834" y="452"/>
                  <a:pt x="861" y="353"/>
                  <a:pt x="889" y="254"/>
                </a:cubicBezTo>
                <a:cubicBezTo>
                  <a:pt x="926" y="169"/>
                  <a:pt x="852" y="85"/>
                  <a:pt x="889" y="0"/>
                </a:cubicBezTo>
              </a:path>
            </a:pathLst>
          </a:custGeom>
          <a:noFill/>
          <a:ln w="3175" cap="flat" cmpd="sng">
            <a:solidFill>
              <a:srgbClr val="D9EAF7"/>
            </a:solidFill>
            <a:prstDash val="solid"/>
            <a:round/>
            <a:headEnd type="none" w="med" len="med"/>
            <a:tailEnd type="none" w="med" len="med"/>
          </a:ln>
        </p:spPr>
        <p:txBody>
          <a:bodyPr wrap="none" lIns="32632" tIns="32632" rIns="32632" bIns="32632" anchor="ctr"/>
          <a:lstStyle/>
          <a:p>
            <a:pPr defTabSz="891045"/>
            <a:endParaRPr lang="en-US" sz="1700" dirty="0">
              <a:solidFill>
                <a:srgbClr val="003149"/>
              </a:solidFill>
              <a:cs typeface="Arial" panose="020B0604020202020204" pitchFamily="34" charset="0"/>
            </a:endParaRPr>
          </a:p>
        </p:txBody>
      </p:sp>
      <p:sp>
        <p:nvSpPr>
          <p:cNvPr id="273" name="Freeform 659"/>
          <p:cNvSpPr>
            <a:spLocks noChangeAspect="1"/>
          </p:cNvSpPr>
          <p:nvPr>
            <p:custDataLst>
              <p:tags r:id="rId165"/>
            </p:custDataLst>
          </p:nvPr>
        </p:nvSpPr>
        <p:spPr bwMode="gray">
          <a:xfrm>
            <a:off x="2724149" y="2555165"/>
            <a:ext cx="51180" cy="94699"/>
          </a:xfrm>
          <a:custGeom>
            <a:avLst/>
            <a:gdLst>
              <a:gd name="T0" fmla="*/ 0 w 164"/>
              <a:gd name="T1" fmla="*/ 523003037 h 271"/>
              <a:gd name="T2" fmla="*/ 471398562 w 164"/>
              <a:gd name="T3" fmla="*/ 523003037 h 271"/>
              <a:gd name="T4" fmla="*/ 471398562 w 164"/>
              <a:gd name="T5" fmla="*/ 523003037 h 271"/>
              <a:gd name="T6" fmla="*/ 471398562 w 164"/>
              <a:gd name="T7" fmla="*/ 523003037 h 271"/>
              <a:gd name="T8" fmla="*/ 471398562 w 164"/>
              <a:gd name="T9" fmla="*/ 523003037 h 271"/>
              <a:gd name="T10" fmla="*/ 471398562 w 164"/>
              <a:gd name="T11" fmla="*/ 523003037 h 271"/>
              <a:gd name="T12" fmla="*/ 471398562 w 164"/>
              <a:gd name="T13" fmla="*/ 523003037 h 271"/>
              <a:gd name="T14" fmla="*/ 471398562 w 164"/>
              <a:gd name="T15" fmla="*/ 523003037 h 271"/>
              <a:gd name="T16" fmla="*/ 471398562 w 164"/>
              <a:gd name="T17" fmla="*/ 523003037 h 271"/>
              <a:gd name="T18" fmla="*/ 471398562 w 164"/>
              <a:gd name="T19" fmla="*/ 523003037 h 271"/>
              <a:gd name="T20" fmla="*/ 471398562 w 164"/>
              <a:gd name="T21" fmla="*/ 523003037 h 271"/>
              <a:gd name="T22" fmla="*/ 471398562 w 164"/>
              <a:gd name="T23" fmla="*/ 0 h 271"/>
              <a:gd name="T24" fmla="*/ 471398562 w 164"/>
              <a:gd name="T25" fmla="*/ 523003037 h 271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w 164"/>
              <a:gd name="T40" fmla="*/ 0 h 271"/>
              <a:gd name="T41" fmla="*/ 164 w 164"/>
              <a:gd name="T42" fmla="*/ 271 h 271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T39" t="T40" r="T41" b="T42"/>
            <a:pathLst>
              <a:path w="164" h="271">
                <a:moveTo>
                  <a:pt x="0" y="271"/>
                </a:moveTo>
                <a:lnTo>
                  <a:pt x="20" y="225"/>
                </a:lnTo>
                <a:lnTo>
                  <a:pt x="18" y="205"/>
                </a:lnTo>
                <a:lnTo>
                  <a:pt x="50" y="169"/>
                </a:lnTo>
                <a:lnTo>
                  <a:pt x="78" y="146"/>
                </a:lnTo>
                <a:lnTo>
                  <a:pt x="102" y="122"/>
                </a:lnTo>
                <a:lnTo>
                  <a:pt x="92" y="90"/>
                </a:lnTo>
                <a:lnTo>
                  <a:pt x="80" y="68"/>
                </a:lnTo>
                <a:lnTo>
                  <a:pt x="72" y="44"/>
                </a:lnTo>
                <a:lnTo>
                  <a:pt x="84" y="12"/>
                </a:lnTo>
                <a:lnTo>
                  <a:pt x="108" y="2"/>
                </a:lnTo>
                <a:lnTo>
                  <a:pt x="128" y="0"/>
                </a:lnTo>
                <a:lnTo>
                  <a:pt x="164" y="2"/>
                </a:lnTo>
              </a:path>
            </a:pathLst>
          </a:custGeom>
          <a:noFill/>
          <a:ln w="3175" cap="flat" cmpd="sng">
            <a:solidFill>
              <a:srgbClr val="D9EAF7"/>
            </a:solidFill>
            <a:prstDash val="solid"/>
            <a:round/>
            <a:headEnd type="none" w="med" len="med"/>
            <a:tailEnd type="none" w="sm" len="sm"/>
          </a:ln>
        </p:spPr>
        <p:txBody>
          <a:bodyPr wrap="none" lIns="32632" tIns="32632" rIns="32632" bIns="32632" anchor="ctr"/>
          <a:lstStyle/>
          <a:p>
            <a:pPr defTabSz="891045"/>
            <a:endParaRPr lang="en-US" sz="1700" dirty="0">
              <a:solidFill>
                <a:srgbClr val="003149"/>
              </a:solidFill>
              <a:cs typeface="Arial" panose="020B0604020202020204" pitchFamily="34" charset="0"/>
            </a:endParaRPr>
          </a:p>
        </p:txBody>
      </p:sp>
      <p:sp>
        <p:nvSpPr>
          <p:cNvPr id="274" name="Freeform 607"/>
          <p:cNvSpPr>
            <a:spLocks noChangeAspect="1"/>
          </p:cNvSpPr>
          <p:nvPr/>
        </p:nvSpPr>
        <p:spPr bwMode="gray">
          <a:xfrm>
            <a:off x="2873425" y="3242445"/>
            <a:ext cx="46915" cy="90394"/>
          </a:xfrm>
          <a:custGeom>
            <a:avLst/>
            <a:gdLst>
              <a:gd name="T0" fmla="*/ 0 w 3502"/>
              <a:gd name="T1" fmla="*/ 0 h 4490"/>
              <a:gd name="T2" fmla="*/ 0 w 3502"/>
              <a:gd name="T3" fmla="*/ 0 h 4490"/>
              <a:gd name="T4" fmla="*/ 0 w 3502"/>
              <a:gd name="T5" fmla="*/ 0 h 4490"/>
              <a:gd name="T6" fmla="*/ 0 w 3502"/>
              <a:gd name="T7" fmla="*/ 0 h 4490"/>
              <a:gd name="T8" fmla="*/ 0 w 3502"/>
              <a:gd name="T9" fmla="*/ 0 h 4490"/>
              <a:gd name="T10" fmla="*/ 0 w 3502"/>
              <a:gd name="T11" fmla="*/ 0 h 4490"/>
              <a:gd name="T12" fmla="*/ 0 w 3502"/>
              <a:gd name="T13" fmla="*/ 0 h 4490"/>
              <a:gd name="T14" fmla="*/ 0 w 3502"/>
              <a:gd name="T15" fmla="*/ 0 h 4490"/>
              <a:gd name="T16" fmla="*/ 0 w 3502"/>
              <a:gd name="T17" fmla="*/ 0 h 4490"/>
              <a:gd name="T18" fmla="*/ 0 w 3502"/>
              <a:gd name="T19" fmla="*/ 0 h 4490"/>
              <a:gd name="T20" fmla="*/ 0 w 3502"/>
              <a:gd name="T21" fmla="*/ 0 h 4490"/>
              <a:gd name="T22" fmla="*/ 0 w 3502"/>
              <a:gd name="T23" fmla="*/ 0 h 4490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w 3502"/>
              <a:gd name="T37" fmla="*/ 0 h 4490"/>
              <a:gd name="T38" fmla="*/ 3502 w 3502"/>
              <a:gd name="T39" fmla="*/ 4490 h 4490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T36" t="T37" r="T38" b="T39"/>
            <a:pathLst>
              <a:path w="3502" h="4490">
                <a:moveTo>
                  <a:pt x="3502" y="0"/>
                </a:moveTo>
                <a:cubicBezTo>
                  <a:pt x="3444" y="115"/>
                  <a:pt x="3384" y="231"/>
                  <a:pt x="3325" y="346"/>
                </a:cubicBezTo>
                <a:cubicBezTo>
                  <a:pt x="3251" y="518"/>
                  <a:pt x="3178" y="691"/>
                  <a:pt x="3104" y="863"/>
                </a:cubicBezTo>
                <a:lnTo>
                  <a:pt x="3104" y="1486"/>
                </a:lnTo>
                <a:cubicBezTo>
                  <a:pt x="3044" y="1647"/>
                  <a:pt x="2986" y="1808"/>
                  <a:pt x="2926" y="1969"/>
                </a:cubicBezTo>
                <a:cubicBezTo>
                  <a:pt x="2897" y="2119"/>
                  <a:pt x="2866" y="2268"/>
                  <a:pt x="2836" y="2418"/>
                </a:cubicBezTo>
                <a:cubicBezTo>
                  <a:pt x="2778" y="2556"/>
                  <a:pt x="2718" y="2694"/>
                  <a:pt x="2660" y="2833"/>
                </a:cubicBezTo>
                <a:lnTo>
                  <a:pt x="2394" y="3540"/>
                </a:lnTo>
                <a:lnTo>
                  <a:pt x="1707" y="4076"/>
                </a:lnTo>
                <a:lnTo>
                  <a:pt x="974" y="4145"/>
                </a:lnTo>
                <a:lnTo>
                  <a:pt x="531" y="4370"/>
                </a:lnTo>
                <a:lnTo>
                  <a:pt x="0" y="4490"/>
                </a:lnTo>
              </a:path>
            </a:pathLst>
          </a:custGeom>
          <a:noFill/>
          <a:ln w="3175">
            <a:solidFill>
              <a:srgbClr val="D9EAF7"/>
            </a:solidFill>
            <a:round/>
            <a:headEnd/>
            <a:tailEnd/>
          </a:ln>
        </p:spPr>
        <p:txBody>
          <a:bodyPr wrap="none" lIns="32632" tIns="32632" rIns="32632" bIns="32632" anchor="ctr"/>
          <a:lstStyle/>
          <a:p>
            <a:pPr defTabSz="891045"/>
            <a:endParaRPr lang="en-US" sz="1700" dirty="0">
              <a:solidFill>
                <a:srgbClr val="003149"/>
              </a:solidFill>
              <a:cs typeface="Arial" panose="020B0604020202020204" pitchFamily="34" charset="0"/>
            </a:endParaRPr>
          </a:p>
        </p:txBody>
      </p:sp>
      <p:sp>
        <p:nvSpPr>
          <p:cNvPr id="275" name="Freeform 637"/>
          <p:cNvSpPr>
            <a:spLocks noChangeAspect="1"/>
          </p:cNvSpPr>
          <p:nvPr>
            <p:custDataLst>
              <p:tags r:id="rId166"/>
            </p:custDataLst>
          </p:nvPr>
        </p:nvSpPr>
        <p:spPr bwMode="gray">
          <a:xfrm>
            <a:off x="2711355" y="3070267"/>
            <a:ext cx="88144" cy="73177"/>
          </a:xfrm>
          <a:custGeom>
            <a:avLst/>
            <a:gdLst>
              <a:gd name="T0" fmla="*/ 0 w 10046"/>
              <a:gd name="T1" fmla="*/ 0 h 10259"/>
              <a:gd name="T2" fmla="*/ 0 w 10046"/>
              <a:gd name="T3" fmla="*/ 0 h 10259"/>
              <a:gd name="T4" fmla="*/ 0 w 10046"/>
              <a:gd name="T5" fmla="*/ 0 h 10259"/>
              <a:gd name="T6" fmla="*/ 0 w 10046"/>
              <a:gd name="T7" fmla="*/ 0 h 10259"/>
              <a:gd name="T8" fmla="*/ 0 w 10046"/>
              <a:gd name="T9" fmla="*/ 0 h 10259"/>
              <a:gd name="T10" fmla="*/ 0 w 10046"/>
              <a:gd name="T11" fmla="*/ 0 h 10259"/>
              <a:gd name="T12" fmla="*/ 0 w 10046"/>
              <a:gd name="T13" fmla="*/ 0 h 10259"/>
              <a:gd name="T14" fmla="*/ 0 w 10046"/>
              <a:gd name="T15" fmla="*/ 0 h 10259"/>
              <a:gd name="T16" fmla="*/ 0 w 10046"/>
              <a:gd name="T17" fmla="*/ 0 h 10259"/>
              <a:gd name="T18" fmla="*/ 0 w 10046"/>
              <a:gd name="T19" fmla="*/ 0 h 10259"/>
              <a:gd name="T20" fmla="*/ 0 w 10046"/>
              <a:gd name="T21" fmla="*/ 0 h 10259"/>
              <a:gd name="T22" fmla="*/ 0 w 10046"/>
              <a:gd name="T23" fmla="*/ 0 h 10259"/>
              <a:gd name="T24" fmla="*/ 0 w 10046"/>
              <a:gd name="T25" fmla="*/ 0 h 10259"/>
              <a:gd name="T26" fmla="*/ 0 w 10046"/>
              <a:gd name="T27" fmla="*/ 0 h 10259"/>
              <a:gd name="T28" fmla="*/ 0 w 10046"/>
              <a:gd name="T29" fmla="*/ 0 h 10259"/>
              <a:gd name="T30" fmla="*/ 0 w 10046"/>
              <a:gd name="T31" fmla="*/ 0 h 10259"/>
              <a:gd name="T32" fmla="*/ 0 w 10046"/>
              <a:gd name="T33" fmla="*/ 0 h 10259"/>
              <a:gd name="T34" fmla="*/ 0 w 10046"/>
              <a:gd name="T35" fmla="*/ 0 h 10259"/>
              <a:gd name="T36" fmla="*/ 0 w 10046"/>
              <a:gd name="T37" fmla="*/ 0 h 10259"/>
              <a:gd name="T38" fmla="*/ 0 w 10046"/>
              <a:gd name="T39" fmla="*/ 0 h 10259"/>
              <a:gd name="T40" fmla="*/ 0 w 10046"/>
              <a:gd name="T41" fmla="*/ 0 h 10259"/>
              <a:gd name="T42" fmla="*/ 0 w 10046"/>
              <a:gd name="T43" fmla="*/ 0 h 10259"/>
              <a:gd name="T44" fmla="*/ 0 w 10046"/>
              <a:gd name="T45" fmla="*/ 0 h 10259"/>
              <a:gd name="T46" fmla="*/ 0 w 10046"/>
              <a:gd name="T47" fmla="*/ 0 h 10259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w 10046"/>
              <a:gd name="T73" fmla="*/ 0 h 10259"/>
              <a:gd name="T74" fmla="*/ 10046 w 10046"/>
              <a:gd name="T75" fmla="*/ 10259 h 10259"/>
            </a:gdLst>
            <a:ahLst/>
            <a:cxnLst>
              <a:cxn ang="T48">
                <a:pos x="T0" y="T1"/>
              </a:cxn>
              <a:cxn ang="T49">
                <a:pos x="T2" y="T3"/>
              </a:cxn>
              <a:cxn ang="T50">
                <a:pos x="T4" y="T5"/>
              </a:cxn>
              <a:cxn ang="T51">
                <a:pos x="T6" y="T7"/>
              </a:cxn>
              <a:cxn ang="T52">
                <a:pos x="T8" y="T9"/>
              </a:cxn>
              <a:cxn ang="T53">
                <a:pos x="T10" y="T11"/>
              </a:cxn>
              <a:cxn ang="T54">
                <a:pos x="T12" y="T13"/>
              </a:cxn>
              <a:cxn ang="T55">
                <a:pos x="T14" y="T15"/>
              </a:cxn>
              <a:cxn ang="T56">
                <a:pos x="T16" y="T17"/>
              </a:cxn>
              <a:cxn ang="T57">
                <a:pos x="T18" y="T19"/>
              </a:cxn>
              <a:cxn ang="T58">
                <a:pos x="T20" y="T21"/>
              </a:cxn>
              <a:cxn ang="T59">
                <a:pos x="T22" y="T23"/>
              </a:cxn>
              <a:cxn ang="T60">
                <a:pos x="T24" y="T25"/>
              </a:cxn>
              <a:cxn ang="T61">
                <a:pos x="T26" y="T27"/>
              </a:cxn>
              <a:cxn ang="T62">
                <a:pos x="T28" y="T29"/>
              </a:cxn>
              <a:cxn ang="T63">
                <a:pos x="T30" y="T31"/>
              </a:cxn>
              <a:cxn ang="T64">
                <a:pos x="T32" y="T33"/>
              </a:cxn>
              <a:cxn ang="T65">
                <a:pos x="T34" y="T35"/>
              </a:cxn>
              <a:cxn ang="T66">
                <a:pos x="T36" y="T37"/>
              </a:cxn>
              <a:cxn ang="T67">
                <a:pos x="T38" y="T39"/>
              </a:cxn>
              <a:cxn ang="T68">
                <a:pos x="T40" y="T41"/>
              </a:cxn>
              <a:cxn ang="T69">
                <a:pos x="T42" y="T43"/>
              </a:cxn>
              <a:cxn ang="T70">
                <a:pos x="T44" y="T45"/>
              </a:cxn>
              <a:cxn ang="T71">
                <a:pos x="T46" y="T47"/>
              </a:cxn>
            </a:cxnLst>
            <a:rect l="T72" t="T73" r="T74" b="T75"/>
            <a:pathLst>
              <a:path w="10046" h="10259">
                <a:moveTo>
                  <a:pt x="10046" y="10259"/>
                </a:moveTo>
                <a:lnTo>
                  <a:pt x="9686" y="8829"/>
                </a:lnTo>
                <a:lnTo>
                  <a:pt x="8885" y="8195"/>
                </a:lnTo>
                <a:lnTo>
                  <a:pt x="8328" y="7610"/>
                </a:lnTo>
                <a:cubicBezTo>
                  <a:pt x="8270" y="7415"/>
                  <a:pt x="8211" y="7219"/>
                  <a:pt x="8153" y="7024"/>
                </a:cubicBezTo>
                <a:lnTo>
                  <a:pt x="7422" y="6732"/>
                </a:lnTo>
                <a:lnTo>
                  <a:pt x="6969" y="7073"/>
                </a:lnTo>
                <a:lnTo>
                  <a:pt x="6585" y="7610"/>
                </a:lnTo>
                <a:lnTo>
                  <a:pt x="6132" y="7902"/>
                </a:lnTo>
                <a:lnTo>
                  <a:pt x="5610" y="8049"/>
                </a:lnTo>
                <a:lnTo>
                  <a:pt x="5226" y="7512"/>
                </a:lnTo>
                <a:cubicBezTo>
                  <a:pt x="5180" y="7106"/>
                  <a:pt x="5133" y="6699"/>
                  <a:pt x="5087" y="6293"/>
                </a:cubicBezTo>
                <a:cubicBezTo>
                  <a:pt x="5052" y="6049"/>
                  <a:pt x="5018" y="5805"/>
                  <a:pt x="4983" y="5561"/>
                </a:cubicBezTo>
                <a:lnTo>
                  <a:pt x="4564" y="4976"/>
                </a:lnTo>
                <a:lnTo>
                  <a:pt x="4042" y="4878"/>
                </a:lnTo>
                <a:lnTo>
                  <a:pt x="3101" y="4585"/>
                </a:lnTo>
                <a:lnTo>
                  <a:pt x="2300" y="3512"/>
                </a:lnTo>
                <a:lnTo>
                  <a:pt x="2300" y="2634"/>
                </a:lnTo>
                <a:lnTo>
                  <a:pt x="2195" y="1659"/>
                </a:lnTo>
                <a:lnTo>
                  <a:pt x="2195" y="585"/>
                </a:lnTo>
                <a:cubicBezTo>
                  <a:pt x="2149" y="390"/>
                  <a:pt x="2102" y="195"/>
                  <a:pt x="2056" y="0"/>
                </a:cubicBezTo>
                <a:lnTo>
                  <a:pt x="1429" y="0"/>
                </a:lnTo>
                <a:lnTo>
                  <a:pt x="488" y="49"/>
                </a:lnTo>
                <a:lnTo>
                  <a:pt x="0" y="49"/>
                </a:lnTo>
              </a:path>
            </a:pathLst>
          </a:custGeom>
          <a:noFill/>
          <a:ln w="3175" cap="flat" cmpd="sng">
            <a:solidFill>
              <a:srgbClr val="D9EAF7"/>
            </a:solidFill>
            <a:prstDash val="solid"/>
            <a:round/>
            <a:headEnd/>
            <a:tailEnd/>
          </a:ln>
        </p:spPr>
        <p:txBody>
          <a:bodyPr wrap="none" lIns="32632" tIns="32632" rIns="32632" bIns="32632" anchor="ctr"/>
          <a:lstStyle/>
          <a:p>
            <a:pPr defTabSz="891045"/>
            <a:endParaRPr lang="en-US" sz="1700" dirty="0">
              <a:solidFill>
                <a:srgbClr val="003149"/>
              </a:solidFill>
              <a:cs typeface="Arial" panose="020B0604020202020204" pitchFamily="34" charset="0"/>
            </a:endParaRPr>
          </a:p>
        </p:txBody>
      </p:sp>
      <p:sp>
        <p:nvSpPr>
          <p:cNvPr id="276" name="Freeform 641"/>
          <p:cNvSpPr>
            <a:spLocks noChangeAspect="1"/>
          </p:cNvSpPr>
          <p:nvPr>
            <p:custDataLst>
              <p:tags r:id="rId167"/>
            </p:custDataLst>
          </p:nvPr>
        </p:nvSpPr>
        <p:spPr bwMode="gray">
          <a:xfrm>
            <a:off x="2518007" y="3108998"/>
            <a:ext cx="56867" cy="110482"/>
          </a:xfrm>
          <a:custGeom>
            <a:avLst/>
            <a:gdLst>
              <a:gd name="T0" fmla="*/ 0 w 9732"/>
              <a:gd name="T1" fmla="*/ 0 h 9958"/>
              <a:gd name="T2" fmla="*/ 0 w 9732"/>
              <a:gd name="T3" fmla="*/ 0 h 9958"/>
              <a:gd name="T4" fmla="*/ 0 w 9732"/>
              <a:gd name="T5" fmla="*/ 0 h 9958"/>
              <a:gd name="T6" fmla="*/ 0 w 9732"/>
              <a:gd name="T7" fmla="*/ 0 h 9958"/>
              <a:gd name="T8" fmla="*/ 0 w 9732"/>
              <a:gd name="T9" fmla="*/ 0 h 9958"/>
              <a:gd name="T10" fmla="*/ 0 w 9732"/>
              <a:gd name="T11" fmla="*/ 0 h 9958"/>
              <a:gd name="T12" fmla="*/ 0 w 9732"/>
              <a:gd name="T13" fmla="*/ 0 h 9958"/>
              <a:gd name="T14" fmla="*/ 0 w 9732"/>
              <a:gd name="T15" fmla="*/ 0 h 9958"/>
              <a:gd name="T16" fmla="*/ 0 w 9732"/>
              <a:gd name="T17" fmla="*/ 0 h 9958"/>
              <a:gd name="T18" fmla="*/ 0 w 9732"/>
              <a:gd name="T19" fmla="*/ 0 h 9958"/>
              <a:gd name="T20" fmla="*/ 0 w 9732"/>
              <a:gd name="T21" fmla="*/ 0 h 9958"/>
              <a:gd name="T22" fmla="*/ 0 w 9732"/>
              <a:gd name="T23" fmla="*/ 0 h 9958"/>
              <a:gd name="T24" fmla="*/ 0 w 9732"/>
              <a:gd name="T25" fmla="*/ 0 h 9958"/>
              <a:gd name="T26" fmla="*/ 0 w 9732"/>
              <a:gd name="T27" fmla="*/ 0 h 9958"/>
              <a:gd name="T28" fmla="*/ 0 w 9732"/>
              <a:gd name="T29" fmla="*/ 0 h 9958"/>
              <a:gd name="T30" fmla="*/ 0 w 9732"/>
              <a:gd name="T31" fmla="*/ 0 h 9958"/>
              <a:gd name="T32" fmla="*/ 0 w 9732"/>
              <a:gd name="T33" fmla="*/ 0 h 9958"/>
              <a:gd name="T34" fmla="*/ 0 w 9732"/>
              <a:gd name="T35" fmla="*/ 0 h 9958"/>
              <a:gd name="T36" fmla="*/ 0 w 9732"/>
              <a:gd name="T37" fmla="*/ 0 h 9958"/>
              <a:gd name="T38" fmla="*/ 0 w 9732"/>
              <a:gd name="T39" fmla="*/ 0 h 9958"/>
              <a:gd name="T40" fmla="*/ 0 w 9732"/>
              <a:gd name="T41" fmla="*/ 0 h 9958"/>
              <a:gd name="T42" fmla="*/ 0 w 9732"/>
              <a:gd name="T43" fmla="*/ 0 h 9958"/>
              <a:gd name="T44" fmla="*/ 0 w 9732"/>
              <a:gd name="T45" fmla="*/ 0 h 9958"/>
              <a:gd name="T46" fmla="*/ 0 w 9732"/>
              <a:gd name="T47" fmla="*/ 0 h 9958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w 9732"/>
              <a:gd name="T73" fmla="*/ 0 h 9958"/>
              <a:gd name="T74" fmla="*/ 9732 w 9732"/>
              <a:gd name="T75" fmla="*/ 9958 h 9958"/>
            </a:gdLst>
            <a:ahLst/>
            <a:cxnLst>
              <a:cxn ang="T48">
                <a:pos x="T0" y="T1"/>
              </a:cxn>
              <a:cxn ang="T49">
                <a:pos x="T2" y="T3"/>
              </a:cxn>
              <a:cxn ang="T50">
                <a:pos x="T4" y="T5"/>
              </a:cxn>
              <a:cxn ang="T51">
                <a:pos x="T6" y="T7"/>
              </a:cxn>
              <a:cxn ang="T52">
                <a:pos x="T8" y="T9"/>
              </a:cxn>
              <a:cxn ang="T53">
                <a:pos x="T10" y="T11"/>
              </a:cxn>
              <a:cxn ang="T54">
                <a:pos x="T12" y="T13"/>
              </a:cxn>
              <a:cxn ang="T55">
                <a:pos x="T14" y="T15"/>
              </a:cxn>
              <a:cxn ang="T56">
                <a:pos x="T16" y="T17"/>
              </a:cxn>
              <a:cxn ang="T57">
                <a:pos x="T18" y="T19"/>
              </a:cxn>
              <a:cxn ang="T58">
                <a:pos x="T20" y="T21"/>
              </a:cxn>
              <a:cxn ang="T59">
                <a:pos x="T22" y="T23"/>
              </a:cxn>
              <a:cxn ang="T60">
                <a:pos x="T24" y="T25"/>
              </a:cxn>
              <a:cxn ang="T61">
                <a:pos x="T26" y="T27"/>
              </a:cxn>
              <a:cxn ang="T62">
                <a:pos x="T28" y="T29"/>
              </a:cxn>
              <a:cxn ang="T63">
                <a:pos x="T30" y="T31"/>
              </a:cxn>
              <a:cxn ang="T64">
                <a:pos x="T32" y="T33"/>
              </a:cxn>
              <a:cxn ang="T65">
                <a:pos x="T34" y="T35"/>
              </a:cxn>
              <a:cxn ang="T66">
                <a:pos x="T36" y="T37"/>
              </a:cxn>
              <a:cxn ang="T67">
                <a:pos x="T38" y="T39"/>
              </a:cxn>
              <a:cxn ang="T68">
                <a:pos x="T40" y="T41"/>
              </a:cxn>
              <a:cxn ang="T69">
                <a:pos x="T42" y="T43"/>
              </a:cxn>
              <a:cxn ang="T70">
                <a:pos x="T44" y="T45"/>
              </a:cxn>
              <a:cxn ang="T71">
                <a:pos x="T46" y="T47"/>
              </a:cxn>
            </a:cxnLst>
            <a:rect l="T72" t="T73" r="T74" b="T75"/>
            <a:pathLst>
              <a:path w="9732" h="9958">
                <a:moveTo>
                  <a:pt x="0" y="9958"/>
                </a:moveTo>
                <a:lnTo>
                  <a:pt x="332" y="9676"/>
                </a:lnTo>
                <a:lnTo>
                  <a:pt x="882" y="9579"/>
                </a:lnTo>
                <a:lnTo>
                  <a:pt x="1032" y="9191"/>
                </a:lnTo>
                <a:lnTo>
                  <a:pt x="1982" y="9094"/>
                </a:lnTo>
                <a:lnTo>
                  <a:pt x="3282" y="8738"/>
                </a:lnTo>
                <a:lnTo>
                  <a:pt x="3732" y="8026"/>
                </a:lnTo>
                <a:lnTo>
                  <a:pt x="4182" y="7540"/>
                </a:lnTo>
                <a:lnTo>
                  <a:pt x="5082" y="7540"/>
                </a:lnTo>
                <a:cubicBezTo>
                  <a:pt x="5099" y="7421"/>
                  <a:pt x="5115" y="7303"/>
                  <a:pt x="5132" y="7184"/>
                </a:cubicBezTo>
                <a:lnTo>
                  <a:pt x="6282" y="6990"/>
                </a:lnTo>
                <a:lnTo>
                  <a:pt x="6432" y="6408"/>
                </a:lnTo>
                <a:cubicBezTo>
                  <a:pt x="6499" y="6246"/>
                  <a:pt x="6565" y="6084"/>
                  <a:pt x="6632" y="5922"/>
                </a:cubicBezTo>
                <a:cubicBezTo>
                  <a:pt x="6615" y="5760"/>
                  <a:pt x="6599" y="5599"/>
                  <a:pt x="6582" y="5437"/>
                </a:cubicBezTo>
                <a:lnTo>
                  <a:pt x="6882" y="5016"/>
                </a:lnTo>
                <a:lnTo>
                  <a:pt x="7232" y="4466"/>
                </a:lnTo>
                <a:lnTo>
                  <a:pt x="7932" y="4142"/>
                </a:lnTo>
                <a:lnTo>
                  <a:pt x="8532" y="3398"/>
                </a:lnTo>
                <a:lnTo>
                  <a:pt x="8682" y="2783"/>
                </a:lnTo>
                <a:cubicBezTo>
                  <a:pt x="8749" y="2600"/>
                  <a:pt x="8815" y="2416"/>
                  <a:pt x="8882" y="2233"/>
                </a:cubicBezTo>
                <a:lnTo>
                  <a:pt x="8882" y="1715"/>
                </a:lnTo>
                <a:lnTo>
                  <a:pt x="9332" y="1133"/>
                </a:lnTo>
                <a:lnTo>
                  <a:pt x="9732" y="583"/>
                </a:lnTo>
                <a:cubicBezTo>
                  <a:pt x="9699" y="389"/>
                  <a:pt x="9665" y="194"/>
                  <a:pt x="9632" y="0"/>
                </a:cubicBezTo>
              </a:path>
            </a:pathLst>
          </a:custGeom>
          <a:noFill/>
          <a:ln w="3175" cap="flat" cmpd="sng">
            <a:solidFill>
              <a:srgbClr val="D9EAF7"/>
            </a:solidFill>
            <a:prstDash val="solid"/>
            <a:round/>
            <a:headEnd/>
            <a:tailEnd/>
          </a:ln>
        </p:spPr>
        <p:txBody>
          <a:bodyPr wrap="none" lIns="32632" tIns="32632" rIns="32632" bIns="32632" anchor="ctr"/>
          <a:lstStyle/>
          <a:p>
            <a:pPr defTabSz="891045"/>
            <a:endParaRPr lang="en-US" sz="1700" dirty="0">
              <a:solidFill>
                <a:srgbClr val="003149"/>
              </a:solidFill>
              <a:cs typeface="Arial" panose="020B0604020202020204" pitchFamily="34" charset="0"/>
            </a:endParaRPr>
          </a:p>
        </p:txBody>
      </p:sp>
      <p:sp>
        <p:nvSpPr>
          <p:cNvPr id="277" name="Freeform 643"/>
          <p:cNvSpPr>
            <a:spLocks noChangeAspect="1"/>
          </p:cNvSpPr>
          <p:nvPr>
            <p:custDataLst>
              <p:tags r:id="rId168"/>
            </p:custDataLst>
          </p:nvPr>
        </p:nvSpPr>
        <p:spPr bwMode="gray">
          <a:xfrm>
            <a:off x="2547863" y="2968393"/>
            <a:ext cx="54024" cy="124831"/>
          </a:xfrm>
          <a:custGeom>
            <a:avLst/>
            <a:gdLst>
              <a:gd name="T0" fmla="*/ 0 w 10311"/>
              <a:gd name="T1" fmla="*/ 0 h 9963"/>
              <a:gd name="T2" fmla="*/ 0 w 10311"/>
              <a:gd name="T3" fmla="*/ 0 h 9963"/>
              <a:gd name="T4" fmla="*/ 0 w 10311"/>
              <a:gd name="T5" fmla="*/ 0 h 9963"/>
              <a:gd name="T6" fmla="*/ 0 w 10311"/>
              <a:gd name="T7" fmla="*/ 0 h 9963"/>
              <a:gd name="T8" fmla="*/ 0 w 10311"/>
              <a:gd name="T9" fmla="*/ 0 h 9963"/>
              <a:gd name="T10" fmla="*/ 0 w 10311"/>
              <a:gd name="T11" fmla="*/ 0 h 9963"/>
              <a:gd name="T12" fmla="*/ 0 w 10311"/>
              <a:gd name="T13" fmla="*/ 0 h 9963"/>
              <a:gd name="T14" fmla="*/ 0 w 10311"/>
              <a:gd name="T15" fmla="*/ 0 h 9963"/>
              <a:gd name="T16" fmla="*/ 0 w 10311"/>
              <a:gd name="T17" fmla="*/ 0 h 9963"/>
              <a:gd name="T18" fmla="*/ 0 w 10311"/>
              <a:gd name="T19" fmla="*/ 0 h 9963"/>
              <a:gd name="T20" fmla="*/ 0 w 10311"/>
              <a:gd name="T21" fmla="*/ 0 h 9963"/>
              <a:gd name="T22" fmla="*/ 0 w 10311"/>
              <a:gd name="T23" fmla="*/ 0 h 9963"/>
              <a:gd name="T24" fmla="*/ 0 w 10311"/>
              <a:gd name="T25" fmla="*/ 0 h 9963"/>
              <a:gd name="T26" fmla="*/ 0 w 10311"/>
              <a:gd name="T27" fmla="*/ 0 h 9963"/>
              <a:gd name="T28" fmla="*/ 0 w 10311"/>
              <a:gd name="T29" fmla="*/ 0 h 9963"/>
              <a:gd name="T30" fmla="*/ 0 w 10311"/>
              <a:gd name="T31" fmla="*/ 0 h 9963"/>
              <a:gd name="T32" fmla="*/ 0 w 10311"/>
              <a:gd name="T33" fmla="*/ 0 h 9963"/>
              <a:gd name="T34" fmla="*/ 0 w 10311"/>
              <a:gd name="T35" fmla="*/ 0 h 9963"/>
              <a:gd name="T36" fmla="*/ 0 w 10311"/>
              <a:gd name="T37" fmla="*/ 0 h 9963"/>
              <a:gd name="T38" fmla="*/ 0 w 10311"/>
              <a:gd name="T39" fmla="*/ 0 h 9963"/>
              <a:gd name="T40" fmla="*/ 0 w 10311"/>
              <a:gd name="T41" fmla="*/ 0 h 9963"/>
              <a:gd name="T42" fmla="*/ 0 w 10311"/>
              <a:gd name="T43" fmla="*/ 0 h 9963"/>
              <a:gd name="T44" fmla="*/ 0 w 10311"/>
              <a:gd name="T45" fmla="*/ 0 h 9963"/>
              <a:gd name="T46" fmla="*/ 0 w 10311"/>
              <a:gd name="T47" fmla="*/ 0 h 9963"/>
              <a:gd name="T48" fmla="*/ 0 w 10311"/>
              <a:gd name="T49" fmla="*/ 0 h 9963"/>
              <a:gd name="T50" fmla="*/ 0 w 10311"/>
              <a:gd name="T51" fmla="*/ 0 h 9963"/>
              <a:gd name="T52" fmla="*/ 0 w 10311"/>
              <a:gd name="T53" fmla="*/ 0 h 9963"/>
              <a:gd name="T54" fmla="*/ 0 w 10311"/>
              <a:gd name="T55" fmla="*/ 0 h 9963"/>
              <a:gd name="T56" fmla="*/ 0 w 10311"/>
              <a:gd name="T57" fmla="*/ 0 h 9963"/>
              <a:gd name="T58" fmla="*/ 0 w 10311"/>
              <a:gd name="T59" fmla="*/ 0 h 9963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w 10311"/>
              <a:gd name="T91" fmla="*/ 0 h 9963"/>
              <a:gd name="T92" fmla="*/ 10311 w 10311"/>
              <a:gd name="T93" fmla="*/ 9963 h 9963"/>
            </a:gdLst>
            <a:ahLst/>
            <a:cxnLst>
              <a:cxn ang="T60">
                <a:pos x="T0" y="T1"/>
              </a:cxn>
              <a:cxn ang="T61">
                <a:pos x="T2" y="T3"/>
              </a:cxn>
              <a:cxn ang="T62">
                <a:pos x="T4" y="T5"/>
              </a:cxn>
              <a:cxn ang="T63">
                <a:pos x="T6" y="T7"/>
              </a:cxn>
              <a:cxn ang="T64">
                <a:pos x="T8" y="T9"/>
              </a:cxn>
              <a:cxn ang="T65">
                <a:pos x="T10" y="T11"/>
              </a:cxn>
              <a:cxn ang="T66">
                <a:pos x="T12" y="T13"/>
              </a:cxn>
              <a:cxn ang="T67">
                <a:pos x="T14" y="T15"/>
              </a:cxn>
              <a:cxn ang="T68">
                <a:pos x="T16" y="T17"/>
              </a:cxn>
              <a:cxn ang="T69">
                <a:pos x="T18" y="T19"/>
              </a:cxn>
              <a:cxn ang="T70">
                <a:pos x="T20" y="T21"/>
              </a:cxn>
              <a:cxn ang="T71">
                <a:pos x="T22" y="T23"/>
              </a:cxn>
              <a:cxn ang="T72">
                <a:pos x="T24" y="T25"/>
              </a:cxn>
              <a:cxn ang="T73">
                <a:pos x="T26" y="T27"/>
              </a:cxn>
              <a:cxn ang="T74">
                <a:pos x="T28" y="T29"/>
              </a:cxn>
              <a:cxn ang="T75">
                <a:pos x="T30" y="T31"/>
              </a:cxn>
              <a:cxn ang="T76">
                <a:pos x="T32" y="T33"/>
              </a:cxn>
              <a:cxn ang="T77">
                <a:pos x="T34" y="T35"/>
              </a:cxn>
              <a:cxn ang="T78">
                <a:pos x="T36" y="T37"/>
              </a:cxn>
              <a:cxn ang="T79">
                <a:pos x="T38" y="T39"/>
              </a:cxn>
              <a:cxn ang="T80">
                <a:pos x="T40" y="T41"/>
              </a:cxn>
              <a:cxn ang="T81">
                <a:pos x="T42" y="T43"/>
              </a:cxn>
              <a:cxn ang="T82">
                <a:pos x="T44" y="T45"/>
              </a:cxn>
              <a:cxn ang="T83">
                <a:pos x="T46" y="T47"/>
              </a:cxn>
              <a:cxn ang="T84">
                <a:pos x="T48" y="T49"/>
              </a:cxn>
              <a:cxn ang="T85">
                <a:pos x="T50" y="T51"/>
              </a:cxn>
              <a:cxn ang="T86">
                <a:pos x="T52" y="T53"/>
              </a:cxn>
              <a:cxn ang="T87">
                <a:pos x="T54" y="T55"/>
              </a:cxn>
              <a:cxn ang="T88">
                <a:pos x="T56" y="T57"/>
              </a:cxn>
              <a:cxn ang="T89">
                <a:pos x="T58" y="T59"/>
              </a:cxn>
            </a:cxnLst>
            <a:rect l="T90" t="T91" r="T92" b="T93"/>
            <a:pathLst>
              <a:path w="10311" h="9963">
                <a:moveTo>
                  <a:pt x="10311" y="9963"/>
                </a:moveTo>
                <a:lnTo>
                  <a:pt x="9707" y="9244"/>
                </a:lnTo>
                <a:lnTo>
                  <a:pt x="9355" y="8966"/>
                </a:lnTo>
                <a:lnTo>
                  <a:pt x="8547" y="8634"/>
                </a:lnTo>
                <a:lnTo>
                  <a:pt x="8024" y="8304"/>
                </a:lnTo>
                <a:cubicBezTo>
                  <a:pt x="8002" y="8194"/>
                  <a:pt x="7987" y="8082"/>
                  <a:pt x="7965" y="7972"/>
                </a:cubicBezTo>
                <a:lnTo>
                  <a:pt x="7245" y="7972"/>
                </a:lnTo>
                <a:lnTo>
                  <a:pt x="6433" y="7917"/>
                </a:lnTo>
                <a:cubicBezTo>
                  <a:pt x="6357" y="7615"/>
                  <a:pt x="6280" y="7310"/>
                  <a:pt x="6201" y="7006"/>
                </a:cubicBezTo>
                <a:lnTo>
                  <a:pt x="6548" y="6673"/>
                </a:lnTo>
                <a:lnTo>
                  <a:pt x="6025" y="6312"/>
                </a:lnTo>
                <a:lnTo>
                  <a:pt x="6025" y="5898"/>
                </a:lnTo>
                <a:lnTo>
                  <a:pt x="5393" y="5483"/>
                </a:lnTo>
                <a:cubicBezTo>
                  <a:pt x="5336" y="5296"/>
                  <a:pt x="5275" y="5114"/>
                  <a:pt x="5217" y="4930"/>
                </a:cubicBezTo>
                <a:cubicBezTo>
                  <a:pt x="5141" y="4811"/>
                  <a:pt x="5065" y="4691"/>
                  <a:pt x="4985" y="4572"/>
                </a:cubicBezTo>
                <a:lnTo>
                  <a:pt x="5508" y="4239"/>
                </a:lnTo>
                <a:lnTo>
                  <a:pt x="5508" y="3741"/>
                </a:lnTo>
                <a:lnTo>
                  <a:pt x="5508" y="3244"/>
                </a:lnTo>
                <a:cubicBezTo>
                  <a:pt x="5469" y="3087"/>
                  <a:pt x="5430" y="2929"/>
                  <a:pt x="5393" y="2774"/>
                </a:cubicBezTo>
                <a:lnTo>
                  <a:pt x="4465" y="2662"/>
                </a:lnTo>
                <a:lnTo>
                  <a:pt x="4002" y="2497"/>
                </a:lnTo>
                <a:lnTo>
                  <a:pt x="3423" y="2274"/>
                </a:lnTo>
                <a:lnTo>
                  <a:pt x="2901" y="2080"/>
                </a:lnTo>
                <a:lnTo>
                  <a:pt x="2355" y="1916"/>
                </a:lnTo>
                <a:cubicBezTo>
                  <a:pt x="2313" y="1734"/>
                  <a:pt x="2273" y="1547"/>
                  <a:pt x="2237" y="1363"/>
                </a:cubicBezTo>
                <a:lnTo>
                  <a:pt x="2525" y="1030"/>
                </a:lnTo>
                <a:lnTo>
                  <a:pt x="1832" y="699"/>
                </a:lnTo>
                <a:lnTo>
                  <a:pt x="1139" y="366"/>
                </a:lnTo>
                <a:lnTo>
                  <a:pt x="618" y="255"/>
                </a:lnTo>
                <a:cubicBezTo>
                  <a:pt x="463" y="183"/>
                  <a:pt x="155" y="75"/>
                  <a:pt x="0" y="0"/>
                </a:cubicBezTo>
              </a:path>
            </a:pathLst>
          </a:custGeom>
          <a:noFill/>
          <a:ln w="3175" cap="flat" cmpd="sng">
            <a:solidFill>
              <a:srgbClr val="D9EAF7"/>
            </a:solidFill>
            <a:prstDash val="solid"/>
            <a:round/>
            <a:headEnd/>
            <a:tailEnd/>
          </a:ln>
        </p:spPr>
        <p:txBody>
          <a:bodyPr wrap="none" lIns="32632" tIns="32632" rIns="32632" bIns="32632" anchor="ctr"/>
          <a:lstStyle/>
          <a:p>
            <a:pPr defTabSz="891045"/>
            <a:endParaRPr lang="en-US" sz="1700" dirty="0">
              <a:solidFill>
                <a:srgbClr val="003149"/>
              </a:solidFill>
              <a:cs typeface="Arial" panose="020B0604020202020204" pitchFamily="34" charset="0"/>
            </a:endParaRPr>
          </a:p>
        </p:txBody>
      </p:sp>
      <p:sp>
        <p:nvSpPr>
          <p:cNvPr id="278" name="Freeform 646"/>
          <p:cNvSpPr>
            <a:spLocks noChangeAspect="1"/>
          </p:cNvSpPr>
          <p:nvPr>
            <p:custDataLst>
              <p:tags r:id="rId169"/>
            </p:custDataLst>
          </p:nvPr>
        </p:nvSpPr>
        <p:spPr bwMode="gray">
          <a:xfrm>
            <a:off x="2640277" y="2945437"/>
            <a:ext cx="17060" cy="87525"/>
          </a:xfrm>
          <a:custGeom>
            <a:avLst/>
            <a:gdLst>
              <a:gd name="T0" fmla="*/ 0 w 119"/>
              <a:gd name="T1" fmla="*/ 0 h 501"/>
              <a:gd name="T2" fmla="*/ 0 w 119"/>
              <a:gd name="T3" fmla="*/ 0 h 501"/>
              <a:gd name="T4" fmla="*/ 0 w 119"/>
              <a:gd name="T5" fmla="*/ 0 h 501"/>
              <a:gd name="T6" fmla="*/ 0 w 119"/>
              <a:gd name="T7" fmla="*/ 0 h 501"/>
              <a:gd name="T8" fmla="*/ 0 w 119"/>
              <a:gd name="T9" fmla="*/ 0 h 501"/>
              <a:gd name="T10" fmla="*/ 0 w 119"/>
              <a:gd name="T11" fmla="*/ 0 h 501"/>
              <a:gd name="T12" fmla="*/ 0 w 119"/>
              <a:gd name="T13" fmla="*/ 0 h 501"/>
              <a:gd name="T14" fmla="*/ 0 w 119"/>
              <a:gd name="T15" fmla="*/ 0 h 501"/>
              <a:gd name="T16" fmla="*/ 0 w 119"/>
              <a:gd name="T17" fmla="*/ 0 h 501"/>
              <a:gd name="T18" fmla="*/ 0 w 119"/>
              <a:gd name="T19" fmla="*/ 0 h 501"/>
              <a:gd name="T20" fmla="*/ 0 w 119"/>
              <a:gd name="T21" fmla="*/ 0 h 501"/>
              <a:gd name="T22" fmla="*/ 0 w 119"/>
              <a:gd name="T23" fmla="*/ 0 h 501"/>
              <a:gd name="T24" fmla="*/ 0 w 119"/>
              <a:gd name="T25" fmla="*/ 0 h 501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w 119"/>
              <a:gd name="T40" fmla="*/ 0 h 501"/>
              <a:gd name="T41" fmla="*/ 119 w 119"/>
              <a:gd name="T42" fmla="*/ 501 h 501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T39" t="T40" r="T41" b="T42"/>
            <a:pathLst>
              <a:path w="119" h="501">
                <a:moveTo>
                  <a:pt x="72" y="501"/>
                </a:moveTo>
                <a:lnTo>
                  <a:pt x="90" y="445"/>
                </a:lnTo>
                <a:lnTo>
                  <a:pt x="101" y="419"/>
                </a:lnTo>
                <a:lnTo>
                  <a:pt x="111" y="401"/>
                </a:lnTo>
                <a:lnTo>
                  <a:pt x="119" y="383"/>
                </a:lnTo>
                <a:lnTo>
                  <a:pt x="94" y="344"/>
                </a:lnTo>
                <a:lnTo>
                  <a:pt x="72" y="312"/>
                </a:lnTo>
                <a:lnTo>
                  <a:pt x="53" y="284"/>
                </a:lnTo>
                <a:lnTo>
                  <a:pt x="47" y="218"/>
                </a:lnTo>
                <a:lnTo>
                  <a:pt x="47" y="162"/>
                </a:lnTo>
                <a:lnTo>
                  <a:pt x="14" y="91"/>
                </a:lnTo>
                <a:lnTo>
                  <a:pt x="0" y="49"/>
                </a:lnTo>
                <a:lnTo>
                  <a:pt x="0" y="0"/>
                </a:lnTo>
              </a:path>
            </a:pathLst>
          </a:custGeom>
          <a:noFill/>
          <a:ln w="3175" cap="flat" cmpd="sng">
            <a:solidFill>
              <a:srgbClr val="D9EAF7"/>
            </a:solidFill>
            <a:prstDash val="solid"/>
            <a:round/>
            <a:headEnd/>
            <a:tailEnd/>
          </a:ln>
        </p:spPr>
        <p:txBody>
          <a:bodyPr wrap="none" lIns="32632" tIns="32632" rIns="32632" bIns="32632" anchor="ctr"/>
          <a:lstStyle/>
          <a:p>
            <a:pPr defTabSz="891045"/>
            <a:endParaRPr lang="en-US" sz="1700" dirty="0">
              <a:solidFill>
                <a:srgbClr val="003149"/>
              </a:solidFill>
              <a:cs typeface="Arial" panose="020B0604020202020204" pitchFamily="34" charset="0"/>
            </a:endParaRPr>
          </a:p>
        </p:txBody>
      </p:sp>
      <p:sp>
        <p:nvSpPr>
          <p:cNvPr id="279" name="Freeform 647"/>
          <p:cNvSpPr>
            <a:spLocks noChangeAspect="1"/>
          </p:cNvSpPr>
          <p:nvPr>
            <p:custDataLst>
              <p:tags r:id="rId170"/>
            </p:custDataLst>
          </p:nvPr>
        </p:nvSpPr>
        <p:spPr bwMode="gray">
          <a:xfrm>
            <a:off x="2653083" y="3032939"/>
            <a:ext cx="59710" cy="25827"/>
          </a:xfrm>
          <a:custGeom>
            <a:avLst/>
            <a:gdLst>
              <a:gd name="T0" fmla="*/ 0 w 10205"/>
              <a:gd name="T1" fmla="*/ 0 h 10000"/>
              <a:gd name="T2" fmla="*/ 0 w 10205"/>
              <a:gd name="T3" fmla="*/ 0 h 10000"/>
              <a:gd name="T4" fmla="*/ 0 w 10205"/>
              <a:gd name="T5" fmla="*/ 0 h 10000"/>
              <a:gd name="T6" fmla="*/ 0 w 10205"/>
              <a:gd name="T7" fmla="*/ 0 h 10000"/>
              <a:gd name="T8" fmla="*/ 0 w 10205"/>
              <a:gd name="T9" fmla="*/ 0 h 10000"/>
              <a:gd name="T10" fmla="*/ 0 w 10205"/>
              <a:gd name="T11" fmla="*/ 0 h 10000"/>
              <a:gd name="T12" fmla="*/ 0 w 10205"/>
              <a:gd name="T13" fmla="*/ 0 h 10000"/>
              <a:gd name="T14" fmla="*/ 0 w 10205"/>
              <a:gd name="T15" fmla="*/ 0 h 10000"/>
              <a:gd name="T16" fmla="*/ 0 w 10205"/>
              <a:gd name="T17" fmla="*/ 0 h 10000"/>
              <a:gd name="T18" fmla="*/ 0 w 10205"/>
              <a:gd name="T19" fmla="*/ 0 h 10000"/>
              <a:gd name="T20" fmla="*/ 0 w 10205"/>
              <a:gd name="T21" fmla="*/ 0 h 10000"/>
              <a:gd name="T22" fmla="*/ 0 w 10205"/>
              <a:gd name="T23" fmla="*/ 0 h 10000"/>
              <a:gd name="T24" fmla="*/ 0 w 10205"/>
              <a:gd name="T25" fmla="*/ 0 h 10000"/>
              <a:gd name="T26" fmla="*/ 0 w 10205"/>
              <a:gd name="T27" fmla="*/ 0 h 10000"/>
              <a:gd name="T28" fmla="*/ 0 w 10205"/>
              <a:gd name="T29" fmla="*/ 0 h 10000"/>
              <a:gd name="T30" fmla="*/ 0 w 10205"/>
              <a:gd name="T31" fmla="*/ 0 h 10000"/>
              <a:gd name="T32" fmla="*/ 0 w 10205"/>
              <a:gd name="T33" fmla="*/ 0 h 10000"/>
              <a:gd name="T34" fmla="*/ 0 w 10205"/>
              <a:gd name="T35" fmla="*/ 0 h 10000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w 10205"/>
              <a:gd name="T55" fmla="*/ 0 h 10000"/>
              <a:gd name="T56" fmla="*/ 10205 w 10205"/>
              <a:gd name="T57" fmla="*/ 10000 h 10000"/>
            </a:gdLst>
            <a:ahLst/>
            <a:cxnLst>
              <a:cxn ang="T36">
                <a:pos x="T0" y="T1"/>
              </a:cxn>
              <a:cxn ang="T37">
                <a:pos x="T2" y="T3"/>
              </a:cxn>
              <a:cxn ang="T38">
                <a:pos x="T4" y="T5"/>
              </a:cxn>
              <a:cxn ang="T39">
                <a:pos x="T6" y="T7"/>
              </a:cxn>
              <a:cxn ang="T40">
                <a:pos x="T8" y="T9"/>
              </a:cxn>
              <a:cxn ang="T41">
                <a:pos x="T10" y="T11"/>
              </a:cxn>
              <a:cxn ang="T42">
                <a:pos x="T12" y="T13"/>
              </a:cxn>
              <a:cxn ang="T43">
                <a:pos x="T14" y="T15"/>
              </a:cxn>
              <a:cxn ang="T44">
                <a:pos x="T16" y="T17"/>
              </a:cxn>
              <a:cxn ang="T45">
                <a:pos x="T18" y="T19"/>
              </a:cxn>
              <a:cxn ang="T46">
                <a:pos x="T20" y="T21"/>
              </a:cxn>
              <a:cxn ang="T47">
                <a:pos x="T22" y="T23"/>
              </a:cxn>
              <a:cxn ang="T48">
                <a:pos x="T24" y="T25"/>
              </a:cxn>
              <a:cxn ang="T49">
                <a:pos x="T26" y="T27"/>
              </a:cxn>
              <a:cxn ang="T50">
                <a:pos x="T28" y="T29"/>
              </a:cxn>
              <a:cxn ang="T51">
                <a:pos x="T30" y="T31"/>
              </a:cxn>
              <a:cxn ang="T52">
                <a:pos x="T32" y="T33"/>
              </a:cxn>
              <a:cxn ang="T53">
                <a:pos x="T34" y="T35"/>
              </a:cxn>
            </a:cxnLst>
            <a:rect l="T54" t="T55" r="T56" b="T57"/>
            <a:pathLst>
              <a:path w="10205" h="10000">
                <a:moveTo>
                  <a:pt x="10205" y="6528"/>
                </a:moveTo>
                <a:lnTo>
                  <a:pt x="9231" y="6250"/>
                </a:lnTo>
                <a:lnTo>
                  <a:pt x="8769" y="5278"/>
                </a:lnTo>
                <a:lnTo>
                  <a:pt x="8205" y="4444"/>
                </a:lnTo>
                <a:lnTo>
                  <a:pt x="7538" y="4444"/>
                </a:lnTo>
                <a:lnTo>
                  <a:pt x="6769" y="5278"/>
                </a:lnTo>
                <a:lnTo>
                  <a:pt x="6205" y="6111"/>
                </a:lnTo>
                <a:lnTo>
                  <a:pt x="5385" y="6111"/>
                </a:lnTo>
                <a:lnTo>
                  <a:pt x="4615" y="7361"/>
                </a:lnTo>
                <a:lnTo>
                  <a:pt x="4051" y="9167"/>
                </a:lnTo>
                <a:lnTo>
                  <a:pt x="3436" y="10000"/>
                </a:lnTo>
                <a:lnTo>
                  <a:pt x="2462" y="8750"/>
                </a:lnTo>
                <a:lnTo>
                  <a:pt x="1692" y="8750"/>
                </a:lnTo>
                <a:cubicBezTo>
                  <a:pt x="1641" y="8287"/>
                  <a:pt x="1589" y="7824"/>
                  <a:pt x="1538" y="7361"/>
                </a:cubicBezTo>
                <a:lnTo>
                  <a:pt x="1538" y="4861"/>
                </a:lnTo>
                <a:lnTo>
                  <a:pt x="1538" y="2500"/>
                </a:lnTo>
                <a:lnTo>
                  <a:pt x="513" y="1250"/>
                </a:lnTo>
                <a:lnTo>
                  <a:pt x="0" y="0"/>
                </a:lnTo>
              </a:path>
            </a:pathLst>
          </a:custGeom>
          <a:noFill/>
          <a:ln w="3175" cap="flat" cmpd="sng">
            <a:solidFill>
              <a:srgbClr val="D9EAF7"/>
            </a:solidFill>
            <a:prstDash val="solid"/>
            <a:round/>
            <a:headEnd/>
            <a:tailEnd/>
          </a:ln>
        </p:spPr>
        <p:txBody>
          <a:bodyPr wrap="none" lIns="32632" tIns="32632" rIns="32632" bIns="32632" anchor="ctr"/>
          <a:lstStyle/>
          <a:p>
            <a:pPr defTabSz="891045"/>
            <a:endParaRPr lang="en-US" sz="1700" dirty="0">
              <a:solidFill>
                <a:srgbClr val="003149"/>
              </a:solidFill>
              <a:cs typeface="Arial" panose="020B0604020202020204" pitchFamily="34" charset="0"/>
            </a:endParaRPr>
          </a:p>
        </p:txBody>
      </p:sp>
      <p:sp>
        <p:nvSpPr>
          <p:cNvPr id="280" name="Freeform 648"/>
          <p:cNvSpPr>
            <a:spLocks noChangeAspect="1"/>
          </p:cNvSpPr>
          <p:nvPr>
            <p:custDataLst>
              <p:tags r:id="rId171"/>
            </p:custDataLst>
          </p:nvPr>
        </p:nvSpPr>
        <p:spPr bwMode="gray">
          <a:xfrm>
            <a:off x="2593371" y="3032952"/>
            <a:ext cx="59710" cy="43044"/>
          </a:xfrm>
          <a:custGeom>
            <a:avLst/>
            <a:gdLst>
              <a:gd name="T0" fmla="*/ 0 w 10216"/>
              <a:gd name="T1" fmla="*/ 0 h 10104"/>
              <a:gd name="T2" fmla="*/ 0 w 10216"/>
              <a:gd name="T3" fmla="*/ 0 h 10104"/>
              <a:gd name="T4" fmla="*/ 0 w 10216"/>
              <a:gd name="T5" fmla="*/ 0 h 10104"/>
              <a:gd name="T6" fmla="*/ 0 w 10216"/>
              <a:gd name="T7" fmla="*/ 0 h 10104"/>
              <a:gd name="T8" fmla="*/ 0 w 10216"/>
              <a:gd name="T9" fmla="*/ 0 h 10104"/>
              <a:gd name="T10" fmla="*/ 0 w 10216"/>
              <a:gd name="T11" fmla="*/ 0 h 10104"/>
              <a:gd name="T12" fmla="*/ 0 w 10216"/>
              <a:gd name="T13" fmla="*/ 0 h 10104"/>
              <a:gd name="T14" fmla="*/ 0 w 10216"/>
              <a:gd name="T15" fmla="*/ 0 h 10104"/>
              <a:gd name="T16" fmla="*/ 0 w 10216"/>
              <a:gd name="T17" fmla="*/ 0 h 10104"/>
              <a:gd name="T18" fmla="*/ 0 w 10216"/>
              <a:gd name="T19" fmla="*/ 0 h 10104"/>
              <a:gd name="T20" fmla="*/ 0 w 10216"/>
              <a:gd name="T21" fmla="*/ 0 h 10104"/>
              <a:gd name="T22" fmla="*/ 0 w 10216"/>
              <a:gd name="T23" fmla="*/ 0 h 10104"/>
              <a:gd name="T24" fmla="*/ 0 w 10216"/>
              <a:gd name="T25" fmla="*/ 0 h 10104"/>
              <a:gd name="T26" fmla="*/ 0 w 10216"/>
              <a:gd name="T27" fmla="*/ 0 h 10104"/>
              <a:gd name="T28" fmla="*/ 0 w 10216"/>
              <a:gd name="T29" fmla="*/ 0 h 10104"/>
              <a:gd name="T30" fmla="*/ 0 w 10216"/>
              <a:gd name="T31" fmla="*/ 0 h 10104"/>
              <a:gd name="T32" fmla="*/ 0 w 10216"/>
              <a:gd name="T33" fmla="*/ 0 h 10104"/>
              <a:gd name="T34" fmla="*/ 0 w 10216"/>
              <a:gd name="T35" fmla="*/ 0 h 10104"/>
              <a:gd name="T36" fmla="*/ 0 w 10216"/>
              <a:gd name="T37" fmla="*/ 0 h 10104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w 10216"/>
              <a:gd name="T58" fmla="*/ 0 h 10104"/>
              <a:gd name="T59" fmla="*/ 10216 w 10216"/>
              <a:gd name="T60" fmla="*/ 10104 h 10104"/>
            </a:gdLst>
            <a:ahLst/>
            <a:cxnLst>
              <a:cxn ang="T38">
                <a:pos x="T0" y="T1"/>
              </a:cxn>
              <a:cxn ang="T39">
                <a:pos x="T2" y="T3"/>
              </a:cxn>
              <a:cxn ang="T40">
                <a:pos x="T4" y="T5"/>
              </a:cxn>
              <a:cxn ang="T41">
                <a:pos x="T6" y="T7"/>
              </a:cxn>
              <a:cxn ang="T42">
                <a:pos x="T8" y="T9"/>
              </a:cxn>
              <a:cxn ang="T43">
                <a:pos x="T10" y="T11"/>
              </a:cxn>
              <a:cxn ang="T44">
                <a:pos x="T12" y="T13"/>
              </a:cxn>
              <a:cxn ang="T45">
                <a:pos x="T14" y="T15"/>
              </a:cxn>
              <a:cxn ang="T46">
                <a:pos x="T16" y="T17"/>
              </a:cxn>
              <a:cxn ang="T47">
                <a:pos x="T18" y="T19"/>
              </a:cxn>
              <a:cxn ang="T48">
                <a:pos x="T20" y="T21"/>
              </a:cxn>
              <a:cxn ang="T49">
                <a:pos x="T22" y="T23"/>
              </a:cxn>
              <a:cxn ang="T50">
                <a:pos x="T24" y="T25"/>
              </a:cxn>
              <a:cxn ang="T51">
                <a:pos x="T26" y="T27"/>
              </a:cxn>
              <a:cxn ang="T52">
                <a:pos x="T28" y="T29"/>
              </a:cxn>
              <a:cxn ang="T53">
                <a:pos x="T30" y="T31"/>
              </a:cxn>
              <a:cxn ang="T54">
                <a:pos x="T32" y="T33"/>
              </a:cxn>
              <a:cxn ang="T55">
                <a:pos x="T34" y="T35"/>
              </a:cxn>
              <a:cxn ang="T56">
                <a:pos x="T36" y="T37"/>
              </a:cxn>
            </a:cxnLst>
            <a:rect l="T57" t="T58" r="T59" b="T60"/>
            <a:pathLst>
              <a:path w="10216" h="10104">
                <a:moveTo>
                  <a:pt x="10216" y="0"/>
                </a:moveTo>
                <a:lnTo>
                  <a:pt x="9560" y="462"/>
                </a:lnTo>
                <a:lnTo>
                  <a:pt x="9068" y="1154"/>
                </a:lnTo>
                <a:lnTo>
                  <a:pt x="8413" y="1385"/>
                </a:lnTo>
                <a:cubicBezTo>
                  <a:pt x="8376" y="1821"/>
                  <a:pt x="8340" y="2256"/>
                  <a:pt x="8303" y="2692"/>
                </a:cubicBezTo>
                <a:cubicBezTo>
                  <a:pt x="8230" y="2923"/>
                  <a:pt x="8158" y="3154"/>
                  <a:pt x="8085" y="3385"/>
                </a:cubicBezTo>
                <a:lnTo>
                  <a:pt x="7238" y="3231"/>
                </a:lnTo>
                <a:lnTo>
                  <a:pt x="6254" y="2923"/>
                </a:lnTo>
                <a:lnTo>
                  <a:pt x="5817" y="3692"/>
                </a:lnTo>
                <a:cubicBezTo>
                  <a:pt x="5744" y="4218"/>
                  <a:pt x="5672" y="4743"/>
                  <a:pt x="5599" y="5269"/>
                </a:cubicBezTo>
                <a:cubicBezTo>
                  <a:pt x="5490" y="5731"/>
                  <a:pt x="5380" y="6192"/>
                  <a:pt x="5271" y="6654"/>
                </a:cubicBezTo>
                <a:cubicBezTo>
                  <a:pt x="5234" y="7064"/>
                  <a:pt x="5198" y="7475"/>
                  <a:pt x="5161" y="7885"/>
                </a:cubicBezTo>
                <a:lnTo>
                  <a:pt x="4506" y="8577"/>
                </a:lnTo>
                <a:lnTo>
                  <a:pt x="3631" y="8577"/>
                </a:lnTo>
                <a:lnTo>
                  <a:pt x="2347" y="8577"/>
                </a:lnTo>
                <a:lnTo>
                  <a:pt x="1527" y="8269"/>
                </a:lnTo>
                <a:lnTo>
                  <a:pt x="981" y="7885"/>
                </a:lnTo>
                <a:cubicBezTo>
                  <a:pt x="926" y="8193"/>
                  <a:pt x="872" y="8500"/>
                  <a:pt x="817" y="8808"/>
                </a:cubicBezTo>
                <a:cubicBezTo>
                  <a:pt x="617" y="9205"/>
                  <a:pt x="200" y="9707"/>
                  <a:pt x="0" y="10104"/>
                </a:cubicBezTo>
              </a:path>
            </a:pathLst>
          </a:custGeom>
          <a:noFill/>
          <a:ln w="3175" cap="flat" cmpd="sng">
            <a:solidFill>
              <a:srgbClr val="D9EAF7"/>
            </a:solidFill>
            <a:prstDash val="solid"/>
            <a:round/>
            <a:headEnd/>
            <a:tailEnd/>
          </a:ln>
        </p:spPr>
        <p:txBody>
          <a:bodyPr wrap="none" lIns="32632" tIns="32632" rIns="32632" bIns="32632" anchor="ctr"/>
          <a:lstStyle/>
          <a:p>
            <a:pPr defTabSz="891045"/>
            <a:endParaRPr lang="en-US" sz="1700" dirty="0">
              <a:solidFill>
                <a:srgbClr val="003149"/>
              </a:solidFill>
              <a:cs typeface="Arial" panose="020B0604020202020204" pitchFamily="34" charset="0"/>
            </a:endParaRPr>
          </a:p>
        </p:txBody>
      </p:sp>
      <p:sp>
        <p:nvSpPr>
          <p:cNvPr id="281" name="Freeform 651"/>
          <p:cNvSpPr>
            <a:spLocks noChangeAspect="1"/>
          </p:cNvSpPr>
          <p:nvPr>
            <p:custDataLst>
              <p:tags r:id="rId172"/>
            </p:custDataLst>
          </p:nvPr>
        </p:nvSpPr>
        <p:spPr bwMode="gray">
          <a:xfrm>
            <a:off x="2870584" y="3332843"/>
            <a:ext cx="52602" cy="53089"/>
          </a:xfrm>
          <a:custGeom>
            <a:avLst/>
            <a:gdLst>
              <a:gd name="T0" fmla="*/ 0 w 348"/>
              <a:gd name="T1" fmla="*/ 0 h 289"/>
              <a:gd name="T2" fmla="*/ 0 w 348"/>
              <a:gd name="T3" fmla="*/ 0 h 289"/>
              <a:gd name="T4" fmla="*/ 0 w 348"/>
              <a:gd name="T5" fmla="*/ 0 h 289"/>
              <a:gd name="T6" fmla="*/ 0 w 348"/>
              <a:gd name="T7" fmla="*/ 0 h 289"/>
              <a:gd name="T8" fmla="*/ 0 w 348"/>
              <a:gd name="T9" fmla="*/ 0 h 289"/>
              <a:gd name="T10" fmla="*/ 0 w 348"/>
              <a:gd name="T11" fmla="*/ 0 h 289"/>
              <a:gd name="T12" fmla="*/ 0 w 348"/>
              <a:gd name="T13" fmla="*/ 0 h 289"/>
              <a:gd name="T14" fmla="*/ 0 w 348"/>
              <a:gd name="T15" fmla="*/ 0 h 289"/>
              <a:gd name="T16" fmla="*/ 0 w 348"/>
              <a:gd name="T17" fmla="*/ 0 h 289"/>
              <a:gd name="T18" fmla="*/ 0 w 348"/>
              <a:gd name="T19" fmla="*/ 0 h 289"/>
              <a:gd name="T20" fmla="*/ 0 w 348"/>
              <a:gd name="T21" fmla="*/ 0 h 289"/>
              <a:gd name="T22" fmla="*/ 0 w 348"/>
              <a:gd name="T23" fmla="*/ 0 h 289"/>
              <a:gd name="T24" fmla="*/ 0 w 348"/>
              <a:gd name="T25" fmla="*/ 0 h 289"/>
              <a:gd name="T26" fmla="*/ 0 w 348"/>
              <a:gd name="T27" fmla="*/ 0 h 289"/>
              <a:gd name="T28" fmla="*/ 0 w 348"/>
              <a:gd name="T29" fmla="*/ 0 h 289"/>
              <a:gd name="T30" fmla="*/ 0 w 348"/>
              <a:gd name="T31" fmla="*/ 0 h 289"/>
              <a:gd name="T32" fmla="*/ 0 w 348"/>
              <a:gd name="T33" fmla="*/ 0 h 289"/>
              <a:gd name="T34" fmla="*/ 0 w 348"/>
              <a:gd name="T35" fmla="*/ 0 h 289"/>
              <a:gd name="T36" fmla="*/ 0 w 348"/>
              <a:gd name="T37" fmla="*/ 0 h 289"/>
              <a:gd name="T38" fmla="*/ 0 w 348"/>
              <a:gd name="T39" fmla="*/ 0 h 289"/>
              <a:gd name="T40" fmla="*/ 0 w 348"/>
              <a:gd name="T41" fmla="*/ 0 h 289"/>
              <a:gd name="T42" fmla="*/ 0 w 348"/>
              <a:gd name="T43" fmla="*/ 0 h 289"/>
              <a:gd name="T44" fmla="*/ 0 w 348"/>
              <a:gd name="T45" fmla="*/ 0 h 289"/>
              <a:gd name="T46" fmla="*/ 0 w 348"/>
              <a:gd name="T47" fmla="*/ 0 h 289"/>
              <a:gd name="T48" fmla="*/ 0 w 348"/>
              <a:gd name="T49" fmla="*/ 0 h 289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w 348"/>
              <a:gd name="T76" fmla="*/ 0 h 289"/>
              <a:gd name="T77" fmla="*/ 348 w 348"/>
              <a:gd name="T78" fmla="*/ 289 h 289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T75" t="T76" r="T77" b="T78"/>
            <a:pathLst>
              <a:path w="348" h="289">
                <a:moveTo>
                  <a:pt x="348" y="289"/>
                </a:moveTo>
                <a:lnTo>
                  <a:pt x="345" y="271"/>
                </a:lnTo>
                <a:lnTo>
                  <a:pt x="329" y="258"/>
                </a:lnTo>
                <a:lnTo>
                  <a:pt x="312" y="246"/>
                </a:lnTo>
                <a:lnTo>
                  <a:pt x="275" y="246"/>
                </a:lnTo>
                <a:lnTo>
                  <a:pt x="255" y="247"/>
                </a:lnTo>
                <a:lnTo>
                  <a:pt x="255" y="223"/>
                </a:lnTo>
                <a:lnTo>
                  <a:pt x="240" y="213"/>
                </a:lnTo>
                <a:lnTo>
                  <a:pt x="218" y="213"/>
                </a:lnTo>
                <a:lnTo>
                  <a:pt x="200" y="228"/>
                </a:lnTo>
                <a:lnTo>
                  <a:pt x="188" y="232"/>
                </a:lnTo>
                <a:lnTo>
                  <a:pt x="179" y="220"/>
                </a:lnTo>
                <a:lnTo>
                  <a:pt x="174" y="207"/>
                </a:lnTo>
                <a:lnTo>
                  <a:pt x="147" y="196"/>
                </a:lnTo>
                <a:lnTo>
                  <a:pt x="125" y="189"/>
                </a:lnTo>
                <a:lnTo>
                  <a:pt x="92" y="159"/>
                </a:lnTo>
                <a:lnTo>
                  <a:pt x="63" y="145"/>
                </a:lnTo>
                <a:lnTo>
                  <a:pt x="50" y="130"/>
                </a:lnTo>
                <a:lnTo>
                  <a:pt x="53" y="103"/>
                </a:lnTo>
                <a:lnTo>
                  <a:pt x="50" y="84"/>
                </a:lnTo>
                <a:lnTo>
                  <a:pt x="29" y="76"/>
                </a:lnTo>
                <a:lnTo>
                  <a:pt x="8" y="55"/>
                </a:lnTo>
                <a:lnTo>
                  <a:pt x="0" y="27"/>
                </a:lnTo>
                <a:lnTo>
                  <a:pt x="18" y="13"/>
                </a:lnTo>
                <a:lnTo>
                  <a:pt x="11" y="0"/>
                </a:lnTo>
              </a:path>
            </a:pathLst>
          </a:custGeom>
          <a:noFill/>
          <a:ln w="3175" cap="flat" cmpd="sng">
            <a:solidFill>
              <a:srgbClr val="D9EAF7"/>
            </a:solidFill>
            <a:prstDash val="solid"/>
            <a:round/>
            <a:headEnd type="none" w="med" len="med"/>
            <a:tailEnd type="none" w="med" len="med"/>
          </a:ln>
        </p:spPr>
        <p:txBody>
          <a:bodyPr wrap="none" lIns="32632" tIns="32632" rIns="32632" bIns="32632" anchor="ctr"/>
          <a:lstStyle/>
          <a:p>
            <a:pPr defTabSz="891045"/>
            <a:endParaRPr lang="en-US" sz="1700" dirty="0">
              <a:solidFill>
                <a:srgbClr val="003149"/>
              </a:solidFill>
              <a:cs typeface="Arial" panose="020B0604020202020204" pitchFamily="34" charset="0"/>
            </a:endParaRPr>
          </a:p>
        </p:txBody>
      </p:sp>
      <p:sp>
        <p:nvSpPr>
          <p:cNvPr id="282" name="Freeform 653"/>
          <p:cNvSpPr>
            <a:spLocks noChangeAspect="1"/>
          </p:cNvSpPr>
          <p:nvPr>
            <p:custDataLst>
              <p:tags r:id="rId173"/>
            </p:custDataLst>
          </p:nvPr>
        </p:nvSpPr>
        <p:spPr bwMode="gray">
          <a:xfrm>
            <a:off x="2923183" y="3339991"/>
            <a:ext cx="135059" cy="45914"/>
          </a:xfrm>
          <a:custGeom>
            <a:avLst/>
            <a:gdLst>
              <a:gd name="T0" fmla="*/ 0 w 868"/>
              <a:gd name="T1" fmla="*/ 0 h 259"/>
              <a:gd name="T2" fmla="*/ 0 w 868"/>
              <a:gd name="T3" fmla="*/ 0 h 259"/>
              <a:gd name="T4" fmla="*/ 0 w 868"/>
              <a:gd name="T5" fmla="*/ 0 h 259"/>
              <a:gd name="T6" fmla="*/ 0 w 868"/>
              <a:gd name="T7" fmla="*/ 0 h 259"/>
              <a:gd name="T8" fmla="*/ 0 w 868"/>
              <a:gd name="T9" fmla="*/ 0 h 259"/>
              <a:gd name="T10" fmla="*/ 0 w 868"/>
              <a:gd name="T11" fmla="*/ 0 h 259"/>
              <a:gd name="T12" fmla="*/ 0 w 868"/>
              <a:gd name="T13" fmla="*/ 0 h 259"/>
              <a:gd name="T14" fmla="*/ 0 w 868"/>
              <a:gd name="T15" fmla="*/ 0 h 259"/>
              <a:gd name="T16" fmla="*/ 0 w 868"/>
              <a:gd name="T17" fmla="*/ 0 h 259"/>
              <a:gd name="T18" fmla="*/ 0 w 868"/>
              <a:gd name="T19" fmla="*/ 0 h 259"/>
              <a:gd name="T20" fmla="*/ 0 w 868"/>
              <a:gd name="T21" fmla="*/ 0 h 259"/>
              <a:gd name="T22" fmla="*/ 0 w 868"/>
              <a:gd name="T23" fmla="*/ 0 h 259"/>
              <a:gd name="T24" fmla="*/ 0 w 868"/>
              <a:gd name="T25" fmla="*/ 0 h 259"/>
              <a:gd name="T26" fmla="*/ 0 w 868"/>
              <a:gd name="T27" fmla="*/ 0 h 259"/>
              <a:gd name="T28" fmla="*/ 0 w 868"/>
              <a:gd name="T29" fmla="*/ 0 h 259"/>
              <a:gd name="T30" fmla="*/ 0 w 868"/>
              <a:gd name="T31" fmla="*/ 0 h 259"/>
              <a:gd name="T32" fmla="*/ 0 w 868"/>
              <a:gd name="T33" fmla="*/ 0 h 259"/>
              <a:gd name="T34" fmla="*/ 0 w 868"/>
              <a:gd name="T35" fmla="*/ 0 h 259"/>
              <a:gd name="T36" fmla="*/ 0 w 868"/>
              <a:gd name="T37" fmla="*/ 0 h 259"/>
              <a:gd name="T38" fmla="*/ 0 w 868"/>
              <a:gd name="T39" fmla="*/ 0 h 259"/>
              <a:gd name="T40" fmla="*/ 0 w 868"/>
              <a:gd name="T41" fmla="*/ 0 h 259"/>
              <a:gd name="T42" fmla="*/ 0 w 868"/>
              <a:gd name="T43" fmla="*/ 0 h 259"/>
              <a:gd name="T44" fmla="*/ 0 w 868"/>
              <a:gd name="T45" fmla="*/ 0 h 259"/>
              <a:gd name="T46" fmla="*/ 0 w 868"/>
              <a:gd name="T47" fmla="*/ 0 h 259"/>
              <a:gd name="T48" fmla="*/ 0 w 868"/>
              <a:gd name="T49" fmla="*/ 0 h 259"/>
              <a:gd name="T50" fmla="*/ 0 w 868"/>
              <a:gd name="T51" fmla="*/ 0 h 259"/>
              <a:gd name="T52" fmla="*/ 0 w 868"/>
              <a:gd name="T53" fmla="*/ 0 h 259"/>
              <a:gd name="T54" fmla="*/ 0 w 868"/>
              <a:gd name="T55" fmla="*/ 0 h 259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w 868"/>
              <a:gd name="T85" fmla="*/ 0 h 259"/>
              <a:gd name="T86" fmla="*/ 868 w 868"/>
              <a:gd name="T87" fmla="*/ 259 h 259"/>
            </a:gdLst>
            <a:ahLst/>
            <a:cxnLst>
              <a:cxn ang="T56">
                <a:pos x="T0" y="T1"/>
              </a:cxn>
              <a:cxn ang="T57">
                <a:pos x="T2" y="T3"/>
              </a:cxn>
              <a:cxn ang="T58">
                <a:pos x="T4" y="T5"/>
              </a:cxn>
              <a:cxn ang="T59">
                <a:pos x="T6" y="T7"/>
              </a:cxn>
              <a:cxn ang="T60">
                <a:pos x="T8" y="T9"/>
              </a:cxn>
              <a:cxn ang="T61">
                <a:pos x="T10" y="T11"/>
              </a:cxn>
              <a:cxn ang="T62">
                <a:pos x="T12" y="T13"/>
              </a:cxn>
              <a:cxn ang="T63">
                <a:pos x="T14" y="T15"/>
              </a:cxn>
              <a:cxn ang="T64">
                <a:pos x="T16" y="T17"/>
              </a:cxn>
              <a:cxn ang="T65">
                <a:pos x="T18" y="T19"/>
              </a:cxn>
              <a:cxn ang="T66">
                <a:pos x="T20" y="T21"/>
              </a:cxn>
              <a:cxn ang="T67">
                <a:pos x="T22" y="T23"/>
              </a:cxn>
              <a:cxn ang="T68">
                <a:pos x="T24" y="T25"/>
              </a:cxn>
              <a:cxn ang="T69">
                <a:pos x="T26" y="T27"/>
              </a:cxn>
              <a:cxn ang="T70">
                <a:pos x="T28" y="T29"/>
              </a:cxn>
              <a:cxn ang="T71">
                <a:pos x="T30" y="T31"/>
              </a:cxn>
              <a:cxn ang="T72">
                <a:pos x="T32" y="T33"/>
              </a:cxn>
              <a:cxn ang="T73">
                <a:pos x="T34" y="T35"/>
              </a:cxn>
              <a:cxn ang="T74">
                <a:pos x="T36" y="T37"/>
              </a:cxn>
              <a:cxn ang="T75">
                <a:pos x="T38" y="T39"/>
              </a:cxn>
              <a:cxn ang="T76">
                <a:pos x="T40" y="T41"/>
              </a:cxn>
              <a:cxn ang="T77">
                <a:pos x="T42" y="T43"/>
              </a:cxn>
              <a:cxn ang="T78">
                <a:pos x="T44" y="T45"/>
              </a:cxn>
              <a:cxn ang="T79">
                <a:pos x="T46" y="T47"/>
              </a:cxn>
              <a:cxn ang="T80">
                <a:pos x="T48" y="T49"/>
              </a:cxn>
              <a:cxn ang="T81">
                <a:pos x="T50" y="T51"/>
              </a:cxn>
              <a:cxn ang="T82">
                <a:pos x="T52" y="T53"/>
              </a:cxn>
              <a:cxn ang="T83">
                <a:pos x="T54" y="T55"/>
              </a:cxn>
            </a:cxnLst>
            <a:rect l="T84" t="T85" r="T86" b="T87"/>
            <a:pathLst>
              <a:path w="868" h="259">
                <a:moveTo>
                  <a:pt x="868" y="66"/>
                </a:moveTo>
                <a:lnTo>
                  <a:pt x="862" y="90"/>
                </a:lnTo>
                <a:lnTo>
                  <a:pt x="829" y="105"/>
                </a:lnTo>
                <a:lnTo>
                  <a:pt x="772" y="130"/>
                </a:lnTo>
                <a:lnTo>
                  <a:pt x="748" y="141"/>
                </a:lnTo>
                <a:lnTo>
                  <a:pt x="702" y="141"/>
                </a:lnTo>
                <a:lnTo>
                  <a:pt x="654" y="139"/>
                </a:lnTo>
                <a:lnTo>
                  <a:pt x="622" y="159"/>
                </a:lnTo>
                <a:lnTo>
                  <a:pt x="580" y="153"/>
                </a:lnTo>
                <a:lnTo>
                  <a:pt x="535" y="115"/>
                </a:lnTo>
                <a:lnTo>
                  <a:pt x="513" y="88"/>
                </a:lnTo>
                <a:lnTo>
                  <a:pt x="454" y="64"/>
                </a:lnTo>
                <a:lnTo>
                  <a:pt x="426" y="48"/>
                </a:lnTo>
                <a:lnTo>
                  <a:pt x="420" y="39"/>
                </a:lnTo>
                <a:lnTo>
                  <a:pt x="310" y="36"/>
                </a:lnTo>
                <a:lnTo>
                  <a:pt x="289" y="48"/>
                </a:lnTo>
                <a:lnTo>
                  <a:pt x="246" y="51"/>
                </a:lnTo>
                <a:lnTo>
                  <a:pt x="202" y="18"/>
                </a:lnTo>
                <a:lnTo>
                  <a:pt x="153" y="1"/>
                </a:lnTo>
                <a:lnTo>
                  <a:pt x="111" y="0"/>
                </a:lnTo>
                <a:lnTo>
                  <a:pt x="79" y="19"/>
                </a:lnTo>
                <a:lnTo>
                  <a:pt x="54" y="49"/>
                </a:lnTo>
                <a:lnTo>
                  <a:pt x="30" y="94"/>
                </a:lnTo>
                <a:lnTo>
                  <a:pt x="18" y="118"/>
                </a:lnTo>
                <a:lnTo>
                  <a:pt x="22" y="168"/>
                </a:lnTo>
                <a:lnTo>
                  <a:pt x="22" y="204"/>
                </a:lnTo>
                <a:lnTo>
                  <a:pt x="15" y="237"/>
                </a:lnTo>
                <a:lnTo>
                  <a:pt x="0" y="259"/>
                </a:lnTo>
              </a:path>
            </a:pathLst>
          </a:custGeom>
          <a:noFill/>
          <a:ln w="3175" cap="flat" cmpd="sng">
            <a:solidFill>
              <a:srgbClr val="D9EAF7"/>
            </a:solidFill>
            <a:prstDash val="solid"/>
            <a:round/>
            <a:headEnd type="none" w="med" len="med"/>
            <a:tailEnd type="none" w="med" len="med"/>
          </a:ln>
        </p:spPr>
        <p:txBody>
          <a:bodyPr wrap="none" lIns="32632" tIns="32632" rIns="32632" bIns="32632" anchor="ctr"/>
          <a:lstStyle/>
          <a:p>
            <a:pPr defTabSz="891045"/>
            <a:endParaRPr lang="en-US" sz="1700" dirty="0">
              <a:solidFill>
                <a:srgbClr val="003149"/>
              </a:solidFill>
              <a:cs typeface="Arial" panose="020B0604020202020204" pitchFamily="34" charset="0"/>
            </a:endParaRPr>
          </a:p>
        </p:txBody>
      </p:sp>
      <p:sp>
        <p:nvSpPr>
          <p:cNvPr id="283" name="Freeform 656"/>
          <p:cNvSpPr>
            <a:spLocks noChangeAspect="1"/>
          </p:cNvSpPr>
          <p:nvPr>
            <p:custDataLst>
              <p:tags r:id="rId174"/>
            </p:custDataLst>
          </p:nvPr>
        </p:nvSpPr>
        <p:spPr bwMode="gray">
          <a:xfrm>
            <a:off x="2775330" y="2555161"/>
            <a:ext cx="137903" cy="140615"/>
          </a:xfrm>
          <a:custGeom>
            <a:avLst/>
            <a:gdLst>
              <a:gd name="T0" fmla="*/ 0 w 10386"/>
              <a:gd name="T1" fmla="*/ 0 h 10411"/>
              <a:gd name="T2" fmla="*/ 0 w 10386"/>
              <a:gd name="T3" fmla="*/ 0 h 10411"/>
              <a:gd name="T4" fmla="*/ 0 w 10386"/>
              <a:gd name="T5" fmla="*/ 0 h 10411"/>
              <a:gd name="T6" fmla="*/ 0 w 10386"/>
              <a:gd name="T7" fmla="*/ 0 h 10411"/>
              <a:gd name="T8" fmla="*/ 0 w 10386"/>
              <a:gd name="T9" fmla="*/ 0 h 10411"/>
              <a:gd name="T10" fmla="*/ 0 w 10386"/>
              <a:gd name="T11" fmla="*/ 0 h 10411"/>
              <a:gd name="T12" fmla="*/ 0 w 10386"/>
              <a:gd name="T13" fmla="*/ 0 h 10411"/>
              <a:gd name="T14" fmla="*/ 0 w 10386"/>
              <a:gd name="T15" fmla="*/ 0 h 10411"/>
              <a:gd name="T16" fmla="*/ 0 w 10386"/>
              <a:gd name="T17" fmla="*/ 0 h 10411"/>
              <a:gd name="T18" fmla="*/ 0 w 10386"/>
              <a:gd name="T19" fmla="*/ 0 h 10411"/>
              <a:gd name="T20" fmla="*/ 0 w 10386"/>
              <a:gd name="T21" fmla="*/ 0 h 10411"/>
              <a:gd name="T22" fmla="*/ 0 w 10386"/>
              <a:gd name="T23" fmla="*/ 0 h 10411"/>
              <a:gd name="T24" fmla="*/ 0 w 10386"/>
              <a:gd name="T25" fmla="*/ 0 h 10411"/>
              <a:gd name="T26" fmla="*/ 0 w 10386"/>
              <a:gd name="T27" fmla="*/ 0 h 10411"/>
              <a:gd name="T28" fmla="*/ 0 w 10386"/>
              <a:gd name="T29" fmla="*/ 0 h 10411"/>
              <a:gd name="T30" fmla="*/ 0 w 10386"/>
              <a:gd name="T31" fmla="*/ 0 h 10411"/>
              <a:gd name="T32" fmla="*/ 0 w 10386"/>
              <a:gd name="T33" fmla="*/ 0 h 10411"/>
              <a:gd name="T34" fmla="*/ 0 w 10386"/>
              <a:gd name="T35" fmla="*/ 0 h 10411"/>
              <a:gd name="T36" fmla="*/ 0 w 10386"/>
              <a:gd name="T37" fmla="*/ 0 h 10411"/>
              <a:gd name="T38" fmla="*/ 0 w 10386"/>
              <a:gd name="T39" fmla="*/ 0 h 10411"/>
              <a:gd name="T40" fmla="*/ 0 w 10386"/>
              <a:gd name="T41" fmla="*/ 0 h 10411"/>
              <a:gd name="T42" fmla="*/ 0 w 10386"/>
              <a:gd name="T43" fmla="*/ 0 h 10411"/>
              <a:gd name="T44" fmla="*/ 0 w 10386"/>
              <a:gd name="T45" fmla="*/ 0 h 10411"/>
              <a:gd name="T46" fmla="*/ 0 w 10386"/>
              <a:gd name="T47" fmla="*/ 0 h 10411"/>
              <a:gd name="T48" fmla="*/ 0 w 10386"/>
              <a:gd name="T49" fmla="*/ 0 h 10411"/>
              <a:gd name="T50" fmla="*/ 0 w 10386"/>
              <a:gd name="T51" fmla="*/ 0 h 10411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w 10386"/>
              <a:gd name="T79" fmla="*/ 0 h 10411"/>
              <a:gd name="T80" fmla="*/ 10386 w 10386"/>
              <a:gd name="T81" fmla="*/ 10411 h 10411"/>
            </a:gdLst>
            <a:ahLst/>
            <a:cxnLst>
              <a:cxn ang="T52">
                <a:pos x="T0" y="T1"/>
              </a:cxn>
              <a:cxn ang="T53">
                <a:pos x="T2" y="T3"/>
              </a:cxn>
              <a:cxn ang="T54">
                <a:pos x="T4" y="T5"/>
              </a:cxn>
              <a:cxn ang="T55">
                <a:pos x="T6" y="T7"/>
              </a:cxn>
              <a:cxn ang="T56">
                <a:pos x="T8" y="T9"/>
              </a:cxn>
              <a:cxn ang="T57">
                <a:pos x="T10" y="T11"/>
              </a:cxn>
              <a:cxn ang="T58">
                <a:pos x="T12" y="T13"/>
              </a:cxn>
              <a:cxn ang="T59">
                <a:pos x="T14" y="T15"/>
              </a:cxn>
              <a:cxn ang="T60">
                <a:pos x="T16" y="T17"/>
              </a:cxn>
              <a:cxn ang="T61">
                <a:pos x="T18" y="T19"/>
              </a:cxn>
              <a:cxn ang="T62">
                <a:pos x="T20" y="T21"/>
              </a:cxn>
              <a:cxn ang="T63">
                <a:pos x="T22" y="T23"/>
              </a:cxn>
              <a:cxn ang="T64">
                <a:pos x="T24" y="T25"/>
              </a:cxn>
              <a:cxn ang="T65">
                <a:pos x="T26" y="T27"/>
              </a:cxn>
              <a:cxn ang="T66">
                <a:pos x="T28" y="T29"/>
              </a:cxn>
              <a:cxn ang="T67">
                <a:pos x="T30" y="T31"/>
              </a:cxn>
              <a:cxn ang="T68">
                <a:pos x="T32" y="T33"/>
              </a:cxn>
              <a:cxn ang="T69">
                <a:pos x="T34" y="T35"/>
              </a:cxn>
              <a:cxn ang="T70">
                <a:pos x="T36" y="T37"/>
              </a:cxn>
              <a:cxn ang="T71">
                <a:pos x="T38" y="T39"/>
              </a:cxn>
              <a:cxn ang="T72">
                <a:pos x="T40" y="T41"/>
              </a:cxn>
              <a:cxn ang="T73">
                <a:pos x="T42" y="T43"/>
              </a:cxn>
              <a:cxn ang="T74">
                <a:pos x="T44" y="T45"/>
              </a:cxn>
              <a:cxn ang="T75">
                <a:pos x="T46" y="T47"/>
              </a:cxn>
              <a:cxn ang="T76">
                <a:pos x="T48" y="T49"/>
              </a:cxn>
              <a:cxn ang="T77">
                <a:pos x="T50" y="T51"/>
              </a:cxn>
            </a:cxnLst>
            <a:rect l="T78" t="T79" r="T80" b="T81"/>
            <a:pathLst>
              <a:path w="10386" h="10411">
                <a:moveTo>
                  <a:pt x="10386" y="10411"/>
                </a:moveTo>
                <a:cubicBezTo>
                  <a:pt x="10392" y="10100"/>
                  <a:pt x="9995" y="9376"/>
                  <a:pt x="10000" y="9065"/>
                </a:cubicBezTo>
                <a:lnTo>
                  <a:pt x="9769" y="8392"/>
                </a:lnTo>
                <a:lnTo>
                  <a:pt x="9769" y="7666"/>
                </a:lnTo>
                <a:lnTo>
                  <a:pt x="9769" y="7149"/>
                </a:lnTo>
                <a:lnTo>
                  <a:pt x="9306" y="6267"/>
                </a:lnTo>
                <a:lnTo>
                  <a:pt x="8889" y="5646"/>
                </a:lnTo>
                <a:lnTo>
                  <a:pt x="8334" y="5179"/>
                </a:lnTo>
                <a:lnTo>
                  <a:pt x="7686" y="4507"/>
                </a:lnTo>
                <a:lnTo>
                  <a:pt x="7408" y="4092"/>
                </a:lnTo>
                <a:cubicBezTo>
                  <a:pt x="7392" y="3919"/>
                  <a:pt x="7377" y="3748"/>
                  <a:pt x="7361" y="3575"/>
                </a:cubicBezTo>
                <a:cubicBezTo>
                  <a:pt x="7423" y="3264"/>
                  <a:pt x="7484" y="2952"/>
                  <a:pt x="7547" y="2642"/>
                </a:cubicBezTo>
                <a:lnTo>
                  <a:pt x="7547" y="2021"/>
                </a:lnTo>
                <a:lnTo>
                  <a:pt x="6945" y="1606"/>
                </a:lnTo>
                <a:lnTo>
                  <a:pt x="6297" y="1606"/>
                </a:lnTo>
                <a:lnTo>
                  <a:pt x="5879" y="1864"/>
                </a:lnTo>
                <a:lnTo>
                  <a:pt x="5417" y="1606"/>
                </a:lnTo>
                <a:lnTo>
                  <a:pt x="4770" y="1398"/>
                </a:lnTo>
                <a:lnTo>
                  <a:pt x="4305" y="984"/>
                </a:lnTo>
                <a:lnTo>
                  <a:pt x="3658" y="778"/>
                </a:lnTo>
                <a:lnTo>
                  <a:pt x="3056" y="829"/>
                </a:lnTo>
                <a:lnTo>
                  <a:pt x="2545" y="933"/>
                </a:lnTo>
                <a:lnTo>
                  <a:pt x="1943" y="518"/>
                </a:lnTo>
                <a:lnTo>
                  <a:pt x="1297" y="518"/>
                </a:lnTo>
                <a:lnTo>
                  <a:pt x="695" y="621"/>
                </a:lnTo>
                <a:lnTo>
                  <a:pt x="0" y="0"/>
                </a:lnTo>
              </a:path>
            </a:pathLst>
          </a:custGeom>
          <a:noFill/>
          <a:ln w="3175" cap="flat" cmpd="sng">
            <a:solidFill>
              <a:srgbClr val="D9EAF7"/>
            </a:solidFill>
            <a:prstDash val="solid"/>
            <a:round/>
            <a:headEnd type="none" w="med" len="med"/>
            <a:tailEnd type="none" w="sm" len="sm"/>
          </a:ln>
        </p:spPr>
        <p:txBody>
          <a:bodyPr wrap="none" lIns="32632" tIns="32632" rIns="32632" bIns="32632"/>
          <a:lstStyle/>
          <a:p>
            <a:pPr defTabSz="891045"/>
            <a:endParaRPr lang="en-US" sz="1700" dirty="0">
              <a:solidFill>
                <a:srgbClr val="003149"/>
              </a:solidFill>
              <a:cs typeface="Arial" panose="020B0604020202020204" pitchFamily="34" charset="0"/>
            </a:endParaRPr>
          </a:p>
        </p:txBody>
      </p:sp>
      <p:sp>
        <p:nvSpPr>
          <p:cNvPr id="284" name="Freeform 660"/>
          <p:cNvSpPr>
            <a:spLocks noChangeAspect="1"/>
          </p:cNvSpPr>
          <p:nvPr>
            <p:custDataLst>
              <p:tags r:id="rId175"/>
            </p:custDataLst>
          </p:nvPr>
        </p:nvSpPr>
        <p:spPr bwMode="gray">
          <a:xfrm>
            <a:off x="2907545" y="2694315"/>
            <a:ext cx="17060" cy="60264"/>
          </a:xfrm>
          <a:custGeom>
            <a:avLst/>
            <a:gdLst>
              <a:gd name="T0" fmla="*/ 444306739 w 58"/>
              <a:gd name="T1" fmla="*/ 0 h 168"/>
              <a:gd name="T2" fmla="*/ 444306739 w 58"/>
              <a:gd name="T3" fmla="*/ 536870589 h 168"/>
              <a:gd name="T4" fmla="*/ 0 w 58"/>
              <a:gd name="T5" fmla="*/ 536870589 h 168"/>
              <a:gd name="T6" fmla="*/ 0 w 58"/>
              <a:gd name="T7" fmla="*/ 536870589 h 168"/>
              <a:gd name="T8" fmla="*/ 444306739 w 58"/>
              <a:gd name="T9" fmla="*/ 536870589 h 168"/>
              <a:gd name="T10" fmla="*/ 444306739 w 58"/>
              <a:gd name="T11" fmla="*/ 536870589 h 168"/>
              <a:gd name="T12" fmla="*/ 444306739 w 58"/>
              <a:gd name="T13" fmla="*/ 536870589 h 168"/>
              <a:gd name="T14" fmla="*/ 444306739 w 58"/>
              <a:gd name="T15" fmla="*/ 536870589 h 168"/>
              <a:gd name="T16" fmla="*/ 444306739 w 58"/>
              <a:gd name="T17" fmla="*/ 536870589 h 168"/>
              <a:gd name="T18" fmla="*/ 444306739 w 58"/>
              <a:gd name="T19" fmla="*/ 536870589 h 168"/>
              <a:gd name="T20" fmla="*/ 444306739 w 58"/>
              <a:gd name="T21" fmla="*/ 536870589 h 168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58"/>
              <a:gd name="T34" fmla="*/ 0 h 168"/>
              <a:gd name="T35" fmla="*/ 58 w 58"/>
              <a:gd name="T36" fmla="*/ 168 h 168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58" h="168">
                <a:moveTo>
                  <a:pt x="18" y="0"/>
                </a:moveTo>
                <a:lnTo>
                  <a:pt x="18" y="22"/>
                </a:lnTo>
                <a:lnTo>
                  <a:pt x="0" y="42"/>
                </a:lnTo>
                <a:lnTo>
                  <a:pt x="0" y="64"/>
                </a:lnTo>
                <a:lnTo>
                  <a:pt x="22" y="72"/>
                </a:lnTo>
                <a:lnTo>
                  <a:pt x="34" y="88"/>
                </a:lnTo>
                <a:lnTo>
                  <a:pt x="34" y="108"/>
                </a:lnTo>
                <a:lnTo>
                  <a:pt x="58" y="132"/>
                </a:lnTo>
                <a:lnTo>
                  <a:pt x="34" y="144"/>
                </a:lnTo>
                <a:lnTo>
                  <a:pt x="34" y="160"/>
                </a:lnTo>
                <a:lnTo>
                  <a:pt x="22" y="168"/>
                </a:lnTo>
              </a:path>
            </a:pathLst>
          </a:custGeom>
          <a:noFill/>
          <a:ln w="3175" cap="flat" cmpd="sng">
            <a:solidFill>
              <a:srgbClr val="D9EAF7"/>
            </a:solidFill>
            <a:prstDash val="solid"/>
            <a:round/>
            <a:headEnd type="none" w="med" len="med"/>
            <a:tailEnd type="none" w="sm" len="sm"/>
          </a:ln>
        </p:spPr>
        <p:txBody>
          <a:bodyPr wrap="none" lIns="32632" tIns="32632" rIns="32632" bIns="32632" anchor="ctr"/>
          <a:lstStyle/>
          <a:p>
            <a:pPr defTabSz="891045"/>
            <a:endParaRPr lang="en-US" sz="1700" dirty="0">
              <a:solidFill>
                <a:srgbClr val="003149"/>
              </a:solidFill>
              <a:cs typeface="Arial" panose="020B0604020202020204" pitchFamily="34" charset="0"/>
            </a:endParaRPr>
          </a:p>
        </p:txBody>
      </p:sp>
      <p:sp>
        <p:nvSpPr>
          <p:cNvPr id="285" name="Freeform 661"/>
          <p:cNvSpPr>
            <a:spLocks noChangeAspect="1"/>
          </p:cNvSpPr>
          <p:nvPr>
            <p:custDataLst>
              <p:tags r:id="rId176"/>
            </p:custDataLst>
          </p:nvPr>
        </p:nvSpPr>
        <p:spPr bwMode="gray">
          <a:xfrm>
            <a:off x="2657355" y="2715847"/>
            <a:ext cx="203299" cy="177919"/>
          </a:xfrm>
          <a:custGeom>
            <a:avLst/>
            <a:gdLst>
              <a:gd name="T0" fmla="*/ 469556535 w 654"/>
              <a:gd name="T1" fmla="*/ 524188671 h 508"/>
              <a:gd name="T2" fmla="*/ 469556535 w 654"/>
              <a:gd name="T3" fmla="*/ 524188671 h 508"/>
              <a:gd name="T4" fmla="*/ 469556535 w 654"/>
              <a:gd name="T5" fmla="*/ 524188671 h 508"/>
              <a:gd name="T6" fmla="*/ 469556535 w 654"/>
              <a:gd name="T7" fmla="*/ 524188671 h 508"/>
              <a:gd name="T8" fmla="*/ 469556535 w 654"/>
              <a:gd name="T9" fmla="*/ 524188671 h 508"/>
              <a:gd name="T10" fmla="*/ 469556535 w 654"/>
              <a:gd name="T11" fmla="*/ 524188671 h 508"/>
              <a:gd name="T12" fmla="*/ 469556535 w 654"/>
              <a:gd name="T13" fmla="*/ 524188671 h 508"/>
              <a:gd name="T14" fmla="*/ 469556535 w 654"/>
              <a:gd name="T15" fmla="*/ 524188671 h 508"/>
              <a:gd name="T16" fmla="*/ 469556535 w 654"/>
              <a:gd name="T17" fmla="*/ 524188671 h 508"/>
              <a:gd name="T18" fmla="*/ 469556535 w 654"/>
              <a:gd name="T19" fmla="*/ 524188671 h 508"/>
              <a:gd name="T20" fmla="*/ 469556535 w 654"/>
              <a:gd name="T21" fmla="*/ 524188671 h 508"/>
              <a:gd name="T22" fmla="*/ 469556535 w 654"/>
              <a:gd name="T23" fmla="*/ 524188671 h 508"/>
              <a:gd name="T24" fmla="*/ 469556535 w 654"/>
              <a:gd name="T25" fmla="*/ 524188671 h 508"/>
              <a:gd name="T26" fmla="*/ 469556535 w 654"/>
              <a:gd name="T27" fmla="*/ 524188671 h 508"/>
              <a:gd name="T28" fmla="*/ 469556535 w 654"/>
              <a:gd name="T29" fmla="*/ 524188671 h 508"/>
              <a:gd name="T30" fmla="*/ 469556535 w 654"/>
              <a:gd name="T31" fmla="*/ 524188671 h 508"/>
              <a:gd name="T32" fmla="*/ 469556535 w 654"/>
              <a:gd name="T33" fmla="*/ 524188671 h 508"/>
              <a:gd name="T34" fmla="*/ 469556535 w 654"/>
              <a:gd name="T35" fmla="*/ 524188671 h 508"/>
              <a:gd name="T36" fmla="*/ 469556535 w 654"/>
              <a:gd name="T37" fmla="*/ 524188671 h 508"/>
              <a:gd name="T38" fmla="*/ 469556535 w 654"/>
              <a:gd name="T39" fmla="*/ 524188671 h 508"/>
              <a:gd name="T40" fmla="*/ 469556535 w 654"/>
              <a:gd name="T41" fmla="*/ 524188671 h 508"/>
              <a:gd name="T42" fmla="*/ 469556535 w 654"/>
              <a:gd name="T43" fmla="*/ 524188671 h 508"/>
              <a:gd name="T44" fmla="*/ 469556535 w 654"/>
              <a:gd name="T45" fmla="*/ 524188671 h 508"/>
              <a:gd name="T46" fmla="*/ 469556535 w 654"/>
              <a:gd name="T47" fmla="*/ 524188671 h 508"/>
              <a:gd name="T48" fmla="*/ 0 w 654"/>
              <a:gd name="T49" fmla="*/ 0 h 508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w 654"/>
              <a:gd name="T76" fmla="*/ 0 h 508"/>
              <a:gd name="T77" fmla="*/ 654 w 654"/>
              <a:gd name="T78" fmla="*/ 508 h 508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T75" t="T76" r="T77" b="T78"/>
            <a:pathLst>
              <a:path w="654" h="508">
                <a:moveTo>
                  <a:pt x="654" y="508"/>
                </a:moveTo>
                <a:lnTo>
                  <a:pt x="620" y="475"/>
                </a:lnTo>
                <a:lnTo>
                  <a:pt x="584" y="457"/>
                </a:lnTo>
                <a:lnTo>
                  <a:pt x="546" y="437"/>
                </a:lnTo>
                <a:lnTo>
                  <a:pt x="512" y="419"/>
                </a:lnTo>
                <a:lnTo>
                  <a:pt x="486" y="419"/>
                </a:lnTo>
                <a:lnTo>
                  <a:pt x="462" y="383"/>
                </a:lnTo>
                <a:lnTo>
                  <a:pt x="450" y="367"/>
                </a:lnTo>
                <a:lnTo>
                  <a:pt x="416" y="341"/>
                </a:lnTo>
                <a:lnTo>
                  <a:pt x="390" y="341"/>
                </a:lnTo>
                <a:lnTo>
                  <a:pt x="362" y="341"/>
                </a:lnTo>
                <a:lnTo>
                  <a:pt x="348" y="319"/>
                </a:lnTo>
                <a:lnTo>
                  <a:pt x="332" y="299"/>
                </a:lnTo>
                <a:lnTo>
                  <a:pt x="312" y="299"/>
                </a:lnTo>
                <a:lnTo>
                  <a:pt x="278" y="289"/>
                </a:lnTo>
                <a:lnTo>
                  <a:pt x="270" y="259"/>
                </a:lnTo>
                <a:lnTo>
                  <a:pt x="246" y="211"/>
                </a:lnTo>
                <a:lnTo>
                  <a:pt x="234" y="173"/>
                </a:lnTo>
                <a:lnTo>
                  <a:pt x="198" y="143"/>
                </a:lnTo>
                <a:lnTo>
                  <a:pt x="153" y="157"/>
                </a:lnTo>
                <a:lnTo>
                  <a:pt x="109" y="157"/>
                </a:lnTo>
                <a:lnTo>
                  <a:pt x="55" y="131"/>
                </a:lnTo>
                <a:lnTo>
                  <a:pt x="33" y="95"/>
                </a:lnTo>
                <a:lnTo>
                  <a:pt x="15" y="47"/>
                </a:lnTo>
                <a:lnTo>
                  <a:pt x="0" y="0"/>
                </a:lnTo>
              </a:path>
            </a:pathLst>
          </a:custGeom>
          <a:noFill/>
          <a:ln w="3175" cap="flat" cmpd="sng">
            <a:solidFill>
              <a:srgbClr val="D9EAF7"/>
            </a:solidFill>
            <a:prstDash val="solid"/>
            <a:round/>
            <a:headEnd type="none" w="med" len="med"/>
            <a:tailEnd type="none" w="sm" len="sm"/>
          </a:ln>
        </p:spPr>
        <p:txBody>
          <a:bodyPr wrap="none" lIns="32632" tIns="32632" rIns="32632" bIns="32632" anchor="ctr"/>
          <a:lstStyle/>
          <a:p>
            <a:pPr defTabSz="891045"/>
            <a:endParaRPr lang="en-US" sz="1700" dirty="0">
              <a:solidFill>
                <a:srgbClr val="003149"/>
              </a:solidFill>
              <a:cs typeface="Arial" panose="020B0604020202020204" pitchFamily="34" charset="0"/>
            </a:endParaRPr>
          </a:p>
        </p:txBody>
      </p:sp>
      <p:sp>
        <p:nvSpPr>
          <p:cNvPr id="286" name="Freeform 664"/>
          <p:cNvSpPr>
            <a:spLocks noChangeAspect="1"/>
          </p:cNvSpPr>
          <p:nvPr>
            <p:custDataLst>
              <p:tags r:id="rId177"/>
            </p:custDataLst>
          </p:nvPr>
        </p:nvSpPr>
        <p:spPr bwMode="gray">
          <a:xfrm>
            <a:off x="2862067" y="2813431"/>
            <a:ext cx="78192" cy="80351"/>
          </a:xfrm>
          <a:custGeom>
            <a:avLst/>
            <a:gdLst>
              <a:gd name="T0" fmla="*/ 470563919 w 251"/>
              <a:gd name="T1" fmla="*/ 0 h 226"/>
              <a:gd name="T2" fmla="*/ 470563919 w 251"/>
              <a:gd name="T3" fmla="*/ 532119571 h 226"/>
              <a:gd name="T4" fmla="*/ 470563919 w 251"/>
              <a:gd name="T5" fmla="*/ 532119571 h 226"/>
              <a:gd name="T6" fmla="*/ 470563919 w 251"/>
              <a:gd name="T7" fmla="*/ 532119571 h 226"/>
              <a:gd name="T8" fmla="*/ 470563919 w 251"/>
              <a:gd name="T9" fmla="*/ 0 h 226"/>
              <a:gd name="T10" fmla="*/ 470563919 w 251"/>
              <a:gd name="T11" fmla="*/ 532119571 h 226"/>
              <a:gd name="T12" fmla="*/ 470563919 w 251"/>
              <a:gd name="T13" fmla="*/ 532119571 h 226"/>
              <a:gd name="T14" fmla="*/ 470563919 w 251"/>
              <a:gd name="T15" fmla="*/ 532119571 h 226"/>
              <a:gd name="T16" fmla="*/ 470563919 w 251"/>
              <a:gd name="T17" fmla="*/ 532119571 h 226"/>
              <a:gd name="T18" fmla="*/ 470563919 w 251"/>
              <a:gd name="T19" fmla="*/ 532119571 h 226"/>
              <a:gd name="T20" fmla="*/ 470563919 w 251"/>
              <a:gd name="T21" fmla="*/ 532119571 h 226"/>
              <a:gd name="T22" fmla="*/ 470563919 w 251"/>
              <a:gd name="T23" fmla="*/ 532119571 h 226"/>
              <a:gd name="T24" fmla="*/ 470563919 w 251"/>
              <a:gd name="T25" fmla="*/ 532119571 h 226"/>
              <a:gd name="T26" fmla="*/ 470563919 w 251"/>
              <a:gd name="T27" fmla="*/ 532119571 h 226"/>
              <a:gd name="T28" fmla="*/ 0 w 251"/>
              <a:gd name="T29" fmla="*/ 532119571 h 22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w 251"/>
              <a:gd name="T46" fmla="*/ 0 h 226"/>
              <a:gd name="T47" fmla="*/ 251 w 251"/>
              <a:gd name="T48" fmla="*/ 226 h 22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T45" t="T46" r="T47" b="T48"/>
            <a:pathLst>
              <a:path w="251" h="226">
                <a:moveTo>
                  <a:pt x="251" y="0"/>
                </a:moveTo>
                <a:lnTo>
                  <a:pt x="221" y="2"/>
                </a:lnTo>
                <a:lnTo>
                  <a:pt x="191" y="8"/>
                </a:lnTo>
                <a:lnTo>
                  <a:pt x="169" y="8"/>
                </a:lnTo>
                <a:lnTo>
                  <a:pt x="151" y="0"/>
                </a:lnTo>
                <a:lnTo>
                  <a:pt x="133" y="6"/>
                </a:lnTo>
                <a:lnTo>
                  <a:pt x="125" y="30"/>
                </a:lnTo>
                <a:lnTo>
                  <a:pt x="119" y="54"/>
                </a:lnTo>
                <a:lnTo>
                  <a:pt x="119" y="80"/>
                </a:lnTo>
                <a:lnTo>
                  <a:pt x="89" y="96"/>
                </a:lnTo>
                <a:lnTo>
                  <a:pt x="67" y="140"/>
                </a:lnTo>
                <a:lnTo>
                  <a:pt x="37" y="164"/>
                </a:lnTo>
                <a:lnTo>
                  <a:pt x="31" y="186"/>
                </a:lnTo>
                <a:lnTo>
                  <a:pt x="11" y="206"/>
                </a:lnTo>
                <a:lnTo>
                  <a:pt x="0" y="226"/>
                </a:lnTo>
              </a:path>
            </a:pathLst>
          </a:custGeom>
          <a:noFill/>
          <a:ln w="3175" cap="flat" cmpd="sng">
            <a:solidFill>
              <a:srgbClr val="D9EAF7"/>
            </a:solidFill>
            <a:prstDash val="solid"/>
            <a:round/>
            <a:headEnd type="none" w="med" len="med"/>
            <a:tailEnd type="none" w="sm" len="sm"/>
          </a:ln>
        </p:spPr>
        <p:txBody>
          <a:bodyPr wrap="none" lIns="32632" tIns="32632" rIns="32632" bIns="32632" anchor="ctr"/>
          <a:lstStyle/>
          <a:p>
            <a:pPr defTabSz="891045"/>
            <a:endParaRPr lang="en-US" sz="1700" dirty="0">
              <a:solidFill>
                <a:srgbClr val="003149"/>
              </a:solidFill>
              <a:cs typeface="Arial" panose="020B0604020202020204" pitchFamily="34" charset="0"/>
            </a:endParaRPr>
          </a:p>
        </p:txBody>
      </p:sp>
      <p:sp>
        <p:nvSpPr>
          <p:cNvPr id="287" name="Freeform 673"/>
          <p:cNvSpPr>
            <a:spLocks noChangeAspect="1"/>
          </p:cNvSpPr>
          <p:nvPr>
            <p:custDataLst>
              <p:tags r:id="rId178"/>
            </p:custDataLst>
          </p:nvPr>
        </p:nvSpPr>
        <p:spPr bwMode="gray">
          <a:xfrm>
            <a:off x="2718487" y="2852163"/>
            <a:ext cx="117999" cy="147788"/>
          </a:xfrm>
          <a:custGeom>
            <a:avLst/>
            <a:gdLst>
              <a:gd name="T0" fmla="*/ 459384135 w 388"/>
              <a:gd name="T1" fmla="*/ 532989634 h 415"/>
              <a:gd name="T2" fmla="*/ 459384135 w 388"/>
              <a:gd name="T3" fmla="*/ 532989634 h 415"/>
              <a:gd name="T4" fmla="*/ 459384135 w 388"/>
              <a:gd name="T5" fmla="*/ 532989634 h 415"/>
              <a:gd name="T6" fmla="*/ 459384135 w 388"/>
              <a:gd name="T7" fmla="*/ 532989634 h 415"/>
              <a:gd name="T8" fmla="*/ 459384135 w 388"/>
              <a:gd name="T9" fmla="*/ 532989634 h 415"/>
              <a:gd name="T10" fmla="*/ 459384135 w 388"/>
              <a:gd name="T11" fmla="*/ 532989634 h 415"/>
              <a:gd name="T12" fmla="*/ 459384135 w 388"/>
              <a:gd name="T13" fmla="*/ 532989634 h 415"/>
              <a:gd name="T14" fmla="*/ 459384135 w 388"/>
              <a:gd name="T15" fmla="*/ 532989634 h 415"/>
              <a:gd name="T16" fmla="*/ 459384135 w 388"/>
              <a:gd name="T17" fmla="*/ 532989634 h 415"/>
              <a:gd name="T18" fmla="*/ 459384135 w 388"/>
              <a:gd name="T19" fmla="*/ 532989634 h 415"/>
              <a:gd name="T20" fmla="*/ 459384135 w 388"/>
              <a:gd name="T21" fmla="*/ 532989634 h 415"/>
              <a:gd name="T22" fmla="*/ 459384135 w 388"/>
              <a:gd name="T23" fmla="*/ 532989634 h 415"/>
              <a:gd name="T24" fmla="*/ 459384135 w 388"/>
              <a:gd name="T25" fmla="*/ 532989634 h 415"/>
              <a:gd name="T26" fmla="*/ 459384135 w 388"/>
              <a:gd name="T27" fmla="*/ 532989634 h 415"/>
              <a:gd name="T28" fmla="*/ 459384135 w 388"/>
              <a:gd name="T29" fmla="*/ 532989634 h 415"/>
              <a:gd name="T30" fmla="*/ 459384135 w 388"/>
              <a:gd name="T31" fmla="*/ 532989634 h 415"/>
              <a:gd name="T32" fmla="*/ 459384135 w 388"/>
              <a:gd name="T33" fmla="*/ 532989634 h 415"/>
              <a:gd name="T34" fmla="*/ 459384135 w 388"/>
              <a:gd name="T35" fmla="*/ 532989634 h 415"/>
              <a:gd name="T36" fmla="*/ 459384135 w 388"/>
              <a:gd name="T37" fmla="*/ 532989634 h 415"/>
              <a:gd name="T38" fmla="*/ 459384135 w 388"/>
              <a:gd name="T39" fmla="*/ 532989634 h 415"/>
              <a:gd name="T40" fmla="*/ 459384135 w 388"/>
              <a:gd name="T41" fmla="*/ 532989634 h 415"/>
              <a:gd name="T42" fmla="*/ 459384135 w 388"/>
              <a:gd name="T43" fmla="*/ 532989634 h 415"/>
              <a:gd name="T44" fmla="*/ 459384135 w 388"/>
              <a:gd name="T45" fmla="*/ 532989634 h 415"/>
              <a:gd name="T46" fmla="*/ 459384135 w 388"/>
              <a:gd name="T47" fmla="*/ 532989634 h 415"/>
              <a:gd name="T48" fmla="*/ 0 w 388"/>
              <a:gd name="T49" fmla="*/ 0 h 415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w 388"/>
              <a:gd name="T76" fmla="*/ 0 h 415"/>
              <a:gd name="T77" fmla="*/ 388 w 388"/>
              <a:gd name="T78" fmla="*/ 415 h 415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T75" t="T76" r="T77" b="T78"/>
            <a:pathLst>
              <a:path w="388" h="415">
                <a:moveTo>
                  <a:pt x="388" y="415"/>
                </a:moveTo>
                <a:lnTo>
                  <a:pt x="376" y="403"/>
                </a:lnTo>
                <a:lnTo>
                  <a:pt x="350" y="403"/>
                </a:lnTo>
                <a:lnTo>
                  <a:pt x="314" y="397"/>
                </a:lnTo>
                <a:lnTo>
                  <a:pt x="272" y="397"/>
                </a:lnTo>
                <a:lnTo>
                  <a:pt x="232" y="409"/>
                </a:lnTo>
                <a:lnTo>
                  <a:pt x="172" y="403"/>
                </a:lnTo>
                <a:lnTo>
                  <a:pt x="140" y="383"/>
                </a:lnTo>
                <a:lnTo>
                  <a:pt x="134" y="349"/>
                </a:lnTo>
                <a:lnTo>
                  <a:pt x="136" y="325"/>
                </a:lnTo>
                <a:lnTo>
                  <a:pt x="136" y="301"/>
                </a:lnTo>
                <a:lnTo>
                  <a:pt x="118" y="287"/>
                </a:lnTo>
                <a:lnTo>
                  <a:pt x="98" y="264"/>
                </a:lnTo>
                <a:lnTo>
                  <a:pt x="92" y="252"/>
                </a:lnTo>
                <a:lnTo>
                  <a:pt x="76" y="240"/>
                </a:lnTo>
                <a:lnTo>
                  <a:pt x="92" y="220"/>
                </a:lnTo>
                <a:lnTo>
                  <a:pt x="106" y="190"/>
                </a:lnTo>
                <a:lnTo>
                  <a:pt x="112" y="160"/>
                </a:lnTo>
                <a:lnTo>
                  <a:pt x="104" y="130"/>
                </a:lnTo>
                <a:lnTo>
                  <a:pt x="88" y="112"/>
                </a:lnTo>
                <a:lnTo>
                  <a:pt x="58" y="84"/>
                </a:lnTo>
                <a:lnTo>
                  <a:pt x="28" y="64"/>
                </a:lnTo>
                <a:lnTo>
                  <a:pt x="22" y="40"/>
                </a:lnTo>
                <a:lnTo>
                  <a:pt x="8" y="12"/>
                </a:lnTo>
                <a:lnTo>
                  <a:pt x="0" y="0"/>
                </a:lnTo>
              </a:path>
            </a:pathLst>
          </a:custGeom>
          <a:solidFill>
            <a:srgbClr val="70B0DF"/>
          </a:solidFill>
          <a:ln w="3175" cap="flat" cmpd="sng">
            <a:noFill/>
            <a:prstDash val="solid"/>
            <a:round/>
            <a:headEnd type="none" w="med" len="med"/>
            <a:tailEnd type="none" w="sm" len="sm"/>
          </a:ln>
        </p:spPr>
        <p:txBody>
          <a:bodyPr wrap="none" lIns="32632" tIns="32632" rIns="32632" bIns="32632" anchor="ctr"/>
          <a:lstStyle/>
          <a:p>
            <a:pPr defTabSz="891045"/>
            <a:endParaRPr lang="en-US" sz="1700" dirty="0">
              <a:solidFill>
                <a:srgbClr val="003149"/>
              </a:solidFill>
              <a:cs typeface="Arial" panose="020B0604020202020204" pitchFamily="34" charset="0"/>
            </a:endParaRPr>
          </a:p>
        </p:txBody>
      </p:sp>
      <p:sp>
        <p:nvSpPr>
          <p:cNvPr id="288" name="Freeform 675"/>
          <p:cNvSpPr>
            <a:spLocks noChangeAspect="1"/>
          </p:cNvSpPr>
          <p:nvPr>
            <p:custDataLst>
              <p:tags r:id="rId179"/>
            </p:custDataLst>
          </p:nvPr>
        </p:nvSpPr>
        <p:spPr bwMode="gray">
          <a:xfrm>
            <a:off x="2827933" y="2893773"/>
            <a:ext cx="34120" cy="104742"/>
          </a:xfrm>
          <a:custGeom>
            <a:avLst/>
            <a:gdLst>
              <a:gd name="T0" fmla="*/ 452101592 w 114"/>
              <a:gd name="T1" fmla="*/ 520817958 h 301"/>
              <a:gd name="T2" fmla="*/ 452101592 w 114"/>
              <a:gd name="T3" fmla="*/ 520817958 h 301"/>
              <a:gd name="T4" fmla="*/ 452101592 w 114"/>
              <a:gd name="T5" fmla="*/ 520817958 h 301"/>
              <a:gd name="T6" fmla="*/ 452101592 w 114"/>
              <a:gd name="T7" fmla="*/ 520817958 h 301"/>
              <a:gd name="T8" fmla="*/ 452101592 w 114"/>
              <a:gd name="T9" fmla="*/ 520817958 h 301"/>
              <a:gd name="T10" fmla="*/ 452101592 w 114"/>
              <a:gd name="T11" fmla="*/ 520817958 h 301"/>
              <a:gd name="T12" fmla="*/ 452101592 w 114"/>
              <a:gd name="T13" fmla="*/ 520817958 h 301"/>
              <a:gd name="T14" fmla="*/ 452101592 w 114"/>
              <a:gd name="T15" fmla="*/ 520817958 h 301"/>
              <a:gd name="T16" fmla="*/ 452101592 w 114"/>
              <a:gd name="T17" fmla="*/ 520817958 h 301"/>
              <a:gd name="T18" fmla="*/ 0 w 114"/>
              <a:gd name="T19" fmla="*/ 520817958 h 301"/>
              <a:gd name="T20" fmla="*/ 452101592 w 114"/>
              <a:gd name="T21" fmla="*/ 520817958 h 301"/>
              <a:gd name="T22" fmla="*/ 452101592 w 114"/>
              <a:gd name="T23" fmla="*/ 520817958 h 301"/>
              <a:gd name="T24" fmla="*/ 452101592 w 114"/>
              <a:gd name="T25" fmla="*/ 520817958 h 301"/>
              <a:gd name="T26" fmla="*/ 452101592 w 114"/>
              <a:gd name="T27" fmla="*/ 520817958 h 301"/>
              <a:gd name="T28" fmla="*/ 452101592 w 114"/>
              <a:gd name="T29" fmla="*/ 520817958 h 301"/>
              <a:gd name="T30" fmla="*/ 452101592 w 114"/>
              <a:gd name="T31" fmla="*/ 0 h 301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w 114"/>
              <a:gd name="T49" fmla="*/ 0 h 301"/>
              <a:gd name="T50" fmla="*/ 114 w 114"/>
              <a:gd name="T51" fmla="*/ 301 h 301"/>
            </a:gdLst>
            <a:ahLst/>
            <a:cxnLst>
              <a:cxn ang="T32">
                <a:pos x="T0" y="T1"/>
              </a:cxn>
              <a:cxn ang="T33">
                <a:pos x="T2" y="T3"/>
              </a:cxn>
              <a:cxn ang="T34">
                <a:pos x="T4" y="T5"/>
              </a:cxn>
              <a:cxn ang="T35">
                <a:pos x="T6" y="T7"/>
              </a:cxn>
              <a:cxn ang="T36">
                <a:pos x="T8" y="T9"/>
              </a:cxn>
              <a:cxn ang="T37">
                <a:pos x="T10" y="T11"/>
              </a:cxn>
              <a:cxn ang="T38">
                <a:pos x="T12" y="T13"/>
              </a:cxn>
              <a:cxn ang="T39">
                <a:pos x="T14" y="T15"/>
              </a:cxn>
              <a:cxn ang="T40">
                <a:pos x="T16" y="T17"/>
              </a:cxn>
              <a:cxn ang="T41">
                <a:pos x="T18" y="T19"/>
              </a:cxn>
              <a:cxn ang="T42">
                <a:pos x="T20" y="T21"/>
              </a:cxn>
              <a:cxn ang="T43">
                <a:pos x="T22" y="T23"/>
              </a:cxn>
              <a:cxn ang="T44">
                <a:pos x="T24" y="T25"/>
              </a:cxn>
              <a:cxn ang="T45">
                <a:pos x="T26" y="T27"/>
              </a:cxn>
              <a:cxn ang="T46">
                <a:pos x="T28" y="T29"/>
              </a:cxn>
              <a:cxn ang="T47">
                <a:pos x="T30" y="T31"/>
              </a:cxn>
            </a:cxnLst>
            <a:rect l="T48" t="T49" r="T50" b="T51"/>
            <a:pathLst>
              <a:path w="114" h="301">
                <a:moveTo>
                  <a:pt x="32" y="301"/>
                </a:moveTo>
                <a:lnTo>
                  <a:pt x="60" y="271"/>
                </a:lnTo>
                <a:lnTo>
                  <a:pt x="74" y="253"/>
                </a:lnTo>
                <a:lnTo>
                  <a:pt x="56" y="233"/>
                </a:lnTo>
                <a:lnTo>
                  <a:pt x="47" y="231"/>
                </a:lnTo>
                <a:lnTo>
                  <a:pt x="37" y="228"/>
                </a:lnTo>
                <a:lnTo>
                  <a:pt x="32" y="219"/>
                </a:lnTo>
                <a:lnTo>
                  <a:pt x="32" y="197"/>
                </a:lnTo>
                <a:lnTo>
                  <a:pt x="12" y="169"/>
                </a:lnTo>
                <a:lnTo>
                  <a:pt x="0" y="139"/>
                </a:lnTo>
                <a:lnTo>
                  <a:pt x="2" y="114"/>
                </a:lnTo>
                <a:lnTo>
                  <a:pt x="30" y="86"/>
                </a:lnTo>
                <a:lnTo>
                  <a:pt x="48" y="62"/>
                </a:lnTo>
                <a:lnTo>
                  <a:pt x="68" y="42"/>
                </a:lnTo>
                <a:lnTo>
                  <a:pt x="86" y="20"/>
                </a:lnTo>
                <a:lnTo>
                  <a:pt x="114" y="0"/>
                </a:lnTo>
              </a:path>
            </a:pathLst>
          </a:custGeom>
          <a:noFill/>
          <a:ln w="3175" cap="flat" cmpd="sng">
            <a:solidFill>
              <a:srgbClr val="D9EAF7"/>
            </a:solidFill>
            <a:prstDash val="solid"/>
            <a:round/>
            <a:headEnd/>
            <a:tailEnd/>
          </a:ln>
        </p:spPr>
        <p:txBody>
          <a:bodyPr wrap="none" lIns="32632" tIns="32632" rIns="32632" bIns="32632" anchor="ctr"/>
          <a:lstStyle/>
          <a:p>
            <a:pPr defTabSz="891045"/>
            <a:endParaRPr lang="en-US" sz="1700" dirty="0">
              <a:solidFill>
                <a:srgbClr val="003149"/>
              </a:solidFill>
              <a:cs typeface="Arial" panose="020B0604020202020204" pitchFamily="34" charset="0"/>
            </a:endParaRPr>
          </a:p>
        </p:txBody>
      </p:sp>
      <p:sp>
        <p:nvSpPr>
          <p:cNvPr id="289" name="Freeform 677"/>
          <p:cNvSpPr>
            <a:spLocks noChangeAspect="1"/>
          </p:cNvSpPr>
          <p:nvPr>
            <p:custDataLst>
              <p:tags r:id="rId180"/>
            </p:custDataLst>
          </p:nvPr>
        </p:nvSpPr>
        <p:spPr bwMode="gray">
          <a:xfrm>
            <a:off x="2944508" y="2885148"/>
            <a:ext cx="79614" cy="41611"/>
          </a:xfrm>
          <a:custGeom>
            <a:avLst/>
            <a:gdLst>
              <a:gd name="T0" fmla="*/ 0 w 10000"/>
              <a:gd name="T1" fmla="*/ 0 h 10625"/>
              <a:gd name="T2" fmla="*/ 0 w 10000"/>
              <a:gd name="T3" fmla="*/ 0 h 10625"/>
              <a:gd name="T4" fmla="*/ 0 w 10000"/>
              <a:gd name="T5" fmla="*/ 0 h 10625"/>
              <a:gd name="T6" fmla="*/ 0 w 10000"/>
              <a:gd name="T7" fmla="*/ 0 h 10625"/>
              <a:gd name="T8" fmla="*/ 0 w 10000"/>
              <a:gd name="T9" fmla="*/ 0 h 10625"/>
              <a:gd name="T10" fmla="*/ 0 w 10000"/>
              <a:gd name="T11" fmla="*/ 0 h 10625"/>
              <a:gd name="T12" fmla="*/ 0 w 10000"/>
              <a:gd name="T13" fmla="*/ 0 h 10625"/>
              <a:gd name="T14" fmla="*/ 0 w 10000"/>
              <a:gd name="T15" fmla="*/ 0 h 10625"/>
              <a:gd name="T16" fmla="*/ 0 w 10000"/>
              <a:gd name="T17" fmla="*/ 0 h 10625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10000"/>
              <a:gd name="T28" fmla="*/ 0 h 10625"/>
              <a:gd name="T29" fmla="*/ 10000 w 10000"/>
              <a:gd name="T30" fmla="*/ 10625 h 10625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10000" h="10625">
                <a:moveTo>
                  <a:pt x="0" y="10625"/>
                </a:moveTo>
                <a:lnTo>
                  <a:pt x="0" y="8750"/>
                </a:lnTo>
                <a:cubicBezTo>
                  <a:pt x="53" y="8457"/>
                  <a:pt x="105" y="8163"/>
                  <a:pt x="158" y="7870"/>
                </a:cubicBezTo>
                <a:lnTo>
                  <a:pt x="2218" y="4722"/>
                </a:lnTo>
                <a:lnTo>
                  <a:pt x="3960" y="5278"/>
                </a:lnTo>
                <a:lnTo>
                  <a:pt x="5941" y="4537"/>
                </a:lnTo>
                <a:lnTo>
                  <a:pt x="7446" y="2500"/>
                </a:lnTo>
                <a:lnTo>
                  <a:pt x="8475" y="2685"/>
                </a:lnTo>
                <a:lnTo>
                  <a:pt x="10000" y="0"/>
                </a:lnTo>
              </a:path>
            </a:pathLst>
          </a:custGeom>
          <a:noFill/>
          <a:ln w="3175" cap="flat" cmpd="sng">
            <a:solidFill>
              <a:srgbClr val="D9EAF7"/>
            </a:solidFill>
            <a:prstDash val="solid"/>
            <a:round/>
            <a:headEnd type="none" w="med" len="med"/>
            <a:tailEnd type="none" w="med" len="med"/>
          </a:ln>
        </p:spPr>
        <p:txBody>
          <a:bodyPr wrap="none" lIns="32632" tIns="32632" rIns="32632" bIns="32632" anchor="ctr"/>
          <a:lstStyle/>
          <a:p>
            <a:pPr defTabSz="891045"/>
            <a:endParaRPr lang="en-US" sz="1700" dirty="0">
              <a:solidFill>
                <a:srgbClr val="003149"/>
              </a:solidFill>
              <a:cs typeface="Arial" panose="020B0604020202020204" pitchFamily="34" charset="0"/>
            </a:endParaRPr>
          </a:p>
        </p:txBody>
      </p:sp>
      <p:sp>
        <p:nvSpPr>
          <p:cNvPr id="290" name="Freeform 680"/>
          <p:cNvSpPr>
            <a:spLocks noChangeAspect="1"/>
          </p:cNvSpPr>
          <p:nvPr>
            <p:custDataLst>
              <p:tags r:id="rId181"/>
            </p:custDataLst>
          </p:nvPr>
        </p:nvSpPr>
        <p:spPr bwMode="gray">
          <a:xfrm>
            <a:off x="2547863" y="2830626"/>
            <a:ext cx="62554" cy="137744"/>
          </a:xfrm>
          <a:custGeom>
            <a:avLst/>
            <a:gdLst>
              <a:gd name="T0" fmla="*/ 0 w 10000"/>
              <a:gd name="T1" fmla="*/ 0 h 10104"/>
              <a:gd name="T2" fmla="*/ 0 w 10000"/>
              <a:gd name="T3" fmla="*/ 0 h 10104"/>
              <a:gd name="T4" fmla="*/ 0 w 10000"/>
              <a:gd name="T5" fmla="*/ 0 h 10104"/>
              <a:gd name="T6" fmla="*/ 0 w 10000"/>
              <a:gd name="T7" fmla="*/ 0 h 10104"/>
              <a:gd name="T8" fmla="*/ 0 w 10000"/>
              <a:gd name="T9" fmla="*/ 0 h 10104"/>
              <a:gd name="T10" fmla="*/ 0 w 10000"/>
              <a:gd name="T11" fmla="*/ 0 h 10104"/>
              <a:gd name="T12" fmla="*/ 0 w 10000"/>
              <a:gd name="T13" fmla="*/ 0 h 10104"/>
              <a:gd name="T14" fmla="*/ 0 w 10000"/>
              <a:gd name="T15" fmla="*/ 0 h 10104"/>
              <a:gd name="T16" fmla="*/ 0 w 10000"/>
              <a:gd name="T17" fmla="*/ 0 h 10104"/>
              <a:gd name="T18" fmla="*/ 0 w 10000"/>
              <a:gd name="T19" fmla="*/ 0 h 10104"/>
              <a:gd name="T20" fmla="*/ 0 w 10000"/>
              <a:gd name="T21" fmla="*/ 0 h 10104"/>
              <a:gd name="T22" fmla="*/ 0 w 10000"/>
              <a:gd name="T23" fmla="*/ 0 h 10104"/>
              <a:gd name="T24" fmla="*/ 0 w 10000"/>
              <a:gd name="T25" fmla="*/ 0 h 10104"/>
              <a:gd name="T26" fmla="*/ 0 w 10000"/>
              <a:gd name="T27" fmla="*/ 0 h 10104"/>
              <a:gd name="T28" fmla="*/ 0 w 10000"/>
              <a:gd name="T29" fmla="*/ 0 h 10104"/>
              <a:gd name="T30" fmla="*/ 0 w 10000"/>
              <a:gd name="T31" fmla="*/ 0 h 10104"/>
              <a:gd name="T32" fmla="*/ 0 w 10000"/>
              <a:gd name="T33" fmla="*/ 0 h 10104"/>
              <a:gd name="T34" fmla="*/ 0 w 10000"/>
              <a:gd name="T35" fmla="*/ 0 h 10104"/>
              <a:gd name="T36" fmla="*/ 0 w 10000"/>
              <a:gd name="T37" fmla="*/ 0 h 10104"/>
              <a:gd name="T38" fmla="*/ 0 w 10000"/>
              <a:gd name="T39" fmla="*/ 0 h 10104"/>
              <a:gd name="T40" fmla="*/ 0 w 10000"/>
              <a:gd name="T41" fmla="*/ 0 h 10104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w 10000"/>
              <a:gd name="T64" fmla="*/ 0 h 10104"/>
              <a:gd name="T65" fmla="*/ 10000 w 10000"/>
              <a:gd name="T66" fmla="*/ 10104 h 10104"/>
            </a:gdLst>
            <a:ahLst/>
            <a:cxnLst>
              <a:cxn ang="T42">
                <a:pos x="T0" y="T1"/>
              </a:cxn>
              <a:cxn ang="T43">
                <a:pos x="T2" y="T3"/>
              </a:cxn>
              <a:cxn ang="T44">
                <a:pos x="T4" y="T5"/>
              </a:cxn>
              <a:cxn ang="T45">
                <a:pos x="T6" y="T7"/>
              </a:cxn>
              <a:cxn ang="T46">
                <a:pos x="T8" y="T9"/>
              </a:cxn>
              <a:cxn ang="T47">
                <a:pos x="T10" y="T11"/>
              </a:cxn>
              <a:cxn ang="T48">
                <a:pos x="T12" y="T13"/>
              </a:cxn>
              <a:cxn ang="T49">
                <a:pos x="T14" y="T15"/>
              </a:cxn>
              <a:cxn ang="T50">
                <a:pos x="T16" y="T17"/>
              </a:cxn>
              <a:cxn ang="T51">
                <a:pos x="T18" y="T19"/>
              </a:cxn>
              <a:cxn ang="T52">
                <a:pos x="T20" y="T21"/>
              </a:cxn>
              <a:cxn ang="T53">
                <a:pos x="T22" y="T23"/>
              </a:cxn>
              <a:cxn ang="T54">
                <a:pos x="T24" y="T25"/>
              </a:cxn>
              <a:cxn ang="T55">
                <a:pos x="T26" y="T27"/>
              </a:cxn>
              <a:cxn ang="T56">
                <a:pos x="T28" y="T29"/>
              </a:cxn>
              <a:cxn ang="T57">
                <a:pos x="T30" y="T31"/>
              </a:cxn>
              <a:cxn ang="T58">
                <a:pos x="T32" y="T33"/>
              </a:cxn>
              <a:cxn ang="T59">
                <a:pos x="T34" y="T35"/>
              </a:cxn>
              <a:cxn ang="T60">
                <a:pos x="T36" y="T37"/>
              </a:cxn>
              <a:cxn ang="T61">
                <a:pos x="T38" y="T39"/>
              </a:cxn>
              <a:cxn ang="T62">
                <a:pos x="T40" y="T41"/>
              </a:cxn>
            </a:cxnLst>
            <a:rect l="T63" t="T64" r="T65" b="T66"/>
            <a:pathLst>
              <a:path w="10000" h="10104">
                <a:moveTo>
                  <a:pt x="8464" y="0"/>
                </a:moveTo>
                <a:lnTo>
                  <a:pt x="9314" y="492"/>
                </a:lnTo>
                <a:lnTo>
                  <a:pt x="9314" y="1072"/>
                </a:lnTo>
                <a:lnTo>
                  <a:pt x="9706" y="1915"/>
                </a:lnTo>
                <a:lnTo>
                  <a:pt x="10000" y="2968"/>
                </a:lnTo>
                <a:lnTo>
                  <a:pt x="9706" y="3600"/>
                </a:lnTo>
                <a:lnTo>
                  <a:pt x="9314" y="4390"/>
                </a:lnTo>
                <a:lnTo>
                  <a:pt x="8235" y="4706"/>
                </a:lnTo>
                <a:lnTo>
                  <a:pt x="7549" y="5180"/>
                </a:lnTo>
                <a:lnTo>
                  <a:pt x="7353" y="5706"/>
                </a:lnTo>
                <a:lnTo>
                  <a:pt x="8235" y="6286"/>
                </a:lnTo>
                <a:lnTo>
                  <a:pt x="8235" y="6970"/>
                </a:lnTo>
                <a:lnTo>
                  <a:pt x="8529" y="7550"/>
                </a:lnTo>
                <a:cubicBezTo>
                  <a:pt x="8496" y="7761"/>
                  <a:pt x="8464" y="7971"/>
                  <a:pt x="8431" y="8182"/>
                </a:cubicBezTo>
                <a:lnTo>
                  <a:pt x="6176" y="8182"/>
                </a:lnTo>
                <a:lnTo>
                  <a:pt x="5000" y="8551"/>
                </a:lnTo>
                <a:lnTo>
                  <a:pt x="3725" y="8655"/>
                </a:lnTo>
                <a:lnTo>
                  <a:pt x="2647" y="9446"/>
                </a:lnTo>
                <a:lnTo>
                  <a:pt x="1471" y="9499"/>
                </a:lnTo>
                <a:lnTo>
                  <a:pt x="637" y="9788"/>
                </a:lnTo>
                <a:lnTo>
                  <a:pt x="0" y="10104"/>
                </a:lnTo>
              </a:path>
            </a:pathLst>
          </a:custGeom>
          <a:solidFill>
            <a:srgbClr val="70B0DF"/>
          </a:solidFill>
          <a:ln w="3175" cap="flat" cmpd="sng">
            <a:solidFill>
              <a:srgbClr val="D9EAF7"/>
            </a:solidFill>
            <a:prstDash val="solid"/>
            <a:round/>
            <a:headEnd type="none" w="med" len="med"/>
            <a:tailEnd type="none" w="sm" len="sm"/>
          </a:ln>
        </p:spPr>
        <p:txBody>
          <a:bodyPr wrap="none" lIns="32632" tIns="32632" rIns="32632" bIns="32632"/>
          <a:lstStyle/>
          <a:p>
            <a:pPr defTabSz="891045"/>
            <a:endParaRPr lang="en-US" sz="1700" dirty="0">
              <a:solidFill>
                <a:srgbClr val="003149"/>
              </a:solidFill>
              <a:cs typeface="Arial" panose="020B0604020202020204" pitchFamily="34" charset="0"/>
            </a:endParaRPr>
          </a:p>
        </p:txBody>
      </p:sp>
      <p:sp>
        <p:nvSpPr>
          <p:cNvPr id="291" name="Freeform 685"/>
          <p:cNvSpPr>
            <a:spLocks noChangeAspect="1"/>
          </p:cNvSpPr>
          <p:nvPr>
            <p:custDataLst>
              <p:tags r:id="rId182"/>
            </p:custDataLst>
          </p:nvPr>
        </p:nvSpPr>
        <p:spPr bwMode="gray">
          <a:xfrm>
            <a:off x="2950195" y="3416053"/>
            <a:ext cx="174865" cy="90394"/>
          </a:xfrm>
          <a:custGeom>
            <a:avLst/>
            <a:gdLst>
              <a:gd name="T0" fmla="*/ 0 w 9929"/>
              <a:gd name="T1" fmla="*/ 0 h 10000"/>
              <a:gd name="T2" fmla="*/ 0 w 9929"/>
              <a:gd name="T3" fmla="*/ 0 h 10000"/>
              <a:gd name="T4" fmla="*/ 0 w 9929"/>
              <a:gd name="T5" fmla="*/ 0 h 10000"/>
              <a:gd name="T6" fmla="*/ 0 w 9929"/>
              <a:gd name="T7" fmla="*/ 0 h 10000"/>
              <a:gd name="T8" fmla="*/ 0 w 9929"/>
              <a:gd name="T9" fmla="*/ 0 h 10000"/>
              <a:gd name="T10" fmla="*/ 0 w 9929"/>
              <a:gd name="T11" fmla="*/ 0 h 10000"/>
              <a:gd name="T12" fmla="*/ 0 w 9929"/>
              <a:gd name="T13" fmla="*/ 0 h 10000"/>
              <a:gd name="T14" fmla="*/ 0 w 9929"/>
              <a:gd name="T15" fmla="*/ 0 h 10000"/>
              <a:gd name="T16" fmla="*/ 0 w 9929"/>
              <a:gd name="T17" fmla="*/ 0 h 10000"/>
              <a:gd name="T18" fmla="*/ 0 w 9929"/>
              <a:gd name="T19" fmla="*/ 0 h 10000"/>
              <a:gd name="T20" fmla="*/ 0 w 9929"/>
              <a:gd name="T21" fmla="*/ 0 h 10000"/>
              <a:gd name="T22" fmla="*/ 0 w 9929"/>
              <a:gd name="T23" fmla="*/ 0 h 10000"/>
              <a:gd name="T24" fmla="*/ 0 w 9929"/>
              <a:gd name="T25" fmla="*/ 0 h 10000"/>
              <a:gd name="T26" fmla="*/ 0 w 9929"/>
              <a:gd name="T27" fmla="*/ 0 h 10000"/>
              <a:gd name="T28" fmla="*/ 0 w 9929"/>
              <a:gd name="T29" fmla="*/ 0 h 10000"/>
              <a:gd name="T30" fmla="*/ 0 w 9929"/>
              <a:gd name="T31" fmla="*/ 0 h 10000"/>
              <a:gd name="T32" fmla="*/ 0 w 9929"/>
              <a:gd name="T33" fmla="*/ 0 h 10000"/>
              <a:gd name="T34" fmla="*/ 0 w 9929"/>
              <a:gd name="T35" fmla="*/ 0 h 10000"/>
              <a:gd name="T36" fmla="*/ 0 w 9929"/>
              <a:gd name="T37" fmla="*/ 0 h 10000"/>
              <a:gd name="T38" fmla="*/ 0 w 9929"/>
              <a:gd name="T39" fmla="*/ 0 h 10000"/>
              <a:gd name="T40" fmla="*/ 0 w 9929"/>
              <a:gd name="T41" fmla="*/ 0 h 10000"/>
              <a:gd name="T42" fmla="*/ 0 w 9929"/>
              <a:gd name="T43" fmla="*/ 0 h 10000"/>
              <a:gd name="T44" fmla="*/ 0 w 9929"/>
              <a:gd name="T45" fmla="*/ 0 h 10000"/>
              <a:gd name="T46" fmla="*/ 0 w 9929"/>
              <a:gd name="T47" fmla="*/ 0 h 10000"/>
              <a:gd name="T48" fmla="*/ 0 w 9929"/>
              <a:gd name="T49" fmla="*/ 0 h 10000"/>
              <a:gd name="T50" fmla="*/ 0 w 9929"/>
              <a:gd name="T51" fmla="*/ 0 h 10000"/>
              <a:gd name="T52" fmla="*/ 0 w 9929"/>
              <a:gd name="T53" fmla="*/ 0 h 10000"/>
              <a:gd name="T54" fmla="*/ 0 w 9929"/>
              <a:gd name="T55" fmla="*/ 0 h 10000"/>
              <a:gd name="T56" fmla="*/ 0 w 9929"/>
              <a:gd name="T57" fmla="*/ 0 h 10000"/>
              <a:gd name="T58" fmla="*/ 0 w 9929"/>
              <a:gd name="T59" fmla="*/ 0 h 10000"/>
              <a:gd name="T60" fmla="*/ 0 w 9929"/>
              <a:gd name="T61" fmla="*/ 0 h 10000"/>
              <a:gd name="T62" fmla="*/ 0 w 9929"/>
              <a:gd name="T63" fmla="*/ 0 h 10000"/>
              <a:gd name="T64" fmla="*/ 0 w 9929"/>
              <a:gd name="T65" fmla="*/ 0 h 10000"/>
              <a:gd name="T66" fmla="*/ 0 w 9929"/>
              <a:gd name="T67" fmla="*/ 0 h 10000"/>
              <a:gd name="T68" fmla="*/ 0 w 9929"/>
              <a:gd name="T69" fmla="*/ 0 h 10000"/>
              <a:gd name="T70" fmla="*/ 0 w 9929"/>
              <a:gd name="T71" fmla="*/ 0 h 10000"/>
              <a:gd name="T72" fmla="*/ 0 w 9929"/>
              <a:gd name="T73" fmla="*/ 0 h 10000"/>
              <a:gd name="T74" fmla="*/ 0 w 9929"/>
              <a:gd name="T75" fmla="*/ 0 h 10000"/>
              <a:gd name="T76" fmla="*/ 0 w 9929"/>
              <a:gd name="T77" fmla="*/ 0 h 10000"/>
              <a:gd name="T78" fmla="*/ 0 w 9929"/>
              <a:gd name="T79" fmla="*/ 0 h 10000"/>
              <a:gd name="T80" fmla="*/ 0 w 9929"/>
              <a:gd name="T81" fmla="*/ 0 h 10000"/>
              <a:gd name="T82" fmla="*/ 0 w 9929"/>
              <a:gd name="T83" fmla="*/ 0 h 10000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w 9929"/>
              <a:gd name="T127" fmla="*/ 0 h 10000"/>
              <a:gd name="T128" fmla="*/ 9929 w 9929"/>
              <a:gd name="T129" fmla="*/ 10000 h 10000"/>
            </a:gdLst>
            <a:ahLst/>
            <a:cxnLst>
              <a:cxn ang="T84">
                <a:pos x="T0" y="T1"/>
              </a:cxn>
              <a:cxn ang="T85">
                <a:pos x="T2" y="T3"/>
              </a:cxn>
              <a:cxn ang="T86">
                <a:pos x="T4" y="T5"/>
              </a:cxn>
              <a:cxn ang="T87">
                <a:pos x="T6" y="T7"/>
              </a:cxn>
              <a:cxn ang="T88">
                <a:pos x="T8" y="T9"/>
              </a:cxn>
              <a:cxn ang="T89">
                <a:pos x="T10" y="T11"/>
              </a:cxn>
              <a:cxn ang="T90">
                <a:pos x="T12" y="T13"/>
              </a:cxn>
              <a:cxn ang="T91">
                <a:pos x="T14" y="T15"/>
              </a:cxn>
              <a:cxn ang="T92">
                <a:pos x="T16" y="T17"/>
              </a:cxn>
              <a:cxn ang="T93">
                <a:pos x="T18" y="T19"/>
              </a:cxn>
              <a:cxn ang="T94">
                <a:pos x="T20" y="T21"/>
              </a:cxn>
              <a:cxn ang="T95">
                <a:pos x="T22" y="T23"/>
              </a:cxn>
              <a:cxn ang="T96">
                <a:pos x="T24" y="T25"/>
              </a:cxn>
              <a:cxn ang="T97">
                <a:pos x="T26" y="T27"/>
              </a:cxn>
              <a:cxn ang="T98">
                <a:pos x="T28" y="T29"/>
              </a:cxn>
              <a:cxn ang="T99">
                <a:pos x="T30" y="T31"/>
              </a:cxn>
              <a:cxn ang="T100">
                <a:pos x="T32" y="T33"/>
              </a:cxn>
              <a:cxn ang="T101">
                <a:pos x="T34" y="T35"/>
              </a:cxn>
              <a:cxn ang="T102">
                <a:pos x="T36" y="T37"/>
              </a:cxn>
              <a:cxn ang="T103">
                <a:pos x="T38" y="T39"/>
              </a:cxn>
              <a:cxn ang="T104">
                <a:pos x="T40" y="T41"/>
              </a:cxn>
              <a:cxn ang="T105">
                <a:pos x="T42" y="T43"/>
              </a:cxn>
              <a:cxn ang="T106">
                <a:pos x="T44" y="T45"/>
              </a:cxn>
              <a:cxn ang="T107">
                <a:pos x="T46" y="T47"/>
              </a:cxn>
              <a:cxn ang="T108">
                <a:pos x="T48" y="T49"/>
              </a:cxn>
              <a:cxn ang="T109">
                <a:pos x="T50" y="T51"/>
              </a:cxn>
              <a:cxn ang="T110">
                <a:pos x="T52" y="T53"/>
              </a:cxn>
              <a:cxn ang="T111">
                <a:pos x="T54" y="T55"/>
              </a:cxn>
              <a:cxn ang="T112">
                <a:pos x="T56" y="T57"/>
              </a:cxn>
              <a:cxn ang="T113">
                <a:pos x="T58" y="T59"/>
              </a:cxn>
              <a:cxn ang="T114">
                <a:pos x="T60" y="T61"/>
              </a:cxn>
              <a:cxn ang="T115">
                <a:pos x="T62" y="T63"/>
              </a:cxn>
              <a:cxn ang="T116">
                <a:pos x="T64" y="T65"/>
              </a:cxn>
              <a:cxn ang="T117">
                <a:pos x="T66" y="T67"/>
              </a:cxn>
              <a:cxn ang="T118">
                <a:pos x="T68" y="T69"/>
              </a:cxn>
              <a:cxn ang="T119">
                <a:pos x="T70" y="T71"/>
              </a:cxn>
              <a:cxn ang="T120">
                <a:pos x="T72" y="T73"/>
              </a:cxn>
              <a:cxn ang="T121">
                <a:pos x="T74" y="T75"/>
              </a:cxn>
              <a:cxn ang="T122">
                <a:pos x="T76" y="T77"/>
              </a:cxn>
              <a:cxn ang="T123">
                <a:pos x="T78" y="T79"/>
              </a:cxn>
              <a:cxn ang="T124">
                <a:pos x="T80" y="T81"/>
              </a:cxn>
              <a:cxn ang="T125">
                <a:pos x="T82" y="T83"/>
              </a:cxn>
            </a:cxnLst>
            <a:rect l="T126" t="T127" r="T128" b="T129"/>
            <a:pathLst>
              <a:path w="9929" h="10000">
                <a:moveTo>
                  <a:pt x="0" y="9659"/>
                </a:moveTo>
                <a:lnTo>
                  <a:pt x="415" y="9924"/>
                </a:lnTo>
                <a:lnTo>
                  <a:pt x="882" y="9962"/>
                </a:lnTo>
                <a:lnTo>
                  <a:pt x="1170" y="9773"/>
                </a:lnTo>
                <a:lnTo>
                  <a:pt x="1440" y="9773"/>
                </a:lnTo>
                <a:lnTo>
                  <a:pt x="1638" y="10000"/>
                </a:lnTo>
                <a:lnTo>
                  <a:pt x="2087" y="9962"/>
                </a:lnTo>
                <a:lnTo>
                  <a:pt x="2447" y="9735"/>
                </a:lnTo>
                <a:lnTo>
                  <a:pt x="2555" y="9697"/>
                </a:lnTo>
                <a:cubicBezTo>
                  <a:pt x="2573" y="9583"/>
                  <a:pt x="2591" y="9470"/>
                  <a:pt x="2609" y="9356"/>
                </a:cubicBezTo>
                <a:lnTo>
                  <a:pt x="2627" y="9053"/>
                </a:lnTo>
                <a:lnTo>
                  <a:pt x="3076" y="8485"/>
                </a:lnTo>
                <a:lnTo>
                  <a:pt x="3274" y="8523"/>
                </a:lnTo>
                <a:lnTo>
                  <a:pt x="3472" y="8144"/>
                </a:lnTo>
                <a:lnTo>
                  <a:pt x="3472" y="7576"/>
                </a:lnTo>
                <a:lnTo>
                  <a:pt x="3580" y="7045"/>
                </a:lnTo>
                <a:lnTo>
                  <a:pt x="3778" y="6932"/>
                </a:lnTo>
                <a:lnTo>
                  <a:pt x="3904" y="7121"/>
                </a:lnTo>
                <a:lnTo>
                  <a:pt x="3850" y="7538"/>
                </a:lnTo>
                <a:lnTo>
                  <a:pt x="4066" y="7652"/>
                </a:lnTo>
                <a:lnTo>
                  <a:pt x="4443" y="7235"/>
                </a:lnTo>
                <a:cubicBezTo>
                  <a:pt x="4455" y="7071"/>
                  <a:pt x="4467" y="6906"/>
                  <a:pt x="4479" y="6742"/>
                </a:cubicBezTo>
                <a:lnTo>
                  <a:pt x="4875" y="6439"/>
                </a:lnTo>
                <a:lnTo>
                  <a:pt x="5415" y="6629"/>
                </a:lnTo>
                <a:lnTo>
                  <a:pt x="5702" y="6667"/>
                </a:lnTo>
                <a:lnTo>
                  <a:pt x="5972" y="6212"/>
                </a:lnTo>
                <a:lnTo>
                  <a:pt x="6368" y="5758"/>
                </a:lnTo>
                <a:cubicBezTo>
                  <a:pt x="6386" y="5606"/>
                  <a:pt x="6404" y="5455"/>
                  <a:pt x="6422" y="5303"/>
                </a:cubicBezTo>
                <a:lnTo>
                  <a:pt x="6656" y="4962"/>
                </a:lnTo>
                <a:cubicBezTo>
                  <a:pt x="6650" y="4811"/>
                  <a:pt x="6644" y="4659"/>
                  <a:pt x="6638" y="4508"/>
                </a:cubicBezTo>
                <a:lnTo>
                  <a:pt x="6620" y="4280"/>
                </a:lnTo>
                <a:lnTo>
                  <a:pt x="6925" y="3939"/>
                </a:lnTo>
                <a:lnTo>
                  <a:pt x="7195" y="3902"/>
                </a:lnTo>
                <a:lnTo>
                  <a:pt x="7393" y="3485"/>
                </a:lnTo>
                <a:lnTo>
                  <a:pt x="7663" y="3144"/>
                </a:lnTo>
                <a:lnTo>
                  <a:pt x="8202" y="2765"/>
                </a:lnTo>
                <a:lnTo>
                  <a:pt x="8598" y="2273"/>
                </a:lnTo>
                <a:lnTo>
                  <a:pt x="9012" y="1364"/>
                </a:lnTo>
                <a:lnTo>
                  <a:pt x="9300" y="947"/>
                </a:lnTo>
                <a:cubicBezTo>
                  <a:pt x="9348" y="669"/>
                  <a:pt x="9395" y="392"/>
                  <a:pt x="9443" y="114"/>
                </a:cubicBezTo>
                <a:lnTo>
                  <a:pt x="9731" y="38"/>
                </a:lnTo>
                <a:lnTo>
                  <a:pt x="9929" y="0"/>
                </a:lnTo>
              </a:path>
            </a:pathLst>
          </a:custGeom>
          <a:noFill/>
          <a:ln w="3175" cap="flat" cmpd="sng">
            <a:solidFill>
              <a:srgbClr val="D9EAF7"/>
            </a:solidFill>
            <a:prstDash val="solid"/>
            <a:round/>
            <a:headEnd type="none" w="med" len="med"/>
            <a:tailEnd type="none" w="med" len="med"/>
          </a:ln>
        </p:spPr>
        <p:txBody>
          <a:bodyPr wrap="none" lIns="32632" tIns="32632" rIns="32632" bIns="32632" anchor="ctr"/>
          <a:lstStyle/>
          <a:p>
            <a:pPr defTabSz="891045"/>
            <a:endParaRPr lang="en-US" sz="1700" dirty="0">
              <a:solidFill>
                <a:srgbClr val="003149"/>
              </a:solidFill>
              <a:cs typeface="Arial" panose="020B0604020202020204" pitchFamily="34" charset="0"/>
            </a:endParaRPr>
          </a:p>
        </p:txBody>
      </p:sp>
      <p:sp>
        <p:nvSpPr>
          <p:cNvPr id="292" name="Freeform 690"/>
          <p:cNvSpPr>
            <a:spLocks noChangeAspect="1"/>
          </p:cNvSpPr>
          <p:nvPr>
            <p:custDataLst>
              <p:tags r:id="rId183"/>
            </p:custDataLst>
          </p:nvPr>
        </p:nvSpPr>
        <p:spPr bwMode="gray">
          <a:xfrm>
            <a:off x="2965860" y="3226655"/>
            <a:ext cx="24169" cy="25827"/>
          </a:xfrm>
          <a:custGeom>
            <a:avLst/>
            <a:gdLst>
              <a:gd name="T0" fmla="*/ 0 w 9826"/>
              <a:gd name="T1" fmla="*/ 0 h 9375"/>
              <a:gd name="T2" fmla="*/ 0 w 9826"/>
              <a:gd name="T3" fmla="*/ 0 h 9375"/>
              <a:gd name="T4" fmla="*/ 0 w 9826"/>
              <a:gd name="T5" fmla="*/ 0 h 9375"/>
              <a:gd name="T6" fmla="*/ 0 w 9826"/>
              <a:gd name="T7" fmla="*/ 0 h 9375"/>
              <a:gd name="T8" fmla="*/ 0 w 9826"/>
              <a:gd name="T9" fmla="*/ 0 h 9375"/>
              <a:gd name="T10" fmla="*/ 0 w 9826"/>
              <a:gd name="T11" fmla="*/ 0 h 9375"/>
              <a:gd name="T12" fmla="*/ 0 w 9826"/>
              <a:gd name="T13" fmla="*/ 0 h 9375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9826"/>
              <a:gd name="T22" fmla="*/ 0 h 9375"/>
              <a:gd name="T23" fmla="*/ 9826 w 9826"/>
              <a:gd name="T24" fmla="*/ 9375 h 9375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9826" h="9375">
                <a:moveTo>
                  <a:pt x="9826" y="9375"/>
                </a:moveTo>
                <a:lnTo>
                  <a:pt x="7951" y="8794"/>
                </a:lnTo>
                <a:lnTo>
                  <a:pt x="4971" y="7166"/>
                </a:lnTo>
                <a:lnTo>
                  <a:pt x="2399" y="6003"/>
                </a:lnTo>
                <a:lnTo>
                  <a:pt x="503" y="4142"/>
                </a:lnTo>
                <a:lnTo>
                  <a:pt x="503" y="1352"/>
                </a:lnTo>
                <a:lnTo>
                  <a:pt x="0" y="0"/>
                </a:lnTo>
              </a:path>
            </a:pathLst>
          </a:custGeom>
          <a:noFill/>
          <a:ln w="3175" cap="flat" cmpd="sng">
            <a:solidFill>
              <a:srgbClr val="D9EAF7"/>
            </a:solidFill>
            <a:prstDash val="solid"/>
            <a:round/>
            <a:headEnd type="none" w="med" len="med"/>
            <a:tailEnd type="none" w="med" len="med"/>
          </a:ln>
        </p:spPr>
        <p:txBody>
          <a:bodyPr wrap="none" lIns="32632" tIns="32632" rIns="32632" bIns="32632" anchor="ctr"/>
          <a:lstStyle/>
          <a:p>
            <a:pPr defTabSz="891045"/>
            <a:endParaRPr lang="en-US" sz="1700" dirty="0">
              <a:solidFill>
                <a:srgbClr val="003149"/>
              </a:solidFill>
              <a:cs typeface="Arial" panose="020B0604020202020204" pitchFamily="34" charset="0"/>
            </a:endParaRPr>
          </a:p>
        </p:txBody>
      </p:sp>
      <p:sp>
        <p:nvSpPr>
          <p:cNvPr id="293" name="Freeform 692"/>
          <p:cNvSpPr>
            <a:spLocks noChangeAspect="1"/>
          </p:cNvSpPr>
          <p:nvPr>
            <p:custDataLst>
              <p:tags r:id="rId184"/>
            </p:custDataLst>
          </p:nvPr>
        </p:nvSpPr>
        <p:spPr bwMode="gray">
          <a:xfrm>
            <a:off x="3058266" y="3350040"/>
            <a:ext cx="66819" cy="66002"/>
          </a:xfrm>
          <a:custGeom>
            <a:avLst/>
            <a:gdLst>
              <a:gd name="T0" fmla="*/ 480627038 w 210"/>
              <a:gd name="T1" fmla="*/ 536870606 h 184"/>
              <a:gd name="T2" fmla="*/ 480627038 w 210"/>
              <a:gd name="T3" fmla="*/ 536870606 h 184"/>
              <a:gd name="T4" fmla="*/ 480627038 w 210"/>
              <a:gd name="T5" fmla="*/ 536870606 h 184"/>
              <a:gd name="T6" fmla="*/ 480627038 w 210"/>
              <a:gd name="T7" fmla="*/ 536870606 h 184"/>
              <a:gd name="T8" fmla="*/ 480627038 w 210"/>
              <a:gd name="T9" fmla="*/ 536870606 h 184"/>
              <a:gd name="T10" fmla="*/ 480627038 w 210"/>
              <a:gd name="T11" fmla="*/ 536870606 h 184"/>
              <a:gd name="T12" fmla="*/ 480627038 w 210"/>
              <a:gd name="T13" fmla="*/ 536870606 h 184"/>
              <a:gd name="T14" fmla="*/ 480627038 w 210"/>
              <a:gd name="T15" fmla="*/ 536870606 h 184"/>
              <a:gd name="T16" fmla="*/ 480627038 w 210"/>
              <a:gd name="T17" fmla="*/ 536870606 h 184"/>
              <a:gd name="T18" fmla="*/ 480627038 w 210"/>
              <a:gd name="T19" fmla="*/ 536870606 h 184"/>
              <a:gd name="T20" fmla="*/ 480627038 w 210"/>
              <a:gd name="T21" fmla="*/ 536870606 h 184"/>
              <a:gd name="T22" fmla="*/ 480627038 w 210"/>
              <a:gd name="T23" fmla="*/ 536870606 h 184"/>
              <a:gd name="T24" fmla="*/ 480627038 w 210"/>
              <a:gd name="T25" fmla="*/ 536870606 h 184"/>
              <a:gd name="T26" fmla="*/ 480627038 w 210"/>
              <a:gd name="T27" fmla="*/ 536870606 h 184"/>
              <a:gd name="T28" fmla="*/ 480627038 w 210"/>
              <a:gd name="T29" fmla="*/ 536870606 h 184"/>
              <a:gd name="T30" fmla="*/ 480627038 w 210"/>
              <a:gd name="T31" fmla="*/ 536870606 h 184"/>
              <a:gd name="T32" fmla="*/ 480627038 w 210"/>
              <a:gd name="T33" fmla="*/ 536870606 h 184"/>
              <a:gd name="T34" fmla="*/ 0 w 210"/>
              <a:gd name="T35" fmla="*/ 0 h 184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w 210"/>
              <a:gd name="T55" fmla="*/ 0 h 184"/>
              <a:gd name="T56" fmla="*/ 210 w 210"/>
              <a:gd name="T57" fmla="*/ 184 h 184"/>
            </a:gdLst>
            <a:ahLst/>
            <a:cxnLst>
              <a:cxn ang="T36">
                <a:pos x="T0" y="T1"/>
              </a:cxn>
              <a:cxn ang="T37">
                <a:pos x="T2" y="T3"/>
              </a:cxn>
              <a:cxn ang="T38">
                <a:pos x="T4" y="T5"/>
              </a:cxn>
              <a:cxn ang="T39">
                <a:pos x="T6" y="T7"/>
              </a:cxn>
              <a:cxn ang="T40">
                <a:pos x="T8" y="T9"/>
              </a:cxn>
              <a:cxn ang="T41">
                <a:pos x="T10" y="T11"/>
              </a:cxn>
              <a:cxn ang="T42">
                <a:pos x="T12" y="T13"/>
              </a:cxn>
              <a:cxn ang="T43">
                <a:pos x="T14" y="T15"/>
              </a:cxn>
              <a:cxn ang="T44">
                <a:pos x="T16" y="T17"/>
              </a:cxn>
              <a:cxn ang="T45">
                <a:pos x="T18" y="T19"/>
              </a:cxn>
              <a:cxn ang="T46">
                <a:pos x="T20" y="T21"/>
              </a:cxn>
              <a:cxn ang="T47">
                <a:pos x="T22" y="T23"/>
              </a:cxn>
              <a:cxn ang="T48">
                <a:pos x="T24" y="T25"/>
              </a:cxn>
              <a:cxn ang="T49">
                <a:pos x="T26" y="T27"/>
              </a:cxn>
              <a:cxn ang="T50">
                <a:pos x="T28" y="T29"/>
              </a:cxn>
              <a:cxn ang="T51">
                <a:pos x="T30" y="T31"/>
              </a:cxn>
              <a:cxn ang="T52">
                <a:pos x="T32" y="T33"/>
              </a:cxn>
              <a:cxn ang="T53">
                <a:pos x="T34" y="T35"/>
              </a:cxn>
            </a:cxnLst>
            <a:rect l="T54" t="T55" r="T56" b="T57"/>
            <a:pathLst>
              <a:path w="210" h="184">
                <a:moveTo>
                  <a:pt x="210" y="184"/>
                </a:moveTo>
                <a:lnTo>
                  <a:pt x="197" y="163"/>
                </a:lnTo>
                <a:lnTo>
                  <a:pt x="189" y="157"/>
                </a:lnTo>
                <a:lnTo>
                  <a:pt x="171" y="142"/>
                </a:lnTo>
                <a:lnTo>
                  <a:pt x="162" y="101"/>
                </a:lnTo>
                <a:lnTo>
                  <a:pt x="147" y="72"/>
                </a:lnTo>
                <a:lnTo>
                  <a:pt x="133" y="60"/>
                </a:lnTo>
                <a:lnTo>
                  <a:pt x="108" y="61"/>
                </a:lnTo>
                <a:lnTo>
                  <a:pt x="96" y="66"/>
                </a:lnTo>
                <a:lnTo>
                  <a:pt x="86" y="70"/>
                </a:lnTo>
                <a:lnTo>
                  <a:pt x="72" y="66"/>
                </a:lnTo>
                <a:lnTo>
                  <a:pt x="61" y="54"/>
                </a:lnTo>
                <a:lnTo>
                  <a:pt x="56" y="40"/>
                </a:lnTo>
                <a:lnTo>
                  <a:pt x="45" y="26"/>
                </a:lnTo>
                <a:lnTo>
                  <a:pt x="35" y="10"/>
                </a:lnTo>
                <a:lnTo>
                  <a:pt x="23" y="9"/>
                </a:lnTo>
                <a:lnTo>
                  <a:pt x="9" y="3"/>
                </a:lnTo>
                <a:lnTo>
                  <a:pt x="0" y="0"/>
                </a:lnTo>
              </a:path>
            </a:pathLst>
          </a:custGeom>
          <a:noFill/>
          <a:ln w="3175" cap="flat" cmpd="sng">
            <a:solidFill>
              <a:srgbClr val="D9EAF7"/>
            </a:solidFill>
            <a:prstDash val="solid"/>
            <a:round/>
            <a:headEnd type="none" w="med" len="med"/>
            <a:tailEnd type="none" w="med" len="med"/>
          </a:ln>
        </p:spPr>
        <p:txBody>
          <a:bodyPr wrap="none" lIns="32632" tIns="32632" rIns="32632" bIns="32632" anchor="ctr"/>
          <a:lstStyle/>
          <a:p>
            <a:pPr defTabSz="891045"/>
            <a:endParaRPr lang="en-US" sz="1700" dirty="0">
              <a:solidFill>
                <a:srgbClr val="003149"/>
              </a:solidFill>
              <a:cs typeface="Arial" panose="020B0604020202020204" pitchFamily="34" charset="0"/>
            </a:endParaRPr>
          </a:p>
        </p:txBody>
      </p:sp>
      <p:sp>
        <p:nvSpPr>
          <p:cNvPr id="294" name="Freeform 700"/>
          <p:cNvSpPr>
            <a:spLocks noChangeAspect="1"/>
          </p:cNvSpPr>
          <p:nvPr>
            <p:custDataLst>
              <p:tags r:id="rId185"/>
            </p:custDataLst>
          </p:nvPr>
        </p:nvSpPr>
        <p:spPr bwMode="gray">
          <a:xfrm>
            <a:off x="2990002" y="3226639"/>
            <a:ext cx="81035" cy="37306"/>
          </a:xfrm>
          <a:custGeom>
            <a:avLst/>
            <a:gdLst>
              <a:gd name="T0" fmla="*/ 0 w 10000"/>
              <a:gd name="T1" fmla="*/ 0 h 10000"/>
              <a:gd name="T2" fmla="*/ 0 w 10000"/>
              <a:gd name="T3" fmla="*/ 0 h 10000"/>
              <a:gd name="T4" fmla="*/ 0 w 10000"/>
              <a:gd name="T5" fmla="*/ 0 h 10000"/>
              <a:gd name="T6" fmla="*/ 0 w 10000"/>
              <a:gd name="T7" fmla="*/ 0 h 10000"/>
              <a:gd name="T8" fmla="*/ 0 w 10000"/>
              <a:gd name="T9" fmla="*/ 0 h 10000"/>
              <a:gd name="T10" fmla="*/ 0 w 10000"/>
              <a:gd name="T11" fmla="*/ 0 h 10000"/>
              <a:gd name="T12" fmla="*/ 0 w 10000"/>
              <a:gd name="T13" fmla="*/ 0 h 10000"/>
              <a:gd name="T14" fmla="*/ 0 w 10000"/>
              <a:gd name="T15" fmla="*/ 0 h 10000"/>
              <a:gd name="T16" fmla="*/ 0 w 10000"/>
              <a:gd name="T17" fmla="*/ 0 h 10000"/>
              <a:gd name="T18" fmla="*/ 0 w 10000"/>
              <a:gd name="T19" fmla="*/ 0 h 10000"/>
              <a:gd name="T20" fmla="*/ 0 w 10000"/>
              <a:gd name="T21" fmla="*/ 0 h 10000"/>
              <a:gd name="T22" fmla="*/ 0 w 10000"/>
              <a:gd name="T23" fmla="*/ 0 h 10000"/>
              <a:gd name="T24" fmla="*/ 0 w 10000"/>
              <a:gd name="T25" fmla="*/ 0 h 10000"/>
              <a:gd name="T26" fmla="*/ 0 w 10000"/>
              <a:gd name="T27" fmla="*/ 0 h 10000"/>
              <a:gd name="T28" fmla="*/ 0 w 10000"/>
              <a:gd name="T29" fmla="*/ 0 h 10000"/>
              <a:gd name="T30" fmla="*/ 0 w 10000"/>
              <a:gd name="T31" fmla="*/ 0 h 10000"/>
              <a:gd name="T32" fmla="*/ 0 w 10000"/>
              <a:gd name="T33" fmla="*/ 0 h 10000"/>
              <a:gd name="T34" fmla="*/ 0 w 10000"/>
              <a:gd name="T35" fmla="*/ 0 h 10000"/>
              <a:gd name="T36" fmla="*/ 0 w 10000"/>
              <a:gd name="T37" fmla="*/ 0 h 10000"/>
              <a:gd name="T38" fmla="*/ 0 w 10000"/>
              <a:gd name="T39" fmla="*/ 0 h 10000"/>
              <a:gd name="T40" fmla="*/ 0 w 10000"/>
              <a:gd name="T41" fmla="*/ 0 h 10000"/>
              <a:gd name="T42" fmla="*/ 0 w 10000"/>
              <a:gd name="T43" fmla="*/ 0 h 10000"/>
              <a:gd name="T44" fmla="*/ 0 w 10000"/>
              <a:gd name="T45" fmla="*/ 0 h 10000"/>
              <a:gd name="T46" fmla="*/ 0 w 10000"/>
              <a:gd name="T47" fmla="*/ 0 h 10000"/>
              <a:gd name="T48" fmla="*/ 0 w 10000"/>
              <a:gd name="T49" fmla="*/ 0 h 10000"/>
              <a:gd name="T50" fmla="*/ 0 w 10000"/>
              <a:gd name="T51" fmla="*/ 0 h 10000"/>
              <a:gd name="T52" fmla="*/ 0 w 10000"/>
              <a:gd name="T53" fmla="*/ 0 h 10000"/>
              <a:gd name="T54" fmla="*/ 0 w 10000"/>
              <a:gd name="T55" fmla="*/ 0 h 10000"/>
              <a:gd name="T56" fmla="*/ 0 w 10000"/>
              <a:gd name="T57" fmla="*/ 0 h 10000"/>
              <a:gd name="T58" fmla="*/ 0 w 10000"/>
              <a:gd name="T59" fmla="*/ 0 h 10000"/>
              <a:gd name="T60" fmla="*/ 0 w 10000"/>
              <a:gd name="T61" fmla="*/ 0 h 10000"/>
              <a:gd name="T62" fmla="*/ 0 w 10000"/>
              <a:gd name="T63" fmla="*/ 0 h 10000"/>
              <a:gd name="T64" fmla="*/ 0 w 10000"/>
              <a:gd name="T65" fmla="*/ 0 h 10000"/>
              <a:gd name="T66" fmla="*/ 0 w 10000"/>
              <a:gd name="T67" fmla="*/ 0 h 10000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w 10000"/>
              <a:gd name="T103" fmla="*/ 0 h 10000"/>
              <a:gd name="T104" fmla="*/ 10000 w 10000"/>
              <a:gd name="T105" fmla="*/ 10000 h 10000"/>
            </a:gdLst>
            <a:ahLst/>
            <a:cxnLst>
              <a:cxn ang="T68">
                <a:pos x="T0" y="T1"/>
              </a:cxn>
              <a:cxn ang="T69">
                <a:pos x="T2" y="T3"/>
              </a:cxn>
              <a:cxn ang="T70">
                <a:pos x="T4" y="T5"/>
              </a:cxn>
              <a:cxn ang="T71">
                <a:pos x="T6" y="T7"/>
              </a:cxn>
              <a:cxn ang="T72">
                <a:pos x="T8" y="T9"/>
              </a:cxn>
              <a:cxn ang="T73">
                <a:pos x="T10" y="T11"/>
              </a:cxn>
              <a:cxn ang="T74">
                <a:pos x="T12" y="T13"/>
              </a:cxn>
              <a:cxn ang="T75">
                <a:pos x="T14" y="T15"/>
              </a:cxn>
              <a:cxn ang="T76">
                <a:pos x="T16" y="T17"/>
              </a:cxn>
              <a:cxn ang="T77">
                <a:pos x="T18" y="T19"/>
              </a:cxn>
              <a:cxn ang="T78">
                <a:pos x="T20" y="T21"/>
              </a:cxn>
              <a:cxn ang="T79">
                <a:pos x="T22" y="T23"/>
              </a:cxn>
              <a:cxn ang="T80">
                <a:pos x="T24" y="T25"/>
              </a:cxn>
              <a:cxn ang="T81">
                <a:pos x="T26" y="T27"/>
              </a:cxn>
              <a:cxn ang="T82">
                <a:pos x="T28" y="T29"/>
              </a:cxn>
              <a:cxn ang="T83">
                <a:pos x="T30" y="T31"/>
              </a:cxn>
              <a:cxn ang="T84">
                <a:pos x="T32" y="T33"/>
              </a:cxn>
              <a:cxn ang="T85">
                <a:pos x="T34" y="T35"/>
              </a:cxn>
              <a:cxn ang="T86">
                <a:pos x="T36" y="T37"/>
              </a:cxn>
              <a:cxn ang="T87">
                <a:pos x="T38" y="T39"/>
              </a:cxn>
              <a:cxn ang="T88">
                <a:pos x="T40" y="T41"/>
              </a:cxn>
              <a:cxn ang="T89">
                <a:pos x="T42" y="T43"/>
              </a:cxn>
              <a:cxn ang="T90">
                <a:pos x="T44" y="T45"/>
              </a:cxn>
              <a:cxn ang="T91">
                <a:pos x="T46" y="T47"/>
              </a:cxn>
              <a:cxn ang="T92">
                <a:pos x="T48" y="T49"/>
              </a:cxn>
              <a:cxn ang="T93">
                <a:pos x="T50" y="T51"/>
              </a:cxn>
              <a:cxn ang="T94">
                <a:pos x="T52" y="T53"/>
              </a:cxn>
              <a:cxn ang="T95">
                <a:pos x="T54" y="T55"/>
              </a:cxn>
              <a:cxn ang="T96">
                <a:pos x="T56" y="T57"/>
              </a:cxn>
              <a:cxn ang="T97">
                <a:pos x="T58" y="T59"/>
              </a:cxn>
              <a:cxn ang="T98">
                <a:pos x="T60" y="T61"/>
              </a:cxn>
              <a:cxn ang="T99">
                <a:pos x="T62" y="T63"/>
              </a:cxn>
              <a:cxn ang="T100">
                <a:pos x="T64" y="T65"/>
              </a:cxn>
              <a:cxn ang="T101">
                <a:pos x="T66" y="T67"/>
              </a:cxn>
            </a:cxnLst>
            <a:rect l="T102" t="T103" r="T104" b="T105"/>
            <a:pathLst>
              <a:path w="10000" h="10000">
                <a:moveTo>
                  <a:pt x="9774" y="408"/>
                </a:moveTo>
                <a:cubicBezTo>
                  <a:pt x="9849" y="986"/>
                  <a:pt x="9925" y="1565"/>
                  <a:pt x="10000" y="2143"/>
                </a:cubicBezTo>
                <a:lnTo>
                  <a:pt x="9511" y="1735"/>
                </a:lnTo>
                <a:lnTo>
                  <a:pt x="9135" y="714"/>
                </a:lnTo>
                <a:lnTo>
                  <a:pt x="8872" y="204"/>
                </a:lnTo>
                <a:lnTo>
                  <a:pt x="8271" y="714"/>
                </a:lnTo>
                <a:lnTo>
                  <a:pt x="7857" y="0"/>
                </a:lnTo>
                <a:lnTo>
                  <a:pt x="7218" y="816"/>
                </a:lnTo>
                <a:cubicBezTo>
                  <a:pt x="7256" y="1360"/>
                  <a:pt x="7293" y="1905"/>
                  <a:pt x="7331" y="2449"/>
                </a:cubicBezTo>
                <a:lnTo>
                  <a:pt x="6767" y="2755"/>
                </a:lnTo>
                <a:lnTo>
                  <a:pt x="6053" y="2755"/>
                </a:lnTo>
                <a:lnTo>
                  <a:pt x="4925" y="2347"/>
                </a:lnTo>
                <a:lnTo>
                  <a:pt x="4624" y="1735"/>
                </a:lnTo>
                <a:cubicBezTo>
                  <a:pt x="4611" y="2177"/>
                  <a:pt x="4599" y="2619"/>
                  <a:pt x="4586" y="3061"/>
                </a:cubicBezTo>
                <a:lnTo>
                  <a:pt x="4173" y="3878"/>
                </a:lnTo>
                <a:lnTo>
                  <a:pt x="4511" y="4388"/>
                </a:lnTo>
                <a:lnTo>
                  <a:pt x="5226" y="4082"/>
                </a:lnTo>
                <a:lnTo>
                  <a:pt x="5301" y="5612"/>
                </a:lnTo>
                <a:lnTo>
                  <a:pt x="4887" y="7449"/>
                </a:lnTo>
                <a:cubicBezTo>
                  <a:pt x="4849" y="7789"/>
                  <a:pt x="4812" y="8129"/>
                  <a:pt x="4774" y="8469"/>
                </a:cubicBezTo>
                <a:lnTo>
                  <a:pt x="4361" y="9388"/>
                </a:lnTo>
                <a:cubicBezTo>
                  <a:pt x="4323" y="9082"/>
                  <a:pt x="4286" y="8775"/>
                  <a:pt x="4248" y="8469"/>
                </a:cubicBezTo>
                <a:lnTo>
                  <a:pt x="3985" y="8163"/>
                </a:lnTo>
                <a:lnTo>
                  <a:pt x="3684" y="8776"/>
                </a:lnTo>
                <a:lnTo>
                  <a:pt x="3534" y="9898"/>
                </a:lnTo>
                <a:lnTo>
                  <a:pt x="3008" y="9796"/>
                </a:lnTo>
                <a:lnTo>
                  <a:pt x="2669" y="9694"/>
                </a:lnTo>
                <a:lnTo>
                  <a:pt x="2444" y="10000"/>
                </a:lnTo>
                <a:lnTo>
                  <a:pt x="2068" y="9694"/>
                </a:lnTo>
                <a:cubicBezTo>
                  <a:pt x="2043" y="9184"/>
                  <a:pt x="2017" y="8673"/>
                  <a:pt x="1992" y="8163"/>
                </a:cubicBezTo>
                <a:lnTo>
                  <a:pt x="1278" y="7857"/>
                </a:lnTo>
                <a:lnTo>
                  <a:pt x="1203" y="6429"/>
                </a:lnTo>
                <a:lnTo>
                  <a:pt x="376" y="6939"/>
                </a:lnTo>
                <a:cubicBezTo>
                  <a:pt x="251" y="7347"/>
                  <a:pt x="125" y="7219"/>
                  <a:pt x="0" y="7627"/>
                </a:cubicBezTo>
              </a:path>
            </a:pathLst>
          </a:custGeom>
          <a:noFill/>
          <a:ln w="3175" cap="flat" cmpd="sng">
            <a:solidFill>
              <a:srgbClr val="D9EAF7"/>
            </a:solidFill>
            <a:prstDash val="solid"/>
            <a:round/>
            <a:headEnd type="none" w="med" len="med"/>
            <a:tailEnd type="none" w="med" len="med"/>
          </a:ln>
        </p:spPr>
        <p:txBody>
          <a:bodyPr wrap="none" lIns="32632" tIns="32632" rIns="32632" bIns="32632" anchor="ctr"/>
          <a:lstStyle/>
          <a:p>
            <a:pPr defTabSz="891045"/>
            <a:endParaRPr lang="en-US" sz="1700" dirty="0">
              <a:solidFill>
                <a:srgbClr val="003149"/>
              </a:solidFill>
              <a:cs typeface="Arial" panose="020B0604020202020204" pitchFamily="34" charset="0"/>
            </a:endParaRPr>
          </a:p>
        </p:txBody>
      </p:sp>
      <p:sp>
        <p:nvSpPr>
          <p:cNvPr id="295" name="Freeform 766"/>
          <p:cNvSpPr>
            <a:spLocks noChangeAspect="1"/>
          </p:cNvSpPr>
          <p:nvPr>
            <p:custDataLst>
              <p:tags r:id="rId186"/>
            </p:custDataLst>
          </p:nvPr>
        </p:nvSpPr>
        <p:spPr bwMode="gray">
          <a:xfrm>
            <a:off x="2331793" y="3328513"/>
            <a:ext cx="48337" cy="137744"/>
          </a:xfrm>
          <a:custGeom>
            <a:avLst/>
            <a:gdLst>
              <a:gd name="T0" fmla="*/ 0 w 10000"/>
              <a:gd name="T1" fmla="*/ 0 h 10245"/>
              <a:gd name="T2" fmla="*/ 0 w 10000"/>
              <a:gd name="T3" fmla="*/ 0 h 10245"/>
              <a:gd name="T4" fmla="*/ 0 w 10000"/>
              <a:gd name="T5" fmla="*/ 0 h 10245"/>
              <a:gd name="T6" fmla="*/ 0 w 10000"/>
              <a:gd name="T7" fmla="*/ 0 h 10245"/>
              <a:gd name="T8" fmla="*/ 0 w 10000"/>
              <a:gd name="T9" fmla="*/ 0 h 10245"/>
              <a:gd name="T10" fmla="*/ 0 w 10000"/>
              <a:gd name="T11" fmla="*/ 0 h 10245"/>
              <a:gd name="T12" fmla="*/ 0 w 10000"/>
              <a:gd name="T13" fmla="*/ 0 h 10245"/>
              <a:gd name="T14" fmla="*/ 0 w 10000"/>
              <a:gd name="T15" fmla="*/ 0 h 10245"/>
              <a:gd name="T16" fmla="*/ 0 w 10000"/>
              <a:gd name="T17" fmla="*/ 0 h 10245"/>
              <a:gd name="T18" fmla="*/ 0 w 10000"/>
              <a:gd name="T19" fmla="*/ 0 h 10245"/>
              <a:gd name="T20" fmla="*/ 0 w 10000"/>
              <a:gd name="T21" fmla="*/ 0 h 10245"/>
              <a:gd name="T22" fmla="*/ 0 w 10000"/>
              <a:gd name="T23" fmla="*/ 0 h 10245"/>
              <a:gd name="T24" fmla="*/ 0 w 10000"/>
              <a:gd name="T25" fmla="*/ 0 h 10245"/>
              <a:gd name="T26" fmla="*/ 0 w 10000"/>
              <a:gd name="T27" fmla="*/ 0 h 10245"/>
              <a:gd name="T28" fmla="*/ 0 w 10000"/>
              <a:gd name="T29" fmla="*/ 0 h 10245"/>
              <a:gd name="T30" fmla="*/ 0 w 10000"/>
              <a:gd name="T31" fmla="*/ 0 h 10245"/>
              <a:gd name="T32" fmla="*/ 0 w 10000"/>
              <a:gd name="T33" fmla="*/ 0 h 10245"/>
              <a:gd name="T34" fmla="*/ 0 w 10000"/>
              <a:gd name="T35" fmla="*/ 0 h 10245"/>
              <a:gd name="T36" fmla="*/ 0 w 10000"/>
              <a:gd name="T37" fmla="*/ 0 h 10245"/>
              <a:gd name="T38" fmla="*/ 0 w 10000"/>
              <a:gd name="T39" fmla="*/ 0 h 10245"/>
              <a:gd name="T40" fmla="*/ 0 w 10000"/>
              <a:gd name="T41" fmla="*/ 0 h 10245"/>
              <a:gd name="T42" fmla="*/ 0 w 10000"/>
              <a:gd name="T43" fmla="*/ 0 h 10245"/>
              <a:gd name="T44" fmla="*/ 0 w 10000"/>
              <a:gd name="T45" fmla="*/ 0 h 10245"/>
              <a:gd name="T46" fmla="*/ 0 w 10000"/>
              <a:gd name="T47" fmla="*/ 0 h 10245"/>
              <a:gd name="T48" fmla="*/ 0 w 10000"/>
              <a:gd name="T49" fmla="*/ 0 h 10245"/>
              <a:gd name="T50" fmla="*/ 0 w 10000"/>
              <a:gd name="T51" fmla="*/ 0 h 10245"/>
              <a:gd name="T52" fmla="*/ 0 w 10000"/>
              <a:gd name="T53" fmla="*/ 0 h 10245"/>
              <a:gd name="T54" fmla="*/ 0 w 10000"/>
              <a:gd name="T55" fmla="*/ 0 h 10245"/>
              <a:gd name="T56" fmla="*/ 0 w 10000"/>
              <a:gd name="T57" fmla="*/ 0 h 10245"/>
              <a:gd name="T58" fmla="*/ 0 w 10000"/>
              <a:gd name="T59" fmla="*/ 0 h 10245"/>
              <a:gd name="T60" fmla="*/ 0 w 10000"/>
              <a:gd name="T61" fmla="*/ 0 h 10245"/>
              <a:gd name="T62" fmla="*/ 0 w 10000"/>
              <a:gd name="T63" fmla="*/ 0 h 10245"/>
              <a:gd name="T64" fmla="*/ 0 w 10000"/>
              <a:gd name="T65" fmla="*/ 0 h 10245"/>
              <a:gd name="T66" fmla="*/ 0 w 10000"/>
              <a:gd name="T67" fmla="*/ 0 h 10245"/>
              <a:gd name="T68" fmla="*/ 0 w 10000"/>
              <a:gd name="T69" fmla="*/ 0 h 10245"/>
              <a:gd name="T70" fmla="*/ 0 w 10000"/>
              <a:gd name="T71" fmla="*/ 0 h 10245"/>
              <a:gd name="T72" fmla="*/ 0 w 10000"/>
              <a:gd name="T73" fmla="*/ 0 h 10245"/>
              <a:gd name="T74" fmla="*/ 0 w 10000"/>
              <a:gd name="T75" fmla="*/ 0 h 10245"/>
              <a:gd name="T76" fmla="*/ 0 w 10000"/>
              <a:gd name="T77" fmla="*/ 0 h 10245"/>
              <a:gd name="T78" fmla="*/ 0 w 10000"/>
              <a:gd name="T79" fmla="*/ 0 h 10245"/>
              <a:gd name="T80" fmla="*/ 0 w 10000"/>
              <a:gd name="T81" fmla="*/ 0 h 10245"/>
              <a:gd name="T82" fmla="*/ 0 w 10000"/>
              <a:gd name="T83" fmla="*/ 0 h 10245"/>
              <a:gd name="T84" fmla="*/ 0 w 10000"/>
              <a:gd name="T85" fmla="*/ 0 h 10245"/>
              <a:gd name="T86" fmla="*/ 0 w 10000"/>
              <a:gd name="T87" fmla="*/ 0 h 10245"/>
              <a:gd name="T88" fmla="*/ 0 w 10000"/>
              <a:gd name="T89" fmla="*/ 0 h 10245"/>
              <a:gd name="T90" fmla="*/ 0 w 10000"/>
              <a:gd name="T91" fmla="*/ 0 h 10245"/>
              <a:gd name="T92" fmla="*/ 0 w 10000"/>
              <a:gd name="T93" fmla="*/ 0 h 10245"/>
              <a:gd name="T94" fmla="*/ 0 w 10000"/>
              <a:gd name="T95" fmla="*/ 0 h 10245"/>
              <a:gd name="T96" fmla="*/ 0 w 10000"/>
              <a:gd name="T97" fmla="*/ 0 h 10245"/>
              <a:gd name="T98" fmla="*/ 0 w 10000"/>
              <a:gd name="T99" fmla="*/ 0 h 10245"/>
              <a:gd name="T100" fmla="*/ 0 w 10000"/>
              <a:gd name="T101" fmla="*/ 0 h 10245"/>
              <a:gd name="T102" fmla="*/ 0 w 10000"/>
              <a:gd name="T103" fmla="*/ 0 h 10245"/>
              <a:gd name="T104" fmla="*/ 0 w 10000"/>
              <a:gd name="T105" fmla="*/ 0 h 10245"/>
              <a:gd name="T106" fmla="*/ 0 w 10000"/>
              <a:gd name="T107" fmla="*/ 0 h 10245"/>
              <a:gd name="T108" fmla="*/ 0 w 10000"/>
              <a:gd name="T109" fmla="*/ 0 h 10245"/>
              <a:gd name="T110" fmla="*/ 0 w 10000"/>
              <a:gd name="T111" fmla="*/ 0 h 10245"/>
              <a:gd name="T112" fmla="*/ 0 w 10000"/>
              <a:gd name="T113" fmla="*/ 0 h 10245"/>
              <a:gd name="T114" fmla="*/ 0 w 10000"/>
              <a:gd name="T115" fmla="*/ 0 h 10245"/>
              <a:gd name="T116" fmla="*/ 0 w 10000"/>
              <a:gd name="T117" fmla="*/ 0 h 10245"/>
              <a:gd name="T118" fmla="*/ 0 w 10000"/>
              <a:gd name="T119" fmla="*/ 0 h 10245"/>
              <a:gd name="T120" fmla="*/ 0 w 10000"/>
              <a:gd name="T121" fmla="*/ 0 h 10245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w 10000"/>
              <a:gd name="T184" fmla="*/ 0 h 10245"/>
              <a:gd name="T185" fmla="*/ 10000 w 10000"/>
              <a:gd name="T186" fmla="*/ 10245 h 10245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T183" t="T184" r="T185" b="T186"/>
            <a:pathLst>
              <a:path w="10000" h="10245">
                <a:moveTo>
                  <a:pt x="7568" y="10245"/>
                </a:moveTo>
                <a:lnTo>
                  <a:pt x="7950" y="9998"/>
                </a:lnTo>
                <a:lnTo>
                  <a:pt x="8378" y="9797"/>
                </a:lnTo>
                <a:lnTo>
                  <a:pt x="8964" y="9614"/>
                </a:lnTo>
                <a:lnTo>
                  <a:pt x="9234" y="9531"/>
                </a:lnTo>
                <a:cubicBezTo>
                  <a:pt x="9212" y="9421"/>
                  <a:pt x="9189" y="9312"/>
                  <a:pt x="9167" y="9202"/>
                </a:cubicBezTo>
                <a:lnTo>
                  <a:pt x="9459" y="9056"/>
                </a:lnTo>
                <a:lnTo>
                  <a:pt x="10000" y="8863"/>
                </a:lnTo>
                <a:lnTo>
                  <a:pt x="9730" y="8708"/>
                </a:lnTo>
                <a:lnTo>
                  <a:pt x="9324" y="8598"/>
                </a:lnTo>
                <a:lnTo>
                  <a:pt x="8716" y="8424"/>
                </a:lnTo>
                <a:lnTo>
                  <a:pt x="8423" y="8177"/>
                </a:lnTo>
                <a:lnTo>
                  <a:pt x="8243" y="7857"/>
                </a:lnTo>
                <a:cubicBezTo>
                  <a:pt x="8236" y="7781"/>
                  <a:pt x="8228" y="7704"/>
                  <a:pt x="8221" y="7628"/>
                </a:cubicBezTo>
                <a:lnTo>
                  <a:pt x="7838" y="7363"/>
                </a:lnTo>
                <a:lnTo>
                  <a:pt x="7162" y="7189"/>
                </a:lnTo>
                <a:lnTo>
                  <a:pt x="6599" y="6997"/>
                </a:lnTo>
                <a:lnTo>
                  <a:pt x="6216" y="6777"/>
                </a:lnTo>
                <a:cubicBezTo>
                  <a:pt x="6186" y="6689"/>
                  <a:pt x="6156" y="6600"/>
                  <a:pt x="6126" y="6512"/>
                </a:cubicBezTo>
                <a:lnTo>
                  <a:pt x="6261" y="6283"/>
                </a:lnTo>
                <a:lnTo>
                  <a:pt x="6554" y="6229"/>
                </a:lnTo>
                <a:lnTo>
                  <a:pt x="6802" y="6183"/>
                </a:lnTo>
                <a:lnTo>
                  <a:pt x="7207" y="6183"/>
                </a:lnTo>
                <a:lnTo>
                  <a:pt x="7432" y="5707"/>
                </a:lnTo>
                <a:cubicBezTo>
                  <a:pt x="7470" y="5619"/>
                  <a:pt x="7507" y="5530"/>
                  <a:pt x="7545" y="5442"/>
                </a:cubicBezTo>
                <a:lnTo>
                  <a:pt x="7545" y="5158"/>
                </a:lnTo>
                <a:lnTo>
                  <a:pt x="7545" y="4939"/>
                </a:lnTo>
                <a:lnTo>
                  <a:pt x="8581" y="4756"/>
                </a:lnTo>
                <a:lnTo>
                  <a:pt x="9369" y="4454"/>
                </a:lnTo>
                <a:lnTo>
                  <a:pt x="9234" y="4014"/>
                </a:lnTo>
                <a:lnTo>
                  <a:pt x="8896" y="3813"/>
                </a:lnTo>
                <a:cubicBezTo>
                  <a:pt x="8874" y="3731"/>
                  <a:pt x="8851" y="3648"/>
                  <a:pt x="8829" y="3566"/>
                </a:cubicBezTo>
                <a:lnTo>
                  <a:pt x="8356" y="3401"/>
                </a:lnTo>
                <a:lnTo>
                  <a:pt x="7342" y="3045"/>
                </a:lnTo>
                <a:lnTo>
                  <a:pt x="6869" y="2807"/>
                </a:lnTo>
                <a:lnTo>
                  <a:pt x="6486" y="2587"/>
                </a:lnTo>
                <a:lnTo>
                  <a:pt x="5878" y="2450"/>
                </a:lnTo>
                <a:lnTo>
                  <a:pt x="5405" y="2304"/>
                </a:lnTo>
                <a:lnTo>
                  <a:pt x="4797" y="2285"/>
                </a:lnTo>
                <a:lnTo>
                  <a:pt x="4459" y="2368"/>
                </a:lnTo>
                <a:lnTo>
                  <a:pt x="3851" y="2340"/>
                </a:lnTo>
                <a:lnTo>
                  <a:pt x="3176" y="2304"/>
                </a:lnTo>
                <a:lnTo>
                  <a:pt x="2770" y="2386"/>
                </a:lnTo>
                <a:lnTo>
                  <a:pt x="2072" y="2395"/>
                </a:lnTo>
                <a:lnTo>
                  <a:pt x="1824" y="2395"/>
                </a:lnTo>
                <a:lnTo>
                  <a:pt x="1667" y="2175"/>
                </a:lnTo>
                <a:lnTo>
                  <a:pt x="1486" y="1956"/>
                </a:lnTo>
                <a:lnTo>
                  <a:pt x="1081" y="1901"/>
                </a:lnTo>
                <a:lnTo>
                  <a:pt x="270" y="1755"/>
                </a:lnTo>
                <a:lnTo>
                  <a:pt x="0" y="1654"/>
                </a:lnTo>
                <a:lnTo>
                  <a:pt x="315" y="1434"/>
                </a:lnTo>
                <a:lnTo>
                  <a:pt x="1149" y="1297"/>
                </a:lnTo>
                <a:lnTo>
                  <a:pt x="2140" y="1233"/>
                </a:lnTo>
                <a:lnTo>
                  <a:pt x="3018" y="1068"/>
                </a:lnTo>
                <a:lnTo>
                  <a:pt x="3356" y="968"/>
                </a:lnTo>
                <a:lnTo>
                  <a:pt x="3221" y="849"/>
                </a:lnTo>
                <a:lnTo>
                  <a:pt x="2748" y="821"/>
                </a:lnTo>
                <a:lnTo>
                  <a:pt x="2297" y="748"/>
                </a:lnTo>
                <a:lnTo>
                  <a:pt x="2095" y="602"/>
                </a:lnTo>
                <a:cubicBezTo>
                  <a:pt x="2132" y="538"/>
                  <a:pt x="2170" y="474"/>
                  <a:pt x="2207" y="410"/>
                </a:cubicBezTo>
                <a:cubicBezTo>
                  <a:pt x="2275" y="355"/>
                  <a:pt x="2853" y="55"/>
                  <a:pt x="2921" y="0"/>
                </a:cubicBezTo>
              </a:path>
            </a:pathLst>
          </a:custGeom>
          <a:noFill/>
          <a:ln w="3175" cap="flat" cmpd="sng">
            <a:solidFill>
              <a:srgbClr val="D9EAF7"/>
            </a:solidFill>
            <a:prstDash val="solid"/>
            <a:round/>
            <a:headEnd type="none" w="med" len="med"/>
            <a:tailEnd type="none" w="med" len="med"/>
          </a:ln>
        </p:spPr>
        <p:txBody>
          <a:bodyPr wrap="none" lIns="32632" tIns="32632" rIns="32632" bIns="32632" anchor="ctr"/>
          <a:lstStyle/>
          <a:p>
            <a:pPr defTabSz="891045"/>
            <a:endParaRPr lang="en-US" sz="1700" dirty="0">
              <a:solidFill>
                <a:srgbClr val="003149"/>
              </a:solidFill>
              <a:cs typeface="Arial" panose="020B0604020202020204" pitchFamily="34" charset="0"/>
            </a:endParaRPr>
          </a:p>
        </p:txBody>
      </p:sp>
      <p:sp>
        <p:nvSpPr>
          <p:cNvPr id="296" name="Freeform 771"/>
          <p:cNvSpPr>
            <a:spLocks noChangeAspect="1"/>
          </p:cNvSpPr>
          <p:nvPr>
            <p:custDataLst>
              <p:tags r:id="rId187"/>
            </p:custDataLst>
          </p:nvPr>
        </p:nvSpPr>
        <p:spPr bwMode="gray">
          <a:xfrm>
            <a:off x="2218035" y="3395965"/>
            <a:ext cx="71084" cy="110482"/>
          </a:xfrm>
          <a:custGeom>
            <a:avLst/>
            <a:gdLst>
              <a:gd name="T0" fmla="*/ 0 w 666"/>
              <a:gd name="T1" fmla="*/ 0 h 916"/>
              <a:gd name="T2" fmla="*/ 0 w 666"/>
              <a:gd name="T3" fmla="*/ 0 h 916"/>
              <a:gd name="T4" fmla="*/ 0 w 666"/>
              <a:gd name="T5" fmla="*/ 0 h 916"/>
              <a:gd name="T6" fmla="*/ 0 w 666"/>
              <a:gd name="T7" fmla="*/ 0 h 916"/>
              <a:gd name="T8" fmla="*/ 0 w 666"/>
              <a:gd name="T9" fmla="*/ 0 h 916"/>
              <a:gd name="T10" fmla="*/ 0 w 666"/>
              <a:gd name="T11" fmla="*/ 0 h 916"/>
              <a:gd name="T12" fmla="*/ 0 w 666"/>
              <a:gd name="T13" fmla="*/ 0 h 916"/>
              <a:gd name="T14" fmla="*/ 0 w 666"/>
              <a:gd name="T15" fmla="*/ 0 h 916"/>
              <a:gd name="T16" fmla="*/ 0 w 666"/>
              <a:gd name="T17" fmla="*/ 0 h 916"/>
              <a:gd name="T18" fmla="*/ 0 w 666"/>
              <a:gd name="T19" fmla="*/ 0 h 916"/>
              <a:gd name="T20" fmla="*/ 0 w 666"/>
              <a:gd name="T21" fmla="*/ 0 h 916"/>
              <a:gd name="T22" fmla="*/ 0 w 666"/>
              <a:gd name="T23" fmla="*/ 0 h 916"/>
              <a:gd name="T24" fmla="*/ 0 w 666"/>
              <a:gd name="T25" fmla="*/ 0 h 916"/>
              <a:gd name="T26" fmla="*/ 0 w 666"/>
              <a:gd name="T27" fmla="*/ 0 h 916"/>
              <a:gd name="T28" fmla="*/ 0 w 666"/>
              <a:gd name="T29" fmla="*/ 0 h 916"/>
              <a:gd name="T30" fmla="*/ 0 w 666"/>
              <a:gd name="T31" fmla="*/ 0 h 916"/>
              <a:gd name="T32" fmla="*/ 0 w 666"/>
              <a:gd name="T33" fmla="*/ 0 h 916"/>
              <a:gd name="T34" fmla="*/ 0 w 666"/>
              <a:gd name="T35" fmla="*/ 0 h 916"/>
              <a:gd name="T36" fmla="*/ 0 w 666"/>
              <a:gd name="T37" fmla="*/ 0 h 916"/>
              <a:gd name="T38" fmla="*/ 0 w 666"/>
              <a:gd name="T39" fmla="*/ 0 h 916"/>
              <a:gd name="T40" fmla="*/ 0 w 666"/>
              <a:gd name="T41" fmla="*/ 0 h 916"/>
              <a:gd name="T42" fmla="*/ 0 w 666"/>
              <a:gd name="T43" fmla="*/ 0 h 916"/>
              <a:gd name="T44" fmla="*/ 0 w 666"/>
              <a:gd name="T45" fmla="*/ 0 h 916"/>
              <a:gd name="T46" fmla="*/ 0 w 666"/>
              <a:gd name="T47" fmla="*/ 0 h 916"/>
              <a:gd name="T48" fmla="*/ 0 w 666"/>
              <a:gd name="T49" fmla="*/ 0 h 916"/>
              <a:gd name="T50" fmla="*/ 0 w 666"/>
              <a:gd name="T51" fmla="*/ 0 h 916"/>
              <a:gd name="T52" fmla="*/ 0 w 666"/>
              <a:gd name="T53" fmla="*/ 0 h 916"/>
              <a:gd name="T54" fmla="*/ 0 w 666"/>
              <a:gd name="T55" fmla="*/ 0 h 916"/>
              <a:gd name="T56" fmla="*/ 0 w 666"/>
              <a:gd name="T57" fmla="*/ 0 h 916"/>
              <a:gd name="T58" fmla="*/ 0 w 666"/>
              <a:gd name="T59" fmla="*/ 0 h 916"/>
              <a:gd name="T60" fmla="*/ 0 w 666"/>
              <a:gd name="T61" fmla="*/ 0 h 916"/>
              <a:gd name="T62" fmla="*/ 0 w 666"/>
              <a:gd name="T63" fmla="*/ 0 h 916"/>
              <a:gd name="T64" fmla="*/ 0 w 666"/>
              <a:gd name="T65" fmla="*/ 0 h 916"/>
              <a:gd name="T66" fmla="*/ 0 w 666"/>
              <a:gd name="T67" fmla="*/ 0 h 916"/>
              <a:gd name="T68" fmla="*/ 0 w 666"/>
              <a:gd name="T69" fmla="*/ 0 h 916"/>
              <a:gd name="T70" fmla="*/ 0 w 666"/>
              <a:gd name="T71" fmla="*/ 0 h 916"/>
              <a:gd name="T72" fmla="*/ 0 w 666"/>
              <a:gd name="T73" fmla="*/ 0 h 916"/>
              <a:gd name="T74" fmla="*/ 0 w 666"/>
              <a:gd name="T75" fmla="*/ 0 h 916"/>
              <a:gd name="T76" fmla="*/ 0 w 666"/>
              <a:gd name="T77" fmla="*/ 0 h 916"/>
              <a:gd name="T78" fmla="*/ 0 w 666"/>
              <a:gd name="T79" fmla="*/ 0 h 916"/>
              <a:gd name="T80" fmla="*/ 0 w 666"/>
              <a:gd name="T81" fmla="*/ 0 h 91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w 666"/>
              <a:gd name="T124" fmla="*/ 0 h 916"/>
              <a:gd name="T125" fmla="*/ 666 w 666"/>
              <a:gd name="T126" fmla="*/ 916 h 916"/>
            </a:gdLst>
            <a:ahLst/>
            <a:cxnLst>
              <a:cxn ang="T82">
                <a:pos x="T0" y="T1"/>
              </a:cxn>
              <a:cxn ang="T83">
                <a:pos x="T2" y="T3"/>
              </a:cxn>
              <a:cxn ang="T84">
                <a:pos x="T4" y="T5"/>
              </a:cxn>
              <a:cxn ang="T85">
                <a:pos x="T6" y="T7"/>
              </a:cxn>
              <a:cxn ang="T86">
                <a:pos x="T8" y="T9"/>
              </a:cxn>
              <a:cxn ang="T87">
                <a:pos x="T10" y="T11"/>
              </a:cxn>
              <a:cxn ang="T88">
                <a:pos x="T12" y="T13"/>
              </a:cxn>
              <a:cxn ang="T89">
                <a:pos x="T14" y="T15"/>
              </a:cxn>
              <a:cxn ang="T90">
                <a:pos x="T16" y="T17"/>
              </a:cxn>
              <a:cxn ang="T91">
                <a:pos x="T18" y="T19"/>
              </a:cxn>
              <a:cxn ang="T92">
                <a:pos x="T20" y="T21"/>
              </a:cxn>
              <a:cxn ang="T93">
                <a:pos x="T22" y="T23"/>
              </a:cxn>
              <a:cxn ang="T94">
                <a:pos x="T24" y="T25"/>
              </a:cxn>
              <a:cxn ang="T95">
                <a:pos x="T26" y="T27"/>
              </a:cxn>
              <a:cxn ang="T96">
                <a:pos x="T28" y="T29"/>
              </a:cxn>
              <a:cxn ang="T97">
                <a:pos x="T30" y="T31"/>
              </a:cxn>
              <a:cxn ang="T98">
                <a:pos x="T32" y="T33"/>
              </a:cxn>
              <a:cxn ang="T99">
                <a:pos x="T34" y="T35"/>
              </a:cxn>
              <a:cxn ang="T100">
                <a:pos x="T36" y="T37"/>
              </a:cxn>
              <a:cxn ang="T101">
                <a:pos x="T38" y="T39"/>
              </a:cxn>
              <a:cxn ang="T102">
                <a:pos x="T40" y="T41"/>
              </a:cxn>
              <a:cxn ang="T103">
                <a:pos x="T42" y="T43"/>
              </a:cxn>
              <a:cxn ang="T104">
                <a:pos x="T44" y="T45"/>
              </a:cxn>
              <a:cxn ang="T105">
                <a:pos x="T46" y="T47"/>
              </a:cxn>
              <a:cxn ang="T106">
                <a:pos x="T48" y="T49"/>
              </a:cxn>
              <a:cxn ang="T107">
                <a:pos x="T50" y="T51"/>
              </a:cxn>
              <a:cxn ang="T108">
                <a:pos x="T52" y="T53"/>
              </a:cxn>
              <a:cxn ang="T109">
                <a:pos x="T54" y="T55"/>
              </a:cxn>
              <a:cxn ang="T110">
                <a:pos x="T56" y="T57"/>
              </a:cxn>
              <a:cxn ang="T111">
                <a:pos x="T58" y="T59"/>
              </a:cxn>
              <a:cxn ang="T112">
                <a:pos x="T60" y="T61"/>
              </a:cxn>
              <a:cxn ang="T113">
                <a:pos x="T62" y="T63"/>
              </a:cxn>
              <a:cxn ang="T114">
                <a:pos x="T64" y="T65"/>
              </a:cxn>
              <a:cxn ang="T115">
                <a:pos x="T66" y="T67"/>
              </a:cxn>
              <a:cxn ang="T116">
                <a:pos x="T68" y="T69"/>
              </a:cxn>
              <a:cxn ang="T117">
                <a:pos x="T70" y="T71"/>
              </a:cxn>
              <a:cxn ang="T118">
                <a:pos x="T72" y="T73"/>
              </a:cxn>
              <a:cxn ang="T119">
                <a:pos x="T74" y="T75"/>
              </a:cxn>
              <a:cxn ang="T120">
                <a:pos x="T76" y="T77"/>
              </a:cxn>
              <a:cxn ang="T121">
                <a:pos x="T78" y="T79"/>
              </a:cxn>
              <a:cxn ang="T122">
                <a:pos x="T80" y="T81"/>
              </a:cxn>
            </a:cxnLst>
            <a:rect l="T123" t="T124" r="T125" b="T126"/>
            <a:pathLst>
              <a:path w="666" h="916">
                <a:moveTo>
                  <a:pt x="662" y="552"/>
                </a:moveTo>
                <a:lnTo>
                  <a:pt x="653" y="523"/>
                </a:lnTo>
                <a:lnTo>
                  <a:pt x="627" y="493"/>
                </a:lnTo>
                <a:lnTo>
                  <a:pt x="615" y="453"/>
                </a:lnTo>
                <a:lnTo>
                  <a:pt x="606" y="406"/>
                </a:lnTo>
                <a:lnTo>
                  <a:pt x="605" y="388"/>
                </a:lnTo>
                <a:lnTo>
                  <a:pt x="573" y="370"/>
                </a:lnTo>
                <a:lnTo>
                  <a:pt x="573" y="337"/>
                </a:lnTo>
                <a:lnTo>
                  <a:pt x="573" y="319"/>
                </a:lnTo>
                <a:lnTo>
                  <a:pt x="557" y="291"/>
                </a:lnTo>
                <a:lnTo>
                  <a:pt x="534" y="256"/>
                </a:lnTo>
                <a:lnTo>
                  <a:pt x="519" y="229"/>
                </a:lnTo>
                <a:lnTo>
                  <a:pt x="510" y="217"/>
                </a:lnTo>
                <a:lnTo>
                  <a:pt x="417" y="174"/>
                </a:lnTo>
                <a:lnTo>
                  <a:pt x="389" y="154"/>
                </a:lnTo>
                <a:lnTo>
                  <a:pt x="332" y="135"/>
                </a:lnTo>
                <a:lnTo>
                  <a:pt x="291" y="115"/>
                </a:lnTo>
                <a:lnTo>
                  <a:pt x="276" y="102"/>
                </a:lnTo>
                <a:lnTo>
                  <a:pt x="260" y="91"/>
                </a:lnTo>
                <a:lnTo>
                  <a:pt x="237" y="84"/>
                </a:lnTo>
                <a:lnTo>
                  <a:pt x="216" y="82"/>
                </a:lnTo>
                <a:lnTo>
                  <a:pt x="188" y="81"/>
                </a:lnTo>
                <a:lnTo>
                  <a:pt x="170" y="72"/>
                </a:lnTo>
                <a:lnTo>
                  <a:pt x="140" y="48"/>
                </a:lnTo>
                <a:lnTo>
                  <a:pt x="116" y="21"/>
                </a:lnTo>
                <a:lnTo>
                  <a:pt x="105" y="6"/>
                </a:lnTo>
                <a:lnTo>
                  <a:pt x="56" y="0"/>
                </a:lnTo>
                <a:lnTo>
                  <a:pt x="20" y="64"/>
                </a:lnTo>
                <a:lnTo>
                  <a:pt x="80" y="145"/>
                </a:lnTo>
                <a:lnTo>
                  <a:pt x="141" y="213"/>
                </a:lnTo>
                <a:lnTo>
                  <a:pt x="174" y="246"/>
                </a:lnTo>
                <a:lnTo>
                  <a:pt x="314" y="261"/>
                </a:lnTo>
                <a:lnTo>
                  <a:pt x="344" y="283"/>
                </a:lnTo>
                <a:lnTo>
                  <a:pt x="356" y="307"/>
                </a:lnTo>
                <a:lnTo>
                  <a:pt x="359" y="325"/>
                </a:lnTo>
                <a:lnTo>
                  <a:pt x="351" y="339"/>
                </a:lnTo>
                <a:lnTo>
                  <a:pt x="345" y="348"/>
                </a:lnTo>
                <a:lnTo>
                  <a:pt x="327" y="346"/>
                </a:lnTo>
                <a:lnTo>
                  <a:pt x="317" y="367"/>
                </a:lnTo>
                <a:lnTo>
                  <a:pt x="294" y="403"/>
                </a:lnTo>
                <a:lnTo>
                  <a:pt x="269" y="429"/>
                </a:lnTo>
                <a:lnTo>
                  <a:pt x="246" y="453"/>
                </a:lnTo>
                <a:lnTo>
                  <a:pt x="237" y="489"/>
                </a:lnTo>
                <a:lnTo>
                  <a:pt x="228" y="522"/>
                </a:lnTo>
                <a:lnTo>
                  <a:pt x="212" y="552"/>
                </a:lnTo>
                <a:lnTo>
                  <a:pt x="188" y="565"/>
                </a:lnTo>
                <a:lnTo>
                  <a:pt x="173" y="577"/>
                </a:lnTo>
                <a:lnTo>
                  <a:pt x="147" y="574"/>
                </a:lnTo>
                <a:lnTo>
                  <a:pt x="129" y="574"/>
                </a:lnTo>
                <a:lnTo>
                  <a:pt x="116" y="573"/>
                </a:lnTo>
                <a:lnTo>
                  <a:pt x="107" y="565"/>
                </a:lnTo>
                <a:lnTo>
                  <a:pt x="68" y="558"/>
                </a:lnTo>
                <a:lnTo>
                  <a:pt x="36" y="561"/>
                </a:lnTo>
                <a:lnTo>
                  <a:pt x="11" y="598"/>
                </a:lnTo>
                <a:lnTo>
                  <a:pt x="0" y="624"/>
                </a:lnTo>
                <a:lnTo>
                  <a:pt x="9" y="693"/>
                </a:lnTo>
                <a:lnTo>
                  <a:pt x="9" y="715"/>
                </a:lnTo>
                <a:lnTo>
                  <a:pt x="17" y="732"/>
                </a:lnTo>
                <a:lnTo>
                  <a:pt x="44" y="754"/>
                </a:lnTo>
                <a:lnTo>
                  <a:pt x="47" y="787"/>
                </a:lnTo>
                <a:lnTo>
                  <a:pt x="57" y="834"/>
                </a:lnTo>
                <a:lnTo>
                  <a:pt x="93" y="888"/>
                </a:lnTo>
                <a:lnTo>
                  <a:pt x="129" y="916"/>
                </a:lnTo>
                <a:lnTo>
                  <a:pt x="186" y="910"/>
                </a:lnTo>
                <a:lnTo>
                  <a:pt x="251" y="888"/>
                </a:lnTo>
                <a:lnTo>
                  <a:pt x="285" y="846"/>
                </a:lnTo>
                <a:lnTo>
                  <a:pt x="320" y="814"/>
                </a:lnTo>
                <a:lnTo>
                  <a:pt x="350" y="778"/>
                </a:lnTo>
                <a:lnTo>
                  <a:pt x="386" y="744"/>
                </a:lnTo>
                <a:lnTo>
                  <a:pt x="399" y="703"/>
                </a:lnTo>
                <a:lnTo>
                  <a:pt x="413" y="661"/>
                </a:lnTo>
                <a:lnTo>
                  <a:pt x="441" y="625"/>
                </a:lnTo>
                <a:lnTo>
                  <a:pt x="465" y="621"/>
                </a:lnTo>
                <a:lnTo>
                  <a:pt x="497" y="639"/>
                </a:lnTo>
                <a:lnTo>
                  <a:pt x="512" y="670"/>
                </a:lnTo>
                <a:lnTo>
                  <a:pt x="539" y="699"/>
                </a:lnTo>
                <a:lnTo>
                  <a:pt x="584" y="702"/>
                </a:lnTo>
                <a:lnTo>
                  <a:pt x="623" y="676"/>
                </a:lnTo>
                <a:lnTo>
                  <a:pt x="647" y="649"/>
                </a:lnTo>
                <a:lnTo>
                  <a:pt x="666" y="621"/>
                </a:lnTo>
                <a:lnTo>
                  <a:pt x="666" y="594"/>
                </a:lnTo>
                <a:lnTo>
                  <a:pt x="666" y="570"/>
                </a:lnTo>
                <a:lnTo>
                  <a:pt x="662" y="552"/>
                </a:lnTo>
                <a:close/>
              </a:path>
            </a:pathLst>
          </a:custGeom>
          <a:noFill/>
          <a:ln w="3175" cap="flat" cmpd="sng">
            <a:solidFill>
              <a:srgbClr val="D9EAF7"/>
            </a:solidFill>
            <a:prstDash val="solid"/>
            <a:round/>
            <a:headEnd type="none" w="med" len="med"/>
            <a:tailEnd type="none" w="med" len="med"/>
          </a:ln>
        </p:spPr>
        <p:txBody>
          <a:bodyPr wrap="none" lIns="32632" tIns="32632" rIns="32632" bIns="32632" anchor="ctr"/>
          <a:lstStyle/>
          <a:p>
            <a:pPr defTabSz="891045"/>
            <a:endParaRPr lang="en-US" sz="1700" dirty="0">
              <a:solidFill>
                <a:srgbClr val="003149"/>
              </a:solidFill>
              <a:cs typeface="Arial" panose="020B0604020202020204" pitchFamily="34" charset="0"/>
            </a:endParaRPr>
          </a:p>
        </p:txBody>
      </p:sp>
      <p:sp>
        <p:nvSpPr>
          <p:cNvPr id="297" name="Freeform 775"/>
          <p:cNvSpPr>
            <a:spLocks noChangeAspect="1"/>
          </p:cNvSpPr>
          <p:nvPr>
            <p:custDataLst>
              <p:tags r:id="rId188"/>
            </p:custDataLst>
          </p:nvPr>
        </p:nvSpPr>
        <p:spPr bwMode="gray">
          <a:xfrm>
            <a:off x="2427023" y="3496403"/>
            <a:ext cx="113734" cy="54524"/>
          </a:xfrm>
          <a:custGeom>
            <a:avLst/>
            <a:gdLst>
              <a:gd name="T0" fmla="*/ 0 w 10000"/>
              <a:gd name="T1" fmla="*/ 0 h 10000"/>
              <a:gd name="T2" fmla="*/ 0 w 10000"/>
              <a:gd name="T3" fmla="*/ 0 h 10000"/>
              <a:gd name="T4" fmla="*/ 0 w 10000"/>
              <a:gd name="T5" fmla="*/ 0 h 10000"/>
              <a:gd name="T6" fmla="*/ 0 w 10000"/>
              <a:gd name="T7" fmla="*/ 0 h 10000"/>
              <a:gd name="T8" fmla="*/ 0 w 10000"/>
              <a:gd name="T9" fmla="*/ 0 h 10000"/>
              <a:gd name="T10" fmla="*/ 0 w 10000"/>
              <a:gd name="T11" fmla="*/ 0 h 10000"/>
              <a:gd name="T12" fmla="*/ 0 w 10000"/>
              <a:gd name="T13" fmla="*/ 0 h 10000"/>
              <a:gd name="T14" fmla="*/ 0 w 10000"/>
              <a:gd name="T15" fmla="*/ 0 h 10000"/>
              <a:gd name="T16" fmla="*/ 0 w 10000"/>
              <a:gd name="T17" fmla="*/ 0 h 10000"/>
              <a:gd name="T18" fmla="*/ 0 w 10000"/>
              <a:gd name="T19" fmla="*/ 0 h 10000"/>
              <a:gd name="T20" fmla="*/ 0 w 10000"/>
              <a:gd name="T21" fmla="*/ 0 h 10000"/>
              <a:gd name="T22" fmla="*/ 0 w 10000"/>
              <a:gd name="T23" fmla="*/ 0 h 10000"/>
              <a:gd name="T24" fmla="*/ 0 w 10000"/>
              <a:gd name="T25" fmla="*/ 0 h 10000"/>
              <a:gd name="T26" fmla="*/ 0 w 10000"/>
              <a:gd name="T27" fmla="*/ 0 h 10000"/>
              <a:gd name="T28" fmla="*/ 0 w 10000"/>
              <a:gd name="T29" fmla="*/ 0 h 10000"/>
              <a:gd name="T30" fmla="*/ 0 w 10000"/>
              <a:gd name="T31" fmla="*/ 0 h 10000"/>
              <a:gd name="T32" fmla="*/ 0 w 10000"/>
              <a:gd name="T33" fmla="*/ 0 h 10000"/>
              <a:gd name="T34" fmla="*/ 0 w 10000"/>
              <a:gd name="T35" fmla="*/ 0 h 10000"/>
              <a:gd name="T36" fmla="*/ 0 w 10000"/>
              <a:gd name="T37" fmla="*/ 0 h 10000"/>
              <a:gd name="T38" fmla="*/ 0 w 10000"/>
              <a:gd name="T39" fmla="*/ 0 h 10000"/>
              <a:gd name="T40" fmla="*/ 0 w 10000"/>
              <a:gd name="T41" fmla="*/ 0 h 10000"/>
              <a:gd name="T42" fmla="*/ 0 w 10000"/>
              <a:gd name="T43" fmla="*/ 0 h 10000"/>
              <a:gd name="T44" fmla="*/ 0 w 10000"/>
              <a:gd name="T45" fmla="*/ 0 h 10000"/>
              <a:gd name="T46" fmla="*/ 0 w 10000"/>
              <a:gd name="T47" fmla="*/ 0 h 10000"/>
              <a:gd name="T48" fmla="*/ 0 w 10000"/>
              <a:gd name="T49" fmla="*/ 0 h 10000"/>
              <a:gd name="T50" fmla="*/ 0 w 10000"/>
              <a:gd name="T51" fmla="*/ 0 h 10000"/>
              <a:gd name="T52" fmla="*/ 0 w 10000"/>
              <a:gd name="T53" fmla="*/ 0 h 10000"/>
              <a:gd name="T54" fmla="*/ 0 w 10000"/>
              <a:gd name="T55" fmla="*/ 0 h 10000"/>
              <a:gd name="T56" fmla="*/ 0 w 10000"/>
              <a:gd name="T57" fmla="*/ 0 h 10000"/>
              <a:gd name="T58" fmla="*/ 0 w 10000"/>
              <a:gd name="T59" fmla="*/ 0 h 10000"/>
              <a:gd name="T60" fmla="*/ 0 w 10000"/>
              <a:gd name="T61" fmla="*/ 0 h 10000"/>
              <a:gd name="T62" fmla="*/ 0 w 10000"/>
              <a:gd name="T63" fmla="*/ 0 h 10000"/>
              <a:gd name="T64" fmla="*/ 0 w 10000"/>
              <a:gd name="T65" fmla="*/ 0 h 10000"/>
              <a:gd name="T66" fmla="*/ 0 w 10000"/>
              <a:gd name="T67" fmla="*/ 0 h 10000"/>
              <a:gd name="T68" fmla="*/ 0 w 10000"/>
              <a:gd name="T69" fmla="*/ 0 h 10000"/>
              <a:gd name="T70" fmla="*/ 0 w 10000"/>
              <a:gd name="T71" fmla="*/ 0 h 10000"/>
              <a:gd name="T72" fmla="*/ 0 w 10000"/>
              <a:gd name="T73" fmla="*/ 0 h 10000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w 10000"/>
              <a:gd name="T112" fmla="*/ 0 h 10000"/>
              <a:gd name="T113" fmla="*/ 10000 w 10000"/>
              <a:gd name="T114" fmla="*/ 10000 h 10000"/>
            </a:gdLst>
            <a:ahLst/>
            <a:cxnLst>
              <a:cxn ang="T74">
                <a:pos x="T0" y="T1"/>
              </a:cxn>
              <a:cxn ang="T75">
                <a:pos x="T2" y="T3"/>
              </a:cxn>
              <a:cxn ang="T76">
                <a:pos x="T4" y="T5"/>
              </a:cxn>
              <a:cxn ang="T77">
                <a:pos x="T6" y="T7"/>
              </a:cxn>
              <a:cxn ang="T78">
                <a:pos x="T8" y="T9"/>
              </a:cxn>
              <a:cxn ang="T79">
                <a:pos x="T10" y="T11"/>
              </a:cxn>
              <a:cxn ang="T80">
                <a:pos x="T12" y="T13"/>
              </a:cxn>
              <a:cxn ang="T81">
                <a:pos x="T14" y="T15"/>
              </a:cxn>
              <a:cxn ang="T82">
                <a:pos x="T16" y="T17"/>
              </a:cxn>
              <a:cxn ang="T83">
                <a:pos x="T18" y="T19"/>
              </a:cxn>
              <a:cxn ang="T84">
                <a:pos x="T20" y="T21"/>
              </a:cxn>
              <a:cxn ang="T85">
                <a:pos x="T22" y="T23"/>
              </a:cxn>
              <a:cxn ang="T86">
                <a:pos x="T24" y="T25"/>
              </a:cxn>
              <a:cxn ang="T87">
                <a:pos x="T26" y="T27"/>
              </a:cxn>
              <a:cxn ang="T88">
                <a:pos x="T28" y="T29"/>
              </a:cxn>
              <a:cxn ang="T89">
                <a:pos x="T30" y="T31"/>
              </a:cxn>
              <a:cxn ang="T90">
                <a:pos x="T32" y="T33"/>
              </a:cxn>
              <a:cxn ang="T91">
                <a:pos x="T34" y="T35"/>
              </a:cxn>
              <a:cxn ang="T92">
                <a:pos x="T36" y="T37"/>
              </a:cxn>
              <a:cxn ang="T93">
                <a:pos x="T38" y="T39"/>
              </a:cxn>
              <a:cxn ang="T94">
                <a:pos x="T40" y="T41"/>
              </a:cxn>
              <a:cxn ang="T95">
                <a:pos x="T42" y="T43"/>
              </a:cxn>
              <a:cxn ang="T96">
                <a:pos x="T44" y="T45"/>
              </a:cxn>
              <a:cxn ang="T97">
                <a:pos x="T46" y="T47"/>
              </a:cxn>
              <a:cxn ang="T98">
                <a:pos x="T48" y="T49"/>
              </a:cxn>
              <a:cxn ang="T99">
                <a:pos x="T50" y="T51"/>
              </a:cxn>
              <a:cxn ang="T100">
                <a:pos x="T52" y="T53"/>
              </a:cxn>
              <a:cxn ang="T101">
                <a:pos x="T54" y="T55"/>
              </a:cxn>
              <a:cxn ang="T102">
                <a:pos x="T56" y="T57"/>
              </a:cxn>
              <a:cxn ang="T103">
                <a:pos x="T58" y="T59"/>
              </a:cxn>
              <a:cxn ang="T104">
                <a:pos x="T60" y="T61"/>
              </a:cxn>
              <a:cxn ang="T105">
                <a:pos x="T62" y="T63"/>
              </a:cxn>
              <a:cxn ang="T106">
                <a:pos x="T64" y="T65"/>
              </a:cxn>
              <a:cxn ang="T107">
                <a:pos x="T66" y="T67"/>
              </a:cxn>
              <a:cxn ang="T108">
                <a:pos x="T68" y="T69"/>
              </a:cxn>
              <a:cxn ang="T109">
                <a:pos x="T70" y="T71"/>
              </a:cxn>
              <a:cxn ang="T110">
                <a:pos x="T72" y="T73"/>
              </a:cxn>
            </a:cxnLst>
            <a:rect l="T111" t="T112" r="T113" b="T114"/>
            <a:pathLst>
              <a:path w="10000" h="10000">
                <a:moveTo>
                  <a:pt x="622" y="3224"/>
                </a:moveTo>
                <a:cubicBezTo>
                  <a:pt x="649" y="3114"/>
                  <a:pt x="784" y="3090"/>
                  <a:pt x="811" y="2980"/>
                </a:cubicBezTo>
                <a:cubicBezTo>
                  <a:pt x="802" y="2737"/>
                  <a:pt x="793" y="2495"/>
                  <a:pt x="784" y="2252"/>
                </a:cubicBezTo>
                <a:cubicBezTo>
                  <a:pt x="802" y="2186"/>
                  <a:pt x="820" y="2119"/>
                  <a:pt x="838" y="2053"/>
                </a:cubicBezTo>
                <a:lnTo>
                  <a:pt x="757" y="1921"/>
                </a:lnTo>
                <a:lnTo>
                  <a:pt x="622" y="1854"/>
                </a:lnTo>
                <a:cubicBezTo>
                  <a:pt x="631" y="1722"/>
                  <a:pt x="640" y="1589"/>
                  <a:pt x="649" y="1457"/>
                </a:cubicBezTo>
                <a:cubicBezTo>
                  <a:pt x="640" y="1325"/>
                  <a:pt x="631" y="1192"/>
                  <a:pt x="622" y="1060"/>
                </a:cubicBezTo>
                <a:cubicBezTo>
                  <a:pt x="595" y="994"/>
                  <a:pt x="568" y="927"/>
                  <a:pt x="541" y="861"/>
                </a:cubicBezTo>
                <a:lnTo>
                  <a:pt x="297" y="1126"/>
                </a:lnTo>
                <a:lnTo>
                  <a:pt x="135" y="1126"/>
                </a:lnTo>
                <a:lnTo>
                  <a:pt x="27" y="861"/>
                </a:lnTo>
                <a:cubicBezTo>
                  <a:pt x="18" y="773"/>
                  <a:pt x="9" y="684"/>
                  <a:pt x="0" y="596"/>
                </a:cubicBezTo>
                <a:cubicBezTo>
                  <a:pt x="18" y="441"/>
                  <a:pt x="36" y="287"/>
                  <a:pt x="54" y="132"/>
                </a:cubicBezTo>
                <a:lnTo>
                  <a:pt x="189" y="0"/>
                </a:lnTo>
                <a:lnTo>
                  <a:pt x="432" y="0"/>
                </a:lnTo>
                <a:lnTo>
                  <a:pt x="730" y="132"/>
                </a:lnTo>
                <a:lnTo>
                  <a:pt x="973" y="596"/>
                </a:lnTo>
                <a:lnTo>
                  <a:pt x="1027" y="1325"/>
                </a:lnTo>
                <a:lnTo>
                  <a:pt x="1135" y="1656"/>
                </a:lnTo>
                <a:lnTo>
                  <a:pt x="1405" y="1589"/>
                </a:lnTo>
                <a:cubicBezTo>
                  <a:pt x="1459" y="1722"/>
                  <a:pt x="1514" y="1854"/>
                  <a:pt x="1568" y="1987"/>
                </a:cubicBezTo>
                <a:lnTo>
                  <a:pt x="1703" y="2517"/>
                </a:lnTo>
                <a:lnTo>
                  <a:pt x="1676" y="3444"/>
                </a:lnTo>
                <a:lnTo>
                  <a:pt x="1514" y="3974"/>
                </a:lnTo>
                <a:lnTo>
                  <a:pt x="1514" y="4768"/>
                </a:lnTo>
                <a:cubicBezTo>
                  <a:pt x="1478" y="4989"/>
                  <a:pt x="1441" y="5209"/>
                  <a:pt x="1405" y="5430"/>
                </a:cubicBezTo>
                <a:lnTo>
                  <a:pt x="1405" y="5894"/>
                </a:lnTo>
                <a:cubicBezTo>
                  <a:pt x="1396" y="5982"/>
                  <a:pt x="1387" y="6071"/>
                  <a:pt x="1378" y="6159"/>
                </a:cubicBezTo>
                <a:cubicBezTo>
                  <a:pt x="1396" y="6556"/>
                  <a:pt x="1414" y="6954"/>
                  <a:pt x="1432" y="7351"/>
                </a:cubicBezTo>
                <a:cubicBezTo>
                  <a:pt x="1486" y="7594"/>
                  <a:pt x="1541" y="7836"/>
                  <a:pt x="1595" y="8079"/>
                </a:cubicBezTo>
                <a:lnTo>
                  <a:pt x="1973" y="8940"/>
                </a:lnTo>
                <a:lnTo>
                  <a:pt x="2676" y="9007"/>
                </a:lnTo>
                <a:lnTo>
                  <a:pt x="3432" y="8543"/>
                </a:lnTo>
                <a:lnTo>
                  <a:pt x="3622" y="8477"/>
                </a:lnTo>
                <a:cubicBezTo>
                  <a:pt x="3649" y="8411"/>
                  <a:pt x="3676" y="8344"/>
                  <a:pt x="3703" y="8278"/>
                </a:cubicBezTo>
                <a:lnTo>
                  <a:pt x="3838" y="8411"/>
                </a:lnTo>
                <a:lnTo>
                  <a:pt x="3946" y="8675"/>
                </a:lnTo>
                <a:cubicBezTo>
                  <a:pt x="3928" y="8763"/>
                  <a:pt x="3910" y="8852"/>
                  <a:pt x="3892" y="8940"/>
                </a:cubicBezTo>
                <a:cubicBezTo>
                  <a:pt x="3874" y="9006"/>
                  <a:pt x="3856" y="9073"/>
                  <a:pt x="3838" y="9139"/>
                </a:cubicBezTo>
                <a:lnTo>
                  <a:pt x="3865" y="9868"/>
                </a:lnTo>
                <a:lnTo>
                  <a:pt x="4108" y="10000"/>
                </a:lnTo>
                <a:lnTo>
                  <a:pt x="4378" y="9205"/>
                </a:lnTo>
                <a:cubicBezTo>
                  <a:pt x="4396" y="9051"/>
                  <a:pt x="4414" y="8896"/>
                  <a:pt x="4432" y="8742"/>
                </a:cubicBezTo>
                <a:lnTo>
                  <a:pt x="4757" y="8411"/>
                </a:lnTo>
                <a:lnTo>
                  <a:pt x="4865" y="7947"/>
                </a:lnTo>
                <a:cubicBezTo>
                  <a:pt x="4856" y="7792"/>
                  <a:pt x="4847" y="7638"/>
                  <a:pt x="4838" y="7483"/>
                </a:cubicBezTo>
                <a:lnTo>
                  <a:pt x="5054" y="7219"/>
                </a:lnTo>
                <a:lnTo>
                  <a:pt x="5162" y="7086"/>
                </a:lnTo>
                <a:lnTo>
                  <a:pt x="5270" y="7219"/>
                </a:lnTo>
                <a:lnTo>
                  <a:pt x="5459" y="7086"/>
                </a:lnTo>
                <a:cubicBezTo>
                  <a:pt x="5486" y="7020"/>
                  <a:pt x="5514" y="6953"/>
                  <a:pt x="5541" y="6887"/>
                </a:cubicBezTo>
                <a:lnTo>
                  <a:pt x="5676" y="6755"/>
                </a:lnTo>
                <a:lnTo>
                  <a:pt x="5811" y="6755"/>
                </a:lnTo>
                <a:cubicBezTo>
                  <a:pt x="5820" y="6821"/>
                  <a:pt x="5829" y="6888"/>
                  <a:pt x="5838" y="6954"/>
                </a:cubicBezTo>
                <a:lnTo>
                  <a:pt x="6243" y="6755"/>
                </a:lnTo>
                <a:lnTo>
                  <a:pt x="6378" y="6887"/>
                </a:lnTo>
                <a:lnTo>
                  <a:pt x="6676" y="6887"/>
                </a:lnTo>
                <a:lnTo>
                  <a:pt x="6784" y="7086"/>
                </a:lnTo>
                <a:lnTo>
                  <a:pt x="7000" y="7086"/>
                </a:lnTo>
                <a:lnTo>
                  <a:pt x="7162" y="7086"/>
                </a:lnTo>
                <a:lnTo>
                  <a:pt x="7270" y="7152"/>
                </a:lnTo>
                <a:lnTo>
                  <a:pt x="7405" y="6623"/>
                </a:lnTo>
                <a:cubicBezTo>
                  <a:pt x="7441" y="6446"/>
                  <a:pt x="7478" y="6270"/>
                  <a:pt x="7514" y="6093"/>
                </a:cubicBezTo>
                <a:lnTo>
                  <a:pt x="8135" y="5563"/>
                </a:lnTo>
                <a:lnTo>
                  <a:pt x="8703" y="4702"/>
                </a:lnTo>
                <a:lnTo>
                  <a:pt x="8973" y="4040"/>
                </a:lnTo>
                <a:lnTo>
                  <a:pt x="9378" y="3642"/>
                </a:lnTo>
                <a:lnTo>
                  <a:pt x="9730" y="2781"/>
                </a:lnTo>
                <a:cubicBezTo>
                  <a:pt x="9739" y="2627"/>
                  <a:pt x="9748" y="2472"/>
                  <a:pt x="9757" y="2318"/>
                </a:cubicBezTo>
                <a:lnTo>
                  <a:pt x="9892" y="1921"/>
                </a:lnTo>
                <a:cubicBezTo>
                  <a:pt x="9919" y="1810"/>
                  <a:pt x="9946" y="1700"/>
                  <a:pt x="9973" y="1589"/>
                </a:cubicBezTo>
                <a:lnTo>
                  <a:pt x="9973" y="1325"/>
                </a:lnTo>
                <a:cubicBezTo>
                  <a:pt x="9982" y="1192"/>
                  <a:pt x="9991" y="1060"/>
                  <a:pt x="10000" y="927"/>
                </a:cubicBezTo>
                <a:lnTo>
                  <a:pt x="9865" y="728"/>
                </a:lnTo>
              </a:path>
            </a:pathLst>
          </a:custGeom>
          <a:noFill/>
          <a:ln w="3175" cap="flat" cmpd="sng">
            <a:solidFill>
              <a:srgbClr val="D9EAF7"/>
            </a:solidFill>
            <a:prstDash val="solid"/>
            <a:round/>
            <a:headEnd type="none" w="med" len="med"/>
            <a:tailEnd type="none" w="med" len="med"/>
          </a:ln>
        </p:spPr>
        <p:txBody>
          <a:bodyPr wrap="none" lIns="32632" tIns="32632" rIns="32632" bIns="32632" anchor="ctr"/>
          <a:lstStyle/>
          <a:p>
            <a:pPr defTabSz="891045"/>
            <a:endParaRPr lang="en-US" sz="1700" dirty="0">
              <a:solidFill>
                <a:srgbClr val="003149"/>
              </a:solidFill>
              <a:cs typeface="Arial" panose="020B0604020202020204" pitchFamily="34" charset="0"/>
            </a:endParaRPr>
          </a:p>
        </p:txBody>
      </p:sp>
      <p:sp>
        <p:nvSpPr>
          <p:cNvPr id="298" name="Freeform 776"/>
          <p:cNvSpPr>
            <a:spLocks noChangeAspect="1"/>
          </p:cNvSpPr>
          <p:nvPr>
            <p:custDataLst>
              <p:tags r:id="rId189"/>
            </p:custDataLst>
          </p:nvPr>
        </p:nvSpPr>
        <p:spPr bwMode="gray">
          <a:xfrm>
            <a:off x="2540754" y="3466279"/>
            <a:ext cx="56867" cy="34437"/>
          </a:xfrm>
          <a:custGeom>
            <a:avLst/>
            <a:gdLst>
              <a:gd name="T0" fmla="*/ 0 w 183"/>
              <a:gd name="T1" fmla="*/ 500384272 h 103"/>
              <a:gd name="T2" fmla="*/ 469395064 w 183"/>
              <a:gd name="T3" fmla="*/ 500384272 h 103"/>
              <a:gd name="T4" fmla="*/ 469395064 w 183"/>
              <a:gd name="T5" fmla="*/ 500384272 h 103"/>
              <a:gd name="T6" fmla="*/ 469395064 w 183"/>
              <a:gd name="T7" fmla="*/ 500384272 h 103"/>
              <a:gd name="T8" fmla="*/ 469395064 w 183"/>
              <a:gd name="T9" fmla="*/ 500384272 h 103"/>
              <a:gd name="T10" fmla="*/ 469395064 w 183"/>
              <a:gd name="T11" fmla="*/ 500384272 h 103"/>
              <a:gd name="T12" fmla="*/ 469395064 w 183"/>
              <a:gd name="T13" fmla="*/ 500384272 h 103"/>
              <a:gd name="T14" fmla="*/ 469395064 w 183"/>
              <a:gd name="T15" fmla="*/ 500384272 h 103"/>
              <a:gd name="T16" fmla="*/ 469395064 w 183"/>
              <a:gd name="T17" fmla="*/ 500384272 h 103"/>
              <a:gd name="T18" fmla="*/ 469395064 w 183"/>
              <a:gd name="T19" fmla="*/ 500384272 h 103"/>
              <a:gd name="T20" fmla="*/ 469395064 w 183"/>
              <a:gd name="T21" fmla="*/ 500384272 h 103"/>
              <a:gd name="T22" fmla="*/ 469395064 w 183"/>
              <a:gd name="T23" fmla="*/ 0 h 103"/>
              <a:gd name="T24" fmla="*/ 469395064 w 183"/>
              <a:gd name="T25" fmla="*/ 500384272 h 103"/>
              <a:gd name="T26" fmla="*/ 469395064 w 183"/>
              <a:gd name="T27" fmla="*/ 500384272 h 103"/>
              <a:gd name="T28" fmla="*/ 469395064 w 183"/>
              <a:gd name="T29" fmla="*/ 500384272 h 103"/>
              <a:gd name="T30" fmla="*/ 469395064 w 183"/>
              <a:gd name="T31" fmla="*/ 500384272 h 103"/>
              <a:gd name="T32" fmla="*/ 469395064 w 183"/>
              <a:gd name="T33" fmla="*/ 500384272 h 103"/>
              <a:gd name="T34" fmla="*/ 469395064 w 183"/>
              <a:gd name="T35" fmla="*/ 0 h 103"/>
              <a:gd name="T36" fmla="*/ 469395064 w 183"/>
              <a:gd name="T37" fmla="*/ 0 h 103"/>
              <a:gd name="T38" fmla="*/ 469395064 w 183"/>
              <a:gd name="T39" fmla="*/ 500384272 h 103"/>
              <a:gd name="T40" fmla="*/ 469395064 w 183"/>
              <a:gd name="T41" fmla="*/ 500384272 h 103"/>
              <a:gd name="T42" fmla="*/ 469395064 w 183"/>
              <a:gd name="T43" fmla="*/ 500384272 h 103"/>
              <a:gd name="T44" fmla="*/ 469395064 w 183"/>
              <a:gd name="T45" fmla="*/ 500384272 h 103"/>
              <a:gd name="T46" fmla="*/ 469395064 w 183"/>
              <a:gd name="T47" fmla="*/ 500384272 h 103"/>
              <a:gd name="T48" fmla="*/ 469395064 w 183"/>
              <a:gd name="T49" fmla="*/ 500384272 h 103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w 183"/>
              <a:gd name="T76" fmla="*/ 0 h 103"/>
              <a:gd name="T77" fmla="*/ 183 w 183"/>
              <a:gd name="T78" fmla="*/ 103 h 103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T75" t="T76" r="T77" b="T78"/>
            <a:pathLst>
              <a:path w="183" h="103">
                <a:moveTo>
                  <a:pt x="0" y="103"/>
                </a:moveTo>
                <a:lnTo>
                  <a:pt x="3" y="92"/>
                </a:lnTo>
                <a:lnTo>
                  <a:pt x="3" y="82"/>
                </a:lnTo>
                <a:lnTo>
                  <a:pt x="5" y="79"/>
                </a:lnTo>
                <a:lnTo>
                  <a:pt x="4" y="66"/>
                </a:lnTo>
                <a:lnTo>
                  <a:pt x="4" y="49"/>
                </a:lnTo>
                <a:lnTo>
                  <a:pt x="6" y="36"/>
                </a:lnTo>
                <a:lnTo>
                  <a:pt x="7" y="25"/>
                </a:lnTo>
                <a:lnTo>
                  <a:pt x="8" y="14"/>
                </a:lnTo>
                <a:lnTo>
                  <a:pt x="14" y="3"/>
                </a:lnTo>
                <a:lnTo>
                  <a:pt x="20" y="1"/>
                </a:lnTo>
                <a:lnTo>
                  <a:pt x="33" y="0"/>
                </a:lnTo>
                <a:lnTo>
                  <a:pt x="36" y="3"/>
                </a:lnTo>
                <a:lnTo>
                  <a:pt x="44" y="10"/>
                </a:lnTo>
                <a:lnTo>
                  <a:pt x="54" y="11"/>
                </a:lnTo>
                <a:lnTo>
                  <a:pt x="67" y="8"/>
                </a:lnTo>
                <a:lnTo>
                  <a:pt x="75" y="1"/>
                </a:lnTo>
                <a:lnTo>
                  <a:pt x="89" y="0"/>
                </a:lnTo>
                <a:lnTo>
                  <a:pt x="99" y="0"/>
                </a:lnTo>
                <a:lnTo>
                  <a:pt x="121" y="25"/>
                </a:lnTo>
                <a:lnTo>
                  <a:pt x="137" y="41"/>
                </a:lnTo>
                <a:lnTo>
                  <a:pt x="157" y="47"/>
                </a:lnTo>
                <a:lnTo>
                  <a:pt x="166" y="58"/>
                </a:lnTo>
                <a:lnTo>
                  <a:pt x="176" y="58"/>
                </a:lnTo>
                <a:lnTo>
                  <a:pt x="183" y="58"/>
                </a:lnTo>
              </a:path>
            </a:pathLst>
          </a:custGeom>
          <a:noFill/>
          <a:ln w="3175" cap="flat" cmpd="sng">
            <a:solidFill>
              <a:srgbClr val="D9EAF7"/>
            </a:solidFill>
            <a:prstDash val="solid"/>
            <a:round/>
            <a:headEnd type="none" w="med" len="med"/>
            <a:tailEnd type="none" w="med" len="med"/>
          </a:ln>
        </p:spPr>
        <p:txBody>
          <a:bodyPr wrap="none" lIns="32632" tIns="32632" rIns="32632" bIns="32632" anchor="ctr"/>
          <a:lstStyle/>
          <a:p>
            <a:pPr defTabSz="891045"/>
            <a:endParaRPr lang="en-US" sz="1700" dirty="0">
              <a:solidFill>
                <a:srgbClr val="003149"/>
              </a:solidFill>
              <a:cs typeface="Arial" panose="020B0604020202020204" pitchFamily="34" charset="0"/>
            </a:endParaRPr>
          </a:p>
        </p:txBody>
      </p:sp>
      <p:sp>
        <p:nvSpPr>
          <p:cNvPr id="299" name="Freeform 778"/>
          <p:cNvSpPr>
            <a:spLocks noChangeAspect="1"/>
          </p:cNvSpPr>
          <p:nvPr>
            <p:custDataLst>
              <p:tags r:id="rId190"/>
            </p:custDataLst>
          </p:nvPr>
        </p:nvSpPr>
        <p:spPr bwMode="gray">
          <a:xfrm>
            <a:off x="2306204" y="3529389"/>
            <a:ext cx="24169" cy="67438"/>
          </a:xfrm>
          <a:custGeom>
            <a:avLst/>
            <a:gdLst>
              <a:gd name="T0" fmla="*/ 0 w 10000"/>
              <a:gd name="T1" fmla="*/ 0 h 10071"/>
              <a:gd name="T2" fmla="*/ 0 w 10000"/>
              <a:gd name="T3" fmla="*/ 0 h 10071"/>
              <a:gd name="T4" fmla="*/ 0 w 10000"/>
              <a:gd name="T5" fmla="*/ 0 h 10071"/>
              <a:gd name="T6" fmla="*/ 0 w 10000"/>
              <a:gd name="T7" fmla="*/ 0 h 10071"/>
              <a:gd name="T8" fmla="*/ 0 w 10000"/>
              <a:gd name="T9" fmla="*/ 0 h 10071"/>
              <a:gd name="T10" fmla="*/ 0 w 10000"/>
              <a:gd name="T11" fmla="*/ 0 h 10071"/>
              <a:gd name="T12" fmla="*/ 0 w 10000"/>
              <a:gd name="T13" fmla="*/ 0 h 10071"/>
              <a:gd name="T14" fmla="*/ 0 w 10000"/>
              <a:gd name="T15" fmla="*/ 0 h 10071"/>
              <a:gd name="T16" fmla="*/ 0 w 10000"/>
              <a:gd name="T17" fmla="*/ 0 h 10071"/>
              <a:gd name="T18" fmla="*/ 0 w 10000"/>
              <a:gd name="T19" fmla="*/ 0 h 10071"/>
              <a:gd name="T20" fmla="*/ 0 w 10000"/>
              <a:gd name="T21" fmla="*/ 0 h 10071"/>
              <a:gd name="T22" fmla="*/ 0 w 10000"/>
              <a:gd name="T23" fmla="*/ 0 h 10071"/>
              <a:gd name="T24" fmla="*/ 0 w 10000"/>
              <a:gd name="T25" fmla="*/ 0 h 10071"/>
              <a:gd name="T26" fmla="*/ 0 w 10000"/>
              <a:gd name="T27" fmla="*/ 0 h 10071"/>
              <a:gd name="T28" fmla="*/ 0 w 10000"/>
              <a:gd name="T29" fmla="*/ 0 h 10071"/>
              <a:gd name="T30" fmla="*/ 0 w 10000"/>
              <a:gd name="T31" fmla="*/ 0 h 10071"/>
              <a:gd name="T32" fmla="*/ 0 w 10000"/>
              <a:gd name="T33" fmla="*/ 0 h 10071"/>
              <a:gd name="T34" fmla="*/ 0 w 10000"/>
              <a:gd name="T35" fmla="*/ 0 h 10071"/>
              <a:gd name="T36" fmla="*/ 0 w 10000"/>
              <a:gd name="T37" fmla="*/ 0 h 10071"/>
              <a:gd name="T38" fmla="*/ 0 w 10000"/>
              <a:gd name="T39" fmla="*/ 0 h 10071"/>
              <a:gd name="T40" fmla="*/ 0 w 10000"/>
              <a:gd name="T41" fmla="*/ 0 h 10071"/>
              <a:gd name="T42" fmla="*/ 0 w 10000"/>
              <a:gd name="T43" fmla="*/ 0 h 10071"/>
              <a:gd name="T44" fmla="*/ 0 w 10000"/>
              <a:gd name="T45" fmla="*/ 0 h 10071"/>
              <a:gd name="T46" fmla="*/ 0 w 10000"/>
              <a:gd name="T47" fmla="*/ 0 h 10071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w 10000"/>
              <a:gd name="T73" fmla="*/ 0 h 10071"/>
              <a:gd name="T74" fmla="*/ 10000 w 10000"/>
              <a:gd name="T75" fmla="*/ 10071 h 10071"/>
            </a:gdLst>
            <a:ahLst/>
            <a:cxnLst>
              <a:cxn ang="T48">
                <a:pos x="T0" y="T1"/>
              </a:cxn>
              <a:cxn ang="T49">
                <a:pos x="T2" y="T3"/>
              </a:cxn>
              <a:cxn ang="T50">
                <a:pos x="T4" y="T5"/>
              </a:cxn>
              <a:cxn ang="T51">
                <a:pos x="T6" y="T7"/>
              </a:cxn>
              <a:cxn ang="T52">
                <a:pos x="T8" y="T9"/>
              </a:cxn>
              <a:cxn ang="T53">
                <a:pos x="T10" y="T11"/>
              </a:cxn>
              <a:cxn ang="T54">
                <a:pos x="T12" y="T13"/>
              </a:cxn>
              <a:cxn ang="T55">
                <a:pos x="T14" y="T15"/>
              </a:cxn>
              <a:cxn ang="T56">
                <a:pos x="T16" y="T17"/>
              </a:cxn>
              <a:cxn ang="T57">
                <a:pos x="T18" y="T19"/>
              </a:cxn>
              <a:cxn ang="T58">
                <a:pos x="T20" y="T21"/>
              </a:cxn>
              <a:cxn ang="T59">
                <a:pos x="T22" y="T23"/>
              </a:cxn>
              <a:cxn ang="T60">
                <a:pos x="T24" y="T25"/>
              </a:cxn>
              <a:cxn ang="T61">
                <a:pos x="T26" y="T27"/>
              </a:cxn>
              <a:cxn ang="T62">
                <a:pos x="T28" y="T29"/>
              </a:cxn>
              <a:cxn ang="T63">
                <a:pos x="T30" y="T31"/>
              </a:cxn>
              <a:cxn ang="T64">
                <a:pos x="T32" y="T33"/>
              </a:cxn>
              <a:cxn ang="T65">
                <a:pos x="T34" y="T35"/>
              </a:cxn>
              <a:cxn ang="T66">
                <a:pos x="T36" y="T37"/>
              </a:cxn>
              <a:cxn ang="T67">
                <a:pos x="T38" y="T39"/>
              </a:cxn>
              <a:cxn ang="T68">
                <a:pos x="T40" y="T41"/>
              </a:cxn>
              <a:cxn ang="T69">
                <a:pos x="T42" y="T43"/>
              </a:cxn>
              <a:cxn ang="T70">
                <a:pos x="T44" y="T45"/>
              </a:cxn>
              <a:cxn ang="T71">
                <a:pos x="T46" y="T47"/>
              </a:cxn>
            </a:cxnLst>
            <a:rect l="T72" t="T73" r="T74" b="T75"/>
            <a:pathLst>
              <a:path w="10000" h="10071">
                <a:moveTo>
                  <a:pt x="8815" y="10071"/>
                </a:moveTo>
                <a:lnTo>
                  <a:pt x="9091" y="9681"/>
                </a:lnTo>
                <a:lnTo>
                  <a:pt x="10000" y="9255"/>
                </a:lnTo>
                <a:lnTo>
                  <a:pt x="9740" y="8830"/>
                </a:lnTo>
                <a:lnTo>
                  <a:pt x="8701" y="8670"/>
                </a:lnTo>
                <a:lnTo>
                  <a:pt x="6753" y="8298"/>
                </a:lnTo>
                <a:lnTo>
                  <a:pt x="5325" y="7819"/>
                </a:lnTo>
                <a:lnTo>
                  <a:pt x="4156" y="6968"/>
                </a:lnTo>
                <a:lnTo>
                  <a:pt x="3636" y="6223"/>
                </a:lnTo>
                <a:lnTo>
                  <a:pt x="3247" y="5638"/>
                </a:lnTo>
                <a:cubicBezTo>
                  <a:pt x="3290" y="5479"/>
                  <a:pt x="3334" y="5319"/>
                  <a:pt x="3377" y="5160"/>
                </a:cubicBezTo>
                <a:lnTo>
                  <a:pt x="3636" y="4628"/>
                </a:lnTo>
                <a:lnTo>
                  <a:pt x="3896" y="4415"/>
                </a:lnTo>
                <a:cubicBezTo>
                  <a:pt x="3853" y="4344"/>
                  <a:pt x="3809" y="4273"/>
                  <a:pt x="3766" y="4202"/>
                </a:cubicBezTo>
                <a:lnTo>
                  <a:pt x="3247" y="4149"/>
                </a:lnTo>
                <a:lnTo>
                  <a:pt x="2208" y="3989"/>
                </a:lnTo>
                <a:lnTo>
                  <a:pt x="1429" y="3404"/>
                </a:lnTo>
                <a:lnTo>
                  <a:pt x="779" y="2926"/>
                </a:lnTo>
                <a:lnTo>
                  <a:pt x="0" y="2553"/>
                </a:lnTo>
                <a:lnTo>
                  <a:pt x="0" y="1968"/>
                </a:lnTo>
                <a:lnTo>
                  <a:pt x="260" y="1330"/>
                </a:lnTo>
                <a:lnTo>
                  <a:pt x="260" y="532"/>
                </a:lnTo>
                <a:lnTo>
                  <a:pt x="779" y="372"/>
                </a:lnTo>
                <a:lnTo>
                  <a:pt x="1948" y="0"/>
                </a:lnTo>
              </a:path>
            </a:pathLst>
          </a:custGeom>
          <a:noFill/>
          <a:ln w="3175" cap="flat" cmpd="sng">
            <a:solidFill>
              <a:srgbClr val="D9EAF7"/>
            </a:solidFill>
            <a:prstDash val="solid"/>
            <a:round/>
            <a:headEnd type="none" w="med" len="med"/>
            <a:tailEnd type="none" w="med" len="med"/>
          </a:ln>
        </p:spPr>
        <p:txBody>
          <a:bodyPr wrap="none" lIns="32632" tIns="32632" rIns="32632" bIns="32632" anchor="ctr"/>
          <a:lstStyle/>
          <a:p>
            <a:pPr defTabSz="891045"/>
            <a:endParaRPr lang="en-US" sz="1700" dirty="0">
              <a:solidFill>
                <a:srgbClr val="003149"/>
              </a:solidFill>
              <a:cs typeface="Arial" panose="020B0604020202020204" pitchFamily="34" charset="0"/>
            </a:endParaRPr>
          </a:p>
        </p:txBody>
      </p:sp>
      <p:sp>
        <p:nvSpPr>
          <p:cNvPr id="300" name="Freeform 781"/>
          <p:cNvSpPr>
            <a:spLocks noChangeAspect="1"/>
          </p:cNvSpPr>
          <p:nvPr>
            <p:custDataLst>
              <p:tags r:id="rId191"/>
            </p:custDataLst>
          </p:nvPr>
        </p:nvSpPr>
        <p:spPr bwMode="gray">
          <a:xfrm>
            <a:off x="2326082" y="3593971"/>
            <a:ext cx="38385" cy="70307"/>
          </a:xfrm>
          <a:custGeom>
            <a:avLst/>
            <a:gdLst>
              <a:gd name="T0" fmla="*/ 0 w 121"/>
              <a:gd name="T1" fmla="*/ 0 h 187"/>
              <a:gd name="T2" fmla="*/ 479190331 w 121"/>
              <a:gd name="T3" fmla="*/ 562709301 h 187"/>
              <a:gd name="T4" fmla="*/ 479190331 w 121"/>
              <a:gd name="T5" fmla="*/ 562709301 h 187"/>
              <a:gd name="T6" fmla="*/ 479190331 w 121"/>
              <a:gd name="T7" fmla="*/ 562709301 h 187"/>
              <a:gd name="T8" fmla="*/ 479190331 w 121"/>
              <a:gd name="T9" fmla="*/ 562709301 h 187"/>
              <a:gd name="T10" fmla="*/ 479190331 w 121"/>
              <a:gd name="T11" fmla="*/ 562709301 h 187"/>
              <a:gd name="T12" fmla="*/ 479190331 w 121"/>
              <a:gd name="T13" fmla="*/ 562709301 h 187"/>
              <a:gd name="T14" fmla="*/ 479190331 w 121"/>
              <a:gd name="T15" fmla="*/ 562709301 h 187"/>
              <a:gd name="T16" fmla="*/ 479190331 w 121"/>
              <a:gd name="T17" fmla="*/ 562709301 h 187"/>
              <a:gd name="T18" fmla="*/ 479190331 w 121"/>
              <a:gd name="T19" fmla="*/ 562709301 h 187"/>
              <a:gd name="T20" fmla="*/ 479190331 w 121"/>
              <a:gd name="T21" fmla="*/ 562709301 h 187"/>
              <a:gd name="T22" fmla="*/ 479190331 w 121"/>
              <a:gd name="T23" fmla="*/ 562709301 h 187"/>
              <a:gd name="T24" fmla="*/ 479190331 w 121"/>
              <a:gd name="T25" fmla="*/ 562709301 h 187"/>
              <a:gd name="T26" fmla="*/ 479190331 w 121"/>
              <a:gd name="T27" fmla="*/ 562709301 h 187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w 121"/>
              <a:gd name="T43" fmla="*/ 0 h 187"/>
              <a:gd name="T44" fmla="*/ 121 w 121"/>
              <a:gd name="T45" fmla="*/ 187 h 187"/>
            </a:gdLst>
            <a:ahLst/>
            <a:cxnLst>
              <a:cxn ang="T28">
                <a:pos x="T0" y="T1"/>
              </a:cxn>
              <a:cxn ang="T29">
                <a:pos x="T2" y="T3"/>
              </a:cxn>
              <a:cxn ang="T30">
                <a:pos x="T4" y="T5"/>
              </a:cxn>
              <a:cxn ang="T31">
                <a:pos x="T6" y="T7"/>
              </a:cxn>
              <a:cxn ang="T32">
                <a:pos x="T8" y="T9"/>
              </a:cxn>
              <a:cxn ang="T33">
                <a:pos x="T10" y="T11"/>
              </a:cxn>
              <a:cxn ang="T34">
                <a:pos x="T12" y="T13"/>
              </a:cxn>
              <a:cxn ang="T35">
                <a:pos x="T14" y="T15"/>
              </a:cxn>
              <a:cxn ang="T36">
                <a:pos x="T16" y="T17"/>
              </a:cxn>
              <a:cxn ang="T37">
                <a:pos x="T18" y="T19"/>
              </a:cxn>
              <a:cxn ang="T38">
                <a:pos x="T20" y="T21"/>
              </a:cxn>
              <a:cxn ang="T39">
                <a:pos x="T22" y="T23"/>
              </a:cxn>
              <a:cxn ang="T40">
                <a:pos x="T24" y="T25"/>
              </a:cxn>
              <a:cxn ang="T41">
                <a:pos x="T26" y="T27"/>
              </a:cxn>
            </a:cxnLst>
            <a:rect l="T42" t="T43" r="T44" b="T45"/>
            <a:pathLst>
              <a:path w="121" h="187">
                <a:moveTo>
                  <a:pt x="0" y="0"/>
                </a:moveTo>
                <a:lnTo>
                  <a:pt x="9" y="17"/>
                </a:lnTo>
                <a:lnTo>
                  <a:pt x="25" y="49"/>
                </a:lnTo>
                <a:lnTo>
                  <a:pt x="45" y="88"/>
                </a:lnTo>
                <a:lnTo>
                  <a:pt x="58" y="88"/>
                </a:lnTo>
                <a:lnTo>
                  <a:pt x="76" y="89"/>
                </a:lnTo>
                <a:lnTo>
                  <a:pt x="88" y="90"/>
                </a:lnTo>
                <a:lnTo>
                  <a:pt x="101" y="107"/>
                </a:lnTo>
                <a:lnTo>
                  <a:pt x="113" y="125"/>
                </a:lnTo>
                <a:lnTo>
                  <a:pt x="115" y="138"/>
                </a:lnTo>
                <a:lnTo>
                  <a:pt x="112" y="140"/>
                </a:lnTo>
                <a:lnTo>
                  <a:pt x="115" y="164"/>
                </a:lnTo>
                <a:lnTo>
                  <a:pt x="119" y="171"/>
                </a:lnTo>
                <a:lnTo>
                  <a:pt x="121" y="187"/>
                </a:lnTo>
              </a:path>
            </a:pathLst>
          </a:custGeom>
          <a:noFill/>
          <a:ln w="3175" cap="flat" cmpd="sng">
            <a:solidFill>
              <a:srgbClr val="D9EAF7"/>
            </a:solidFill>
            <a:prstDash val="solid"/>
            <a:round/>
            <a:headEnd type="none" w="med" len="med"/>
            <a:tailEnd type="none" w="med" len="med"/>
          </a:ln>
        </p:spPr>
        <p:txBody>
          <a:bodyPr wrap="none" lIns="32632" tIns="32632" rIns="32632" bIns="32632" anchor="ctr"/>
          <a:lstStyle/>
          <a:p>
            <a:pPr defTabSz="891045"/>
            <a:endParaRPr lang="en-US" sz="1700" dirty="0">
              <a:solidFill>
                <a:srgbClr val="003149"/>
              </a:solidFill>
              <a:cs typeface="Arial" panose="020B0604020202020204" pitchFamily="34" charset="0"/>
            </a:endParaRPr>
          </a:p>
        </p:txBody>
      </p:sp>
      <p:sp>
        <p:nvSpPr>
          <p:cNvPr id="301" name="Freeform 782"/>
          <p:cNvSpPr>
            <a:spLocks noChangeAspect="1"/>
          </p:cNvSpPr>
          <p:nvPr>
            <p:custDataLst>
              <p:tags r:id="rId192"/>
            </p:custDataLst>
          </p:nvPr>
        </p:nvSpPr>
        <p:spPr bwMode="gray">
          <a:xfrm>
            <a:off x="2299094" y="3691527"/>
            <a:ext cx="66819" cy="44480"/>
          </a:xfrm>
          <a:custGeom>
            <a:avLst/>
            <a:gdLst>
              <a:gd name="T0" fmla="*/ 0 w 10000"/>
              <a:gd name="T1" fmla="*/ 0 h 10000"/>
              <a:gd name="T2" fmla="*/ 0 w 10000"/>
              <a:gd name="T3" fmla="*/ 0 h 10000"/>
              <a:gd name="T4" fmla="*/ 0 w 10000"/>
              <a:gd name="T5" fmla="*/ 0 h 10000"/>
              <a:gd name="T6" fmla="*/ 0 w 10000"/>
              <a:gd name="T7" fmla="*/ 0 h 10000"/>
              <a:gd name="T8" fmla="*/ 0 w 10000"/>
              <a:gd name="T9" fmla="*/ 0 h 10000"/>
              <a:gd name="T10" fmla="*/ 0 w 10000"/>
              <a:gd name="T11" fmla="*/ 0 h 10000"/>
              <a:gd name="T12" fmla="*/ 0 w 10000"/>
              <a:gd name="T13" fmla="*/ 0 h 10000"/>
              <a:gd name="T14" fmla="*/ 0 w 10000"/>
              <a:gd name="T15" fmla="*/ 0 h 10000"/>
              <a:gd name="T16" fmla="*/ 0 w 10000"/>
              <a:gd name="T17" fmla="*/ 0 h 10000"/>
              <a:gd name="T18" fmla="*/ 0 w 10000"/>
              <a:gd name="T19" fmla="*/ 0 h 10000"/>
              <a:gd name="T20" fmla="*/ 0 w 10000"/>
              <a:gd name="T21" fmla="*/ 0 h 10000"/>
              <a:gd name="T22" fmla="*/ 0 w 10000"/>
              <a:gd name="T23" fmla="*/ 0 h 10000"/>
              <a:gd name="T24" fmla="*/ 0 w 10000"/>
              <a:gd name="T25" fmla="*/ 0 h 10000"/>
              <a:gd name="T26" fmla="*/ 0 w 10000"/>
              <a:gd name="T27" fmla="*/ 0 h 10000"/>
              <a:gd name="T28" fmla="*/ 0 w 10000"/>
              <a:gd name="T29" fmla="*/ 0 h 10000"/>
              <a:gd name="T30" fmla="*/ 0 w 10000"/>
              <a:gd name="T31" fmla="*/ 0 h 10000"/>
              <a:gd name="T32" fmla="*/ 0 w 10000"/>
              <a:gd name="T33" fmla="*/ 0 h 10000"/>
              <a:gd name="T34" fmla="*/ 0 w 10000"/>
              <a:gd name="T35" fmla="*/ 0 h 10000"/>
              <a:gd name="T36" fmla="*/ 0 w 10000"/>
              <a:gd name="T37" fmla="*/ 0 h 10000"/>
              <a:gd name="T38" fmla="*/ 0 w 10000"/>
              <a:gd name="T39" fmla="*/ 0 h 10000"/>
              <a:gd name="T40" fmla="*/ 0 w 10000"/>
              <a:gd name="T41" fmla="*/ 0 h 10000"/>
              <a:gd name="T42" fmla="*/ 0 w 10000"/>
              <a:gd name="T43" fmla="*/ 0 h 10000"/>
              <a:gd name="T44" fmla="*/ 0 w 10000"/>
              <a:gd name="T45" fmla="*/ 0 h 10000"/>
              <a:gd name="T46" fmla="*/ 0 w 10000"/>
              <a:gd name="T47" fmla="*/ 0 h 10000"/>
              <a:gd name="T48" fmla="*/ 0 w 10000"/>
              <a:gd name="T49" fmla="*/ 0 h 10000"/>
              <a:gd name="T50" fmla="*/ 0 w 10000"/>
              <a:gd name="T51" fmla="*/ 0 h 10000"/>
              <a:gd name="T52" fmla="*/ 0 w 10000"/>
              <a:gd name="T53" fmla="*/ 0 h 10000"/>
              <a:gd name="T54" fmla="*/ 0 w 10000"/>
              <a:gd name="T55" fmla="*/ 0 h 10000"/>
              <a:gd name="T56" fmla="*/ 0 w 10000"/>
              <a:gd name="T57" fmla="*/ 0 h 10000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w 10000"/>
              <a:gd name="T88" fmla="*/ 0 h 10000"/>
              <a:gd name="T89" fmla="*/ 10000 w 10000"/>
              <a:gd name="T90" fmla="*/ 10000 h 10000"/>
            </a:gdLst>
            <a:ahLst/>
            <a:cxnLst>
              <a:cxn ang="T58">
                <a:pos x="T0" y="T1"/>
              </a:cxn>
              <a:cxn ang="T59">
                <a:pos x="T2" y="T3"/>
              </a:cxn>
              <a:cxn ang="T60">
                <a:pos x="T4" y="T5"/>
              </a:cxn>
              <a:cxn ang="T61">
                <a:pos x="T6" y="T7"/>
              </a:cxn>
              <a:cxn ang="T62">
                <a:pos x="T8" y="T9"/>
              </a:cxn>
              <a:cxn ang="T63">
                <a:pos x="T10" y="T11"/>
              </a:cxn>
              <a:cxn ang="T64">
                <a:pos x="T12" y="T13"/>
              </a:cxn>
              <a:cxn ang="T65">
                <a:pos x="T14" y="T15"/>
              </a:cxn>
              <a:cxn ang="T66">
                <a:pos x="T16" y="T17"/>
              </a:cxn>
              <a:cxn ang="T67">
                <a:pos x="T18" y="T19"/>
              </a:cxn>
              <a:cxn ang="T68">
                <a:pos x="T20" y="T21"/>
              </a:cxn>
              <a:cxn ang="T69">
                <a:pos x="T22" y="T23"/>
              </a:cxn>
              <a:cxn ang="T70">
                <a:pos x="T24" y="T25"/>
              </a:cxn>
              <a:cxn ang="T71">
                <a:pos x="T26" y="T27"/>
              </a:cxn>
              <a:cxn ang="T72">
                <a:pos x="T28" y="T29"/>
              </a:cxn>
              <a:cxn ang="T73">
                <a:pos x="T30" y="T31"/>
              </a:cxn>
              <a:cxn ang="T74">
                <a:pos x="T32" y="T33"/>
              </a:cxn>
              <a:cxn ang="T75">
                <a:pos x="T34" y="T35"/>
              </a:cxn>
              <a:cxn ang="T76">
                <a:pos x="T36" y="T37"/>
              </a:cxn>
              <a:cxn ang="T77">
                <a:pos x="T38" y="T39"/>
              </a:cxn>
              <a:cxn ang="T78">
                <a:pos x="T40" y="T41"/>
              </a:cxn>
              <a:cxn ang="T79">
                <a:pos x="T42" y="T43"/>
              </a:cxn>
              <a:cxn ang="T80">
                <a:pos x="T44" y="T45"/>
              </a:cxn>
              <a:cxn ang="T81">
                <a:pos x="T46" y="T47"/>
              </a:cxn>
              <a:cxn ang="T82">
                <a:pos x="T48" y="T49"/>
              </a:cxn>
              <a:cxn ang="T83">
                <a:pos x="T50" y="T51"/>
              </a:cxn>
              <a:cxn ang="T84">
                <a:pos x="T52" y="T53"/>
              </a:cxn>
              <a:cxn ang="T85">
                <a:pos x="T54" y="T55"/>
              </a:cxn>
              <a:cxn ang="T86">
                <a:pos x="T56" y="T57"/>
              </a:cxn>
            </a:cxnLst>
            <a:rect l="T87" t="T88" r="T89" b="T90"/>
            <a:pathLst>
              <a:path w="10000" h="10000">
                <a:moveTo>
                  <a:pt x="10000" y="2393"/>
                </a:moveTo>
                <a:cubicBezTo>
                  <a:pt x="9954" y="1994"/>
                  <a:pt x="9907" y="1596"/>
                  <a:pt x="9861" y="1197"/>
                </a:cubicBezTo>
                <a:lnTo>
                  <a:pt x="9630" y="256"/>
                </a:lnTo>
                <a:lnTo>
                  <a:pt x="9028" y="0"/>
                </a:lnTo>
                <a:lnTo>
                  <a:pt x="8333" y="0"/>
                </a:lnTo>
                <a:lnTo>
                  <a:pt x="7731" y="0"/>
                </a:lnTo>
                <a:lnTo>
                  <a:pt x="7176" y="769"/>
                </a:lnTo>
                <a:lnTo>
                  <a:pt x="6806" y="1368"/>
                </a:lnTo>
                <a:cubicBezTo>
                  <a:pt x="6713" y="1567"/>
                  <a:pt x="6621" y="1767"/>
                  <a:pt x="6528" y="1966"/>
                </a:cubicBezTo>
                <a:lnTo>
                  <a:pt x="6111" y="3248"/>
                </a:lnTo>
                <a:cubicBezTo>
                  <a:pt x="6049" y="3618"/>
                  <a:pt x="5988" y="3989"/>
                  <a:pt x="5926" y="4359"/>
                </a:cubicBezTo>
                <a:lnTo>
                  <a:pt x="5648" y="4786"/>
                </a:lnTo>
                <a:lnTo>
                  <a:pt x="5324" y="5128"/>
                </a:lnTo>
                <a:lnTo>
                  <a:pt x="5093" y="5726"/>
                </a:lnTo>
                <a:lnTo>
                  <a:pt x="4769" y="6410"/>
                </a:lnTo>
                <a:cubicBezTo>
                  <a:pt x="4723" y="6610"/>
                  <a:pt x="4676" y="6809"/>
                  <a:pt x="4630" y="7009"/>
                </a:cubicBezTo>
                <a:lnTo>
                  <a:pt x="4444" y="7778"/>
                </a:lnTo>
                <a:lnTo>
                  <a:pt x="4028" y="8803"/>
                </a:lnTo>
                <a:lnTo>
                  <a:pt x="3657" y="9487"/>
                </a:lnTo>
                <a:lnTo>
                  <a:pt x="3380" y="9829"/>
                </a:lnTo>
                <a:lnTo>
                  <a:pt x="2685" y="10000"/>
                </a:lnTo>
                <a:lnTo>
                  <a:pt x="2361" y="9402"/>
                </a:lnTo>
                <a:lnTo>
                  <a:pt x="2130" y="8462"/>
                </a:lnTo>
                <a:cubicBezTo>
                  <a:pt x="2099" y="8376"/>
                  <a:pt x="2068" y="8291"/>
                  <a:pt x="2037" y="8205"/>
                </a:cubicBezTo>
                <a:lnTo>
                  <a:pt x="1389" y="8205"/>
                </a:lnTo>
                <a:lnTo>
                  <a:pt x="972" y="8205"/>
                </a:lnTo>
                <a:lnTo>
                  <a:pt x="370" y="8376"/>
                </a:lnTo>
                <a:lnTo>
                  <a:pt x="0" y="8718"/>
                </a:lnTo>
                <a:cubicBezTo>
                  <a:pt x="31" y="9060"/>
                  <a:pt x="62" y="8961"/>
                  <a:pt x="93" y="9303"/>
                </a:cubicBezTo>
              </a:path>
            </a:pathLst>
          </a:custGeom>
          <a:noFill/>
          <a:ln w="3175" cap="flat" cmpd="sng">
            <a:solidFill>
              <a:srgbClr val="D9EAF7"/>
            </a:solidFill>
            <a:prstDash val="solid"/>
            <a:round/>
            <a:headEnd type="none" w="med" len="med"/>
            <a:tailEnd type="none" w="med" len="med"/>
          </a:ln>
        </p:spPr>
        <p:txBody>
          <a:bodyPr wrap="none" lIns="32632" tIns="32632" rIns="32632" bIns="32632" anchor="ctr"/>
          <a:lstStyle/>
          <a:p>
            <a:pPr defTabSz="891045"/>
            <a:endParaRPr lang="en-US" sz="1700" dirty="0">
              <a:solidFill>
                <a:srgbClr val="003149"/>
              </a:solidFill>
              <a:cs typeface="Arial" panose="020B0604020202020204" pitchFamily="34" charset="0"/>
            </a:endParaRPr>
          </a:p>
        </p:txBody>
      </p:sp>
      <p:sp>
        <p:nvSpPr>
          <p:cNvPr id="302" name="Freeform 784"/>
          <p:cNvSpPr>
            <a:spLocks noChangeAspect="1"/>
          </p:cNvSpPr>
          <p:nvPr>
            <p:custDataLst>
              <p:tags r:id="rId193"/>
            </p:custDataLst>
          </p:nvPr>
        </p:nvSpPr>
        <p:spPr bwMode="gray">
          <a:xfrm>
            <a:off x="2380131" y="3695845"/>
            <a:ext cx="12795" cy="7174"/>
          </a:xfrm>
          <a:custGeom>
            <a:avLst/>
            <a:gdLst>
              <a:gd name="T0" fmla="*/ 402652960 w 48"/>
              <a:gd name="T1" fmla="*/ 596522840 h 18"/>
              <a:gd name="T2" fmla="*/ 402652960 w 48"/>
              <a:gd name="T3" fmla="*/ 596522840 h 18"/>
              <a:gd name="T4" fmla="*/ 402652960 w 48"/>
              <a:gd name="T5" fmla="*/ 596522840 h 18"/>
              <a:gd name="T6" fmla="*/ 402652960 w 48"/>
              <a:gd name="T7" fmla="*/ 596522840 h 18"/>
              <a:gd name="T8" fmla="*/ 402652960 w 48"/>
              <a:gd name="T9" fmla="*/ 0 h 18"/>
              <a:gd name="T10" fmla="*/ 0 w 48"/>
              <a:gd name="T11" fmla="*/ 596522840 h 18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48"/>
              <a:gd name="T19" fmla="*/ 0 h 18"/>
              <a:gd name="T20" fmla="*/ 48 w 48"/>
              <a:gd name="T21" fmla="*/ 18 h 18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48" h="18">
                <a:moveTo>
                  <a:pt x="48" y="16"/>
                </a:moveTo>
                <a:lnTo>
                  <a:pt x="39" y="18"/>
                </a:lnTo>
                <a:lnTo>
                  <a:pt x="30" y="16"/>
                </a:lnTo>
                <a:lnTo>
                  <a:pt x="18" y="5"/>
                </a:lnTo>
                <a:lnTo>
                  <a:pt x="13" y="0"/>
                </a:lnTo>
                <a:lnTo>
                  <a:pt x="0" y="1"/>
                </a:lnTo>
              </a:path>
            </a:pathLst>
          </a:custGeom>
          <a:noFill/>
          <a:ln w="3175" cap="flat" cmpd="sng">
            <a:solidFill>
              <a:srgbClr val="D9EAF7"/>
            </a:solidFill>
            <a:prstDash val="solid"/>
            <a:round/>
            <a:headEnd type="none" w="med" len="med"/>
            <a:tailEnd type="none" w="med" len="med"/>
          </a:ln>
        </p:spPr>
        <p:txBody>
          <a:bodyPr wrap="none" lIns="32632" tIns="32632" rIns="32632" bIns="32632" anchor="ctr"/>
          <a:lstStyle/>
          <a:p>
            <a:pPr defTabSz="891045"/>
            <a:endParaRPr lang="en-US" sz="1700" dirty="0">
              <a:solidFill>
                <a:srgbClr val="003149"/>
              </a:solidFill>
              <a:cs typeface="Arial" panose="020B0604020202020204" pitchFamily="34" charset="0"/>
            </a:endParaRPr>
          </a:p>
        </p:txBody>
      </p:sp>
      <p:sp>
        <p:nvSpPr>
          <p:cNvPr id="303" name="Freeform 785"/>
          <p:cNvSpPr>
            <a:spLocks noChangeAspect="1"/>
          </p:cNvSpPr>
          <p:nvPr>
            <p:custDataLst>
              <p:tags r:id="rId194"/>
            </p:custDataLst>
          </p:nvPr>
        </p:nvSpPr>
        <p:spPr bwMode="gray">
          <a:xfrm>
            <a:off x="2365889" y="3695845"/>
            <a:ext cx="14216" cy="7174"/>
          </a:xfrm>
          <a:custGeom>
            <a:avLst/>
            <a:gdLst>
              <a:gd name="T0" fmla="*/ 0 w 41"/>
              <a:gd name="T1" fmla="*/ 631612404 h 17"/>
              <a:gd name="T2" fmla="*/ 523776180 w 41"/>
              <a:gd name="T3" fmla="*/ 631612404 h 17"/>
              <a:gd name="T4" fmla="*/ 523776180 w 41"/>
              <a:gd name="T5" fmla="*/ 631612404 h 17"/>
              <a:gd name="T6" fmla="*/ 523776180 w 41"/>
              <a:gd name="T7" fmla="*/ 631612404 h 17"/>
              <a:gd name="T8" fmla="*/ 523776180 w 41"/>
              <a:gd name="T9" fmla="*/ 0 h 17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41"/>
              <a:gd name="T16" fmla="*/ 0 h 17"/>
              <a:gd name="T17" fmla="*/ 41 w 41"/>
              <a:gd name="T18" fmla="*/ 17 h 17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41" h="17">
                <a:moveTo>
                  <a:pt x="0" y="17"/>
                </a:moveTo>
                <a:lnTo>
                  <a:pt x="8" y="11"/>
                </a:lnTo>
                <a:lnTo>
                  <a:pt x="28" y="12"/>
                </a:lnTo>
                <a:lnTo>
                  <a:pt x="38" y="8"/>
                </a:lnTo>
                <a:lnTo>
                  <a:pt x="41" y="0"/>
                </a:lnTo>
              </a:path>
            </a:pathLst>
          </a:custGeom>
          <a:noFill/>
          <a:ln w="3175" cap="flat" cmpd="sng">
            <a:solidFill>
              <a:srgbClr val="D9EAF7"/>
            </a:solidFill>
            <a:prstDash val="solid"/>
            <a:round/>
            <a:headEnd type="none" w="med" len="med"/>
            <a:tailEnd type="none" w="med" len="med"/>
          </a:ln>
        </p:spPr>
        <p:txBody>
          <a:bodyPr wrap="none" lIns="32632" tIns="32632" rIns="32632" bIns="32632" anchor="ctr"/>
          <a:lstStyle/>
          <a:p>
            <a:pPr defTabSz="891045"/>
            <a:endParaRPr lang="en-US" sz="1700" dirty="0">
              <a:solidFill>
                <a:srgbClr val="003149"/>
              </a:solidFill>
              <a:cs typeface="Arial" panose="020B0604020202020204" pitchFamily="34" charset="0"/>
            </a:endParaRPr>
          </a:p>
        </p:txBody>
      </p:sp>
      <p:sp>
        <p:nvSpPr>
          <p:cNvPr id="304" name="Freeform 786"/>
          <p:cNvSpPr>
            <a:spLocks noChangeAspect="1"/>
          </p:cNvSpPr>
          <p:nvPr>
            <p:custDataLst>
              <p:tags r:id="rId195"/>
            </p:custDataLst>
          </p:nvPr>
        </p:nvSpPr>
        <p:spPr bwMode="gray">
          <a:xfrm>
            <a:off x="2364481" y="3664265"/>
            <a:ext cx="15638" cy="31566"/>
          </a:xfrm>
          <a:custGeom>
            <a:avLst/>
            <a:gdLst>
              <a:gd name="T0" fmla="*/ 0 w 53"/>
              <a:gd name="T1" fmla="*/ 0 h 99"/>
              <a:gd name="T2" fmla="*/ 445703919 w 53"/>
              <a:gd name="T3" fmla="*/ 0 h 99"/>
              <a:gd name="T4" fmla="*/ 445703919 w 53"/>
              <a:gd name="T5" fmla="*/ 477218328 h 99"/>
              <a:gd name="T6" fmla="*/ 445703919 w 53"/>
              <a:gd name="T7" fmla="*/ 477218328 h 99"/>
              <a:gd name="T8" fmla="*/ 445703919 w 53"/>
              <a:gd name="T9" fmla="*/ 477218328 h 99"/>
              <a:gd name="T10" fmla="*/ 445703919 w 53"/>
              <a:gd name="T11" fmla="*/ 477218328 h 99"/>
              <a:gd name="T12" fmla="*/ 445703919 w 53"/>
              <a:gd name="T13" fmla="*/ 477218328 h 99"/>
              <a:gd name="T14" fmla="*/ 445703919 w 53"/>
              <a:gd name="T15" fmla="*/ 477218328 h 99"/>
              <a:gd name="T16" fmla="*/ 445703919 w 53"/>
              <a:gd name="T17" fmla="*/ 477218328 h 99"/>
              <a:gd name="T18" fmla="*/ 445703919 w 53"/>
              <a:gd name="T19" fmla="*/ 477218328 h 99"/>
              <a:gd name="T20" fmla="*/ 445703919 w 53"/>
              <a:gd name="T21" fmla="*/ 477218328 h 99"/>
              <a:gd name="T22" fmla="*/ 445703919 w 53"/>
              <a:gd name="T23" fmla="*/ 477218328 h 99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w 53"/>
              <a:gd name="T37" fmla="*/ 0 h 99"/>
              <a:gd name="T38" fmla="*/ 53 w 53"/>
              <a:gd name="T39" fmla="*/ 99 h 99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T36" t="T37" r="T38" b="T39"/>
            <a:pathLst>
              <a:path w="53" h="99">
                <a:moveTo>
                  <a:pt x="0" y="0"/>
                </a:moveTo>
                <a:lnTo>
                  <a:pt x="8" y="0"/>
                </a:lnTo>
                <a:lnTo>
                  <a:pt x="13" y="8"/>
                </a:lnTo>
                <a:lnTo>
                  <a:pt x="23" y="14"/>
                </a:lnTo>
                <a:lnTo>
                  <a:pt x="27" y="20"/>
                </a:lnTo>
                <a:lnTo>
                  <a:pt x="32" y="33"/>
                </a:lnTo>
                <a:lnTo>
                  <a:pt x="41" y="46"/>
                </a:lnTo>
                <a:lnTo>
                  <a:pt x="48" y="60"/>
                </a:lnTo>
                <a:lnTo>
                  <a:pt x="53" y="65"/>
                </a:lnTo>
                <a:lnTo>
                  <a:pt x="53" y="78"/>
                </a:lnTo>
                <a:lnTo>
                  <a:pt x="53" y="91"/>
                </a:lnTo>
                <a:lnTo>
                  <a:pt x="52" y="99"/>
                </a:lnTo>
              </a:path>
            </a:pathLst>
          </a:custGeom>
          <a:noFill/>
          <a:ln w="3175" cap="flat" cmpd="sng">
            <a:solidFill>
              <a:srgbClr val="D9EAF7"/>
            </a:solidFill>
            <a:prstDash val="solid"/>
            <a:round/>
            <a:headEnd type="none" w="med" len="med"/>
            <a:tailEnd type="none" w="med" len="med"/>
          </a:ln>
        </p:spPr>
        <p:txBody>
          <a:bodyPr wrap="none" lIns="32632" tIns="32632" rIns="32632" bIns="32632" anchor="ctr"/>
          <a:lstStyle/>
          <a:p>
            <a:pPr defTabSz="891045"/>
            <a:endParaRPr lang="en-US" sz="1700" dirty="0">
              <a:solidFill>
                <a:srgbClr val="003149"/>
              </a:solidFill>
              <a:cs typeface="Arial" panose="020B0604020202020204" pitchFamily="34" charset="0"/>
            </a:endParaRPr>
          </a:p>
        </p:txBody>
      </p:sp>
      <p:sp>
        <p:nvSpPr>
          <p:cNvPr id="305" name="Freeform 793"/>
          <p:cNvSpPr>
            <a:spLocks noChangeAspect="1"/>
          </p:cNvSpPr>
          <p:nvPr>
            <p:custDataLst>
              <p:tags r:id="rId196"/>
            </p:custDataLst>
          </p:nvPr>
        </p:nvSpPr>
        <p:spPr bwMode="gray">
          <a:xfrm>
            <a:off x="2864913" y="2893757"/>
            <a:ext cx="44071" cy="41611"/>
          </a:xfrm>
          <a:custGeom>
            <a:avLst/>
            <a:gdLst>
              <a:gd name="T0" fmla="*/ 0 w 202"/>
              <a:gd name="T1" fmla="*/ 0 h 162"/>
              <a:gd name="T2" fmla="*/ 0 w 202"/>
              <a:gd name="T3" fmla="*/ 384425849 h 162"/>
              <a:gd name="T4" fmla="*/ 0 w 202"/>
              <a:gd name="T5" fmla="*/ 384425849 h 162"/>
              <a:gd name="T6" fmla="*/ 0 w 202"/>
              <a:gd name="T7" fmla="*/ 384425849 h 162"/>
              <a:gd name="T8" fmla="*/ 0 w 202"/>
              <a:gd name="T9" fmla="*/ 384425849 h 162"/>
              <a:gd name="T10" fmla="*/ 0 w 202"/>
              <a:gd name="T11" fmla="*/ 384425849 h 162"/>
              <a:gd name="T12" fmla="*/ 0 w 202"/>
              <a:gd name="T13" fmla="*/ 384425849 h 162"/>
              <a:gd name="T14" fmla="*/ 0 w 202"/>
              <a:gd name="T15" fmla="*/ 384425849 h 162"/>
              <a:gd name="T16" fmla="*/ 0 w 202"/>
              <a:gd name="T17" fmla="*/ 384425849 h 162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202"/>
              <a:gd name="T28" fmla="*/ 0 h 162"/>
              <a:gd name="T29" fmla="*/ 202 w 202"/>
              <a:gd name="T30" fmla="*/ 162 h 162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202" h="162">
                <a:moveTo>
                  <a:pt x="0" y="0"/>
                </a:moveTo>
                <a:lnTo>
                  <a:pt x="19" y="40"/>
                </a:lnTo>
                <a:lnTo>
                  <a:pt x="57" y="76"/>
                </a:lnTo>
                <a:lnTo>
                  <a:pt x="84" y="113"/>
                </a:lnTo>
                <a:lnTo>
                  <a:pt x="113" y="146"/>
                </a:lnTo>
                <a:lnTo>
                  <a:pt x="116" y="162"/>
                </a:lnTo>
                <a:lnTo>
                  <a:pt x="154" y="154"/>
                </a:lnTo>
                <a:lnTo>
                  <a:pt x="181" y="154"/>
                </a:lnTo>
                <a:lnTo>
                  <a:pt x="202" y="154"/>
                </a:lnTo>
              </a:path>
            </a:pathLst>
          </a:custGeom>
          <a:noFill/>
          <a:ln w="3175" cap="flat" cmpd="sng">
            <a:solidFill>
              <a:srgbClr val="D9EAF7"/>
            </a:solidFill>
            <a:prstDash val="solid"/>
            <a:round/>
            <a:headEnd type="none" w="med" len="med"/>
            <a:tailEnd type="none" w="med" len="med"/>
          </a:ln>
        </p:spPr>
        <p:txBody>
          <a:bodyPr wrap="none" lIns="32632" tIns="32632" rIns="32632" bIns="32632" anchor="ctr"/>
          <a:lstStyle/>
          <a:p>
            <a:pPr defTabSz="891045"/>
            <a:endParaRPr lang="en-US" sz="1700" dirty="0">
              <a:solidFill>
                <a:srgbClr val="003149"/>
              </a:solidFill>
              <a:cs typeface="Arial" panose="020B0604020202020204" pitchFamily="34" charset="0"/>
            </a:endParaRPr>
          </a:p>
        </p:txBody>
      </p:sp>
      <p:sp>
        <p:nvSpPr>
          <p:cNvPr id="306" name="Freeform 794"/>
          <p:cNvSpPr>
            <a:spLocks noChangeAspect="1"/>
          </p:cNvSpPr>
          <p:nvPr>
            <p:custDataLst>
              <p:tags r:id="rId197"/>
            </p:custDataLst>
          </p:nvPr>
        </p:nvSpPr>
        <p:spPr bwMode="gray">
          <a:xfrm>
            <a:off x="2829358" y="2999938"/>
            <a:ext cx="31277" cy="74612"/>
          </a:xfrm>
          <a:custGeom>
            <a:avLst/>
            <a:gdLst>
              <a:gd name="T0" fmla="*/ 0 w 131"/>
              <a:gd name="T1" fmla="*/ 401687317 h 278"/>
              <a:gd name="T2" fmla="*/ 0 w 131"/>
              <a:gd name="T3" fmla="*/ 401687317 h 278"/>
              <a:gd name="T4" fmla="*/ 0 w 131"/>
              <a:gd name="T5" fmla="*/ 401687317 h 278"/>
              <a:gd name="T6" fmla="*/ 0 w 131"/>
              <a:gd name="T7" fmla="*/ 401687317 h 278"/>
              <a:gd name="T8" fmla="*/ 0 w 131"/>
              <a:gd name="T9" fmla="*/ 401687317 h 278"/>
              <a:gd name="T10" fmla="*/ 0 w 131"/>
              <a:gd name="T11" fmla="*/ 401687317 h 278"/>
              <a:gd name="T12" fmla="*/ 0 w 131"/>
              <a:gd name="T13" fmla="*/ 401687317 h 278"/>
              <a:gd name="T14" fmla="*/ 0 w 131"/>
              <a:gd name="T15" fmla="*/ 401687317 h 278"/>
              <a:gd name="T16" fmla="*/ 0 w 131"/>
              <a:gd name="T17" fmla="*/ 401687317 h 278"/>
              <a:gd name="T18" fmla="*/ 0 w 131"/>
              <a:gd name="T19" fmla="*/ 401687317 h 278"/>
              <a:gd name="T20" fmla="*/ 0 w 131"/>
              <a:gd name="T21" fmla="*/ 401687317 h 278"/>
              <a:gd name="T22" fmla="*/ 0 w 131"/>
              <a:gd name="T23" fmla="*/ 401687317 h 278"/>
              <a:gd name="T24" fmla="*/ 0 w 131"/>
              <a:gd name="T25" fmla="*/ 401687317 h 278"/>
              <a:gd name="T26" fmla="*/ 0 w 131"/>
              <a:gd name="T27" fmla="*/ 0 h 278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w 131"/>
              <a:gd name="T43" fmla="*/ 0 h 278"/>
              <a:gd name="T44" fmla="*/ 131 w 131"/>
              <a:gd name="T45" fmla="*/ 278 h 278"/>
            </a:gdLst>
            <a:ahLst/>
            <a:cxnLst>
              <a:cxn ang="T28">
                <a:pos x="T0" y="T1"/>
              </a:cxn>
              <a:cxn ang="T29">
                <a:pos x="T2" y="T3"/>
              </a:cxn>
              <a:cxn ang="T30">
                <a:pos x="T4" y="T5"/>
              </a:cxn>
              <a:cxn ang="T31">
                <a:pos x="T6" y="T7"/>
              </a:cxn>
              <a:cxn ang="T32">
                <a:pos x="T8" y="T9"/>
              </a:cxn>
              <a:cxn ang="T33">
                <a:pos x="T10" y="T11"/>
              </a:cxn>
              <a:cxn ang="T34">
                <a:pos x="T12" y="T13"/>
              </a:cxn>
              <a:cxn ang="T35">
                <a:pos x="T14" y="T15"/>
              </a:cxn>
              <a:cxn ang="T36">
                <a:pos x="T16" y="T17"/>
              </a:cxn>
              <a:cxn ang="T37">
                <a:pos x="T18" y="T19"/>
              </a:cxn>
              <a:cxn ang="T38">
                <a:pos x="T20" y="T21"/>
              </a:cxn>
              <a:cxn ang="T39">
                <a:pos x="T22" y="T23"/>
              </a:cxn>
              <a:cxn ang="T40">
                <a:pos x="T24" y="T25"/>
              </a:cxn>
              <a:cxn ang="T41">
                <a:pos x="T26" y="T27"/>
              </a:cxn>
            </a:cxnLst>
            <a:rect l="T42" t="T43" r="T44" b="T45"/>
            <a:pathLst>
              <a:path w="131" h="278">
                <a:moveTo>
                  <a:pt x="131" y="278"/>
                </a:moveTo>
                <a:lnTo>
                  <a:pt x="124" y="277"/>
                </a:lnTo>
                <a:lnTo>
                  <a:pt x="108" y="226"/>
                </a:lnTo>
                <a:lnTo>
                  <a:pt x="92" y="191"/>
                </a:lnTo>
                <a:lnTo>
                  <a:pt x="62" y="170"/>
                </a:lnTo>
                <a:lnTo>
                  <a:pt x="65" y="140"/>
                </a:lnTo>
                <a:lnTo>
                  <a:pt x="46" y="132"/>
                </a:lnTo>
                <a:lnTo>
                  <a:pt x="32" y="116"/>
                </a:lnTo>
                <a:lnTo>
                  <a:pt x="27" y="86"/>
                </a:lnTo>
                <a:lnTo>
                  <a:pt x="30" y="73"/>
                </a:lnTo>
                <a:lnTo>
                  <a:pt x="8" y="65"/>
                </a:lnTo>
                <a:lnTo>
                  <a:pt x="0" y="32"/>
                </a:lnTo>
                <a:lnTo>
                  <a:pt x="16" y="22"/>
                </a:lnTo>
                <a:lnTo>
                  <a:pt x="30" y="0"/>
                </a:lnTo>
              </a:path>
            </a:pathLst>
          </a:custGeom>
          <a:noFill/>
          <a:ln w="3175" cap="flat" cmpd="sng">
            <a:solidFill>
              <a:srgbClr val="D9EAF7"/>
            </a:solidFill>
            <a:prstDash val="solid"/>
            <a:round/>
            <a:headEnd type="none" w="med" len="med"/>
            <a:tailEnd type="none" w="med" len="med"/>
          </a:ln>
        </p:spPr>
        <p:txBody>
          <a:bodyPr wrap="none" lIns="32632" tIns="32632" rIns="32632" bIns="32632" anchor="ctr"/>
          <a:lstStyle/>
          <a:p>
            <a:pPr defTabSz="891045"/>
            <a:endParaRPr lang="en-US" sz="1700" dirty="0">
              <a:solidFill>
                <a:srgbClr val="003149"/>
              </a:solidFill>
              <a:cs typeface="Arial" panose="020B0604020202020204" pitchFamily="34" charset="0"/>
            </a:endParaRPr>
          </a:p>
        </p:txBody>
      </p:sp>
      <p:sp>
        <p:nvSpPr>
          <p:cNvPr id="307" name="Freeform 799"/>
          <p:cNvSpPr>
            <a:spLocks noChangeAspect="1"/>
          </p:cNvSpPr>
          <p:nvPr/>
        </p:nvSpPr>
        <p:spPr bwMode="gray">
          <a:xfrm>
            <a:off x="2857786" y="3104702"/>
            <a:ext cx="116578" cy="101873"/>
          </a:xfrm>
          <a:custGeom>
            <a:avLst/>
            <a:gdLst>
              <a:gd name="T0" fmla="*/ 485106220 w 363"/>
              <a:gd name="T1" fmla="*/ 523956147 h 291"/>
              <a:gd name="T2" fmla="*/ 485106220 w 363"/>
              <a:gd name="T3" fmla="*/ 523956147 h 291"/>
              <a:gd name="T4" fmla="*/ 485106220 w 363"/>
              <a:gd name="T5" fmla="*/ 523956147 h 291"/>
              <a:gd name="T6" fmla="*/ 485106220 w 363"/>
              <a:gd name="T7" fmla="*/ 523956147 h 291"/>
              <a:gd name="T8" fmla="*/ 485106220 w 363"/>
              <a:gd name="T9" fmla="*/ 523956147 h 291"/>
              <a:gd name="T10" fmla="*/ 485106220 w 363"/>
              <a:gd name="T11" fmla="*/ 523956147 h 291"/>
              <a:gd name="T12" fmla="*/ 485106220 w 363"/>
              <a:gd name="T13" fmla="*/ 523956147 h 291"/>
              <a:gd name="T14" fmla="*/ 485106220 w 363"/>
              <a:gd name="T15" fmla="*/ 523956147 h 291"/>
              <a:gd name="T16" fmla="*/ 485106220 w 363"/>
              <a:gd name="T17" fmla="*/ 523956147 h 291"/>
              <a:gd name="T18" fmla="*/ 485106220 w 363"/>
              <a:gd name="T19" fmla="*/ 523956147 h 291"/>
              <a:gd name="T20" fmla="*/ 485106220 w 363"/>
              <a:gd name="T21" fmla="*/ 523956147 h 291"/>
              <a:gd name="T22" fmla="*/ 485106220 w 363"/>
              <a:gd name="T23" fmla="*/ 523956147 h 291"/>
              <a:gd name="T24" fmla="*/ 485106220 w 363"/>
              <a:gd name="T25" fmla="*/ 523956147 h 291"/>
              <a:gd name="T26" fmla="*/ 485106220 w 363"/>
              <a:gd name="T27" fmla="*/ 523956147 h 291"/>
              <a:gd name="T28" fmla="*/ 485106220 w 363"/>
              <a:gd name="T29" fmla="*/ 523956147 h 291"/>
              <a:gd name="T30" fmla="*/ 485106220 w 363"/>
              <a:gd name="T31" fmla="*/ 523956147 h 291"/>
              <a:gd name="T32" fmla="*/ 485106220 w 363"/>
              <a:gd name="T33" fmla="*/ 523956147 h 291"/>
              <a:gd name="T34" fmla="*/ 485106220 w 363"/>
              <a:gd name="T35" fmla="*/ 523956147 h 291"/>
              <a:gd name="T36" fmla="*/ 485106220 w 363"/>
              <a:gd name="T37" fmla="*/ 523956147 h 291"/>
              <a:gd name="T38" fmla="*/ 485106220 w 363"/>
              <a:gd name="T39" fmla="*/ 523956147 h 291"/>
              <a:gd name="T40" fmla="*/ 485106220 w 363"/>
              <a:gd name="T41" fmla="*/ 523956147 h 291"/>
              <a:gd name="T42" fmla="*/ 485106220 w 363"/>
              <a:gd name="T43" fmla="*/ 523956147 h 291"/>
              <a:gd name="T44" fmla="*/ 485106220 w 363"/>
              <a:gd name="T45" fmla="*/ 523956147 h 291"/>
              <a:gd name="T46" fmla="*/ 0 w 363"/>
              <a:gd name="T47" fmla="*/ 0 h 291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w 363"/>
              <a:gd name="T73" fmla="*/ 0 h 291"/>
              <a:gd name="T74" fmla="*/ 363 w 363"/>
              <a:gd name="T75" fmla="*/ 291 h 291"/>
            </a:gdLst>
            <a:ahLst/>
            <a:cxnLst>
              <a:cxn ang="T48">
                <a:pos x="T0" y="T1"/>
              </a:cxn>
              <a:cxn ang="T49">
                <a:pos x="T2" y="T3"/>
              </a:cxn>
              <a:cxn ang="T50">
                <a:pos x="T4" y="T5"/>
              </a:cxn>
              <a:cxn ang="T51">
                <a:pos x="T6" y="T7"/>
              </a:cxn>
              <a:cxn ang="T52">
                <a:pos x="T8" y="T9"/>
              </a:cxn>
              <a:cxn ang="T53">
                <a:pos x="T10" y="T11"/>
              </a:cxn>
              <a:cxn ang="T54">
                <a:pos x="T12" y="T13"/>
              </a:cxn>
              <a:cxn ang="T55">
                <a:pos x="T14" y="T15"/>
              </a:cxn>
              <a:cxn ang="T56">
                <a:pos x="T16" y="T17"/>
              </a:cxn>
              <a:cxn ang="T57">
                <a:pos x="T18" y="T19"/>
              </a:cxn>
              <a:cxn ang="T58">
                <a:pos x="T20" y="T21"/>
              </a:cxn>
              <a:cxn ang="T59">
                <a:pos x="T22" y="T23"/>
              </a:cxn>
              <a:cxn ang="T60">
                <a:pos x="T24" y="T25"/>
              </a:cxn>
              <a:cxn ang="T61">
                <a:pos x="T26" y="T27"/>
              </a:cxn>
              <a:cxn ang="T62">
                <a:pos x="T28" y="T29"/>
              </a:cxn>
              <a:cxn ang="T63">
                <a:pos x="T30" y="T31"/>
              </a:cxn>
              <a:cxn ang="T64">
                <a:pos x="T32" y="T33"/>
              </a:cxn>
              <a:cxn ang="T65">
                <a:pos x="T34" y="T35"/>
              </a:cxn>
              <a:cxn ang="T66">
                <a:pos x="T36" y="T37"/>
              </a:cxn>
              <a:cxn ang="T67">
                <a:pos x="T38" y="T39"/>
              </a:cxn>
              <a:cxn ang="T68">
                <a:pos x="T40" y="T41"/>
              </a:cxn>
              <a:cxn ang="T69">
                <a:pos x="T42" y="T43"/>
              </a:cxn>
              <a:cxn ang="T70">
                <a:pos x="T44" y="T45"/>
              </a:cxn>
              <a:cxn ang="T71">
                <a:pos x="T46" y="T47"/>
              </a:cxn>
            </a:cxnLst>
            <a:rect l="T72" t="T73" r="T74" b="T75"/>
            <a:pathLst>
              <a:path w="363" h="291">
                <a:moveTo>
                  <a:pt x="363" y="291"/>
                </a:moveTo>
                <a:lnTo>
                  <a:pt x="336" y="267"/>
                </a:lnTo>
                <a:lnTo>
                  <a:pt x="320" y="243"/>
                </a:lnTo>
                <a:lnTo>
                  <a:pt x="299" y="229"/>
                </a:lnTo>
                <a:lnTo>
                  <a:pt x="272" y="229"/>
                </a:lnTo>
                <a:lnTo>
                  <a:pt x="239" y="232"/>
                </a:lnTo>
                <a:lnTo>
                  <a:pt x="185" y="229"/>
                </a:lnTo>
                <a:lnTo>
                  <a:pt x="171" y="220"/>
                </a:lnTo>
                <a:lnTo>
                  <a:pt x="137" y="226"/>
                </a:lnTo>
                <a:lnTo>
                  <a:pt x="122" y="226"/>
                </a:lnTo>
                <a:lnTo>
                  <a:pt x="114" y="195"/>
                </a:lnTo>
                <a:lnTo>
                  <a:pt x="114" y="169"/>
                </a:lnTo>
                <a:lnTo>
                  <a:pt x="117" y="142"/>
                </a:lnTo>
                <a:lnTo>
                  <a:pt x="117" y="118"/>
                </a:lnTo>
                <a:lnTo>
                  <a:pt x="113" y="84"/>
                </a:lnTo>
                <a:lnTo>
                  <a:pt x="101" y="63"/>
                </a:lnTo>
                <a:lnTo>
                  <a:pt x="84" y="48"/>
                </a:lnTo>
                <a:lnTo>
                  <a:pt x="63" y="48"/>
                </a:lnTo>
                <a:lnTo>
                  <a:pt x="50" y="49"/>
                </a:lnTo>
                <a:lnTo>
                  <a:pt x="39" y="49"/>
                </a:lnTo>
                <a:lnTo>
                  <a:pt x="35" y="33"/>
                </a:lnTo>
                <a:lnTo>
                  <a:pt x="26" y="16"/>
                </a:lnTo>
                <a:lnTo>
                  <a:pt x="12" y="12"/>
                </a:lnTo>
                <a:lnTo>
                  <a:pt x="0" y="0"/>
                </a:lnTo>
              </a:path>
            </a:pathLst>
          </a:custGeom>
          <a:noFill/>
          <a:ln w="3175" cap="flat" cmpd="sng">
            <a:solidFill>
              <a:srgbClr val="D9EAF7"/>
            </a:solidFill>
            <a:prstDash val="solid"/>
            <a:round/>
            <a:headEnd/>
            <a:tailEnd/>
          </a:ln>
        </p:spPr>
        <p:txBody>
          <a:bodyPr wrap="none" lIns="32632" tIns="32632" rIns="32632" bIns="32632" anchor="ctr"/>
          <a:lstStyle/>
          <a:p>
            <a:pPr defTabSz="891045"/>
            <a:endParaRPr lang="en-US" sz="1700" dirty="0">
              <a:solidFill>
                <a:srgbClr val="003149"/>
              </a:solidFill>
              <a:cs typeface="Arial" panose="020B0604020202020204" pitchFamily="34" charset="0"/>
            </a:endParaRPr>
          </a:p>
        </p:txBody>
      </p:sp>
      <p:sp>
        <p:nvSpPr>
          <p:cNvPr id="308" name="Freeform 453"/>
          <p:cNvSpPr>
            <a:spLocks noChangeAspect="1"/>
          </p:cNvSpPr>
          <p:nvPr/>
        </p:nvSpPr>
        <p:spPr bwMode="gray">
          <a:xfrm>
            <a:off x="2718479" y="2814842"/>
            <a:ext cx="25590" cy="37306"/>
          </a:xfrm>
          <a:custGeom>
            <a:avLst/>
            <a:gdLst>
              <a:gd name="T0" fmla="*/ 0 w 9571"/>
              <a:gd name="T1" fmla="*/ 0 h 10000"/>
              <a:gd name="T2" fmla="*/ 0 w 9571"/>
              <a:gd name="T3" fmla="*/ 0 h 10000"/>
              <a:gd name="T4" fmla="*/ 0 w 9571"/>
              <a:gd name="T5" fmla="*/ 0 h 10000"/>
              <a:gd name="T6" fmla="*/ 0 w 9571"/>
              <a:gd name="T7" fmla="*/ 0 h 10000"/>
              <a:gd name="T8" fmla="*/ 0 w 9571"/>
              <a:gd name="T9" fmla="*/ 0 h 10000"/>
              <a:gd name="T10" fmla="*/ 0 w 9571"/>
              <a:gd name="T11" fmla="*/ 0 h 1000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9571"/>
              <a:gd name="T19" fmla="*/ 0 h 10000"/>
              <a:gd name="T20" fmla="*/ 9571 w 9571"/>
              <a:gd name="T21" fmla="*/ 10000 h 10000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9571" h="10000">
                <a:moveTo>
                  <a:pt x="0" y="10000"/>
                </a:moveTo>
                <a:lnTo>
                  <a:pt x="3335" y="8727"/>
                </a:lnTo>
                <a:lnTo>
                  <a:pt x="5698" y="6183"/>
                </a:lnTo>
                <a:lnTo>
                  <a:pt x="6988" y="3819"/>
                </a:lnTo>
                <a:lnTo>
                  <a:pt x="8495" y="2181"/>
                </a:lnTo>
                <a:lnTo>
                  <a:pt x="9571" y="0"/>
                </a:lnTo>
              </a:path>
            </a:pathLst>
          </a:custGeom>
          <a:solidFill>
            <a:srgbClr val="70B0DF"/>
          </a:solidFill>
          <a:ln w="3175" cap="flat" cmpd="sng">
            <a:solidFill>
              <a:srgbClr val="D9EAF7"/>
            </a:solidFill>
            <a:prstDash val="solid"/>
            <a:round/>
            <a:headEnd type="none" w="med" len="med"/>
            <a:tailEnd type="none" w="sm" len="sm"/>
          </a:ln>
        </p:spPr>
        <p:txBody>
          <a:bodyPr wrap="none" lIns="32632" tIns="32632" rIns="32632" bIns="32632" anchor="ctr"/>
          <a:lstStyle/>
          <a:p>
            <a:pPr defTabSz="891045"/>
            <a:endParaRPr lang="en-US" sz="1700" dirty="0">
              <a:solidFill>
                <a:srgbClr val="003149"/>
              </a:solidFill>
              <a:cs typeface="Arial" panose="020B0604020202020204" pitchFamily="34" charset="0"/>
            </a:endParaRPr>
          </a:p>
        </p:txBody>
      </p:sp>
      <p:sp>
        <p:nvSpPr>
          <p:cNvPr id="309" name="Freeform 679"/>
          <p:cNvSpPr>
            <a:spLocks noChangeAspect="1"/>
          </p:cNvSpPr>
          <p:nvPr>
            <p:custDataLst>
              <p:tags r:id="rId198"/>
            </p:custDataLst>
          </p:nvPr>
        </p:nvSpPr>
        <p:spPr bwMode="gray">
          <a:xfrm>
            <a:off x="2557838" y="2830651"/>
            <a:ext cx="160649" cy="30131"/>
          </a:xfrm>
          <a:custGeom>
            <a:avLst/>
            <a:gdLst>
              <a:gd name="T0" fmla="*/ 0 w 10000"/>
              <a:gd name="T1" fmla="*/ 0 h 10000"/>
              <a:gd name="T2" fmla="*/ 0 w 10000"/>
              <a:gd name="T3" fmla="*/ 0 h 10000"/>
              <a:gd name="T4" fmla="*/ 0 w 10000"/>
              <a:gd name="T5" fmla="*/ 0 h 10000"/>
              <a:gd name="T6" fmla="*/ 0 w 10000"/>
              <a:gd name="T7" fmla="*/ 0 h 10000"/>
              <a:gd name="T8" fmla="*/ 0 w 10000"/>
              <a:gd name="T9" fmla="*/ 0 h 10000"/>
              <a:gd name="T10" fmla="*/ 0 w 10000"/>
              <a:gd name="T11" fmla="*/ 0 h 10000"/>
              <a:gd name="T12" fmla="*/ 0 w 10000"/>
              <a:gd name="T13" fmla="*/ 0 h 10000"/>
              <a:gd name="T14" fmla="*/ 0 w 10000"/>
              <a:gd name="T15" fmla="*/ 0 h 10000"/>
              <a:gd name="T16" fmla="*/ 0 w 10000"/>
              <a:gd name="T17" fmla="*/ 0 h 10000"/>
              <a:gd name="T18" fmla="*/ 0 w 10000"/>
              <a:gd name="T19" fmla="*/ 0 h 10000"/>
              <a:gd name="T20" fmla="*/ 0 w 10000"/>
              <a:gd name="T21" fmla="*/ 0 h 10000"/>
              <a:gd name="T22" fmla="*/ 0 w 10000"/>
              <a:gd name="T23" fmla="*/ 0 h 10000"/>
              <a:gd name="T24" fmla="*/ 0 w 10000"/>
              <a:gd name="T25" fmla="*/ 0 h 10000"/>
              <a:gd name="T26" fmla="*/ 0 w 10000"/>
              <a:gd name="T27" fmla="*/ 0 h 10000"/>
              <a:gd name="T28" fmla="*/ 0 w 10000"/>
              <a:gd name="T29" fmla="*/ 0 h 10000"/>
              <a:gd name="T30" fmla="*/ 0 w 10000"/>
              <a:gd name="T31" fmla="*/ 0 h 10000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w 10000"/>
              <a:gd name="T49" fmla="*/ 0 h 10000"/>
              <a:gd name="T50" fmla="*/ 10000 w 10000"/>
              <a:gd name="T51" fmla="*/ 10000 h 10000"/>
            </a:gdLst>
            <a:ahLst/>
            <a:cxnLst>
              <a:cxn ang="T32">
                <a:pos x="T0" y="T1"/>
              </a:cxn>
              <a:cxn ang="T33">
                <a:pos x="T2" y="T3"/>
              </a:cxn>
              <a:cxn ang="T34">
                <a:pos x="T4" y="T5"/>
              </a:cxn>
              <a:cxn ang="T35">
                <a:pos x="T6" y="T7"/>
              </a:cxn>
              <a:cxn ang="T36">
                <a:pos x="T8" y="T9"/>
              </a:cxn>
              <a:cxn ang="T37">
                <a:pos x="T10" y="T11"/>
              </a:cxn>
              <a:cxn ang="T38">
                <a:pos x="T12" y="T13"/>
              </a:cxn>
              <a:cxn ang="T39">
                <a:pos x="T14" y="T15"/>
              </a:cxn>
              <a:cxn ang="T40">
                <a:pos x="T16" y="T17"/>
              </a:cxn>
              <a:cxn ang="T41">
                <a:pos x="T18" y="T19"/>
              </a:cxn>
              <a:cxn ang="T42">
                <a:pos x="T20" y="T21"/>
              </a:cxn>
              <a:cxn ang="T43">
                <a:pos x="T22" y="T23"/>
              </a:cxn>
              <a:cxn ang="T44">
                <a:pos x="T24" y="T25"/>
              </a:cxn>
              <a:cxn ang="T45">
                <a:pos x="T26" y="T27"/>
              </a:cxn>
              <a:cxn ang="T46">
                <a:pos x="T28" y="T29"/>
              </a:cxn>
              <a:cxn ang="T47">
                <a:pos x="T30" y="T31"/>
              </a:cxn>
            </a:cxnLst>
            <a:rect l="T48" t="T49" r="T50" b="T51"/>
            <a:pathLst>
              <a:path w="10000" h="10000">
                <a:moveTo>
                  <a:pt x="0" y="1009"/>
                </a:moveTo>
                <a:lnTo>
                  <a:pt x="424" y="0"/>
                </a:lnTo>
                <a:cubicBezTo>
                  <a:pt x="566" y="466"/>
                  <a:pt x="709" y="931"/>
                  <a:pt x="851" y="1397"/>
                </a:cubicBezTo>
                <a:lnTo>
                  <a:pt x="1547" y="2326"/>
                </a:lnTo>
                <a:lnTo>
                  <a:pt x="2167" y="699"/>
                </a:lnTo>
                <a:lnTo>
                  <a:pt x="2747" y="699"/>
                </a:lnTo>
                <a:lnTo>
                  <a:pt x="3771" y="3024"/>
                </a:lnTo>
                <a:lnTo>
                  <a:pt x="4467" y="5815"/>
                </a:lnTo>
                <a:lnTo>
                  <a:pt x="5360" y="8372"/>
                </a:lnTo>
                <a:lnTo>
                  <a:pt x="6095" y="8372"/>
                </a:lnTo>
                <a:lnTo>
                  <a:pt x="6674" y="9302"/>
                </a:lnTo>
                <a:lnTo>
                  <a:pt x="7370" y="9302"/>
                </a:lnTo>
                <a:lnTo>
                  <a:pt x="8067" y="9302"/>
                </a:lnTo>
                <a:lnTo>
                  <a:pt x="9092" y="10000"/>
                </a:lnTo>
                <a:lnTo>
                  <a:pt x="9789" y="8372"/>
                </a:lnTo>
                <a:cubicBezTo>
                  <a:pt x="9860" y="8174"/>
                  <a:pt x="9929" y="7976"/>
                  <a:pt x="10000" y="7778"/>
                </a:cubicBezTo>
              </a:path>
            </a:pathLst>
          </a:custGeom>
          <a:solidFill>
            <a:srgbClr val="70B0DF"/>
          </a:solidFill>
          <a:ln w="3175" cap="flat" cmpd="sng">
            <a:solidFill>
              <a:srgbClr val="D9EAF7"/>
            </a:solidFill>
            <a:prstDash val="solid"/>
            <a:round/>
            <a:headEnd type="none" w="med" len="med"/>
            <a:tailEnd type="none" w="sm" len="sm"/>
          </a:ln>
        </p:spPr>
        <p:txBody>
          <a:bodyPr wrap="none" lIns="32632" tIns="32632" rIns="32632" bIns="32632"/>
          <a:lstStyle/>
          <a:p>
            <a:pPr defTabSz="891045"/>
            <a:endParaRPr lang="en-US" sz="1700" dirty="0">
              <a:solidFill>
                <a:srgbClr val="003149"/>
              </a:solidFill>
              <a:cs typeface="Arial" panose="020B0604020202020204" pitchFamily="34" charset="0"/>
            </a:endParaRPr>
          </a:p>
        </p:txBody>
      </p:sp>
      <p:sp>
        <p:nvSpPr>
          <p:cNvPr id="310" name="Freeform 645"/>
          <p:cNvSpPr>
            <a:spLocks noChangeAspect="1"/>
          </p:cNvSpPr>
          <p:nvPr>
            <p:custDataLst>
              <p:tags r:id="rId199"/>
            </p:custDataLst>
          </p:nvPr>
        </p:nvSpPr>
        <p:spPr bwMode="gray">
          <a:xfrm>
            <a:off x="2601885" y="2935377"/>
            <a:ext cx="137903" cy="10043"/>
          </a:xfrm>
          <a:custGeom>
            <a:avLst/>
            <a:gdLst>
              <a:gd name="T0" fmla="*/ 0 w 906"/>
              <a:gd name="T1" fmla="*/ 0 h 60"/>
              <a:gd name="T2" fmla="*/ 0 w 906"/>
              <a:gd name="T3" fmla="*/ 0 h 60"/>
              <a:gd name="T4" fmla="*/ 0 w 906"/>
              <a:gd name="T5" fmla="*/ 0 h 60"/>
              <a:gd name="T6" fmla="*/ 0 w 906"/>
              <a:gd name="T7" fmla="*/ 0 h 60"/>
              <a:gd name="T8" fmla="*/ 0 w 906"/>
              <a:gd name="T9" fmla="*/ 0 h 60"/>
              <a:gd name="T10" fmla="*/ 0 w 906"/>
              <a:gd name="T11" fmla="*/ 0 h 60"/>
              <a:gd name="T12" fmla="*/ 0 w 906"/>
              <a:gd name="T13" fmla="*/ 0 h 60"/>
              <a:gd name="T14" fmla="*/ 0 w 906"/>
              <a:gd name="T15" fmla="*/ 0 h 60"/>
              <a:gd name="T16" fmla="*/ 0 w 906"/>
              <a:gd name="T17" fmla="*/ 0 h 60"/>
              <a:gd name="T18" fmla="*/ 0 w 906"/>
              <a:gd name="T19" fmla="*/ 0 h 60"/>
              <a:gd name="T20" fmla="*/ 0 w 906"/>
              <a:gd name="T21" fmla="*/ 0 h 60"/>
              <a:gd name="T22" fmla="*/ 0 w 906"/>
              <a:gd name="T23" fmla="*/ 0 h 60"/>
              <a:gd name="T24" fmla="*/ 0 w 906"/>
              <a:gd name="T25" fmla="*/ 0 h 60"/>
              <a:gd name="T26" fmla="*/ 0 w 906"/>
              <a:gd name="T27" fmla="*/ 0 h 60"/>
              <a:gd name="T28" fmla="*/ 0 w 906"/>
              <a:gd name="T29" fmla="*/ 0 h 60"/>
              <a:gd name="T30" fmla="*/ 0 w 906"/>
              <a:gd name="T31" fmla="*/ 0 h 60"/>
              <a:gd name="T32" fmla="*/ 0 w 906"/>
              <a:gd name="T33" fmla="*/ 0 h 60"/>
              <a:gd name="T34" fmla="*/ 0 w 906"/>
              <a:gd name="T35" fmla="*/ 0 h 60"/>
              <a:gd name="T36" fmla="*/ 0 w 906"/>
              <a:gd name="T37" fmla="*/ 0 h 60"/>
              <a:gd name="T38" fmla="*/ 0 w 906"/>
              <a:gd name="T39" fmla="*/ 0 h 60"/>
              <a:gd name="T40" fmla="*/ 0 w 906"/>
              <a:gd name="T41" fmla="*/ 0 h 60"/>
              <a:gd name="T42" fmla="*/ 0 w 906"/>
              <a:gd name="T43" fmla="*/ 0 h 60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w 906"/>
              <a:gd name="T67" fmla="*/ 0 h 60"/>
              <a:gd name="T68" fmla="*/ 906 w 906"/>
              <a:gd name="T69" fmla="*/ 60 h 60"/>
            </a:gdLst>
            <a:ahLst/>
            <a:cxnLst>
              <a:cxn ang="T44">
                <a:pos x="T0" y="T1"/>
              </a:cxn>
              <a:cxn ang="T45">
                <a:pos x="T2" y="T3"/>
              </a:cxn>
              <a:cxn ang="T46">
                <a:pos x="T4" y="T5"/>
              </a:cxn>
              <a:cxn ang="T47">
                <a:pos x="T6" y="T7"/>
              </a:cxn>
              <a:cxn ang="T48">
                <a:pos x="T8" y="T9"/>
              </a:cxn>
              <a:cxn ang="T49">
                <a:pos x="T10" y="T11"/>
              </a:cxn>
              <a:cxn ang="T50">
                <a:pos x="T12" y="T13"/>
              </a:cxn>
              <a:cxn ang="T51">
                <a:pos x="T14" y="T15"/>
              </a:cxn>
              <a:cxn ang="T52">
                <a:pos x="T16" y="T17"/>
              </a:cxn>
              <a:cxn ang="T53">
                <a:pos x="T18" y="T19"/>
              </a:cxn>
              <a:cxn ang="T54">
                <a:pos x="T20" y="T21"/>
              </a:cxn>
              <a:cxn ang="T55">
                <a:pos x="T22" y="T23"/>
              </a:cxn>
              <a:cxn ang="T56">
                <a:pos x="T24" y="T25"/>
              </a:cxn>
              <a:cxn ang="T57">
                <a:pos x="T26" y="T27"/>
              </a:cxn>
              <a:cxn ang="T58">
                <a:pos x="T28" y="T29"/>
              </a:cxn>
              <a:cxn ang="T59">
                <a:pos x="T30" y="T31"/>
              </a:cxn>
              <a:cxn ang="T60">
                <a:pos x="T32" y="T33"/>
              </a:cxn>
              <a:cxn ang="T61">
                <a:pos x="T34" y="T35"/>
              </a:cxn>
              <a:cxn ang="T62">
                <a:pos x="T36" y="T37"/>
              </a:cxn>
              <a:cxn ang="T63">
                <a:pos x="T38" y="T39"/>
              </a:cxn>
              <a:cxn ang="T64">
                <a:pos x="T40" y="T41"/>
              </a:cxn>
              <a:cxn ang="T65">
                <a:pos x="T42" y="T43"/>
              </a:cxn>
            </a:cxnLst>
            <a:rect l="T66" t="T67" r="T68" b="T69"/>
            <a:pathLst>
              <a:path w="906" h="60">
                <a:moveTo>
                  <a:pt x="906" y="16"/>
                </a:moveTo>
                <a:lnTo>
                  <a:pt x="830" y="0"/>
                </a:lnTo>
                <a:lnTo>
                  <a:pt x="754" y="0"/>
                </a:lnTo>
                <a:lnTo>
                  <a:pt x="704" y="18"/>
                </a:lnTo>
                <a:lnTo>
                  <a:pt x="676" y="42"/>
                </a:lnTo>
                <a:lnTo>
                  <a:pt x="650" y="58"/>
                </a:lnTo>
                <a:lnTo>
                  <a:pt x="622" y="58"/>
                </a:lnTo>
                <a:lnTo>
                  <a:pt x="574" y="30"/>
                </a:lnTo>
                <a:lnTo>
                  <a:pt x="554" y="30"/>
                </a:lnTo>
                <a:lnTo>
                  <a:pt x="502" y="10"/>
                </a:lnTo>
                <a:lnTo>
                  <a:pt x="445" y="6"/>
                </a:lnTo>
                <a:lnTo>
                  <a:pt x="391" y="12"/>
                </a:lnTo>
                <a:lnTo>
                  <a:pt x="345" y="24"/>
                </a:lnTo>
                <a:lnTo>
                  <a:pt x="315" y="42"/>
                </a:lnTo>
                <a:lnTo>
                  <a:pt x="279" y="54"/>
                </a:lnTo>
                <a:lnTo>
                  <a:pt x="243" y="58"/>
                </a:lnTo>
                <a:lnTo>
                  <a:pt x="199" y="60"/>
                </a:lnTo>
                <a:lnTo>
                  <a:pt x="165" y="60"/>
                </a:lnTo>
                <a:lnTo>
                  <a:pt x="121" y="60"/>
                </a:lnTo>
                <a:lnTo>
                  <a:pt x="69" y="52"/>
                </a:lnTo>
                <a:lnTo>
                  <a:pt x="31" y="48"/>
                </a:lnTo>
                <a:lnTo>
                  <a:pt x="0" y="34"/>
                </a:lnTo>
              </a:path>
            </a:pathLst>
          </a:custGeom>
          <a:solidFill>
            <a:srgbClr val="70B0DF"/>
          </a:solidFill>
          <a:ln w="3175" cap="flat" cmpd="sng">
            <a:solidFill>
              <a:srgbClr val="D9EAF7"/>
            </a:solidFill>
            <a:prstDash val="solid"/>
            <a:round/>
            <a:headEnd/>
            <a:tailEnd/>
          </a:ln>
        </p:spPr>
        <p:txBody>
          <a:bodyPr wrap="none" lIns="32632" tIns="32632" rIns="32632" bIns="32632" anchor="ctr"/>
          <a:lstStyle/>
          <a:p>
            <a:pPr defTabSz="891045"/>
            <a:endParaRPr lang="en-US" sz="1700" dirty="0">
              <a:solidFill>
                <a:srgbClr val="003149"/>
              </a:solidFill>
              <a:cs typeface="Arial" panose="020B0604020202020204" pitchFamily="34" charset="0"/>
            </a:endParaRPr>
          </a:p>
        </p:txBody>
      </p:sp>
      <p:sp>
        <p:nvSpPr>
          <p:cNvPr id="311" name="Freeform 444"/>
          <p:cNvSpPr>
            <a:spLocks noChangeAspect="1"/>
          </p:cNvSpPr>
          <p:nvPr/>
        </p:nvSpPr>
        <p:spPr bwMode="gray">
          <a:xfrm>
            <a:off x="2502384" y="2956898"/>
            <a:ext cx="45494" cy="11479"/>
          </a:xfrm>
          <a:custGeom>
            <a:avLst/>
            <a:gdLst>
              <a:gd name="T0" fmla="*/ 0 w 10000"/>
              <a:gd name="T1" fmla="*/ 0 h 2717"/>
              <a:gd name="T2" fmla="*/ 0 w 10000"/>
              <a:gd name="T3" fmla="*/ 0 h 2717"/>
              <a:gd name="T4" fmla="*/ 0 w 10000"/>
              <a:gd name="T5" fmla="*/ 0 h 2717"/>
              <a:gd name="T6" fmla="*/ 0 w 10000"/>
              <a:gd name="T7" fmla="*/ 0 h 2717"/>
              <a:gd name="T8" fmla="*/ 0 w 10000"/>
              <a:gd name="T9" fmla="*/ 0 h 2717"/>
              <a:gd name="T10" fmla="*/ 0 w 10000"/>
              <a:gd name="T11" fmla="*/ 0 h 2717"/>
              <a:gd name="T12" fmla="*/ 0 w 10000"/>
              <a:gd name="T13" fmla="*/ 0 h 2717"/>
              <a:gd name="T14" fmla="*/ 0 w 10000"/>
              <a:gd name="T15" fmla="*/ 0 h 2717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10000"/>
              <a:gd name="T25" fmla="*/ 0 h 2717"/>
              <a:gd name="T26" fmla="*/ 10000 w 10000"/>
              <a:gd name="T27" fmla="*/ 2717 h 2717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10000" h="2717">
                <a:moveTo>
                  <a:pt x="10000" y="2717"/>
                </a:moveTo>
                <a:lnTo>
                  <a:pt x="9316" y="1987"/>
                </a:lnTo>
                <a:lnTo>
                  <a:pt x="7305" y="2152"/>
                </a:lnTo>
                <a:lnTo>
                  <a:pt x="5596" y="1159"/>
                </a:lnTo>
                <a:lnTo>
                  <a:pt x="4389" y="1987"/>
                </a:lnTo>
                <a:lnTo>
                  <a:pt x="3184" y="0"/>
                </a:lnTo>
                <a:lnTo>
                  <a:pt x="1575" y="166"/>
                </a:lnTo>
                <a:lnTo>
                  <a:pt x="0" y="539"/>
                </a:lnTo>
              </a:path>
            </a:pathLst>
          </a:custGeom>
          <a:solidFill>
            <a:srgbClr val="70B0DF"/>
          </a:solidFill>
          <a:ln w="3175">
            <a:solidFill>
              <a:srgbClr val="D9EAF7"/>
            </a:solidFill>
            <a:round/>
            <a:headEnd/>
            <a:tailEnd/>
          </a:ln>
        </p:spPr>
        <p:txBody>
          <a:bodyPr wrap="none" lIns="32632" tIns="32632" rIns="32632" bIns="32632" anchor="ctr"/>
          <a:lstStyle/>
          <a:p>
            <a:pPr defTabSz="891045"/>
            <a:endParaRPr lang="en-US" sz="1700" dirty="0">
              <a:solidFill>
                <a:srgbClr val="003149"/>
              </a:solidFill>
              <a:cs typeface="Arial" panose="020B0604020202020204" pitchFamily="34" charset="0"/>
            </a:endParaRPr>
          </a:p>
        </p:txBody>
      </p:sp>
      <p:sp>
        <p:nvSpPr>
          <p:cNvPr id="312" name="Freeform 642"/>
          <p:cNvSpPr>
            <a:spLocks noChangeAspect="1"/>
          </p:cNvSpPr>
          <p:nvPr>
            <p:custDataLst>
              <p:tags r:id="rId200"/>
            </p:custDataLst>
          </p:nvPr>
        </p:nvSpPr>
        <p:spPr bwMode="gray">
          <a:xfrm>
            <a:off x="2485309" y="3030074"/>
            <a:ext cx="89565" cy="78915"/>
          </a:xfrm>
          <a:custGeom>
            <a:avLst/>
            <a:gdLst>
              <a:gd name="T0" fmla="*/ 0 w 10091"/>
              <a:gd name="T1" fmla="*/ 0 h 10000"/>
              <a:gd name="T2" fmla="*/ 0 w 10091"/>
              <a:gd name="T3" fmla="*/ 0 h 10000"/>
              <a:gd name="T4" fmla="*/ 0 w 10091"/>
              <a:gd name="T5" fmla="*/ 0 h 10000"/>
              <a:gd name="T6" fmla="*/ 0 w 10091"/>
              <a:gd name="T7" fmla="*/ 0 h 10000"/>
              <a:gd name="T8" fmla="*/ 0 w 10091"/>
              <a:gd name="T9" fmla="*/ 0 h 10000"/>
              <a:gd name="T10" fmla="*/ 0 w 10091"/>
              <a:gd name="T11" fmla="*/ 0 h 10000"/>
              <a:gd name="T12" fmla="*/ 0 w 10091"/>
              <a:gd name="T13" fmla="*/ 0 h 10000"/>
              <a:gd name="T14" fmla="*/ 0 w 10091"/>
              <a:gd name="T15" fmla="*/ 0 h 10000"/>
              <a:gd name="T16" fmla="*/ 0 w 10091"/>
              <a:gd name="T17" fmla="*/ 0 h 10000"/>
              <a:gd name="T18" fmla="*/ 0 w 10091"/>
              <a:gd name="T19" fmla="*/ 0 h 10000"/>
              <a:gd name="T20" fmla="*/ 0 w 10091"/>
              <a:gd name="T21" fmla="*/ 0 h 10000"/>
              <a:gd name="T22" fmla="*/ 0 w 10091"/>
              <a:gd name="T23" fmla="*/ 0 h 10000"/>
              <a:gd name="T24" fmla="*/ 0 w 10091"/>
              <a:gd name="T25" fmla="*/ 0 h 10000"/>
              <a:gd name="T26" fmla="*/ 0 w 10091"/>
              <a:gd name="T27" fmla="*/ 0 h 10000"/>
              <a:gd name="T28" fmla="*/ 0 w 10091"/>
              <a:gd name="T29" fmla="*/ 0 h 10000"/>
              <a:gd name="T30" fmla="*/ 0 w 10091"/>
              <a:gd name="T31" fmla="*/ 0 h 10000"/>
              <a:gd name="T32" fmla="*/ 0 w 10091"/>
              <a:gd name="T33" fmla="*/ 0 h 10000"/>
              <a:gd name="T34" fmla="*/ 0 w 10091"/>
              <a:gd name="T35" fmla="*/ 0 h 10000"/>
              <a:gd name="T36" fmla="*/ 0 w 10091"/>
              <a:gd name="T37" fmla="*/ 0 h 10000"/>
              <a:gd name="T38" fmla="*/ 0 w 10091"/>
              <a:gd name="T39" fmla="*/ 0 h 10000"/>
              <a:gd name="T40" fmla="*/ 0 w 10091"/>
              <a:gd name="T41" fmla="*/ 0 h 10000"/>
              <a:gd name="T42" fmla="*/ 0 w 10091"/>
              <a:gd name="T43" fmla="*/ 0 h 10000"/>
              <a:gd name="T44" fmla="*/ 0 w 10091"/>
              <a:gd name="T45" fmla="*/ 0 h 10000"/>
              <a:gd name="T46" fmla="*/ 0 w 10091"/>
              <a:gd name="T47" fmla="*/ 0 h 10000"/>
              <a:gd name="T48" fmla="*/ 0 w 10091"/>
              <a:gd name="T49" fmla="*/ 0 h 10000"/>
              <a:gd name="T50" fmla="*/ 0 w 10091"/>
              <a:gd name="T51" fmla="*/ 0 h 10000"/>
              <a:gd name="T52" fmla="*/ 0 w 10091"/>
              <a:gd name="T53" fmla="*/ 0 h 10000"/>
              <a:gd name="T54" fmla="*/ 0 w 10091"/>
              <a:gd name="T55" fmla="*/ 0 h 10000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w 10091"/>
              <a:gd name="T85" fmla="*/ 0 h 10000"/>
              <a:gd name="T86" fmla="*/ 10091 w 10091"/>
              <a:gd name="T87" fmla="*/ 10000 h 10000"/>
            </a:gdLst>
            <a:ahLst/>
            <a:cxnLst>
              <a:cxn ang="T56">
                <a:pos x="T0" y="T1"/>
              </a:cxn>
              <a:cxn ang="T57">
                <a:pos x="T2" y="T3"/>
              </a:cxn>
              <a:cxn ang="T58">
                <a:pos x="T4" y="T5"/>
              </a:cxn>
              <a:cxn ang="T59">
                <a:pos x="T6" y="T7"/>
              </a:cxn>
              <a:cxn ang="T60">
                <a:pos x="T8" y="T9"/>
              </a:cxn>
              <a:cxn ang="T61">
                <a:pos x="T10" y="T11"/>
              </a:cxn>
              <a:cxn ang="T62">
                <a:pos x="T12" y="T13"/>
              </a:cxn>
              <a:cxn ang="T63">
                <a:pos x="T14" y="T15"/>
              </a:cxn>
              <a:cxn ang="T64">
                <a:pos x="T16" y="T17"/>
              </a:cxn>
              <a:cxn ang="T65">
                <a:pos x="T18" y="T19"/>
              </a:cxn>
              <a:cxn ang="T66">
                <a:pos x="T20" y="T21"/>
              </a:cxn>
              <a:cxn ang="T67">
                <a:pos x="T22" y="T23"/>
              </a:cxn>
              <a:cxn ang="T68">
                <a:pos x="T24" y="T25"/>
              </a:cxn>
              <a:cxn ang="T69">
                <a:pos x="T26" y="T27"/>
              </a:cxn>
              <a:cxn ang="T70">
                <a:pos x="T28" y="T29"/>
              </a:cxn>
              <a:cxn ang="T71">
                <a:pos x="T30" y="T31"/>
              </a:cxn>
              <a:cxn ang="T72">
                <a:pos x="T32" y="T33"/>
              </a:cxn>
              <a:cxn ang="T73">
                <a:pos x="T34" y="T35"/>
              </a:cxn>
              <a:cxn ang="T74">
                <a:pos x="T36" y="T37"/>
              </a:cxn>
              <a:cxn ang="T75">
                <a:pos x="T38" y="T39"/>
              </a:cxn>
              <a:cxn ang="T76">
                <a:pos x="T40" y="T41"/>
              </a:cxn>
              <a:cxn ang="T77">
                <a:pos x="T42" y="T43"/>
              </a:cxn>
              <a:cxn ang="T78">
                <a:pos x="T44" y="T45"/>
              </a:cxn>
              <a:cxn ang="T79">
                <a:pos x="T46" y="T47"/>
              </a:cxn>
              <a:cxn ang="T80">
                <a:pos x="T48" y="T49"/>
              </a:cxn>
              <a:cxn ang="T81">
                <a:pos x="T50" y="T51"/>
              </a:cxn>
              <a:cxn ang="T82">
                <a:pos x="T52" y="T53"/>
              </a:cxn>
              <a:cxn ang="T83">
                <a:pos x="T54" y="T55"/>
              </a:cxn>
            </a:cxnLst>
            <a:rect l="T84" t="T85" r="T86" b="T87"/>
            <a:pathLst>
              <a:path w="10091" h="10000">
                <a:moveTo>
                  <a:pt x="10091" y="10000"/>
                </a:moveTo>
                <a:lnTo>
                  <a:pt x="10091" y="9462"/>
                </a:lnTo>
                <a:lnTo>
                  <a:pt x="9749" y="9193"/>
                </a:lnTo>
                <a:lnTo>
                  <a:pt x="9543" y="8744"/>
                </a:lnTo>
                <a:lnTo>
                  <a:pt x="9269" y="8386"/>
                </a:lnTo>
                <a:lnTo>
                  <a:pt x="9029" y="7982"/>
                </a:lnTo>
                <a:lnTo>
                  <a:pt x="8447" y="7668"/>
                </a:lnTo>
                <a:lnTo>
                  <a:pt x="7831" y="7444"/>
                </a:lnTo>
                <a:lnTo>
                  <a:pt x="7420" y="7444"/>
                </a:lnTo>
                <a:lnTo>
                  <a:pt x="6975" y="6906"/>
                </a:lnTo>
                <a:lnTo>
                  <a:pt x="6255" y="6502"/>
                </a:lnTo>
                <a:lnTo>
                  <a:pt x="5879" y="6502"/>
                </a:lnTo>
                <a:lnTo>
                  <a:pt x="5570" y="6054"/>
                </a:lnTo>
                <a:lnTo>
                  <a:pt x="5057" y="6054"/>
                </a:lnTo>
                <a:lnTo>
                  <a:pt x="4543" y="5830"/>
                </a:lnTo>
                <a:cubicBezTo>
                  <a:pt x="4475" y="5650"/>
                  <a:pt x="4406" y="5471"/>
                  <a:pt x="4338" y="5291"/>
                </a:cubicBezTo>
                <a:lnTo>
                  <a:pt x="3995" y="5247"/>
                </a:lnTo>
                <a:cubicBezTo>
                  <a:pt x="3972" y="4978"/>
                  <a:pt x="3950" y="4708"/>
                  <a:pt x="3927" y="4439"/>
                </a:cubicBezTo>
                <a:lnTo>
                  <a:pt x="3413" y="4036"/>
                </a:lnTo>
                <a:cubicBezTo>
                  <a:pt x="3367" y="3812"/>
                  <a:pt x="3322" y="3587"/>
                  <a:pt x="3276" y="3363"/>
                </a:cubicBezTo>
                <a:lnTo>
                  <a:pt x="3002" y="3004"/>
                </a:lnTo>
                <a:cubicBezTo>
                  <a:pt x="2933" y="2780"/>
                  <a:pt x="2865" y="2556"/>
                  <a:pt x="2796" y="2332"/>
                </a:cubicBezTo>
                <a:lnTo>
                  <a:pt x="2351" y="1928"/>
                </a:lnTo>
                <a:lnTo>
                  <a:pt x="1735" y="1345"/>
                </a:lnTo>
                <a:lnTo>
                  <a:pt x="1324" y="448"/>
                </a:lnTo>
                <a:lnTo>
                  <a:pt x="913" y="448"/>
                </a:lnTo>
                <a:lnTo>
                  <a:pt x="639" y="0"/>
                </a:lnTo>
                <a:cubicBezTo>
                  <a:pt x="456" y="0"/>
                  <a:pt x="183" y="352"/>
                  <a:pt x="0" y="352"/>
                </a:cubicBezTo>
              </a:path>
            </a:pathLst>
          </a:custGeom>
          <a:noFill/>
          <a:ln w="3175" cap="flat" cmpd="sng">
            <a:solidFill>
              <a:srgbClr val="D9EAF7"/>
            </a:solidFill>
            <a:prstDash val="solid"/>
            <a:round/>
            <a:headEnd/>
            <a:tailEnd/>
          </a:ln>
        </p:spPr>
        <p:txBody>
          <a:bodyPr wrap="none" lIns="32632" tIns="32632" rIns="32632" bIns="32632" anchor="ctr"/>
          <a:lstStyle/>
          <a:p>
            <a:pPr defTabSz="891045"/>
            <a:endParaRPr lang="en-US" sz="1700" dirty="0">
              <a:solidFill>
                <a:srgbClr val="003149"/>
              </a:solidFill>
              <a:cs typeface="Arial" panose="020B0604020202020204" pitchFamily="34" charset="0"/>
            </a:endParaRPr>
          </a:p>
        </p:txBody>
      </p:sp>
      <p:sp>
        <p:nvSpPr>
          <p:cNvPr id="313" name="Freeform 640"/>
          <p:cNvSpPr>
            <a:spLocks noChangeAspect="1"/>
          </p:cNvSpPr>
          <p:nvPr>
            <p:custDataLst>
              <p:tags r:id="rId201"/>
            </p:custDataLst>
          </p:nvPr>
        </p:nvSpPr>
        <p:spPr bwMode="gray">
          <a:xfrm>
            <a:off x="2574873" y="3093200"/>
            <a:ext cx="27012" cy="15784"/>
          </a:xfrm>
          <a:custGeom>
            <a:avLst/>
            <a:gdLst>
              <a:gd name="T0" fmla="*/ 0 w 172"/>
              <a:gd name="T1" fmla="*/ 0 h 96"/>
              <a:gd name="T2" fmla="*/ 0 w 172"/>
              <a:gd name="T3" fmla="*/ 0 h 96"/>
              <a:gd name="T4" fmla="*/ 0 w 172"/>
              <a:gd name="T5" fmla="*/ 0 h 96"/>
              <a:gd name="T6" fmla="*/ 0 w 172"/>
              <a:gd name="T7" fmla="*/ 0 h 96"/>
              <a:gd name="T8" fmla="*/ 0 w 172"/>
              <a:gd name="T9" fmla="*/ 0 h 96"/>
              <a:gd name="T10" fmla="*/ 0 w 172"/>
              <a:gd name="T11" fmla="*/ 0 h 96"/>
              <a:gd name="T12" fmla="*/ 0 w 172"/>
              <a:gd name="T13" fmla="*/ 0 h 96"/>
              <a:gd name="T14" fmla="*/ 0 w 172"/>
              <a:gd name="T15" fmla="*/ 0 h 96"/>
              <a:gd name="T16" fmla="*/ 0 w 172"/>
              <a:gd name="T17" fmla="*/ 0 h 9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172"/>
              <a:gd name="T28" fmla="*/ 0 h 96"/>
              <a:gd name="T29" fmla="*/ 172 w 172"/>
              <a:gd name="T30" fmla="*/ 96 h 96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172" h="96">
                <a:moveTo>
                  <a:pt x="172" y="0"/>
                </a:moveTo>
                <a:lnTo>
                  <a:pt x="162" y="18"/>
                </a:lnTo>
                <a:lnTo>
                  <a:pt x="132" y="18"/>
                </a:lnTo>
                <a:lnTo>
                  <a:pt x="100" y="20"/>
                </a:lnTo>
                <a:lnTo>
                  <a:pt x="76" y="32"/>
                </a:lnTo>
                <a:lnTo>
                  <a:pt x="58" y="48"/>
                </a:lnTo>
                <a:lnTo>
                  <a:pt x="48" y="68"/>
                </a:lnTo>
                <a:lnTo>
                  <a:pt x="22" y="72"/>
                </a:lnTo>
                <a:lnTo>
                  <a:pt x="0" y="96"/>
                </a:lnTo>
              </a:path>
            </a:pathLst>
          </a:custGeom>
          <a:noFill/>
          <a:ln w="3175" cap="flat" cmpd="sng">
            <a:solidFill>
              <a:srgbClr val="D9EAF7"/>
            </a:solidFill>
            <a:prstDash val="solid"/>
            <a:round/>
            <a:headEnd/>
            <a:tailEnd/>
          </a:ln>
        </p:spPr>
        <p:txBody>
          <a:bodyPr wrap="none" lIns="32632" tIns="32632" rIns="32632" bIns="32632" anchor="ctr"/>
          <a:lstStyle/>
          <a:p>
            <a:pPr defTabSz="891045"/>
            <a:endParaRPr lang="en-US" sz="1700" dirty="0">
              <a:solidFill>
                <a:srgbClr val="003149"/>
              </a:solidFill>
              <a:cs typeface="Arial" panose="020B0604020202020204" pitchFamily="34" charset="0"/>
            </a:endParaRPr>
          </a:p>
        </p:txBody>
      </p:sp>
      <p:sp>
        <p:nvSpPr>
          <p:cNvPr id="314" name="Freeform 791"/>
          <p:cNvSpPr>
            <a:spLocks noChangeAspect="1"/>
          </p:cNvSpPr>
          <p:nvPr>
            <p:custDataLst>
              <p:tags r:id="rId202"/>
            </p:custDataLst>
          </p:nvPr>
        </p:nvSpPr>
        <p:spPr bwMode="gray">
          <a:xfrm>
            <a:off x="2903280" y="2932498"/>
            <a:ext cx="32699" cy="103308"/>
          </a:xfrm>
          <a:custGeom>
            <a:avLst/>
            <a:gdLst>
              <a:gd name="T0" fmla="*/ 0 w 10000"/>
              <a:gd name="T1" fmla="*/ 0 h 10061"/>
              <a:gd name="T2" fmla="*/ 0 w 10000"/>
              <a:gd name="T3" fmla="*/ 0 h 10061"/>
              <a:gd name="T4" fmla="*/ 0 w 10000"/>
              <a:gd name="T5" fmla="*/ 0 h 10061"/>
              <a:gd name="T6" fmla="*/ 0 w 10000"/>
              <a:gd name="T7" fmla="*/ 0 h 10061"/>
              <a:gd name="T8" fmla="*/ 0 w 10000"/>
              <a:gd name="T9" fmla="*/ 0 h 10061"/>
              <a:gd name="T10" fmla="*/ 0 w 10000"/>
              <a:gd name="T11" fmla="*/ 0 h 10061"/>
              <a:gd name="T12" fmla="*/ 0 w 10000"/>
              <a:gd name="T13" fmla="*/ 0 h 10061"/>
              <a:gd name="T14" fmla="*/ 0 w 10000"/>
              <a:gd name="T15" fmla="*/ 0 h 10061"/>
              <a:gd name="T16" fmla="*/ 0 w 10000"/>
              <a:gd name="T17" fmla="*/ 0 h 10061"/>
              <a:gd name="T18" fmla="*/ 0 w 10000"/>
              <a:gd name="T19" fmla="*/ 0 h 10061"/>
              <a:gd name="T20" fmla="*/ 0 w 10000"/>
              <a:gd name="T21" fmla="*/ 0 h 10061"/>
              <a:gd name="T22" fmla="*/ 0 w 10000"/>
              <a:gd name="T23" fmla="*/ 0 h 10061"/>
              <a:gd name="T24" fmla="*/ 0 w 10000"/>
              <a:gd name="T25" fmla="*/ 0 h 10061"/>
              <a:gd name="T26" fmla="*/ 0 w 10000"/>
              <a:gd name="T27" fmla="*/ 0 h 10061"/>
              <a:gd name="T28" fmla="*/ 0 w 10000"/>
              <a:gd name="T29" fmla="*/ 0 h 10061"/>
              <a:gd name="T30" fmla="*/ 0 w 10000"/>
              <a:gd name="T31" fmla="*/ 0 h 10061"/>
              <a:gd name="T32" fmla="*/ 0 w 10000"/>
              <a:gd name="T33" fmla="*/ 0 h 10061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w 10000"/>
              <a:gd name="T52" fmla="*/ 0 h 10061"/>
              <a:gd name="T53" fmla="*/ 10000 w 10000"/>
              <a:gd name="T54" fmla="*/ 10061 h 10061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T51" t="T52" r="T53" b="T54"/>
            <a:pathLst>
              <a:path w="10000" h="10061">
                <a:moveTo>
                  <a:pt x="10000" y="10061"/>
                </a:moveTo>
                <a:lnTo>
                  <a:pt x="9117" y="9038"/>
                </a:lnTo>
                <a:lnTo>
                  <a:pt x="7059" y="8200"/>
                </a:lnTo>
                <a:lnTo>
                  <a:pt x="5588" y="7257"/>
                </a:lnTo>
                <a:lnTo>
                  <a:pt x="5001" y="6418"/>
                </a:lnTo>
                <a:lnTo>
                  <a:pt x="3824" y="5580"/>
                </a:lnTo>
                <a:lnTo>
                  <a:pt x="3824" y="5265"/>
                </a:lnTo>
                <a:lnTo>
                  <a:pt x="2942" y="4950"/>
                </a:lnTo>
                <a:lnTo>
                  <a:pt x="2353" y="4322"/>
                </a:lnTo>
                <a:lnTo>
                  <a:pt x="1471" y="4007"/>
                </a:lnTo>
                <a:lnTo>
                  <a:pt x="881" y="3274"/>
                </a:lnTo>
                <a:lnTo>
                  <a:pt x="0" y="2854"/>
                </a:lnTo>
                <a:lnTo>
                  <a:pt x="0" y="2226"/>
                </a:lnTo>
                <a:lnTo>
                  <a:pt x="1176" y="1387"/>
                </a:lnTo>
                <a:lnTo>
                  <a:pt x="2059" y="758"/>
                </a:lnTo>
                <a:lnTo>
                  <a:pt x="2059" y="340"/>
                </a:lnTo>
                <a:cubicBezTo>
                  <a:pt x="2059" y="199"/>
                  <a:pt x="2596" y="-137"/>
                  <a:pt x="1791" y="61"/>
                </a:cubicBezTo>
              </a:path>
            </a:pathLst>
          </a:custGeom>
          <a:noFill/>
          <a:ln w="3175" cap="flat" cmpd="sng">
            <a:solidFill>
              <a:srgbClr val="D9EAF7"/>
            </a:solidFill>
            <a:prstDash val="solid"/>
            <a:round/>
            <a:headEnd/>
            <a:tailEnd/>
          </a:ln>
        </p:spPr>
        <p:txBody>
          <a:bodyPr wrap="none" lIns="32632" tIns="32632" rIns="32632" bIns="32632" anchor="ctr"/>
          <a:lstStyle/>
          <a:p>
            <a:pPr defTabSz="891045"/>
            <a:endParaRPr lang="en-US" sz="1700" dirty="0">
              <a:solidFill>
                <a:srgbClr val="003149"/>
              </a:solidFill>
              <a:cs typeface="Arial" panose="020B0604020202020204" pitchFamily="34" charset="0"/>
            </a:endParaRPr>
          </a:p>
        </p:txBody>
      </p:sp>
      <p:sp>
        <p:nvSpPr>
          <p:cNvPr id="315" name="Freeform 796"/>
          <p:cNvSpPr>
            <a:spLocks noChangeAspect="1"/>
          </p:cNvSpPr>
          <p:nvPr>
            <p:custDataLst>
              <p:tags r:id="rId203"/>
            </p:custDataLst>
          </p:nvPr>
        </p:nvSpPr>
        <p:spPr bwMode="gray">
          <a:xfrm>
            <a:off x="2908967" y="2923914"/>
            <a:ext cx="103782" cy="109047"/>
          </a:xfrm>
          <a:custGeom>
            <a:avLst/>
            <a:gdLst>
              <a:gd name="T0" fmla="*/ 0 w 10080"/>
              <a:gd name="T1" fmla="*/ 0 h 10000"/>
              <a:gd name="T2" fmla="*/ 0 w 10080"/>
              <a:gd name="T3" fmla="*/ 0 h 10000"/>
              <a:gd name="T4" fmla="*/ 0 w 10080"/>
              <a:gd name="T5" fmla="*/ 0 h 10000"/>
              <a:gd name="T6" fmla="*/ 0 w 10080"/>
              <a:gd name="T7" fmla="*/ 0 h 10000"/>
              <a:gd name="T8" fmla="*/ 0 w 10080"/>
              <a:gd name="T9" fmla="*/ 0 h 10000"/>
              <a:gd name="T10" fmla="*/ 0 w 10080"/>
              <a:gd name="T11" fmla="*/ 0 h 10000"/>
              <a:gd name="T12" fmla="*/ 0 w 10080"/>
              <a:gd name="T13" fmla="*/ 0 h 10000"/>
              <a:gd name="T14" fmla="*/ 0 w 10080"/>
              <a:gd name="T15" fmla="*/ 0 h 10000"/>
              <a:gd name="T16" fmla="*/ 0 w 10080"/>
              <a:gd name="T17" fmla="*/ 0 h 10000"/>
              <a:gd name="T18" fmla="*/ 0 w 10080"/>
              <a:gd name="T19" fmla="*/ 0 h 10000"/>
              <a:gd name="T20" fmla="*/ 0 w 10080"/>
              <a:gd name="T21" fmla="*/ 0 h 10000"/>
              <a:gd name="T22" fmla="*/ 0 w 10080"/>
              <a:gd name="T23" fmla="*/ 0 h 10000"/>
              <a:gd name="T24" fmla="*/ 0 w 10080"/>
              <a:gd name="T25" fmla="*/ 0 h 10000"/>
              <a:gd name="T26" fmla="*/ 0 w 10080"/>
              <a:gd name="T27" fmla="*/ 0 h 10000"/>
              <a:gd name="T28" fmla="*/ 0 w 10080"/>
              <a:gd name="T29" fmla="*/ 0 h 10000"/>
              <a:gd name="T30" fmla="*/ 0 w 10080"/>
              <a:gd name="T31" fmla="*/ 0 h 10000"/>
              <a:gd name="T32" fmla="*/ 0 w 10080"/>
              <a:gd name="T33" fmla="*/ 0 h 10000"/>
              <a:gd name="T34" fmla="*/ 0 w 10080"/>
              <a:gd name="T35" fmla="*/ 0 h 10000"/>
              <a:gd name="T36" fmla="*/ 0 w 10080"/>
              <a:gd name="T37" fmla="*/ 0 h 10000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w 10080"/>
              <a:gd name="T58" fmla="*/ 0 h 10000"/>
              <a:gd name="T59" fmla="*/ 10080 w 10080"/>
              <a:gd name="T60" fmla="*/ 10000 h 10000"/>
            </a:gdLst>
            <a:ahLst/>
            <a:cxnLst>
              <a:cxn ang="T38">
                <a:pos x="T0" y="T1"/>
              </a:cxn>
              <a:cxn ang="T39">
                <a:pos x="T2" y="T3"/>
              </a:cxn>
              <a:cxn ang="T40">
                <a:pos x="T4" y="T5"/>
              </a:cxn>
              <a:cxn ang="T41">
                <a:pos x="T6" y="T7"/>
              </a:cxn>
              <a:cxn ang="T42">
                <a:pos x="T8" y="T9"/>
              </a:cxn>
              <a:cxn ang="T43">
                <a:pos x="T10" y="T11"/>
              </a:cxn>
              <a:cxn ang="T44">
                <a:pos x="T12" y="T13"/>
              </a:cxn>
              <a:cxn ang="T45">
                <a:pos x="T14" y="T15"/>
              </a:cxn>
              <a:cxn ang="T46">
                <a:pos x="T16" y="T17"/>
              </a:cxn>
              <a:cxn ang="T47">
                <a:pos x="T18" y="T19"/>
              </a:cxn>
              <a:cxn ang="T48">
                <a:pos x="T20" y="T21"/>
              </a:cxn>
              <a:cxn ang="T49">
                <a:pos x="T22" y="T23"/>
              </a:cxn>
              <a:cxn ang="T50">
                <a:pos x="T24" y="T25"/>
              </a:cxn>
              <a:cxn ang="T51">
                <a:pos x="T26" y="T27"/>
              </a:cxn>
              <a:cxn ang="T52">
                <a:pos x="T28" y="T29"/>
              </a:cxn>
              <a:cxn ang="T53">
                <a:pos x="T30" y="T31"/>
              </a:cxn>
              <a:cxn ang="T54">
                <a:pos x="T32" y="T33"/>
              </a:cxn>
              <a:cxn ang="T55">
                <a:pos x="T34" y="T35"/>
              </a:cxn>
              <a:cxn ang="T56">
                <a:pos x="T36" y="T37"/>
              </a:cxn>
            </a:cxnLst>
            <a:rect l="T57" t="T58" r="T59" b="T60"/>
            <a:pathLst>
              <a:path w="10080" h="10000">
                <a:moveTo>
                  <a:pt x="0" y="840"/>
                </a:moveTo>
                <a:lnTo>
                  <a:pt x="633" y="567"/>
                </a:lnTo>
                <a:lnTo>
                  <a:pt x="1208" y="71"/>
                </a:lnTo>
                <a:lnTo>
                  <a:pt x="1938" y="0"/>
                </a:lnTo>
                <a:lnTo>
                  <a:pt x="2580" y="0"/>
                </a:lnTo>
                <a:lnTo>
                  <a:pt x="3487" y="71"/>
                </a:lnTo>
                <a:lnTo>
                  <a:pt x="4018" y="449"/>
                </a:lnTo>
                <a:lnTo>
                  <a:pt x="4726" y="969"/>
                </a:lnTo>
                <a:lnTo>
                  <a:pt x="5434" y="1797"/>
                </a:lnTo>
                <a:lnTo>
                  <a:pt x="6341" y="3144"/>
                </a:lnTo>
                <a:lnTo>
                  <a:pt x="6872" y="3901"/>
                </a:lnTo>
                <a:lnTo>
                  <a:pt x="7403" y="4799"/>
                </a:lnTo>
                <a:lnTo>
                  <a:pt x="7934" y="5437"/>
                </a:lnTo>
                <a:lnTo>
                  <a:pt x="8111" y="6336"/>
                </a:lnTo>
                <a:lnTo>
                  <a:pt x="8664" y="6785"/>
                </a:lnTo>
                <a:lnTo>
                  <a:pt x="9372" y="7778"/>
                </a:lnTo>
                <a:lnTo>
                  <a:pt x="9792" y="8463"/>
                </a:lnTo>
                <a:lnTo>
                  <a:pt x="10080" y="9243"/>
                </a:lnTo>
                <a:lnTo>
                  <a:pt x="9969" y="10000"/>
                </a:lnTo>
              </a:path>
            </a:pathLst>
          </a:custGeom>
          <a:noFill/>
          <a:ln w="3175" cap="flat" cmpd="sng">
            <a:solidFill>
              <a:srgbClr val="D9EAF7"/>
            </a:solidFill>
            <a:prstDash val="solid"/>
            <a:round/>
            <a:headEnd type="none" w="med" len="med"/>
            <a:tailEnd type="none" w="med" len="med"/>
          </a:ln>
        </p:spPr>
        <p:txBody>
          <a:bodyPr wrap="none" lIns="32632" tIns="32632" rIns="32632" bIns="32632" anchor="ctr"/>
          <a:lstStyle/>
          <a:p>
            <a:pPr defTabSz="891045"/>
            <a:endParaRPr lang="en-US" sz="1700" dirty="0">
              <a:solidFill>
                <a:srgbClr val="003149"/>
              </a:solidFill>
              <a:cs typeface="Arial" panose="020B0604020202020204" pitchFamily="34" charset="0"/>
            </a:endParaRPr>
          </a:p>
        </p:txBody>
      </p:sp>
      <p:sp>
        <p:nvSpPr>
          <p:cNvPr id="316" name="Freeform 644"/>
          <p:cNvSpPr>
            <a:spLocks noChangeAspect="1"/>
          </p:cNvSpPr>
          <p:nvPr>
            <p:custDataLst>
              <p:tags r:id="rId204"/>
            </p:custDataLst>
          </p:nvPr>
        </p:nvSpPr>
        <p:spPr bwMode="gray">
          <a:xfrm>
            <a:off x="2708514" y="2994200"/>
            <a:ext cx="58288" cy="77481"/>
          </a:xfrm>
          <a:custGeom>
            <a:avLst/>
            <a:gdLst>
              <a:gd name="T0" fmla="*/ 0 w 10000"/>
              <a:gd name="T1" fmla="*/ 0 h 10181"/>
              <a:gd name="T2" fmla="*/ 0 w 10000"/>
              <a:gd name="T3" fmla="*/ 0 h 10181"/>
              <a:gd name="T4" fmla="*/ 0 w 10000"/>
              <a:gd name="T5" fmla="*/ 0 h 10181"/>
              <a:gd name="T6" fmla="*/ 0 w 10000"/>
              <a:gd name="T7" fmla="*/ 0 h 10181"/>
              <a:gd name="T8" fmla="*/ 0 w 10000"/>
              <a:gd name="T9" fmla="*/ 0 h 10181"/>
              <a:gd name="T10" fmla="*/ 0 w 10000"/>
              <a:gd name="T11" fmla="*/ 0 h 10181"/>
              <a:gd name="T12" fmla="*/ 0 w 10000"/>
              <a:gd name="T13" fmla="*/ 0 h 10181"/>
              <a:gd name="T14" fmla="*/ 0 w 10000"/>
              <a:gd name="T15" fmla="*/ 0 h 10181"/>
              <a:gd name="T16" fmla="*/ 0 w 10000"/>
              <a:gd name="T17" fmla="*/ 0 h 10181"/>
              <a:gd name="T18" fmla="*/ 0 w 10000"/>
              <a:gd name="T19" fmla="*/ 0 h 10181"/>
              <a:gd name="T20" fmla="*/ 0 w 10000"/>
              <a:gd name="T21" fmla="*/ 0 h 10181"/>
              <a:gd name="T22" fmla="*/ 0 w 10000"/>
              <a:gd name="T23" fmla="*/ 0 h 10181"/>
              <a:gd name="T24" fmla="*/ 0 w 10000"/>
              <a:gd name="T25" fmla="*/ 0 h 10181"/>
              <a:gd name="T26" fmla="*/ 0 w 10000"/>
              <a:gd name="T27" fmla="*/ 0 h 10181"/>
              <a:gd name="T28" fmla="*/ 0 w 10000"/>
              <a:gd name="T29" fmla="*/ 0 h 10181"/>
              <a:gd name="T30" fmla="*/ 0 w 10000"/>
              <a:gd name="T31" fmla="*/ 0 h 10181"/>
              <a:gd name="T32" fmla="*/ 0 w 10000"/>
              <a:gd name="T33" fmla="*/ 0 h 10181"/>
              <a:gd name="T34" fmla="*/ 0 w 10000"/>
              <a:gd name="T35" fmla="*/ 0 h 10181"/>
              <a:gd name="T36" fmla="*/ 0 w 10000"/>
              <a:gd name="T37" fmla="*/ 0 h 10181"/>
              <a:gd name="T38" fmla="*/ 0 w 10000"/>
              <a:gd name="T39" fmla="*/ 0 h 10181"/>
              <a:gd name="T40" fmla="*/ 0 w 10000"/>
              <a:gd name="T41" fmla="*/ 0 h 10181"/>
              <a:gd name="T42" fmla="*/ 0 w 10000"/>
              <a:gd name="T43" fmla="*/ 0 h 10181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w 10000"/>
              <a:gd name="T67" fmla="*/ 0 h 10181"/>
              <a:gd name="T68" fmla="*/ 10000 w 10000"/>
              <a:gd name="T69" fmla="*/ 10181 h 10181"/>
            </a:gdLst>
            <a:ahLst/>
            <a:cxnLst>
              <a:cxn ang="T44">
                <a:pos x="T0" y="T1"/>
              </a:cxn>
              <a:cxn ang="T45">
                <a:pos x="T2" y="T3"/>
              </a:cxn>
              <a:cxn ang="T46">
                <a:pos x="T4" y="T5"/>
              </a:cxn>
              <a:cxn ang="T47">
                <a:pos x="T6" y="T7"/>
              </a:cxn>
              <a:cxn ang="T48">
                <a:pos x="T8" y="T9"/>
              </a:cxn>
              <a:cxn ang="T49">
                <a:pos x="T10" y="T11"/>
              </a:cxn>
              <a:cxn ang="T50">
                <a:pos x="T12" y="T13"/>
              </a:cxn>
              <a:cxn ang="T51">
                <a:pos x="T14" y="T15"/>
              </a:cxn>
              <a:cxn ang="T52">
                <a:pos x="T16" y="T17"/>
              </a:cxn>
              <a:cxn ang="T53">
                <a:pos x="T18" y="T19"/>
              </a:cxn>
              <a:cxn ang="T54">
                <a:pos x="T20" y="T21"/>
              </a:cxn>
              <a:cxn ang="T55">
                <a:pos x="T22" y="T23"/>
              </a:cxn>
              <a:cxn ang="T56">
                <a:pos x="T24" y="T25"/>
              </a:cxn>
              <a:cxn ang="T57">
                <a:pos x="T26" y="T27"/>
              </a:cxn>
              <a:cxn ang="T58">
                <a:pos x="T28" y="T29"/>
              </a:cxn>
              <a:cxn ang="T59">
                <a:pos x="T30" y="T31"/>
              </a:cxn>
              <a:cxn ang="T60">
                <a:pos x="T32" y="T33"/>
              </a:cxn>
              <a:cxn ang="T61">
                <a:pos x="T34" y="T35"/>
              </a:cxn>
              <a:cxn ang="T62">
                <a:pos x="T36" y="T37"/>
              </a:cxn>
              <a:cxn ang="T63">
                <a:pos x="T38" y="T39"/>
              </a:cxn>
              <a:cxn ang="T64">
                <a:pos x="T40" y="T41"/>
              </a:cxn>
              <a:cxn ang="T65">
                <a:pos x="T42" y="T43"/>
              </a:cxn>
            </a:cxnLst>
            <a:rect l="T66" t="T67" r="T68" b="T69"/>
            <a:pathLst>
              <a:path w="10000" h="10181">
                <a:moveTo>
                  <a:pt x="257" y="10181"/>
                </a:moveTo>
                <a:lnTo>
                  <a:pt x="0" y="9414"/>
                </a:lnTo>
                <a:cubicBezTo>
                  <a:pt x="69" y="9099"/>
                  <a:pt x="139" y="8783"/>
                  <a:pt x="208" y="8468"/>
                </a:cubicBezTo>
                <a:lnTo>
                  <a:pt x="781" y="7838"/>
                </a:lnTo>
                <a:cubicBezTo>
                  <a:pt x="798" y="7568"/>
                  <a:pt x="816" y="7297"/>
                  <a:pt x="833" y="7027"/>
                </a:cubicBezTo>
                <a:lnTo>
                  <a:pt x="1146" y="6486"/>
                </a:lnTo>
                <a:lnTo>
                  <a:pt x="1146" y="5541"/>
                </a:lnTo>
                <a:lnTo>
                  <a:pt x="1146" y="4595"/>
                </a:lnTo>
                <a:cubicBezTo>
                  <a:pt x="1129" y="4310"/>
                  <a:pt x="1111" y="4024"/>
                  <a:pt x="1094" y="3739"/>
                </a:cubicBezTo>
                <a:lnTo>
                  <a:pt x="1615" y="3378"/>
                </a:lnTo>
                <a:lnTo>
                  <a:pt x="2240" y="3108"/>
                </a:lnTo>
                <a:lnTo>
                  <a:pt x="3125" y="3063"/>
                </a:lnTo>
                <a:lnTo>
                  <a:pt x="3646" y="2432"/>
                </a:lnTo>
                <a:lnTo>
                  <a:pt x="4740" y="1577"/>
                </a:lnTo>
                <a:lnTo>
                  <a:pt x="5469" y="1306"/>
                </a:lnTo>
                <a:lnTo>
                  <a:pt x="6563" y="1306"/>
                </a:lnTo>
                <a:lnTo>
                  <a:pt x="7500" y="1306"/>
                </a:lnTo>
                <a:lnTo>
                  <a:pt x="7969" y="1486"/>
                </a:lnTo>
                <a:lnTo>
                  <a:pt x="8750" y="1622"/>
                </a:lnTo>
                <a:lnTo>
                  <a:pt x="9063" y="1081"/>
                </a:lnTo>
                <a:lnTo>
                  <a:pt x="9688" y="495"/>
                </a:lnTo>
                <a:lnTo>
                  <a:pt x="10000" y="0"/>
                </a:lnTo>
              </a:path>
            </a:pathLst>
          </a:custGeom>
          <a:noFill/>
          <a:ln w="3175" cap="flat" cmpd="sng">
            <a:solidFill>
              <a:srgbClr val="D9EAF7"/>
            </a:solidFill>
            <a:prstDash val="solid"/>
            <a:round/>
            <a:headEnd/>
            <a:tailEnd/>
          </a:ln>
        </p:spPr>
        <p:txBody>
          <a:bodyPr wrap="none" lIns="32632" tIns="32632" rIns="32632" bIns="32632" anchor="ctr"/>
          <a:lstStyle/>
          <a:p>
            <a:pPr defTabSz="891045"/>
            <a:endParaRPr lang="en-US" sz="1700" dirty="0">
              <a:solidFill>
                <a:srgbClr val="003149"/>
              </a:solidFill>
              <a:cs typeface="Arial" panose="020B0604020202020204" pitchFamily="34" charset="0"/>
            </a:endParaRPr>
          </a:p>
        </p:txBody>
      </p:sp>
      <p:sp>
        <p:nvSpPr>
          <p:cNvPr id="317" name="Freeform 638"/>
          <p:cNvSpPr>
            <a:spLocks noChangeAspect="1"/>
          </p:cNvSpPr>
          <p:nvPr>
            <p:custDataLst>
              <p:tags r:id="rId205"/>
            </p:custDataLst>
          </p:nvPr>
        </p:nvSpPr>
        <p:spPr bwMode="gray">
          <a:xfrm>
            <a:off x="2665876" y="3070282"/>
            <a:ext cx="45494" cy="182223"/>
          </a:xfrm>
          <a:custGeom>
            <a:avLst/>
            <a:gdLst>
              <a:gd name="T0" fmla="*/ 473927113 w 145"/>
              <a:gd name="T1" fmla="*/ 0 h 512"/>
              <a:gd name="T2" fmla="*/ 473927113 w 145"/>
              <a:gd name="T3" fmla="*/ 532676227 h 512"/>
              <a:gd name="T4" fmla="*/ 473927113 w 145"/>
              <a:gd name="T5" fmla="*/ 532676227 h 512"/>
              <a:gd name="T6" fmla="*/ 473927113 w 145"/>
              <a:gd name="T7" fmla="*/ 532676227 h 512"/>
              <a:gd name="T8" fmla="*/ 473927113 w 145"/>
              <a:gd name="T9" fmla="*/ 532676227 h 512"/>
              <a:gd name="T10" fmla="*/ 473927113 w 145"/>
              <a:gd name="T11" fmla="*/ 532676227 h 512"/>
              <a:gd name="T12" fmla="*/ 473927113 w 145"/>
              <a:gd name="T13" fmla="*/ 532676227 h 512"/>
              <a:gd name="T14" fmla="*/ 473927113 w 145"/>
              <a:gd name="T15" fmla="*/ 532676227 h 512"/>
              <a:gd name="T16" fmla="*/ 473927113 w 145"/>
              <a:gd name="T17" fmla="*/ 532676227 h 512"/>
              <a:gd name="T18" fmla="*/ 473927113 w 145"/>
              <a:gd name="T19" fmla="*/ 532676227 h 512"/>
              <a:gd name="T20" fmla="*/ 473927113 w 145"/>
              <a:gd name="T21" fmla="*/ 532676227 h 512"/>
              <a:gd name="T22" fmla="*/ 473927113 w 145"/>
              <a:gd name="T23" fmla="*/ 532676227 h 512"/>
              <a:gd name="T24" fmla="*/ 473927113 w 145"/>
              <a:gd name="T25" fmla="*/ 532676227 h 512"/>
              <a:gd name="T26" fmla="*/ 473927113 w 145"/>
              <a:gd name="T27" fmla="*/ 532676227 h 512"/>
              <a:gd name="T28" fmla="*/ 473927113 w 145"/>
              <a:gd name="T29" fmla="*/ 532676227 h 512"/>
              <a:gd name="T30" fmla="*/ 473927113 w 145"/>
              <a:gd name="T31" fmla="*/ 532676227 h 512"/>
              <a:gd name="T32" fmla="*/ 473927113 w 145"/>
              <a:gd name="T33" fmla="*/ 532676227 h 512"/>
              <a:gd name="T34" fmla="*/ 473927113 w 145"/>
              <a:gd name="T35" fmla="*/ 532676227 h 512"/>
              <a:gd name="T36" fmla="*/ 0 w 145"/>
              <a:gd name="T37" fmla="*/ 532676227 h 512"/>
              <a:gd name="T38" fmla="*/ 473927113 w 145"/>
              <a:gd name="T39" fmla="*/ 532676227 h 512"/>
              <a:gd name="T40" fmla="*/ 473927113 w 145"/>
              <a:gd name="T41" fmla="*/ 532676227 h 512"/>
              <a:gd name="T42" fmla="*/ 473927113 w 145"/>
              <a:gd name="T43" fmla="*/ 532676227 h 512"/>
              <a:gd name="T44" fmla="*/ 473927113 w 145"/>
              <a:gd name="T45" fmla="*/ 532676227 h 512"/>
              <a:gd name="T46" fmla="*/ 473927113 w 145"/>
              <a:gd name="T47" fmla="*/ 532676227 h 512"/>
              <a:gd name="T48" fmla="*/ 473927113 w 145"/>
              <a:gd name="T49" fmla="*/ 532676227 h 512"/>
              <a:gd name="T50" fmla="*/ 473927113 w 145"/>
              <a:gd name="T51" fmla="*/ 532676227 h 512"/>
              <a:gd name="T52" fmla="*/ 473927113 w 145"/>
              <a:gd name="T53" fmla="*/ 532676227 h 512"/>
              <a:gd name="T54" fmla="*/ 473927113 w 145"/>
              <a:gd name="T55" fmla="*/ 532676227 h 512"/>
              <a:gd name="T56" fmla="*/ 473927113 w 145"/>
              <a:gd name="T57" fmla="*/ 532676227 h 512"/>
              <a:gd name="T58" fmla="*/ 473927113 w 145"/>
              <a:gd name="T59" fmla="*/ 532676227 h 512"/>
              <a:gd name="T60" fmla="*/ 473927113 w 145"/>
              <a:gd name="T61" fmla="*/ 532676227 h 512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w 145"/>
              <a:gd name="T94" fmla="*/ 0 h 512"/>
              <a:gd name="T95" fmla="*/ 145 w 145"/>
              <a:gd name="T96" fmla="*/ 512 h 512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T93" t="T94" r="T95" b="T96"/>
            <a:pathLst>
              <a:path w="145" h="512">
                <a:moveTo>
                  <a:pt x="145" y="0"/>
                </a:moveTo>
                <a:lnTo>
                  <a:pt x="132" y="29"/>
                </a:lnTo>
                <a:lnTo>
                  <a:pt x="115" y="39"/>
                </a:lnTo>
                <a:lnTo>
                  <a:pt x="100" y="53"/>
                </a:lnTo>
                <a:lnTo>
                  <a:pt x="94" y="68"/>
                </a:lnTo>
                <a:lnTo>
                  <a:pt x="87" y="77"/>
                </a:lnTo>
                <a:lnTo>
                  <a:pt x="64" y="81"/>
                </a:lnTo>
                <a:lnTo>
                  <a:pt x="60" y="93"/>
                </a:lnTo>
                <a:lnTo>
                  <a:pt x="60" y="113"/>
                </a:lnTo>
                <a:lnTo>
                  <a:pt x="61" y="128"/>
                </a:lnTo>
                <a:lnTo>
                  <a:pt x="57" y="158"/>
                </a:lnTo>
                <a:lnTo>
                  <a:pt x="58" y="179"/>
                </a:lnTo>
                <a:lnTo>
                  <a:pt x="52" y="194"/>
                </a:lnTo>
                <a:lnTo>
                  <a:pt x="46" y="207"/>
                </a:lnTo>
                <a:lnTo>
                  <a:pt x="21" y="225"/>
                </a:lnTo>
                <a:lnTo>
                  <a:pt x="7" y="237"/>
                </a:lnTo>
                <a:lnTo>
                  <a:pt x="4" y="258"/>
                </a:lnTo>
                <a:lnTo>
                  <a:pt x="4" y="284"/>
                </a:lnTo>
                <a:lnTo>
                  <a:pt x="0" y="294"/>
                </a:lnTo>
                <a:lnTo>
                  <a:pt x="12" y="305"/>
                </a:lnTo>
                <a:lnTo>
                  <a:pt x="7" y="344"/>
                </a:lnTo>
                <a:lnTo>
                  <a:pt x="19" y="375"/>
                </a:lnTo>
                <a:lnTo>
                  <a:pt x="33" y="395"/>
                </a:lnTo>
                <a:lnTo>
                  <a:pt x="46" y="405"/>
                </a:lnTo>
                <a:lnTo>
                  <a:pt x="49" y="431"/>
                </a:lnTo>
                <a:lnTo>
                  <a:pt x="58" y="449"/>
                </a:lnTo>
                <a:lnTo>
                  <a:pt x="66" y="464"/>
                </a:lnTo>
                <a:lnTo>
                  <a:pt x="70" y="486"/>
                </a:lnTo>
                <a:lnTo>
                  <a:pt x="82" y="489"/>
                </a:lnTo>
                <a:lnTo>
                  <a:pt x="100" y="498"/>
                </a:lnTo>
                <a:lnTo>
                  <a:pt x="106" y="512"/>
                </a:lnTo>
              </a:path>
            </a:pathLst>
          </a:custGeom>
          <a:noFill/>
          <a:ln w="3175" cap="flat" cmpd="sng">
            <a:solidFill>
              <a:srgbClr val="D9EAF7"/>
            </a:solidFill>
            <a:prstDash val="solid"/>
            <a:round/>
            <a:headEnd/>
            <a:tailEnd/>
          </a:ln>
        </p:spPr>
        <p:txBody>
          <a:bodyPr wrap="none" lIns="32632" tIns="32632" rIns="32632" bIns="32632" anchor="ctr"/>
          <a:lstStyle/>
          <a:p>
            <a:pPr defTabSz="891045"/>
            <a:endParaRPr lang="en-US" sz="1700" dirty="0">
              <a:solidFill>
                <a:srgbClr val="003149"/>
              </a:solidFill>
              <a:cs typeface="Arial" panose="020B0604020202020204" pitchFamily="34" charset="0"/>
            </a:endParaRPr>
          </a:p>
        </p:txBody>
      </p:sp>
      <p:sp>
        <p:nvSpPr>
          <p:cNvPr id="318" name="Freeform 639"/>
          <p:cNvSpPr>
            <a:spLocks noChangeAspect="1"/>
          </p:cNvSpPr>
          <p:nvPr>
            <p:custDataLst>
              <p:tags r:id="rId206"/>
            </p:custDataLst>
          </p:nvPr>
        </p:nvSpPr>
        <p:spPr bwMode="gray">
          <a:xfrm>
            <a:off x="2601910" y="3093200"/>
            <a:ext cx="66819" cy="58828"/>
          </a:xfrm>
          <a:custGeom>
            <a:avLst/>
            <a:gdLst>
              <a:gd name="T0" fmla="*/ 0 w 422"/>
              <a:gd name="T1" fmla="*/ 0 h 343"/>
              <a:gd name="T2" fmla="*/ 0 w 422"/>
              <a:gd name="T3" fmla="*/ 0 h 343"/>
              <a:gd name="T4" fmla="*/ 0 w 422"/>
              <a:gd name="T5" fmla="*/ 0 h 343"/>
              <a:gd name="T6" fmla="*/ 0 w 422"/>
              <a:gd name="T7" fmla="*/ 0 h 343"/>
              <a:gd name="T8" fmla="*/ 0 w 422"/>
              <a:gd name="T9" fmla="*/ 0 h 343"/>
              <a:gd name="T10" fmla="*/ 0 w 422"/>
              <a:gd name="T11" fmla="*/ 0 h 343"/>
              <a:gd name="T12" fmla="*/ 0 w 422"/>
              <a:gd name="T13" fmla="*/ 0 h 343"/>
              <a:gd name="T14" fmla="*/ 0 w 422"/>
              <a:gd name="T15" fmla="*/ 0 h 343"/>
              <a:gd name="T16" fmla="*/ 0 w 422"/>
              <a:gd name="T17" fmla="*/ 0 h 343"/>
              <a:gd name="T18" fmla="*/ 0 w 422"/>
              <a:gd name="T19" fmla="*/ 0 h 343"/>
              <a:gd name="T20" fmla="*/ 0 w 422"/>
              <a:gd name="T21" fmla="*/ 0 h 343"/>
              <a:gd name="T22" fmla="*/ 0 w 422"/>
              <a:gd name="T23" fmla="*/ 0 h 343"/>
              <a:gd name="T24" fmla="*/ 0 w 422"/>
              <a:gd name="T25" fmla="*/ 0 h 343"/>
              <a:gd name="T26" fmla="*/ 0 w 422"/>
              <a:gd name="T27" fmla="*/ 0 h 343"/>
              <a:gd name="T28" fmla="*/ 0 w 422"/>
              <a:gd name="T29" fmla="*/ 0 h 343"/>
              <a:gd name="T30" fmla="*/ 0 w 422"/>
              <a:gd name="T31" fmla="*/ 0 h 343"/>
              <a:gd name="T32" fmla="*/ 0 w 422"/>
              <a:gd name="T33" fmla="*/ 0 h 343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w 422"/>
              <a:gd name="T52" fmla="*/ 0 h 343"/>
              <a:gd name="T53" fmla="*/ 422 w 422"/>
              <a:gd name="T54" fmla="*/ 343 h 343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T51" t="T52" r="T53" b="T54"/>
            <a:pathLst>
              <a:path w="422" h="343">
                <a:moveTo>
                  <a:pt x="422" y="343"/>
                </a:moveTo>
                <a:lnTo>
                  <a:pt x="379" y="296"/>
                </a:lnTo>
                <a:lnTo>
                  <a:pt x="363" y="252"/>
                </a:lnTo>
                <a:lnTo>
                  <a:pt x="351" y="218"/>
                </a:lnTo>
                <a:lnTo>
                  <a:pt x="331" y="192"/>
                </a:lnTo>
                <a:lnTo>
                  <a:pt x="315" y="176"/>
                </a:lnTo>
                <a:lnTo>
                  <a:pt x="301" y="158"/>
                </a:lnTo>
                <a:lnTo>
                  <a:pt x="265" y="144"/>
                </a:lnTo>
                <a:lnTo>
                  <a:pt x="225" y="120"/>
                </a:lnTo>
                <a:lnTo>
                  <a:pt x="206" y="98"/>
                </a:lnTo>
                <a:lnTo>
                  <a:pt x="182" y="60"/>
                </a:lnTo>
                <a:lnTo>
                  <a:pt x="152" y="32"/>
                </a:lnTo>
                <a:lnTo>
                  <a:pt x="128" y="8"/>
                </a:lnTo>
                <a:lnTo>
                  <a:pt x="92" y="0"/>
                </a:lnTo>
                <a:lnTo>
                  <a:pt x="64" y="0"/>
                </a:lnTo>
                <a:lnTo>
                  <a:pt x="26" y="0"/>
                </a:lnTo>
                <a:lnTo>
                  <a:pt x="0" y="0"/>
                </a:lnTo>
              </a:path>
            </a:pathLst>
          </a:custGeom>
          <a:noFill/>
          <a:ln w="3175" cap="flat" cmpd="sng">
            <a:solidFill>
              <a:srgbClr val="D9EAF7"/>
            </a:solidFill>
            <a:prstDash val="solid"/>
            <a:round/>
            <a:headEnd/>
            <a:tailEnd/>
          </a:ln>
        </p:spPr>
        <p:txBody>
          <a:bodyPr wrap="none" lIns="32632" tIns="32632" rIns="32632" bIns="32632" anchor="ctr"/>
          <a:lstStyle/>
          <a:p>
            <a:pPr defTabSz="891045"/>
            <a:endParaRPr lang="en-US" sz="1700" dirty="0">
              <a:solidFill>
                <a:srgbClr val="003149"/>
              </a:solidFill>
              <a:cs typeface="Arial" panose="020B0604020202020204" pitchFamily="34" charset="0"/>
            </a:endParaRPr>
          </a:p>
        </p:txBody>
      </p:sp>
      <p:sp>
        <p:nvSpPr>
          <p:cNvPr id="319" name="Freeform 704"/>
          <p:cNvSpPr>
            <a:spLocks noChangeAspect="1"/>
          </p:cNvSpPr>
          <p:nvPr>
            <p:custDataLst>
              <p:tags r:id="rId207"/>
            </p:custDataLst>
          </p:nvPr>
        </p:nvSpPr>
        <p:spPr bwMode="gray">
          <a:xfrm>
            <a:off x="2965859" y="3206552"/>
            <a:ext cx="5687" cy="20088"/>
          </a:xfrm>
          <a:custGeom>
            <a:avLst/>
            <a:gdLst>
              <a:gd name="T0" fmla="*/ 0 w 11777"/>
              <a:gd name="T1" fmla="*/ 0 h 12052"/>
              <a:gd name="T2" fmla="*/ 0 w 11777"/>
              <a:gd name="T3" fmla="*/ 0 h 12052"/>
              <a:gd name="T4" fmla="*/ 0 w 11777"/>
              <a:gd name="T5" fmla="*/ 0 h 12052"/>
              <a:gd name="T6" fmla="*/ 0 60000 65536"/>
              <a:gd name="T7" fmla="*/ 0 60000 65536"/>
              <a:gd name="T8" fmla="*/ 0 60000 65536"/>
              <a:gd name="T9" fmla="*/ 0 w 11777"/>
              <a:gd name="T10" fmla="*/ 0 h 12052"/>
              <a:gd name="T11" fmla="*/ 11777 w 11777"/>
              <a:gd name="T12" fmla="*/ 12052 h 12052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11777" h="12052">
                <a:moveTo>
                  <a:pt x="11777" y="0"/>
                </a:moveTo>
                <a:lnTo>
                  <a:pt x="1984" y="8709"/>
                </a:lnTo>
                <a:cubicBezTo>
                  <a:pt x="1329" y="9833"/>
                  <a:pt x="710" y="10930"/>
                  <a:pt x="0" y="12052"/>
                </a:cubicBezTo>
              </a:path>
            </a:pathLst>
          </a:custGeom>
          <a:noFill/>
          <a:ln w="3175" cap="flat" cmpd="sng">
            <a:solidFill>
              <a:srgbClr val="D9EAF7"/>
            </a:solidFill>
            <a:prstDash val="solid"/>
            <a:round/>
            <a:headEnd/>
            <a:tailEnd/>
          </a:ln>
        </p:spPr>
        <p:txBody>
          <a:bodyPr wrap="none" lIns="32632" tIns="32632" rIns="32632" bIns="32632" anchor="ctr"/>
          <a:lstStyle/>
          <a:p>
            <a:pPr defTabSz="891045"/>
            <a:endParaRPr lang="en-US" sz="1700" dirty="0">
              <a:solidFill>
                <a:srgbClr val="003149"/>
              </a:solidFill>
              <a:cs typeface="Arial" panose="020B0604020202020204" pitchFamily="34" charset="0"/>
            </a:endParaRPr>
          </a:p>
        </p:txBody>
      </p:sp>
      <p:sp>
        <p:nvSpPr>
          <p:cNvPr id="320" name="Freeform 689"/>
          <p:cNvSpPr>
            <a:spLocks noChangeAspect="1"/>
          </p:cNvSpPr>
          <p:nvPr>
            <p:custDataLst>
              <p:tags r:id="rId208"/>
            </p:custDataLst>
          </p:nvPr>
        </p:nvSpPr>
        <p:spPr bwMode="gray">
          <a:xfrm>
            <a:off x="2920340" y="3223769"/>
            <a:ext cx="46915" cy="22958"/>
          </a:xfrm>
          <a:custGeom>
            <a:avLst/>
            <a:gdLst>
              <a:gd name="T0" fmla="*/ 0 w 10266"/>
              <a:gd name="T1" fmla="*/ 0 h 10000"/>
              <a:gd name="T2" fmla="*/ 0 w 10266"/>
              <a:gd name="T3" fmla="*/ 0 h 10000"/>
              <a:gd name="T4" fmla="*/ 0 w 10266"/>
              <a:gd name="T5" fmla="*/ 0 h 10000"/>
              <a:gd name="T6" fmla="*/ 0 w 10266"/>
              <a:gd name="T7" fmla="*/ 0 h 10000"/>
              <a:gd name="T8" fmla="*/ 0 w 10266"/>
              <a:gd name="T9" fmla="*/ 0 h 10000"/>
              <a:gd name="T10" fmla="*/ 0 w 10266"/>
              <a:gd name="T11" fmla="*/ 0 h 10000"/>
              <a:gd name="T12" fmla="*/ 0 w 10266"/>
              <a:gd name="T13" fmla="*/ 0 h 10000"/>
              <a:gd name="T14" fmla="*/ 0 w 10266"/>
              <a:gd name="T15" fmla="*/ 0 h 10000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10266"/>
              <a:gd name="T25" fmla="*/ 0 h 10000"/>
              <a:gd name="T26" fmla="*/ 10266 w 10266"/>
              <a:gd name="T27" fmla="*/ 10000 h 10000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10266" h="10000">
                <a:moveTo>
                  <a:pt x="10266" y="175"/>
                </a:moveTo>
                <a:lnTo>
                  <a:pt x="7832" y="0"/>
                </a:lnTo>
                <a:cubicBezTo>
                  <a:pt x="7697" y="1287"/>
                  <a:pt x="7564" y="2573"/>
                  <a:pt x="7430" y="3860"/>
                </a:cubicBezTo>
                <a:lnTo>
                  <a:pt x="6827" y="7895"/>
                </a:lnTo>
                <a:lnTo>
                  <a:pt x="5020" y="10000"/>
                </a:lnTo>
                <a:lnTo>
                  <a:pt x="3613" y="7368"/>
                </a:lnTo>
                <a:lnTo>
                  <a:pt x="1873" y="5789"/>
                </a:lnTo>
                <a:lnTo>
                  <a:pt x="0" y="8291"/>
                </a:lnTo>
              </a:path>
            </a:pathLst>
          </a:custGeom>
          <a:noFill/>
          <a:ln w="3175" cap="flat" cmpd="sng">
            <a:solidFill>
              <a:srgbClr val="D9EAF7"/>
            </a:solidFill>
            <a:prstDash val="solid"/>
            <a:round/>
            <a:headEnd type="none" w="med" len="med"/>
            <a:tailEnd type="none" w="med" len="med"/>
          </a:ln>
        </p:spPr>
        <p:txBody>
          <a:bodyPr wrap="none" lIns="32632" tIns="32632" rIns="32632" bIns="32632" anchor="ctr"/>
          <a:lstStyle/>
          <a:p>
            <a:pPr defTabSz="891045"/>
            <a:endParaRPr lang="en-US" sz="1700" dirty="0">
              <a:solidFill>
                <a:srgbClr val="003149"/>
              </a:solidFill>
              <a:cs typeface="Arial" panose="020B0604020202020204" pitchFamily="34" charset="0"/>
            </a:endParaRPr>
          </a:p>
        </p:txBody>
      </p:sp>
      <p:sp>
        <p:nvSpPr>
          <p:cNvPr id="321" name="Freeform 798"/>
          <p:cNvSpPr>
            <a:spLocks noChangeAspect="1"/>
          </p:cNvSpPr>
          <p:nvPr/>
        </p:nvSpPr>
        <p:spPr bwMode="gray">
          <a:xfrm>
            <a:off x="2806609" y="3143425"/>
            <a:ext cx="113734" cy="100439"/>
          </a:xfrm>
          <a:custGeom>
            <a:avLst/>
            <a:gdLst>
              <a:gd name="T0" fmla="*/ 0 w 10145"/>
              <a:gd name="T1" fmla="*/ 0 h 10191"/>
              <a:gd name="T2" fmla="*/ 0 w 10145"/>
              <a:gd name="T3" fmla="*/ 0 h 10191"/>
              <a:gd name="T4" fmla="*/ 0 w 10145"/>
              <a:gd name="T5" fmla="*/ 0 h 10191"/>
              <a:gd name="T6" fmla="*/ 0 w 10145"/>
              <a:gd name="T7" fmla="*/ 0 h 10191"/>
              <a:gd name="T8" fmla="*/ 0 w 10145"/>
              <a:gd name="T9" fmla="*/ 0 h 10191"/>
              <a:gd name="T10" fmla="*/ 0 w 10145"/>
              <a:gd name="T11" fmla="*/ 0 h 10191"/>
              <a:gd name="T12" fmla="*/ 0 w 10145"/>
              <a:gd name="T13" fmla="*/ 0 h 10191"/>
              <a:gd name="T14" fmla="*/ 0 w 10145"/>
              <a:gd name="T15" fmla="*/ 0 h 10191"/>
              <a:gd name="T16" fmla="*/ 0 w 10145"/>
              <a:gd name="T17" fmla="*/ 0 h 10191"/>
              <a:gd name="T18" fmla="*/ 0 w 10145"/>
              <a:gd name="T19" fmla="*/ 0 h 10191"/>
              <a:gd name="T20" fmla="*/ 0 w 10145"/>
              <a:gd name="T21" fmla="*/ 0 h 10191"/>
              <a:gd name="T22" fmla="*/ 0 w 10145"/>
              <a:gd name="T23" fmla="*/ 0 h 10191"/>
              <a:gd name="T24" fmla="*/ 0 w 10145"/>
              <a:gd name="T25" fmla="*/ 0 h 10191"/>
              <a:gd name="T26" fmla="*/ 0 w 10145"/>
              <a:gd name="T27" fmla="*/ 0 h 10191"/>
              <a:gd name="T28" fmla="*/ 0 w 10145"/>
              <a:gd name="T29" fmla="*/ 0 h 10191"/>
              <a:gd name="T30" fmla="*/ 0 w 10145"/>
              <a:gd name="T31" fmla="*/ 0 h 10191"/>
              <a:gd name="T32" fmla="*/ 0 w 10145"/>
              <a:gd name="T33" fmla="*/ 0 h 10191"/>
              <a:gd name="T34" fmla="*/ 0 w 10145"/>
              <a:gd name="T35" fmla="*/ 0 h 10191"/>
              <a:gd name="T36" fmla="*/ 0 w 10145"/>
              <a:gd name="T37" fmla="*/ 0 h 10191"/>
              <a:gd name="T38" fmla="*/ 0 w 10145"/>
              <a:gd name="T39" fmla="*/ 0 h 10191"/>
              <a:gd name="T40" fmla="*/ 0 w 10145"/>
              <a:gd name="T41" fmla="*/ 0 h 10191"/>
              <a:gd name="T42" fmla="*/ 0 w 10145"/>
              <a:gd name="T43" fmla="*/ 0 h 10191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w 10145"/>
              <a:gd name="T67" fmla="*/ 0 h 10191"/>
              <a:gd name="T68" fmla="*/ 10145 w 10145"/>
              <a:gd name="T69" fmla="*/ 10191 h 10191"/>
            </a:gdLst>
            <a:ahLst/>
            <a:cxnLst>
              <a:cxn ang="T44">
                <a:pos x="T0" y="T1"/>
              </a:cxn>
              <a:cxn ang="T45">
                <a:pos x="T2" y="T3"/>
              </a:cxn>
              <a:cxn ang="T46">
                <a:pos x="T4" y="T5"/>
              </a:cxn>
              <a:cxn ang="T47">
                <a:pos x="T6" y="T7"/>
              </a:cxn>
              <a:cxn ang="T48">
                <a:pos x="T8" y="T9"/>
              </a:cxn>
              <a:cxn ang="T49">
                <a:pos x="T10" y="T11"/>
              </a:cxn>
              <a:cxn ang="T50">
                <a:pos x="T12" y="T13"/>
              </a:cxn>
              <a:cxn ang="T51">
                <a:pos x="T14" y="T15"/>
              </a:cxn>
              <a:cxn ang="T52">
                <a:pos x="T16" y="T17"/>
              </a:cxn>
              <a:cxn ang="T53">
                <a:pos x="T18" y="T19"/>
              </a:cxn>
              <a:cxn ang="T54">
                <a:pos x="T20" y="T21"/>
              </a:cxn>
              <a:cxn ang="T55">
                <a:pos x="T22" y="T23"/>
              </a:cxn>
              <a:cxn ang="T56">
                <a:pos x="T24" y="T25"/>
              </a:cxn>
              <a:cxn ang="T57">
                <a:pos x="T26" y="T27"/>
              </a:cxn>
              <a:cxn ang="T58">
                <a:pos x="T28" y="T29"/>
              </a:cxn>
              <a:cxn ang="T59">
                <a:pos x="T30" y="T31"/>
              </a:cxn>
              <a:cxn ang="T60">
                <a:pos x="T32" y="T33"/>
              </a:cxn>
              <a:cxn ang="T61">
                <a:pos x="T34" y="T35"/>
              </a:cxn>
              <a:cxn ang="T62">
                <a:pos x="T36" y="T37"/>
              </a:cxn>
              <a:cxn ang="T63">
                <a:pos x="T38" y="T39"/>
              </a:cxn>
              <a:cxn ang="T64">
                <a:pos x="T40" y="T41"/>
              </a:cxn>
              <a:cxn ang="T65">
                <a:pos x="T42" y="T43"/>
              </a:cxn>
            </a:cxnLst>
            <a:rect l="T66" t="T67" r="T68" b="T69"/>
            <a:pathLst>
              <a:path w="10145" h="10191">
                <a:moveTo>
                  <a:pt x="10145" y="10191"/>
                </a:moveTo>
                <a:cubicBezTo>
                  <a:pt x="10044" y="9822"/>
                  <a:pt x="9797" y="9405"/>
                  <a:pt x="9696" y="9036"/>
                </a:cubicBezTo>
                <a:lnTo>
                  <a:pt x="9337" y="8643"/>
                </a:lnTo>
                <a:lnTo>
                  <a:pt x="8923" y="8643"/>
                </a:lnTo>
                <a:lnTo>
                  <a:pt x="8453" y="8179"/>
                </a:lnTo>
                <a:lnTo>
                  <a:pt x="8011" y="7643"/>
                </a:lnTo>
                <a:lnTo>
                  <a:pt x="7624" y="7036"/>
                </a:lnTo>
                <a:lnTo>
                  <a:pt x="7293" y="6500"/>
                </a:lnTo>
                <a:lnTo>
                  <a:pt x="7182" y="5322"/>
                </a:lnTo>
                <a:lnTo>
                  <a:pt x="6602" y="5072"/>
                </a:lnTo>
                <a:lnTo>
                  <a:pt x="6215" y="5072"/>
                </a:lnTo>
                <a:lnTo>
                  <a:pt x="5221" y="5429"/>
                </a:lnTo>
                <a:lnTo>
                  <a:pt x="4530" y="4643"/>
                </a:lnTo>
                <a:lnTo>
                  <a:pt x="4227" y="4000"/>
                </a:lnTo>
                <a:lnTo>
                  <a:pt x="3895" y="3179"/>
                </a:lnTo>
                <a:lnTo>
                  <a:pt x="3536" y="2322"/>
                </a:lnTo>
                <a:lnTo>
                  <a:pt x="2873" y="2072"/>
                </a:lnTo>
                <a:lnTo>
                  <a:pt x="2210" y="2072"/>
                </a:lnTo>
                <a:lnTo>
                  <a:pt x="1575" y="1786"/>
                </a:lnTo>
                <a:lnTo>
                  <a:pt x="1077" y="1143"/>
                </a:lnTo>
                <a:lnTo>
                  <a:pt x="387" y="357"/>
                </a:lnTo>
                <a:cubicBezTo>
                  <a:pt x="258" y="286"/>
                  <a:pt x="129" y="71"/>
                  <a:pt x="0" y="0"/>
                </a:cubicBezTo>
              </a:path>
            </a:pathLst>
          </a:custGeom>
          <a:noFill/>
          <a:ln w="3175" cap="flat" cmpd="sng">
            <a:solidFill>
              <a:srgbClr val="D9EAF7"/>
            </a:solidFill>
            <a:prstDash val="solid"/>
            <a:round/>
            <a:headEnd/>
            <a:tailEnd/>
          </a:ln>
        </p:spPr>
        <p:txBody>
          <a:bodyPr wrap="none" lIns="32632" tIns="32632" rIns="32632" bIns="32632" anchor="ctr"/>
          <a:lstStyle/>
          <a:p>
            <a:pPr defTabSz="891045"/>
            <a:endParaRPr lang="en-US" sz="1700" dirty="0">
              <a:solidFill>
                <a:srgbClr val="003149"/>
              </a:solidFill>
              <a:cs typeface="Arial" panose="020B0604020202020204" pitchFamily="34" charset="0"/>
            </a:endParaRPr>
          </a:p>
        </p:txBody>
      </p:sp>
      <p:sp>
        <p:nvSpPr>
          <p:cNvPr id="322" name="Freeform 693"/>
          <p:cNvSpPr>
            <a:spLocks noChangeAspect="1"/>
          </p:cNvSpPr>
          <p:nvPr>
            <p:custDataLst>
              <p:tags r:id="rId209"/>
            </p:custDataLst>
          </p:nvPr>
        </p:nvSpPr>
        <p:spPr bwMode="gray">
          <a:xfrm>
            <a:off x="2749763" y="3232381"/>
            <a:ext cx="120843" cy="100439"/>
          </a:xfrm>
          <a:custGeom>
            <a:avLst/>
            <a:gdLst>
              <a:gd name="T0" fmla="*/ 468041050 w 390"/>
              <a:gd name="T1" fmla="*/ 529308996 h 284"/>
              <a:gd name="T2" fmla="*/ 468041050 w 390"/>
              <a:gd name="T3" fmla="*/ 529308996 h 284"/>
              <a:gd name="T4" fmla="*/ 468041050 w 390"/>
              <a:gd name="T5" fmla="*/ 529308996 h 284"/>
              <a:gd name="T6" fmla="*/ 468041050 w 390"/>
              <a:gd name="T7" fmla="*/ 529308996 h 284"/>
              <a:gd name="T8" fmla="*/ 468041050 w 390"/>
              <a:gd name="T9" fmla="*/ 529308996 h 284"/>
              <a:gd name="T10" fmla="*/ 468041050 w 390"/>
              <a:gd name="T11" fmla="*/ 529308996 h 284"/>
              <a:gd name="T12" fmla="*/ 468041050 w 390"/>
              <a:gd name="T13" fmla="*/ 529308996 h 284"/>
              <a:gd name="T14" fmla="*/ 468041050 w 390"/>
              <a:gd name="T15" fmla="*/ 529308996 h 284"/>
              <a:gd name="T16" fmla="*/ 468041050 w 390"/>
              <a:gd name="T17" fmla="*/ 529308996 h 284"/>
              <a:gd name="T18" fmla="*/ 468041050 w 390"/>
              <a:gd name="T19" fmla="*/ 529308996 h 284"/>
              <a:gd name="T20" fmla="*/ 468041050 w 390"/>
              <a:gd name="T21" fmla="*/ 529308996 h 284"/>
              <a:gd name="T22" fmla="*/ 468041050 w 390"/>
              <a:gd name="T23" fmla="*/ 529308996 h 284"/>
              <a:gd name="T24" fmla="*/ 468041050 w 390"/>
              <a:gd name="T25" fmla="*/ 529308996 h 284"/>
              <a:gd name="T26" fmla="*/ 468041050 w 390"/>
              <a:gd name="T27" fmla="*/ 529308996 h 284"/>
              <a:gd name="T28" fmla="*/ 468041050 w 390"/>
              <a:gd name="T29" fmla="*/ 529308996 h 284"/>
              <a:gd name="T30" fmla="*/ 468041050 w 390"/>
              <a:gd name="T31" fmla="*/ 529308996 h 284"/>
              <a:gd name="T32" fmla="*/ 468041050 w 390"/>
              <a:gd name="T33" fmla="*/ 529308996 h 284"/>
              <a:gd name="T34" fmla="*/ 468041050 w 390"/>
              <a:gd name="T35" fmla="*/ 529308996 h 284"/>
              <a:gd name="T36" fmla="*/ 468041050 w 390"/>
              <a:gd name="T37" fmla="*/ 529308996 h 284"/>
              <a:gd name="T38" fmla="*/ 468041050 w 390"/>
              <a:gd name="T39" fmla="*/ 529308996 h 284"/>
              <a:gd name="T40" fmla="*/ 468041050 w 390"/>
              <a:gd name="T41" fmla="*/ 529308996 h 284"/>
              <a:gd name="T42" fmla="*/ 468041050 w 390"/>
              <a:gd name="T43" fmla="*/ 529308996 h 284"/>
              <a:gd name="T44" fmla="*/ 468041050 w 390"/>
              <a:gd name="T45" fmla="*/ 529308996 h 284"/>
              <a:gd name="T46" fmla="*/ 468041050 w 390"/>
              <a:gd name="T47" fmla="*/ 529308996 h 284"/>
              <a:gd name="T48" fmla="*/ 468041050 w 390"/>
              <a:gd name="T49" fmla="*/ 529308996 h 284"/>
              <a:gd name="T50" fmla="*/ 468041050 w 390"/>
              <a:gd name="T51" fmla="*/ 529308996 h 284"/>
              <a:gd name="T52" fmla="*/ 0 w 390"/>
              <a:gd name="T53" fmla="*/ 0 h 284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w 390"/>
              <a:gd name="T82" fmla="*/ 0 h 284"/>
              <a:gd name="T83" fmla="*/ 390 w 390"/>
              <a:gd name="T84" fmla="*/ 284 h 284"/>
            </a:gdLst>
            <a:ahLst/>
            <a:cxnLst>
              <a:cxn ang="T54">
                <a:pos x="T0" y="T1"/>
              </a:cxn>
              <a:cxn ang="T55">
                <a:pos x="T2" y="T3"/>
              </a:cxn>
              <a:cxn ang="T56">
                <a:pos x="T4" y="T5"/>
              </a:cxn>
              <a:cxn ang="T57">
                <a:pos x="T6" y="T7"/>
              </a:cxn>
              <a:cxn ang="T58">
                <a:pos x="T8" y="T9"/>
              </a:cxn>
              <a:cxn ang="T59">
                <a:pos x="T10" y="T11"/>
              </a:cxn>
              <a:cxn ang="T60">
                <a:pos x="T12" y="T13"/>
              </a:cxn>
              <a:cxn ang="T61">
                <a:pos x="T14" y="T15"/>
              </a:cxn>
              <a:cxn ang="T62">
                <a:pos x="T16" y="T17"/>
              </a:cxn>
              <a:cxn ang="T63">
                <a:pos x="T18" y="T19"/>
              </a:cxn>
              <a:cxn ang="T64">
                <a:pos x="T20" y="T21"/>
              </a:cxn>
              <a:cxn ang="T65">
                <a:pos x="T22" y="T23"/>
              </a:cxn>
              <a:cxn ang="T66">
                <a:pos x="T24" y="T25"/>
              </a:cxn>
              <a:cxn ang="T67">
                <a:pos x="T26" y="T27"/>
              </a:cxn>
              <a:cxn ang="T68">
                <a:pos x="T28" y="T29"/>
              </a:cxn>
              <a:cxn ang="T69">
                <a:pos x="T30" y="T31"/>
              </a:cxn>
              <a:cxn ang="T70">
                <a:pos x="T32" y="T33"/>
              </a:cxn>
              <a:cxn ang="T71">
                <a:pos x="T34" y="T35"/>
              </a:cxn>
              <a:cxn ang="T72">
                <a:pos x="T36" y="T37"/>
              </a:cxn>
              <a:cxn ang="T73">
                <a:pos x="T38" y="T39"/>
              </a:cxn>
              <a:cxn ang="T74">
                <a:pos x="T40" y="T41"/>
              </a:cxn>
              <a:cxn ang="T75">
                <a:pos x="T42" y="T43"/>
              </a:cxn>
              <a:cxn ang="T76">
                <a:pos x="T44" y="T45"/>
              </a:cxn>
              <a:cxn ang="T77">
                <a:pos x="T46" y="T47"/>
              </a:cxn>
              <a:cxn ang="T78">
                <a:pos x="T48" y="T49"/>
              </a:cxn>
              <a:cxn ang="T79">
                <a:pos x="T50" y="T51"/>
              </a:cxn>
              <a:cxn ang="T80">
                <a:pos x="T52" y="T53"/>
              </a:cxn>
            </a:cxnLst>
            <a:rect l="T81" t="T82" r="T83" b="T84"/>
            <a:pathLst>
              <a:path w="390" h="284">
                <a:moveTo>
                  <a:pt x="390" y="284"/>
                </a:moveTo>
                <a:lnTo>
                  <a:pt x="375" y="279"/>
                </a:lnTo>
                <a:lnTo>
                  <a:pt x="361" y="265"/>
                </a:lnTo>
                <a:lnTo>
                  <a:pt x="332" y="258"/>
                </a:lnTo>
                <a:lnTo>
                  <a:pt x="305" y="267"/>
                </a:lnTo>
                <a:lnTo>
                  <a:pt x="284" y="270"/>
                </a:lnTo>
                <a:lnTo>
                  <a:pt x="269" y="265"/>
                </a:lnTo>
                <a:lnTo>
                  <a:pt x="259" y="242"/>
                </a:lnTo>
                <a:lnTo>
                  <a:pt x="257" y="231"/>
                </a:lnTo>
                <a:lnTo>
                  <a:pt x="238" y="229"/>
                </a:lnTo>
                <a:lnTo>
                  <a:pt x="221" y="222"/>
                </a:lnTo>
                <a:lnTo>
                  <a:pt x="204" y="205"/>
                </a:lnTo>
                <a:lnTo>
                  <a:pt x="187" y="207"/>
                </a:lnTo>
                <a:lnTo>
                  <a:pt x="175" y="193"/>
                </a:lnTo>
                <a:lnTo>
                  <a:pt x="181" y="176"/>
                </a:lnTo>
                <a:lnTo>
                  <a:pt x="185" y="158"/>
                </a:lnTo>
                <a:lnTo>
                  <a:pt x="173" y="144"/>
                </a:lnTo>
                <a:lnTo>
                  <a:pt x="169" y="120"/>
                </a:lnTo>
                <a:lnTo>
                  <a:pt x="146" y="135"/>
                </a:lnTo>
                <a:lnTo>
                  <a:pt x="112" y="133"/>
                </a:lnTo>
                <a:lnTo>
                  <a:pt x="97" y="104"/>
                </a:lnTo>
                <a:lnTo>
                  <a:pt x="91" y="74"/>
                </a:lnTo>
                <a:lnTo>
                  <a:pt x="89" y="48"/>
                </a:lnTo>
                <a:lnTo>
                  <a:pt x="67" y="54"/>
                </a:lnTo>
                <a:lnTo>
                  <a:pt x="46" y="42"/>
                </a:lnTo>
                <a:lnTo>
                  <a:pt x="36" y="12"/>
                </a:lnTo>
                <a:lnTo>
                  <a:pt x="0" y="0"/>
                </a:lnTo>
              </a:path>
            </a:pathLst>
          </a:custGeom>
          <a:noFill/>
          <a:ln w="3175" cap="flat" cmpd="sng">
            <a:solidFill>
              <a:srgbClr val="D9EAF7"/>
            </a:solidFill>
            <a:prstDash val="solid"/>
            <a:round/>
            <a:headEnd type="none" w="med" len="med"/>
            <a:tailEnd type="none" w="med" len="med"/>
          </a:ln>
        </p:spPr>
        <p:txBody>
          <a:bodyPr wrap="none" lIns="32632" tIns="32632" rIns="32632" bIns="32632" anchor="ctr"/>
          <a:lstStyle/>
          <a:p>
            <a:pPr defTabSz="891045"/>
            <a:endParaRPr lang="en-US" sz="1700" dirty="0">
              <a:solidFill>
                <a:srgbClr val="003149"/>
              </a:solidFill>
              <a:cs typeface="Arial" panose="020B0604020202020204" pitchFamily="34" charset="0"/>
            </a:endParaRPr>
          </a:p>
        </p:txBody>
      </p:sp>
      <p:sp>
        <p:nvSpPr>
          <p:cNvPr id="323" name="Freeform 652"/>
          <p:cNvSpPr>
            <a:spLocks noChangeAspect="1"/>
          </p:cNvSpPr>
          <p:nvPr>
            <p:custDataLst>
              <p:tags r:id="rId210"/>
            </p:custDataLst>
          </p:nvPr>
        </p:nvSpPr>
        <p:spPr bwMode="gray">
          <a:xfrm>
            <a:off x="2923183" y="3385930"/>
            <a:ext cx="34120" cy="119091"/>
          </a:xfrm>
          <a:custGeom>
            <a:avLst/>
            <a:gdLst>
              <a:gd name="T0" fmla="*/ 0 w 213"/>
              <a:gd name="T1" fmla="*/ 0 h 681"/>
              <a:gd name="T2" fmla="*/ 0 w 213"/>
              <a:gd name="T3" fmla="*/ 0 h 681"/>
              <a:gd name="T4" fmla="*/ 0 w 213"/>
              <a:gd name="T5" fmla="*/ 0 h 681"/>
              <a:gd name="T6" fmla="*/ 0 w 213"/>
              <a:gd name="T7" fmla="*/ 0 h 681"/>
              <a:gd name="T8" fmla="*/ 0 w 213"/>
              <a:gd name="T9" fmla="*/ 0 h 681"/>
              <a:gd name="T10" fmla="*/ 0 w 213"/>
              <a:gd name="T11" fmla="*/ 0 h 681"/>
              <a:gd name="T12" fmla="*/ 0 w 213"/>
              <a:gd name="T13" fmla="*/ 0 h 681"/>
              <a:gd name="T14" fmla="*/ 0 w 213"/>
              <a:gd name="T15" fmla="*/ 0 h 681"/>
              <a:gd name="T16" fmla="*/ 0 w 213"/>
              <a:gd name="T17" fmla="*/ 0 h 681"/>
              <a:gd name="T18" fmla="*/ 0 w 213"/>
              <a:gd name="T19" fmla="*/ 0 h 681"/>
              <a:gd name="T20" fmla="*/ 0 w 213"/>
              <a:gd name="T21" fmla="*/ 0 h 681"/>
              <a:gd name="T22" fmla="*/ 0 w 213"/>
              <a:gd name="T23" fmla="*/ 0 h 681"/>
              <a:gd name="T24" fmla="*/ 0 w 213"/>
              <a:gd name="T25" fmla="*/ 0 h 681"/>
              <a:gd name="T26" fmla="*/ 0 w 213"/>
              <a:gd name="T27" fmla="*/ 0 h 681"/>
              <a:gd name="T28" fmla="*/ 0 w 213"/>
              <a:gd name="T29" fmla="*/ 0 h 681"/>
              <a:gd name="T30" fmla="*/ 0 w 213"/>
              <a:gd name="T31" fmla="*/ 0 h 681"/>
              <a:gd name="T32" fmla="*/ 0 w 213"/>
              <a:gd name="T33" fmla="*/ 0 h 681"/>
              <a:gd name="T34" fmla="*/ 0 w 213"/>
              <a:gd name="T35" fmla="*/ 0 h 681"/>
              <a:gd name="T36" fmla="*/ 0 w 213"/>
              <a:gd name="T37" fmla="*/ 0 h 681"/>
              <a:gd name="T38" fmla="*/ 0 w 213"/>
              <a:gd name="T39" fmla="*/ 0 h 681"/>
              <a:gd name="T40" fmla="*/ 0 w 213"/>
              <a:gd name="T41" fmla="*/ 0 h 681"/>
              <a:gd name="T42" fmla="*/ 0 w 213"/>
              <a:gd name="T43" fmla="*/ 0 h 681"/>
              <a:gd name="T44" fmla="*/ 0 w 213"/>
              <a:gd name="T45" fmla="*/ 0 h 681"/>
              <a:gd name="T46" fmla="*/ 0 w 213"/>
              <a:gd name="T47" fmla="*/ 0 h 681"/>
              <a:gd name="T48" fmla="*/ 0 w 213"/>
              <a:gd name="T49" fmla="*/ 0 h 681"/>
              <a:gd name="T50" fmla="*/ 0 w 213"/>
              <a:gd name="T51" fmla="*/ 0 h 681"/>
              <a:gd name="T52" fmla="*/ 0 w 213"/>
              <a:gd name="T53" fmla="*/ 0 h 681"/>
              <a:gd name="T54" fmla="*/ 0 w 213"/>
              <a:gd name="T55" fmla="*/ 0 h 681"/>
              <a:gd name="T56" fmla="*/ 0 w 213"/>
              <a:gd name="T57" fmla="*/ 0 h 681"/>
              <a:gd name="T58" fmla="*/ 0 w 213"/>
              <a:gd name="T59" fmla="*/ 0 h 681"/>
              <a:gd name="T60" fmla="*/ 0 w 213"/>
              <a:gd name="T61" fmla="*/ 0 h 681"/>
              <a:gd name="T62" fmla="*/ 0 w 213"/>
              <a:gd name="T63" fmla="*/ 0 h 681"/>
              <a:gd name="T64" fmla="*/ 0 w 213"/>
              <a:gd name="T65" fmla="*/ 0 h 681"/>
              <a:gd name="T66" fmla="*/ 0 w 213"/>
              <a:gd name="T67" fmla="*/ 0 h 681"/>
              <a:gd name="T68" fmla="*/ 0 w 213"/>
              <a:gd name="T69" fmla="*/ 0 h 681"/>
              <a:gd name="T70" fmla="*/ 0 w 213"/>
              <a:gd name="T71" fmla="*/ 0 h 681"/>
              <a:gd name="T72" fmla="*/ 0 w 213"/>
              <a:gd name="T73" fmla="*/ 0 h 681"/>
              <a:gd name="T74" fmla="*/ 0 w 213"/>
              <a:gd name="T75" fmla="*/ 0 h 681"/>
              <a:gd name="T76" fmla="*/ 0 w 213"/>
              <a:gd name="T77" fmla="*/ 0 h 681"/>
              <a:gd name="T78" fmla="*/ 0 w 213"/>
              <a:gd name="T79" fmla="*/ 0 h 681"/>
              <a:gd name="T80" fmla="*/ 0 w 213"/>
              <a:gd name="T81" fmla="*/ 0 h 681"/>
              <a:gd name="T82" fmla="*/ 0 w 213"/>
              <a:gd name="T83" fmla="*/ 0 h 681"/>
              <a:gd name="T84" fmla="*/ 0 w 213"/>
              <a:gd name="T85" fmla="*/ 0 h 681"/>
              <a:gd name="T86" fmla="*/ 0 w 213"/>
              <a:gd name="T87" fmla="*/ 0 h 681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w 213"/>
              <a:gd name="T133" fmla="*/ 0 h 681"/>
              <a:gd name="T134" fmla="*/ 213 w 213"/>
              <a:gd name="T135" fmla="*/ 681 h 681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T132" t="T133" r="T134" b="T135"/>
            <a:pathLst>
              <a:path w="213" h="681">
                <a:moveTo>
                  <a:pt x="0" y="0"/>
                </a:moveTo>
                <a:lnTo>
                  <a:pt x="0" y="18"/>
                </a:lnTo>
                <a:lnTo>
                  <a:pt x="15" y="33"/>
                </a:lnTo>
                <a:lnTo>
                  <a:pt x="25" y="55"/>
                </a:lnTo>
                <a:lnTo>
                  <a:pt x="18" y="72"/>
                </a:lnTo>
                <a:lnTo>
                  <a:pt x="18" y="85"/>
                </a:lnTo>
                <a:lnTo>
                  <a:pt x="9" y="90"/>
                </a:lnTo>
                <a:lnTo>
                  <a:pt x="15" y="135"/>
                </a:lnTo>
                <a:lnTo>
                  <a:pt x="18" y="162"/>
                </a:lnTo>
                <a:lnTo>
                  <a:pt x="0" y="171"/>
                </a:lnTo>
                <a:lnTo>
                  <a:pt x="0" y="189"/>
                </a:lnTo>
                <a:lnTo>
                  <a:pt x="6" y="199"/>
                </a:lnTo>
                <a:lnTo>
                  <a:pt x="25" y="192"/>
                </a:lnTo>
                <a:lnTo>
                  <a:pt x="43" y="187"/>
                </a:lnTo>
                <a:lnTo>
                  <a:pt x="82" y="208"/>
                </a:lnTo>
                <a:lnTo>
                  <a:pt x="94" y="228"/>
                </a:lnTo>
                <a:lnTo>
                  <a:pt x="93" y="247"/>
                </a:lnTo>
                <a:lnTo>
                  <a:pt x="108" y="264"/>
                </a:lnTo>
                <a:lnTo>
                  <a:pt x="117" y="268"/>
                </a:lnTo>
                <a:lnTo>
                  <a:pt x="124" y="280"/>
                </a:lnTo>
                <a:lnTo>
                  <a:pt x="135" y="270"/>
                </a:lnTo>
                <a:lnTo>
                  <a:pt x="142" y="291"/>
                </a:lnTo>
                <a:lnTo>
                  <a:pt x="133" y="310"/>
                </a:lnTo>
                <a:lnTo>
                  <a:pt x="126" y="334"/>
                </a:lnTo>
                <a:lnTo>
                  <a:pt x="118" y="351"/>
                </a:lnTo>
                <a:lnTo>
                  <a:pt x="111" y="370"/>
                </a:lnTo>
                <a:lnTo>
                  <a:pt x="114" y="393"/>
                </a:lnTo>
                <a:lnTo>
                  <a:pt x="114" y="424"/>
                </a:lnTo>
                <a:lnTo>
                  <a:pt x="120" y="445"/>
                </a:lnTo>
                <a:lnTo>
                  <a:pt x="136" y="445"/>
                </a:lnTo>
                <a:lnTo>
                  <a:pt x="147" y="457"/>
                </a:lnTo>
                <a:lnTo>
                  <a:pt x="160" y="510"/>
                </a:lnTo>
                <a:lnTo>
                  <a:pt x="145" y="514"/>
                </a:lnTo>
                <a:lnTo>
                  <a:pt x="141" y="529"/>
                </a:lnTo>
                <a:lnTo>
                  <a:pt x="159" y="541"/>
                </a:lnTo>
                <a:lnTo>
                  <a:pt x="180" y="561"/>
                </a:lnTo>
                <a:lnTo>
                  <a:pt x="195" y="576"/>
                </a:lnTo>
                <a:lnTo>
                  <a:pt x="198" y="600"/>
                </a:lnTo>
                <a:lnTo>
                  <a:pt x="205" y="615"/>
                </a:lnTo>
                <a:lnTo>
                  <a:pt x="213" y="625"/>
                </a:lnTo>
                <a:lnTo>
                  <a:pt x="211" y="640"/>
                </a:lnTo>
                <a:lnTo>
                  <a:pt x="198" y="652"/>
                </a:lnTo>
                <a:lnTo>
                  <a:pt x="186" y="670"/>
                </a:lnTo>
                <a:lnTo>
                  <a:pt x="178" y="681"/>
                </a:lnTo>
              </a:path>
            </a:pathLst>
          </a:custGeom>
          <a:noFill/>
          <a:ln w="3175" cap="flat" cmpd="sng">
            <a:solidFill>
              <a:srgbClr val="D9EAF7"/>
            </a:solidFill>
            <a:prstDash val="solid"/>
            <a:round/>
            <a:headEnd type="none" w="med" len="med"/>
            <a:tailEnd type="none" w="med" len="med"/>
          </a:ln>
        </p:spPr>
        <p:txBody>
          <a:bodyPr wrap="none" lIns="32632" tIns="32632" rIns="32632" bIns="32632" anchor="ctr"/>
          <a:lstStyle/>
          <a:p>
            <a:pPr defTabSz="891045"/>
            <a:endParaRPr lang="en-US" sz="1700" dirty="0">
              <a:solidFill>
                <a:srgbClr val="003149"/>
              </a:solidFill>
              <a:cs typeface="Arial" panose="020B0604020202020204" pitchFamily="34" charset="0"/>
            </a:endParaRPr>
          </a:p>
        </p:txBody>
      </p:sp>
      <p:sp>
        <p:nvSpPr>
          <p:cNvPr id="324" name="Freeform 649"/>
          <p:cNvSpPr>
            <a:spLocks noChangeAspect="1"/>
          </p:cNvSpPr>
          <p:nvPr>
            <p:custDataLst>
              <p:tags r:id="rId211"/>
            </p:custDataLst>
          </p:nvPr>
        </p:nvSpPr>
        <p:spPr bwMode="gray">
          <a:xfrm>
            <a:off x="3025559" y="3146288"/>
            <a:ext cx="45494" cy="81786"/>
          </a:xfrm>
          <a:custGeom>
            <a:avLst/>
            <a:gdLst>
              <a:gd name="T0" fmla="*/ 0 w 9909"/>
              <a:gd name="T1" fmla="*/ 0 h 10170"/>
              <a:gd name="T2" fmla="*/ 0 w 9909"/>
              <a:gd name="T3" fmla="*/ 0 h 10170"/>
              <a:gd name="T4" fmla="*/ 0 w 9909"/>
              <a:gd name="T5" fmla="*/ 0 h 10170"/>
              <a:gd name="T6" fmla="*/ 0 w 9909"/>
              <a:gd name="T7" fmla="*/ 0 h 10170"/>
              <a:gd name="T8" fmla="*/ 0 w 9909"/>
              <a:gd name="T9" fmla="*/ 0 h 10170"/>
              <a:gd name="T10" fmla="*/ 0 w 9909"/>
              <a:gd name="T11" fmla="*/ 0 h 10170"/>
              <a:gd name="T12" fmla="*/ 0 w 9909"/>
              <a:gd name="T13" fmla="*/ 0 h 10170"/>
              <a:gd name="T14" fmla="*/ 0 w 9909"/>
              <a:gd name="T15" fmla="*/ 0 h 10170"/>
              <a:gd name="T16" fmla="*/ 0 w 9909"/>
              <a:gd name="T17" fmla="*/ 0 h 10170"/>
              <a:gd name="T18" fmla="*/ 0 w 9909"/>
              <a:gd name="T19" fmla="*/ 0 h 10170"/>
              <a:gd name="T20" fmla="*/ 0 w 9909"/>
              <a:gd name="T21" fmla="*/ 0 h 10170"/>
              <a:gd name="T22" fmla="*/ 0 w 9909"/>
              <a:gd name="T23" fmla="*/ 0 h 10170"/>
              <a:gd name="T24" fmla="*/ 0 w 9909"/>
              <a:gd name="T25" fmla="*/ 0 h 10170"/>
              <a:gd name="T26" fmla="*/ 0 w 9909"/>
              <a:gd name="T27" fmla="*/ 0 h 10170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w 9909"/>
              <a:gd name="T43" fmla="*/ 0 h 10170"/>
              <a:gd name="T44" fmla="*/ 9909 w 9909"/>
              <a:gd name="T45" fmla="*/ 10170 h 10170"/>
            </a:gdLst>
            <a:ahLst/>
            <a:cxnLst>
              <a:cxn ang="T28">
                <a:pos x="T0" y="T1"/>
              </a:cxn>
              <a:cxn ang="T29">
                <a:pos x="T2" y="T3"/>
              </a:cxn>
              <a:cxn ang="T30">
                <a:pos x="T4" y="T5"/>
              </a:cxn>
              <a:cxn ang="T31">
                <a:pos x="T6" y="T7"/>
              </a:cxn>
              <a:cxn ang="T32">
                <a:pos x="T8" y="T9"/>
              </a:cxn>
              <a:cxn ang="T33">
                <a:pos x="T10" y="T11"/>
              </a:cxn>
              <a:cxn ang="T34">
                <a:pos x="T12" y="T13"/>
              </a:cxn>
              <a:cxn ang="T35">
                <a:pos x="T14" y="T15"/>
              </a:cxn>
              <a:cxn ang="T36">
                <a:pos x="T16" y="T17"/>
              </a:cxn>
              <a:cxn ang="T37">
                <a:pos x="T18" y="T19"/>
              </a:cxn>
              <a:cxn ang="T38">
                <a:pos x="T20" y="T21"/>
              </a:cxn>
              <a:cxn ang="T39">
                <a:pos x="T22" y="T23"/>
              </a:cxn>
              <a:cxn ang="T40">
                <a:pos x="T24" y="T25"/>
              </a:cxn>
              <a:cxn ang="T41">
                <a:pos x="T26" y="T27"/>
              </a:cxn>
            </a:cxnLst>
            <a:rect l="T42" t="T43" r="T44" b="T45"/>
            <a:pathLst>
              <a:path w="9909" h="10170">
                <a:moveTo>
                  <a:pt x="9909" y="10170"/>
                </a:moveTo>
                <a:lnTo>
                  <a:pt x="9479" y="8681"/>
                </a:lnTo>
                <a:lnTo>
                  <a:pt x="9653" y="7149"/>
                </a:lnTo>
                <a:lnTo>
                  <a:pt x="9306" y="6021"/>
                </a:lnTo>
                <a:lnTo>
                  <a:pt x="7639" y="4894"/>
                </a:lnTo>
                <a:lnTo>
                  <a:pt x="7326" y="3979"/>
                </a:lnTo>
                <a:cubicBezTo>
                  <a:pt x="7291" y="3823"/>
                  <a:pt x="7257" y="3667"/>
                  <a:pt x="7222" y="3511"/>
                </a:cubicBezTo>
                <a:lnTo>
                  <a:pt x="7674" y="3319"/>
                </a:lnTo>
                <a:lnTo>
                  <a:pt x="7431" y="2511"/>
                </a:lnTo>
                <a:lnTo>
                  <a:pt x="6076" y="2106"/>
                </a:lnTo>
                <a:lnTo>
                  <a:pt x="4167" y="1319"/>
                </a:lnTo>
                <a:lnTo>
                  <a:pt x="2326" y="915"/>
                </a:lnTo>
                <a:lnTo>
                  <a:pt x="972" y="298"/>
                </a:lnTo>
                <a:lnTo>
                  <a:pt x="0" y="0"/>
                </a:lnTo>
              </a:path>
            </a:pathLst>
          </a:custGeom>
          <a:noFill/>
          <a:ln w="3175" cap="flat" cmpd="sng">
            <a:solidFill>
              <a:srgbClr val="D9EAF7"/>
            </a:solidFill>
            <a:prstDash val="solid"/>
            <a:round/>
            <a:headEnd type="none" w="med" len="med"/>
            <a:tailEnd type="none" w="med" len="med"/>
          </a:ln>
        </p:spPr>
        <p:txBody>
          <a:bodyPr wrap="none" lIns="32632" tIns="32632" rIns="32632" bIns="32632" anchor="ctr"/>
          <a:lstStyle/>
          <a:p>
            <a:pPr defTabSz="891045"/>
            <a:endParaRPr lang="en-US" sz="1700" dirty="0">
              <a:solidFill>
                <a:srgbClr val="003149"/>
              </a:solidFill>
              <a:cs typeface="Arial" panose="020B0604020202020204" pitchFamily="34" charset="0"/>
            </a:endParaRPr>
          </a:p>
        </p:txBody>
      </p:sp>
      <p:sp>
        <p:nvSpPr>
          <p:cNvPr id="325" name="Freeform 683"/>
          <p:cNvSpPr>
            <a:spLocks noChangeAspect="1"/>
          </p:cNvSpPr>
          <p:nvPr>
            <p:custDataLst>
              <p:tags r:id="rId212"/>
            </p:custDataLst>
          </p:nvPr>
        </p:nvSpPr>
        <p:spPr bwMode="gray">
          <a:xfrm>
            <a:off x="3127907" y="3461959"/>
            <a:ext cx="14216" cy="93265"/>
          </a:xfrm>
          <a:custGeom>
            <a:avLst/>
            <a:gdLst>
              <a:gd name="T0" fmla="*/ 0 w 9143"/>
              <a:gd name="T1" fmla="*/ 0 h 10573"/>
              <a:gd name="T2" fmla="*/ 0 w 9143"/>
              <a:gd name="T3" fmla="*/ 0 h 10573"/>
              <a:gd name="T4" fmla="*/ 0 w 9143"/>
              <a:gd name="T5" fmla="*/ 0 h 10573"/>
              <a:gd name="T6" fmla="*/ 0 w 9143"/>
              <a:gd name="T7" fmla="*/ 0 h 10573"/>
              <a:gd name="T8" fmla="*/ 0 w 9143"/>
              <a:gd name="T9" fmla="*/ 0 h 10573"/>
              <a:gd name="T10" fmla="*/ 0 w 9143"/>
              <a:gd name="T11" fmla="*/ 0 h 10573"/>
              <a:gd name="T12" fmla="*/ 0 w 9143"/>
              <a:gd name="T13" fmla="*/ 0 h 10573"/>
              <a:gd name="T14" fmla="*/ 0 w 9143"/>
              <a:gd name="T15" fmla="*/ 0 h 10573"/>
              <a:gd name="T16" fmla="*/ 0 w 9143"/>
              <a:gd name="T17" fmla="*/ 0 h 10573"/>
              <a:gd name="T18" fmla="*/ 0 w 9143"/>
              <a:gd name="T19" fmla="*/ 0 h 10573"/>
              <a:gd name="T20" fmla="*/ 0 w 9143"/>
              <a:gd name="T21" fmla="*/ 0 h 10573"/>
              <a:gd name="T22" fmla="*/ 0 w 9143"/>
              <a:gd name="T23" fmla="*/ 0 h 10573"/>
              <a:gd name="T24" fmla="*/ 0 w 9143"/>
              <a:gd name="T25" fmla="*/ 0 h 10573"/>
              <a:gd name="T26" fmla="*/ 0 w 9143"/>
              <a:gd name="T27" fmla="*/ 0 h 10573"/>
              <a:gd name="T28" fmla="*/ 0 w 9143"/>
              <a:gd name="T29" fmla="*/ 0 h 10573"/>
              <a:gd name="T30" fmla="*/ 0 w 9143"/>
              <a:gd name="T31" fmla="*/ 0 h 10573"/>
              <a:gd name="T32" fmla="*/ 0 w 9143"/>
              <a:gd name="T33" fmla="*/ 0 h 10573"/>
              <a:gd name="T34" fmla="*/ 0 w 9143"/>
              <a:gd name="T35" fmla="*/ 0 h 10573"/>
              <a:gd name="T36" fmla="*/ 0 w 9143"/>
              <a:gd name="T37" fmla="*/ 0 h 10573"/>
              <a:gd name="T38" fmla="*/ 0 w 9143"/>
              <a:gd name="T39" fmla="*/ 0 h 10573"/>
              <a:gd name="T40" fmla="*/ 0 w 9143"/>
              <a:gd name="T41" fmla="*/ 0 h 10573"/>
              <a:gd name="T42" fmla="*/ 0 w 9143"/>
              <a:gd name="T43" fmla="*/ 0 h 10573"/>
              <a:gd name="T44" fmla="*/ 0 w 9143"/>
              <a:gd name="T45" fmla="*/ 0 h 10573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w 9143"/>
              <a:gd name="T70" fmla="*/ 0 h 10573"/>
              <a:gd name="T71" fmla="*/ 9143 w 9143"/>
              <a:gd name="T72" fmla="*/ 10573 h 10573"/>
            </a:gdLst>
            <a:ahLst/>
            <a:cxnLst>
              <a:cxn ang="T46">
                <a:pos x="T0" y="T1"/>
              </a:cxn>
              <a:cxn ang="T47">
                <a:pos x="T2" y="T3"/>
              </a:cxn>
              <a:cxn ang="T48">
                <a:pos x="T4" y="T5"/>
              </a:cxn>
              <a:cxn ang="T49">
                <a:pos x="T6" y="T7"/>
              </a:cxn>
              <a:cxn ang="T50">
                <a:pos x="T8" y="T9"/>
              </a:cxn>
              <a:cxn ang="T51">
                <a:pos x="T10" y="T11"/>
              </a:cxn>
              <a:cxn ang="T52">
                <a:pos x="T12" y="T13"/>
              </a:cxn>
              <a:cxn ang="T53">
                <a:pos x="T14" y="T15"/>
              </a:cxn>
              <a:cxn ang="T54">
                <a:pos x="T16" y="T17"/>
              </a:cxn>
              <a:cxn ang="T55">
                <a:pos x="T18" y="T19"/>
              </a:cxn>
              <a:cxn ang="T56">
                <a:pos x="T20" y="T21"/>
              </a:cxn>
              <a:cxn ang="T57">
                <a:pos x="T22" y="T23"/>
              </a:cxn>
              <a:cxn ang="T58">
                <a:pos x="T24" y="T25"/>
              </a:cxn>
              <a:cxn ang="T59">
                <a:pos x="T26" y="T27"/>
              </a:cxn>
              <a:cxn ang="T60">
                <a:pos x="T28" y="T29"/>
              </a:cxn>
              <a:cxn ang="T61">
                <a:pos x="T30" y="T31"/>
              </a:cxn>
              <a:cxn ang="T62">
                <a:pos x="T32" y="T33"/>
              </a:cxn>
              <a:cxn ang="T63">
                <a:pos x="T34" y="T35"/>
              </a:cxn>
              <a:cxn ang="T64">
                <a:pos x="T36" y="T37"/>
              </a:cxn>
              <a:cxn ang="T65">
                <a:pos x="T38" y="T39"/>
              </a:cxn>
              <a:cxn ang="T66">
                <a:pos x="T40" y="T41"/>
              </a:cxn>
              <a:cxn ang="T67">
                <a:pos x="T42" y="T43"/>
              </a:cxn>
              <a:cxn ang="T68">
                <a:pos x="T44" y="T45"/>
              </a:cxn>
            </a:cxnLst>
            <a:rect l="T69" t="T70" r="T71" b="T72"/>
            <a:pathLst>
              <a:path w="9143" h="10573">
                <a:moveTo>
                  <a:pt x="7198" y="10573"/>
                </a:moveTo>
                <a:lnTo>
                  <a:pt x="8754" y="9737"/>
                </a:lnTo>
                <a:lnTo>
                  <a:pt x="9143" y="8780"/>
                </a:lnTo>
                <a:lnTo>
                  <a:pt x="9143" y="8342"/>
                </a:lnTo>
                <a:lnTo>
                  <a:pt x="7004" y="8223"/>
                </a:lnTo>
                <a:lnTo>
                  <a:pt x="5253" y="8102"/>
                </a:lnTo>
                <a:lnTo>
                  <a:pt x="4669" y="7665"/>
                </a:lnTo>
                <a:lnTo>
                  <a:pt x="6031" y="7187"/>
                </a:lnTo>
                <a:lnTo>
                  <a:pt x="6031" y="6588"/>
                </a:lnTo>
                <a:lnTo>
                  <a:pt x="4280" y="6190"/>
                </a:lnTo>
                <a:lnTo>
                  <a:pt x="2334" y="6110"/>
                </a:lnTo>
                <a:lnTo>
                  <a:pt x="583" y="5951"/>
                </a:lnTo>
                <a:lnTo>
                  <a:pt x="0" y="5233"/>
                </a:lnTo>
                <a:lnTo>
                  <a:pt x="1168" y="4677"/>
                </a:lnTo>
                <a:lnTo>
                  <a:pt x="2724" y="4238"/>
                </a:lnTo>
                <a:lnTo>
                  <a:pt x="2724" y="3561"/>
                </a:lnTo>
                <a:lnTo>
                  <a:pt x="2724" y="2924"/>
                </a:lnTo>
                <a:lnTo>
                  <a:pt x="1361" y="2606"/>
                </a:lnTo>
                <a:lnTo>
                  <a:pt x="583" y="2167"/>
                </a:lnTo>
                <a:lnTo>
                  <a:pt x="583" y="1649"/>
                </a:lnTo>
                <a:lnTo>
                  <a:pt x="1946" y="1330"/>
                </a:lnTo>
                <a:lnTo>
                  <a:pt x="4669" y="573"/>
                </a:lnTo>
                <a:lnTo>
                  <a:pt x="6571" y="0"/>
                </a:lnTo>
              </a:path>
            </a:pathLst>
          </a:custGeom>
          <a:noFill/>
          <a:ln w="3175" cap="flat" cmpd="sng">
            <a:solidFill>
              <a:srgbClr val="D9EAF7"/>
            </a:solidFill>
            <a:prstDash val="solid"/>
            <a:round/>
            <a:headEnd type="none" w="med" len="med"/>
            <a:tailEnd type="none" w="med" len="med"/>
          </a:ln>
        </p:spPr>
        <p:txBody>
          <a:bodyPr wrap="none" lIns="32632" tIns="32632" rIns="32632" bIns="32632" anchor="ctr"/>
          <a:lstStyle/>
          <a:p>
            <a:pPr defTabSz="891045"/>
            <a:endParaRPr lang="en-US" sz="1700" dirty="0">
              <a:solidFill>
                <a:srgbClr val="003149"/>
              </a:solidFill>
              <a:cs typeface="Arial" panose="020B0604020202020204" pitchFamily="34" charset="0"/>
            </a:endParaRPr>
          </a:p>
        </p:txBody>
      </p:sp>
      <p:sp>
        <p:nvSpPr>
          <p:cNvPr id="326" name="Freeform 684"/>
          <p:cNvSpPr>
            <a:spLocks noChangeAspect="1"/>
          </p:cNvSpPr>
          <p:nvPr>
            <p:custDataLst>
              <p:tags r:id="rId213"/>
            </p:custDataLst>
          </p:nvPr>
        </p:nvSpPr>
        <p:spPr bwMode="gray">
          <a:xfrm>
            <a:off x="3125088" y="3416043"/>
            <a:ext cx="12795" cy="45914"/>
          </a:xfrm>
          <a:custGeom>
            <a:avLst/>
            <a:gdLst>
              <a:gd name="T0" fmla="*/ 0 w 10000"/>
              <a:gd name="T1" fmla="*/ 0 h 10536"/>
              <a:gd name="T2" fmla="*/ 0 w 10000"/>
              <a:gd name="T3" fmla="*/ 0 h 10536"/>
              <a:gd name="T4" fmla="*/ 0 w 10000"/>
              <a:gd name="T5" fmla="*/ 0 h 10536"/>
              <a:gd name="T6" fmla="*/ 0 w 10000"/>
              <a:gd name="T7" fmla="*/ 0 h 10536"/>
              <a:gd name="T8" fmla="*/ 0 w 10000"/>
              <a:gd name="T9" fmla="*/ 0 h 10536"/>
              <a:gd name="T10" fmla="*/ 0 w 10000"/>
              <a:gd name="T11" fmla="*/ 0 h 10536"/>
              <a:gd name="T12" fmla="*/ 0 w 10000"/>
              <a:gd name="T13" fmla="*/ 0 h 10536"/>
              <a:gd name="T14" fmla="*/ 0 w 10000"/>
              <a:gd name="T15" fmla="*/ 0 h 10536"/>
              <a:gd name="T16" fmla="*/ 0 w 10000"/>
              <a:gd name="T17" fmla="*/ 0 h 10536"/>
              <a:gd name="T18" fmla="*/ 0 w 10000"/>
              <a:gd name="T19" fmla="*/ 0 h 10536"/>
              <a:gd name="T20" fmla="*/ 0 w 10000"/>
              <a:gd name="T21" fmla="*/ 0 h 10536"/>
              <a:gd name="T22" fmla="*/ 0 w 10000"/>
              <a:gd name="T23" fmla="*/ 0 h 10536"/>
              <a:gd name="T24" fmla="*/ 0 w 10000"/>
              <a:gd name="T25" fmla="*/ 0 h 10536"/>
              <a:gd name="T26" fmla="*/ 0 w 10000"/>
              <a:gd name="T27" fmla="*/ 0 h 10536"/>
              <a:gd name="T28" fmla="*/ 0 w 10000"/>
              <a:gd name="T29" fmla="*/ 0 h 10536"/>
              <a:gd name="T30" fmla="*/ 0 w 10000"/>
              <a:gd name="T31" fmla="*/ 0 h 10536"/>
              <a:gd name="T32" fmla="*/ 0 w 10000"/>
              <a:gd name="T33" fmla="*/ 0 h 10536"/>
              <a:gd name="T34" fmla="*/ 0 w 10000"/>
              <a:gd name="T35" fmla="*/ 0 h 10536"/>
              <a:gd name="T36" fmla="*/ 0 w 10000"/>
              <a:gd name="T37" fmla="*/ 0 h 10536"/>
              <a:gd name="T38" fmla="*/ 0 w 10000"/>
              <a:gd name="T39" fmla="*/ 0 h 10536"/>
              <a:gd name="T40" fmla="*/ 0 w 10000"/>
              <a:gd name="T41" fmla="*/ 0 h 10536"/>
              <a:gd name="T42" fmla="*/ 0 w 10000"/>
              <a:gd name="T43" fmla="*/ 0 h 10536"/>
              <a:gd name="T44" fmla="*/ 0 w 10000"/>
              <a:gd name="T45" fmla="*/ 0 h 10536"/>
              <a:gd name="T46" fmla="*/ 0 w 10000"/>
              <a:gd name="T47" fmla="*/ 0 h 10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w 10000"/>
              <a:gd name="T73" fmla="*/ 0 h 10536"/>
              <a:gd name="T74" fmla="*/ 10000 w 10000"/>
              <a:gd name="T75" fmla="*/ 10536 h 10536"/>
            </a:gdLst>
            <a:ahLst/>
            <a:cxnLst>
              <a:cxn ang="T48">
                <a:pos x="T0" y="T1"/>
              </a:cxn>
              <a:cxn ang="T49">
                <a:pos x="T2" y="T3"/>
              </a:cxn>
              <a:cxn ang="T50">
                <a:pos x="T4" y="T5"/>
              </a:cxn>
              <a:cxn ang="T51">
                <a:pos x="T6" y="T7"/>
              </a:cxn>
              <a:cxn ang="T52">
                <a:pos x="T8" y="T9"/>
              </a:cxn>
              <a:cxn ang="T53">
                <a:pos x="T10" y="T11"/>
              </a:cxn>
              <a:cxn ang="T54">
                <a:pos x="T12" y="T13"/>
              </a:cxn>
              <a:cxn ang="T55">
                <a:pos x="T14" y="T15"/>
              </a:cxn>
              <a:cxn ang="T56">
                <a:pos x="T16" y="T17"/>
              </a:cxn>
              <a:cxn ang="T57">
                <a:pos x="T18" y="T19"/>
              </a:cxn>
              <a:cxn ang="T58">
                <a:pos x="T20" y="T21"/>
              </a:cxn>
              <a:cxn ang="T59">
                <a:pos x="T22" y="T23"/>
              </a:cxn>
              <a:cxn ang="T60">
                <a:pos x="T24" y="T25"/>
              </a:cxn>
              <a:cxn ang="T61">
                <a:pos x="T26" y="T27"/>
              </a:cxn>
              <a:cxn ang="T62">
                <a:pos x="T28" y="T29"/>
              </a:cxn>
              <a:cxn ang="T63">
                <a:pos x="T30" y="T31"/>
              </a:cxn>
              <a:cxn ang="T64">
                <a:pos x="T32" y="T33"/>
              </a:cxn>
              <a:cxn ang="T65">
                <a:pos x="T34" y="T35"/>
              </a:cxn>
              <a:cxn ang="T66">
                <a:pos x="T36" y="T37"/>
              </a:cxn>
              <a:cxn ang="T67">
                <a:pos x="T38" y="T39"/>
              </a:cxn>
              <a:cxn ang="T68">
                <a:pos x="T40" y="T41"/>
              </a:cxn>
              <a:cxn ang="T69">
                <a:pos x="T42" y="T43"/>
              </a:cxn>
              <a:cxn ang="T70">
                <a:pos x="T44" y="T45"/>
              </a:cxn>
              <a:cxn ang="T71">
                <a:pos x="T46" y="T47"/>
              </a:cxn>
            </a:cxnLst>
            <a:rect l="T72" t="T73" r="T74" b="T75"/>
            <a:pathLst>
              <a:path w="10000" h="10536">
                <a:moveTo>
                  <a:pt x="10000" y="10407"/>
                </a:moveTo>
                <a:lnTo>
                  <a:pt x="7209" y="10536"/>
                </a:lnTo>
                <a:lnTo>
                  <a:pt x="4186" y="10536"/>
                </a:lnTo>
                <a:lnTo>
                  <a:pt x="3721" y="10142"/>
                </a:lnTo>
                <a:lnTo>
                  <a:pt x="5116" y="9512"/>
                </a:lnTo>
                <a:lnTo>
                  <a:pt x="4651" y="8646"/>
                </a:lnTo>
                <a:lnTo>
                  <a:pt x="3256" y="8489"/>
                </a:lnTo>
                <a:lnTo>
                  <a:pt x="1628" y="8567"/>
                </a:lnTo>
                <a:lnTo>
                  <a:pt x="233" y="8331"/>
                </a:lnTo>
                <a:cubicBezTo>
                  <a:pt x="310" y="8147"/>
                  <a:pt x="388" y="7964"/>
                  <a:pt x="465" y="7780"/>
                </a:cubicBezTo>
                <a:lnTo>
                  <a:pt x="1628" y="7229"/>
                </a:lnTo>
                <a:lnTo>
                  <a:pt x="3023" y="6442"/>
                </a:lnTo>
                <a:lnTo>
                  <a:pt x="3953" y="5969"/>
                </a:lnTo>
                <a:lnTo>
                  <a:pt x="5349" y="5890"/>
                </a:lnTo>
                <a:lnTo>
                  <a:pt x="7907" y="5654"/>
                </a:lnTo>
                <a:lnTo>
                  <a:pt x="8837" y="5182"/>
                </a:lnTo>
                <a:cubicBezTo>
                  <a:pt x="8760" y="4972"/>
                  <a:pt x="8682" y="4762"/>
                  <a:pt x="8605" y="4552"/>
                </a:cubicBezTo>
                <a:lnTo>
                  <a:pt x="7209" y="4158"/>
                </a:lnTo>
                <a:lnTo>
                  <a:pt x="5116" y="4316"/>
                </a:lnTo>
                <a:lnTo>
                  <a:pt x="3023" y="4001"/>
                </a:lnTo>
                <a:lnTo>
                  <a:pt x="2326" y="3371"/>
                </a:lnTo>
                <a:lnTo>
                  <a:pt x="930" y="2426"/>
                </a:lnTo>
                <a:cubicBezTo>
                  <a:pt x="853" y="2085"/>
                  <a:pt x="775" y="1743"/>
                  <a:pt x="698" y="1402"/>
                </a:cubicBezTo>
                <a:cubicBezTo>
                  <a:pt x="465" y="1113"/>
                  <a:pt x="233" y="289"/>
                  <a:pt x="0" y="0"/>
                </a:cubicBezTo>
              </a:path>
            </a:pathLst>
          </a:custGeom>
          <a:noFill/>
          <a:ln w="3175" cap="flat" cmpd="sng">
            <a:solidFill>
              <a:srgbClr val="D9EAF7"/>
            </a:solidFill>
            <a:prstDash val="solid"/>
            <a:round/>
            <a:headEnd type="none" w="med" len="med"/>
            <a:tailEnd type="none" w="med" len="med"/>
          </a:ln>
        </p:spPr>
        <p:txBody>
          <a:bodyPr wrap="none" lIns="32632" tIns="32632" rIns="32632" bIns="32632" anchor="ctr"/>
          <a:lstStyle/>
          <a:p>
            <a:pPr defTabSz="891045"/>
            <a:endParaRPr lang="en-US" sz="1700" dirty="0">
              <a:solidFill>
                <a:srgbClr val="003149"/>
              </a:solidFill>
              <a:cs typeface="Arial" panose="020B0604020202020204" pitchFamily="34" charset="0"/>
            </a:endParaRPr>
          </a:p>
        </p:txBody>
      </p:sp>
      <p:sp>
        <p:nvSpPr>
          <p:cNvPr id="327" name="Freeform 691"/>
          <p:cNvSpPr>
            <a:spLocks noChangeAspect="1"/>
          </p:cNvSpPr>
          <p:nvPr>
            <p:custDataLst>
              <p:tags r:id="rId214"/>
            </p:custDataLst>
          </p:nvPr>
        </p:nvSpPr>
        <p:spPr bwMode="gray">
          <a:xfrm>
            <a:off x="2990004" y="3252475"/>
            <a:ext cx="68240" cy="97568"/>
          </a:xfrm>
          <a:custGeom>
            <a:avLst/>
            <a:gdLst>
              <a:gd name="T0" fmla="*/ 0 w 10000"/>
              <a:gd name="T1" fmla="*/ 0 h 10096"/>
              <a:gd name="T2" fmla="*/ 0 w 10000"/>
              <a:gd name="T3" fmla="*/ 0 h 10096"/>
              <a:gd name="T4" fmla="*/ 0 w 10000"/>
              <a:gd name="T5" fmla="*/ 0 h 10096"/>
              <a:gd name="T6" fmla="*/ 0 w 10000"/>
              <a:gd name="T7" fmla="*/ 0 h 10096"/>
              <a:gd name="T8" fmla="*/ 0 w 10000"/>
              <a:gd name="T9" fmla="*/ 0 h 10096"/>
              <a:gd name="T10" fmla="*/ 0 w 10000"/>
              <a:gd name="T11" fmla="*/ 0 h 10096"/>
              <a:gd name="T12" fmla="*/ 0 w 10000"/>
              <a:gd name="T13" fmla="*/ 0 h 10096"/>
              <a:gd name="T14" fmla="*/ 0 w 10000"/>
              <a:gd name="T15" fmla="*/ 0 h 10096"/>
              <a:gd name="T16" fmla="*/ 0 w 10000"/>
              <a:gd name="T17" fmla="*/ 0 h 10096"/>
              <a:gd name="T18" fmla="*/ 0 w 10000"/>
              <a:gd name="T19" fmla="*/ 0 h 10096"/>
              <a:gd name="T20" fmla="*/ 0 w 10000"/>
              <a:gd name="T21" fmla="*/ 0 h 10096"/>
              <a:gd name="T22" fmla="*/ 0 w 10000"/>
              <a:gd name="T23" fmla="*/ 0 h 10096"/>
              <a:gd name="T24" fmla="*/ 0 w 10000"/>
              <a:gd name="T25" fmla="*/ 0 h 10096"/>
              <a:gd name="T26" fmla="*/ 0 w 10000"/>
              <a:gd name="T27" fmla="*/ 0 h 10096"/>
              <a:gd name="T28" fmla="*/ 0 w 10000"/>
              <a:gd name="T29" fmla="*/ 0 h 10096"/>
              <a:gd name="T30" fmla="*/ 0 w 10000"/>
              <a:gd name="T31" fmla="*/ 0 h 10096"/>
              <a:gd name="T32" fmla="*/ 0 w 10000"/>
              <a:gd name="T33" fmla="*/ 0 h 10096"/>
              <a:gd name="T34" fmla="*/ 0 w 10000"/>
              <a:gd name="T35" fmla="*/ 0 h 10096"/>
              <a:gd name="T36" fmla="*/ 0 w 10000"/>
              <a:gd name="T37" fmla="*/ 0 h 1009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w 10000"/>
              <a:gd name="T58" fmla="*/ 0 h 10096"/>
              <a:gd name="T59" fmla="*/ 10000 w 10000"/>
              <a:gd name="T60" fmla="*/ 10096 h 10096"/>
            </a:gdLst>
            <a:ahLst/>
            <a:cxnLst>
              <a:cxn ang="T38">
                <a:pos x="T0" y="T1"/>
              </a:cxn>
              <a:cxn ang="T39">
                <a:pos x="T2" y="T3"/>
              </a:cxn>
              <a:cxn ang="T40">
                <a:pos x="T4" y="T5"/>
              </a:cxn>
              <a:cxn ang="T41">
                <a:pos x="T6" y="T7"/>
              </a:cxn>
              <a:cxn ang="T42">
                <a:pos x="T8" y="T9"/>
              </a:cxn>
              <a:cxn ang="T43">
                <a:pos x="T10" y="T11"/>
              </a:cxn>
              <a:cxn ang="T44">
                <a:pos x="T12" y="T13"/>
              </a:cxn>
              <a:cxn ang="T45">
                <a:pos x="T14" y="T15"/>
              </a:cxn>
              <a:cxn ang="T46">
                <a:pos x="T16" y="T17"/>
              </a:cxn>
              <a:cxn ang="T47">
                <a:pos x="T18" y="T19"/>
              </a:cxn>
              <a:cxn ang="T48">
                <a:pos x="T20" y="T21"/>
              </a:cxn>
              <a:cxn ang="T49">
                <a:pos x="T22" y="T23"/>
              </a:cxn>
              <a:cxn ang="T50">
                <a:pos x="T24" y="T25"/>
              </a:cxn>
              <a:cxn ang="T51">
                <a:pos x="T26" y="T27"/>
              </a:cxn>
              <a:cxn ang="T52">
                <a:pos x="T28" y="T29"/>
              </a:cxn>
              <a:cxn ang="T53">
                <a:pos x="T30" y="T31"/>
              </a:cxn>
              <a:cxn ang="T54">
                <a:pos x="T32" y="T33"/>
              </a:cxn>
              <a:cxn ang="T55">
                <a:pos x="T34" y="T35"/>
              </a:cxn>
              <a:cxn ang="T56">
                <a:pos x="T36" y="T37"/>
              </a:cxn>
            </a:cxnLst>
            <a:rect l="T57" t="T58" r="T59" b="T60"/>
            <a:pathLst>
              <a:path w="10000" h="10096">
                <a:moveTo>
                  <a:pt x="10000" y="10096"/>
                </a:moveTo>
                <a:lnTo>
                  <a:pt x="8889" y="8913"/>
                </a:lnTo>
                <a:lnTo>
                  <a:pt x="8356" y="8125"/>
                </a:lnTo>
                <a:lnTo>
                  <a:pt x="8356" y="7193"/>
                </a:lnTo>
                <a:cubicBezTo>
                  <a:pt x="8385" y="6954"/>
                  <a:pt x="8415" y="6715"/>
                  <a:pt x="8444" y="6476"/>
                </a:cubicBezTo>
                <a:lnTo>
                  <a:pt x="9156" y="6118"/>
                </a:lnTo>
                <a:lnTo>
                  <a:pt x="9511" y="5687"/>
                </a:lnTo>
                <a:lnTo>
                  <a:pt x="9333" y="5257"/>
                </a:lnTo>
                <a:lnTo>
                  <a:pt x="8178" y="4684"/>
                </a:lnTo>
                <a:lnTo>
                  <a:pt x="6933" y="4182"/>
                </a:lnTo>
                <a:lnTo>
                  <a:pt x="5778" y="3609"/>
                </a:lnTo>
                <a:lnTo>
                  <a:pt x="5333" y="2748"/>
                </a:lnTo>
                <a:lnTo>
                  <a:pt x="4978" y="2247"/>
                </a:lnTo>
                <a:lnTo>
                  <a:pt x="3556" y="1745"/>
                </a:lnTo>
                <a:lnTo>
                  <a:pt x="2400" y="1745"/>
                </a:lnTo>
                <a:lnTo>
                  <a:pt x="711" y="1745"/>
                </a:lnTo>
                <a:lnTo>
                  <a:pt x="178" y="1673"/>
                </a:lnTo>
                <a:cubicBezTo>
                  <a:pt x="119" y="1458"/>
                  <a:pt x="59" y="1243"/>
                  <a:pt x="0" y="1028"/>
                </a:cubicBezTo>
                <a:cubicBezTo>
                  <a:pt x="59" y="717"/>
                  <a:pt x="119" y="311"/>
                  <a:pt x="178" y="0"/>
                </a:cubicBezTo>
              </a:path>
            </a:pathLst>
          </a:custGeom>
          <a:noFill/>
          <a:ln w="3175" cap="flat" cmpd="sng">
            <a:solidFill>
              <a:srgbClr val="D9EAF7"/>
            </a:solidFill>
            <a:prstDash val="solid"/>
            <a:round/>
            <a:headEnd type="none" w="med" len="med"/>
            <a:tailEnd type="none" w="med" len="med"/>
          </a:ln>
        </p:spPr>
        <p:txBody>
          <a:bodyPr wrap="none" lIns="32632" tIns="32632" rIns="32632" bIns="32632" anchor="ctr"/>
          <a:lstStyle/>
          <a:p>
            <a:pPr defTabSz="891045"/>
            <a:endParaRPr lang="en-US" sz="1700" dirty="0">
              <a:solidFill>
                <a:srgbClr val="003149"/>
              </a:solidFill>
              <a:cs typeface="Arial" panose="020B0604020202020204" pitchFamily="34" charset="0"/>
            </a:endParaRPr>
          </a:p>
        </p:txBody>
      </p:sp>
      <p:sp>
        <p:nvSpPr>
          <p:cNvPr id="328" name="Freeform 768"/>
          <p:cNvSpPr>
            <a:spLocks noChangeAspect="1"/>
          </p:cNvSpPr>
          <p:nvPr>
            <p:custDataLst>
              <p:tags r:id="rId215"/>
            </p:custDataLst>
          </p:nvPr>
        </p:nvSpPr>
        <p:spPr bwMode="gray">
          <a:xfrm>
            <a:off x="2478239" y="3278318"/>
            <a:ext cx="115155" cy="226703"/>
          </a:xfrm>
          <a:custGeom>
            <a:avLst/>
            <a:gdLst>
              <a:gd name="T0" fmla="*/ 0 w 10000"/>
              <a:gd name="T1" fmla="*/ 0 h 10000"/>
              <a:gd name="T2" fmla="*/ 0 w 10000"/>
              <a:gd name="T3" fmla="*/ 0 h 10000"/>
              <a:gd name="T4" fmla="*/ 0 w 10000"/>
              <a:gd name="T5" fmla="*/ 0 h 10000"/>
              <a:gd name="T6" fmla="*/ 0 w 10000"/>
              <a:gd name="T7" fmla="*/ 0 h 10000"/>
              <a:gd name="T8" fmla="*/ 0 w 10000"/>
              <a:gd name="T9" fmla="*/ 0 h 10000"/>
              <a:gd name="T10" fmla="*/ 0 w 10000"/>
              <a:gd name="T11" fmla="*/ 0 h 10000"/>
              <a:gd name="T12" fmla="*/ 0 w 10000"/>
              <a:gd name="T13" fmla="*/ 0 h 10000"/>
              <a:gd name="T14" fmla="*/ 0 w 10000"/>
              <a:gd name="T15" fmla="*/ 0 h 10000"/>
              <a:gd name="T16" fmla="*/ 0 w 10000"/>
              <a:gd name="T17" fmla="*/ 0 h 10000"/>
              <a:gd name="T18" fmla="*/ 0 w 10000"/>
              <a:gd name="T19" fmla="*/ 0 h 10000"/>
              <a:gd name="T20" fmla="*/ 0 w 10000"/>
              <a:gd name="T21" fmla="*/ 0 h 10000"/>
              <a:gd name="T22" fmla="*/ 0 w 10000"/>
              <a:gd name="T23" fmla="*/ 0 h 10000"/>
              <a:gd name="T24" fmla="*/ 0 w 10000"/>
              <a:gd name="T25" fmla="*/ 0 h 10000"/>
              <a:gd name="T26" fmla="*/ 0 w 10000"/>
              <a:gd name="T27" fmla="*/ 0 h 10000"/>
              <a:gd name="T28" fmla="*/ 0 w 10000"/>
              <a:gd name="T29" fmla="*/ 0 h 10000"/>
              <a:gd name="T30" fmla="*/ 0 w 10000"/>
              <a:gd name="T31" fmla="*/ 0 h 10000"/>
              <a:gd name="T32" fmla="*/ 0 w 10000"/>
              <a:gd name="T33" fmla="*/ 0 h 10000"/>
              <a:gd name="T34" fmla="*/ 0 w 10000"/>
              <a:gd name="T35" fmla="*/ 0 h 10000"/>
              <a:gd name="T36" fmla="*/ 0 w 10000"/>
              <a:gd name="T37" fmla="*/ 0 h 10000"/>
              <a:gd name="T38" fmla="*/ 0 w 10000"/>
              <a:gd name="T39" fmla="*/ 0 h 10000"/>
              <a:gd name="T40" fmla="*/ 0 w 10000"/>
              <a:gd name="T41" fmla="*/ 0 h 10000"/>
              <a:gd name="T42" fmla="*/ 0 w 10000"/>
              <a:gd name="T43" fmla="*/ 0 h 10000"/>
              <a:gd name="T44" fmla="*/ 0 w 10000"/>
              <a:gd name="T45" fmla="*/ 0 h 10000"/>
              <a:gd name="T46" fmla="*/ 0 w 10000"/>
              <a:gd name="T47" fmla="*/ 0 h 10000"/>
              <a:gd name="T48" fmla="*/ 0 w 10000"/>
              <a:gd name="T49" fmla="*/ 0 h 10000"/>
              <a:gd name="T50" fmla="*/ 0 w 10000"/>
              <a:gd name="T51" fmla="*/ 0 h 10000"/>
              <a:gd name="T52" fmla="*/ 0 w 10000"/>
              <a:gd name="T53" fmla="*/ 0 h 10000"/>
              <a:gd name="T54" fmla="*/ 0 w 10000"/>
              <a:gd name="T55" fmla="*/ 0 h 10000"/>
              <a:gd name="T56" fmla="*/ 0 w 10000"/>
              <a:gd name="T57" fmla="*/ 0 h 10000"/>
              <a:gd name="T58" fmla="*/ 0 w 10000"/>
              <a:gd name="T59" fmla="*/ 0 h 10000"/>
              <a:gd name="T60" fmla="*/ 0 w 10000"/>
              <a:gd name="T61" fmla="*/ 0 h 10000"/>
              <a:gd name="T62" fmla="*/ 0 w 10000"/>
              <a:gd name="T63" fmla="*/ 0 h 10000"/>
              <a:gd name="T64" fmla="*/ 0 w 10000"/>
              <a:gd name="T65" fmla="*/ 0 h 10000"/>
              <a:gd name="T66" fmla="*/ 0 w 10000"/>
              <a:gd name="T67" fmla="*/ 0 h 10000"/>
              <a:gd name="T68" fmla="*/ 0 w 10000"/>
              <a:gd name="T69" fmla="*/ 0 h 10000"/>
              <a:gd name="T70" fmla="*/ 0 w 10000"/>
              <a:gd name="T71" fmla="*/ 0 h 10000"/>
              <a:gd name="T72" fmla="*/ 0 w 10000"/>
              <a:gd name="T73" fmla="*/ 0 h 10000"/>
              <a:gd name="T74" fmla="*/ 0 w 10000"/>
              <a:gd name="T75" fmla="*/ 0 h 10000"/>
              <a:gd name="T76" fmla="*/ 0 w 10000"/>
              <a:gd name="T77" fmla="*/ 0 h 10000"/>
              <a:gd name="T78" fmla="*/ 0 w 10000"/>
              <a:gd name="T79" fmla="*/ 0 h 10000"/>
              <a:gd name="T80" fmla="*/ 0 w 10000"/>
              <a:gd name="T81" fmla="*/ 0 h 10000"/>
              <a:gd name="T82" fmla="*/ 0 w 10000"/>
              <a:gd name="T83" fmla="*/ 0 h 10000"/>
              <a:gd name="T84" fmla="*/ 0 w 10000"/>
              <a:gd name="T85" fmla="*/ 0 h 10000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w 10000"/>
              <a:gd name="T130" fmla="*/ 0 h 10000"/>
              <a:gd name="T131" fmla="*/ 10000 w 10000"/>
              <a:gd name="T132" fmla="*/ 10000 h 10000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T129" t="T130" r="T131" b="T132"/>
            <a:pathLst>
              <a:path w="10000" h="10000">
                <a:moveTo>
                  <a:pt x="5415" y="9844"/>
                </a:moveTo>
                <a:lnTo>
                  <a:pt x="5023" y="9866"/>
                </a:lnTo>
                <a:lnTo>
                  <a:pt x="4690" y="9914"/>
                </a:lnTo>
                <a:lnTo>
                  <a:pt x="4421" y="9914"/>
                </a:lnTo>
                <a:lnTo>
                  <a:pt x="4161" y="9898"/>
                </a:lnTo>
                <a:lnTo>
                  <a:pt x="3892" y="9914"/>
                </a:lnTo>
                <a:lnTo>
                  <a:pt x="3661" y="10000"/>
                </a:lnTo>
                <a:lnTo>
                  <a:pt x="3336" y="10000"/>
                </a:lnTo>
                <a:cubicBezTo>
                  <a:pt x="3305" y="9977"/>
                  <a:pt x="3275" y="9953"/>
                  <a:pt x="3244" y="9930"/>
                </a:cubicBezTo>
                <a:cubicBezTo>
                  <a:pt x="3228" y="9894"/>
                  <a:pt x="3213" y="9859"/>
                  <a:pt x="3197" y="9823"/>
                </a:cubicBezTo>
                <a:cubicBezTo>
                  <a:pt x="3206" y="9780"/>
                  <a:pt x="3216" y="9737"/>
                  <a:pt x="3225" y="9694"/>
                </a:cubicBezTo>
                <a:lnTo>
                  <a:pt x="3392" y="9484"/>
                </a:lnTo>
                <a:cubicBezTo>
                  <a:pt x="3370" y="9409"/>
                  <a:pt x="3349" y="9333"/>
                  <a:pt x="3327" y="9258"/>
                </a:cubicBezTo>
                <a:cubicBezTo>
                  <a:pt x="3312" y="9188"/>
                  <a:pt x="3296" y="9118"/>
                  <a:pt x="3281" y="9048"/>
                </a:cubicBezTo>
                <a:cubicBezTo>
                  <a:pt x="3253" y="9009"/>
                  <a:pt x="3225" y="8969"/>
                  <a:pt x="3197" y="8930"/>
                </a:cubicBezTo>
                <a:cubicBezTo>
                  <a:pt x="3169" y="8882"/>
                  <a:pt x="3142" y="8833"/>
                  <a:pt x="3114" y="8785"/>
                </a:cubicBezTo>
                <a:lnTo>
                  <a:pt x="2641" y="8581"/>
                </a:lnTo>
                <a:lnTo>
                  <a:pt x="2465" y="8446"/>
                </a:lnTo>
                <a:cubicBezTo>
                  <a:pt x="2456" y="8398"/>
                  <a:pt x="2446" y="8349"/>
                  <a:pt x="2437" y="8301"/>
                </a:cubicBezTo>
                <a:cubicBezTo>
                  <a:pt x="2468" y="8269"/>
                  <a:pt x="2499" y="8236"/>
                  <a:pt x="2530" y="8204"/>
                </a:cubicBezTo>
                <a:cubicBezTo>
                  <a:pt x="2499" y="8156"/>
                  <a:pt x="2468" y="8107"/>
                  <a:pt x="2437" y="8059"/>
                </a:cubicBezTo>
                <a:lnTo>
                  <a:pt x="2224" y="7962"/>
                </a:lnTo>
                <a:lnTo>
                  <a:pt x="2104" y="7962"/>
                </a:lnTo>
                <a:lnTo>
                  <a:pt x="1937" y="7962"/>
                </a:lnTo>
                <a:cubicBezTo>
                  <a:pt x="1928" y="7924"/>
                  <a:pt x="1918" y="7887"/>
                  <a:pt x="1909" y="7849"/>
                </a:cubicBezTo>
                <a:lnTo>
                  <a:pt x="2132" y="7575"/>
                </a:lnTo>
                <a:lnTo>
                  <a:pt x="2363" y="7371"/>
                </a:lnTo>
                <a:cubicBezTo>
                  <a:pt x="2382" y="7315"/>
                  <a:pt x="2400" y="7260"/>
                  <a:pt x="2419" y="7204"/>
                </a:cubicBezTo>
                <a:lnTo>
                  <a:pt x="2224" y="7177"/>
                </a:lnTo>
                <a:lnTo>
                  <a:pt x="1946" y="7140"/>
                </a:lnTo>
                <a:lnTo>
                  <a:pt x="1687" y="7129"/>
                </a:lnTo>
                <a:lnTo>
                  <a:pt x="1474" y="7129"/>
                </a:lnTo>
                <a:lnTo>
                  <a:pt x="1362" y="7177"/>
                </a:lnTo>
                <a:lnTo>
                  <a:pt x="1242" y="7226"/>
                </a:lnTo>
                <a:lnTo>
                  <a:pt x="1131" y="7081"/>
                </a:lnTo>
                <a:lnTo>
                  <a:pt x="1158" y="6919"/>
                </a:lnTo>
                <a:lnTo>
                  <a:pt x="1075" y="6833"/>
                </a:lnTo>
                <a:lnTo>
                  <a:pt x="918" y="6855"/>
                </a:lnTo>
                <a:lnTo>
                  <a:pt x="797" y="6903"/>
                </a:lnTo>
                <a:lnTo>
                  <a:pt x="658" y="6919"/>
                </a:lnTo>
                <a:lnTo>
                  <a:pt x="575" y="6806"/>
                </a:lnTo>
                <a:lnTo>
                  <a:pt x="334" y="6726"/>
                </a:lnTo>
                <a:lnTo>
                  <a:pt x="139" y="6737"/>
                </a:lnTo>
                <a:lnTo>
                  <a:pt x="0" y="6753"/>
                </a:lnTo>
                <a:lnTo>
                  <a:pt x="0" y="6548"/>
                </a:lnTo>
                <a:lnTo>
                  <a:pt x="74" y="6527"/>
                </a:lnTo>
                <a:lnTo>
                  <a:pt x="74" y="6398"/>
                </a:lnTo>
                <a:lnTo>
                  <a:pt x="491" y="6349"/>
                </a:lnTo>
                <a:lnTo>
                  <a:pt x="797" y="6323"/>
                </a:lnTo>
                <a:lnTo>
                  <a:pt x="973" y="6349"/>
                </a:lnTo>
                <a:lnTo>
                  <a:pt x="1158" y="6274"/>
                </a:lnTo>
                <a:cubicBezTo>
                  <a:pt x="1189" y="6245"/>
                  <a:pt x="1220" y="6217"/>
                  <a:pt x="1251" y="6188"/>
                </a:cubicBezTo>
                <a:cubicBezTo>
                  <a:pt x="1260" y="6161"/>
                  <a:pt x="1270" y="6135"/>
                  <a:pt x="1279" y="6108"/>
                </a:cubicBezTo>
                <a:cubicBezTo>
                  <a:pt x="1307" y="6104"/>
                  <a:pt x="1334" y="6101"/>
                  <a:pt x="1362" y="6097"/>
                </a:cubicBezTo>
                <a:cubicBezTo>
                  <a:pt x="1381" y="6113"/>
                  <a:pt x="1399" y="6129"/>
                  <a:pt x="1418" y="6145"/>
                </a:cubicBezTo>
                <a:cubicBezTo>
                  <a:pt x="1427" y="6167"/>
                  <a:pt x="1437" y="6188"/>
                  <a:pt x="1446" y="6210"/>
                </a:cubicBezTo>
                <a:lnTo>
                  <a:pt x="1529" y="6204"/>
                </a:lnTo>
                <a:cubicBezTo>
                  <a:pt x="1575" y="6184"/>
                  <a:pt x="1622" y="6165"/>
                  <a:pt x="1668" y="6145"/>
                </a:cubicBezTo>
                <a:cubicBezTo>
                  <a:pt x="1684" y="6116"/>
                  <a:pt x="1699" y="6088"/>
                  <a:pt x="1715" y="6059"/>
                </a:cubicBezTo>
                <a:cubicBezTo>
                  <a:pt x="1743" y="6098"/>
                  <a:pt x="1770" y="6138"/>
                  <a:pt x="1798" y="6177"/>
                </a:cubicBezTo>
                <a:lnTo>
                  <a:pt x="1909" y="6226"/>
                </a:lnTo>
                <a:lnTo>
                  <a:pt x="2085" y="6172"/>
                </a:lnTo>
                <a:cubicBezTo>
                  <a:pt x="2113" y="6140"/>
                  <a:pt x="2141" y="6107"/>
                  <a:pt x="2169" y="6075"/>
                </a:cubicBezTo>
                <a:cubicBezTo>
                  <a:pt x="2197" y="6050"/>
                  <a:pt x="2224" y="6025"/>
                  <a:pt x="2252" y="6000"/>
                </a:cubicBezTo>
                <a:lnTo>
                  <a:pt x="2391" y="5968"/>
                </a:lnTo>
                <a:cubicBezTo>
                  <a:pt x="2416" y="6000"/>
                  <a:pt x="2440" y="6033"/>
                  <a:pt x="2465" y="6065"/>
                </a:cubicBezTo>
                <a:lnTo>
                  <a:pt x="2669" y="6043"/>
                </a:lnTo>
                <a:cubicBezTo>
                  <a:pt x="2697" y="6013"/>
                  <a:pt x="2725" y="5982"/>
                  <a:pt x="2753" y="5952"/>
                </a:cubicBezTo>
                <a:lnTo>
                  <a:pt x="2641" y="5849"/>
                </a:lnTo>
                <a:lnTo>
                  <a:pt x="2382" y="5769"/>
                </a:lnTo>
                <a:lnTo>
                  <a:pt x="2196" y="5608"/>
                </a:lnTo>
                <a:cubicBezTo>
                  <a:pt x="2168" y="5565"/>
                  <a:pt x="2141" y="5521"/>
                  <a:pt x="2113" y="5478"/>
                </a:cubicBezTo>
                <a:cubicBezTo>
                  <a:pt x="2085" y="5446"/>
                  <a:pt x="2058" y="5414"/>
                  <a:pt x="2030" y="5382"/>
                </a:cubicBezTo>
                <a:cubicBezTo>
                  <a:pt x="2055" y="5350"/>
                  <a:pt x="2079" y="5317"/>
                  <a:pt x="2104" y="5285"/>
                </a:cubicBezTo>
                <a:lnTo>
                  <a:pt x="2271" y="5237"/>
                </a:lnTo>
                <a:lnTo>
                  <a:pt x="2419" y="5161"/>
                </a:lnTo>
                <a:lnTo>
                  <a:pt x="2614" y="5124"/>
                </a:lnTo>
                <a:lnTo>
                  <a:pt x="2882" y="5048"/>
                </a:lnTo>
                <a:lnTo>
                  <a:pt x="3142" y="4935"/>
                </a:lnTo>
                <a:lnTo>
                  <a:pt x="3411" y="4935"/>
                </a:lnTo>
                <a:lnTo>
                  <a:pt x="3642" y="4887"/>
                </a:lnTo>
                <a:lnTo>
                  <a:pt x="3837" y="4833"/>
                </a:lnTo>
                <a:lnTo>
                  <a:pt x="4078" y="4849"/>
                </a:lnTo>
                <a:lnTo>
                  <a:pt x="4411" y="4833"/>
                </a:lnTo>
                <a:lnTo>
                  <a:pt x="4699" y="4855"/>
                </a:lnTo>
                <a:lnTo>
                  <a:pt x="4829" y="4887"/>
                </a:lnTo>
                <a:lnTo>
                  <a:pt x="4949" y="5059"/>
                </a:lnTo>
                <a:lnTo>
                  <a:pt x="5227" y="5177"/>
                </a:lnTo>
                <a:lnTo>
                  <a:pt x="5440" y="5301"/>
                </a:lnTo>
                <a:lnTo>
                  <a:pt x="5774" y="5333"/>
                </a:lnTo>
                <a:lnTo>
                  <a:pt x="6163" y="5317"/>
                </a:lnTo>
                <a:lnTo>
                  <a:pt x="6302" y="5194"/>
                </a:lnTo>
                <a:lnTo>
                  <a:pt x="6506" y="5129"/>
                </a:lnTo>
                <a:lnTo>
                  <a:pt x="6775" y="4930"/>
                </a:lnTo>
                <a:lnTo>
                  <a:pt x="7062" y="4817"/>
                </a:lnTo>
                <a:lnTo>
                  <a:pt x="7340" y="4656"/>
                </a:lnTo>
                <a:cubicBezTo>
                  <a:pt x="7359" y="4582"/>
                  <a:pt x="7377" y="4509"/>
                  <a:pt x="7396" y="4435"/>
                </a:cubicBezTo>
                <a:lnTo>
                  <a:pt x="7396" y="4274"/>
                </a:lnTo>
                <a:lnTo>
                  <a:pt x="7275" y="4172"/>
                </a:lnTo>
                <a:lnTo>
                  <a:pt x="7257" y="4091"/>
                </a:lnTo>
                <a:lnTo>
                  <a:pt x="7386" y="4027"/>
                </a:lnTo>
                <a:cubicBezTo>
                  <a:pt x="7380" y="3968"/>
                  <a:pt x="7374" y="3908"/>
                  <a:pt x="7368" y="3849"/>
                </a:cubicBezTo>
                <a:cubicBezTo>
                  <a:pt x="7349" y="3801"/>
                  <a:pt x="7331" y="3752"/>
                  <a:pt x="7312" y="3704"/>
                </a:cubicBezTo>
                <a:lnTo>
                  <a:pt x="7118" y="3516"/>
                </a:lnTo>
                <a:cubicBezTo>
                  <a:pt x="7124" y="3471"/>
                  <a:pt x="7130" y="3427"/>
                  <a:pt x="7136" y="3382"/>
                </a:cubicBezTo>
                <a:cubicBezTo>
                  <a:pt x="7127" y="3350"/>
                  <a:pt x="7117" y="3317"/>
                  <a:pt x="7108" y="3285"/>
                </a:cubicBezTo>
                <a:cubicBezTo>
                  <a:pt x="7136" y="3238"/>
                  <a:pt x="7164" y="3192"/>
                  <a:pt x="7192" y="3145"/>
                </a:cubicBezTo>
                <a:lnTo>
                  <a:pt x="7424" y="3048"/>
                </a:lnTo>
                <a:lnTo>
                  <a:pt x="7674" y="2930"/>
                </a:lnTo>
                <a:lnTo>
                  <a:pt x="7943" y="2790"/>
                </a:lnTo>
                <a:lnTo>
                  <a:pt x="8202" y="2661"/>
                </a:lnTo>
                <a:lnTo>
                  <a:pt x="8508" y="2591"/>
                </a:lnTo>
                <a:lnTo>
                  <a:pt x="8832" y="2500"/>
                </a:lnTo>
                <a:lnTo>
                  <a:pt x="9166" y="2468"/>
                </a:lnTo>
                <a:lnTo>
                  <a:pt x="9388" y="2435"/>
                </a:lnTo>
                <a:cubicBezTo>
                  <a:pt x="9419" y="2371"/>
                  <a:pt x="9450" y="2306"/>
                  <a:pt x="9481" y="2242"/>
                </a:cubicBezTo>
                <a:lnTo>
                  <a:pt x="9592" y="2027"/>
                </a:lnTo>
                <a:cubicBezTo>
                  <a:pt x="9601" y="1962"/>
                  <a:pt x="9611" y="1898"/>
                  <a:pt x="9620" y="1833"/>
                </a:cubicBezTo>
                <a:cubicBezTo>
                  <a:pt x="9639" y="1774"/>
                  <a:pt x="9657" y="1715"/>
                  <a:pt x="9676" y="1656"/>
                </a:cubicBezTo>
                <a:lnTo>
                  <a:pt x="9805" y="1608"/>
                </a:lnTo>
                <a:cubicBezTo>
                  <a:pt x="9790" y="1522"/>
                  <a:pt x="9774" y="1435"/>
                  <a:pt x="9759" y="1349"/>
                </a:cubicBezTo>
                <a:lnTo>
                  <a:pt x="9583" y="1269"/>
                </a:lnTo>
                <a:cubicBezTo>
                  <a:pt x="9540" y="1238"/>
                  <a:pt x="9496" y="1208"/>
                  <a:pt x="9453" y="1177"/>
                </a:cubicBezTo>
                <a:cubicBezTo>
                  <a:pt x="9441" y="1143"/>
                  <a:pt x="9428" y="1109"/>
                  <a:pt x="9416" y="1075"/>
                </a:cubicBezTo>
                <a:cubicBezTo>
                  <a:pt x="9419" y="1039"/>
                  <a:pt x="9422" y="1004"/>
                  <a:pt x="9425" y="968"/>
                </a:cubicBezTo>
                <a:cubicBezTo>
                  <a:pt x="9441" y="925"/>
                  <a:pt x="9456" y="882"/>
                  <a:pt x="9472" y="839"/>
                </a:cubicBezTo>
                <a:lnTo>
                  <a:pt x="9620" y="710"/>
                </a:lnTo>
                <a:cubicBezTo>
                  <a:pt x="9626" y="649"/>
                  <a:pt x="9633" y="588"/>
                  <a:pt x="9639" y="527"/>
                </a:cubicBezTo>
                <a:lnTo>
                  <a:pt x="9639" y="371"/>
                </a:lnTo>
                <a:cubicBezTo>
                  <a:pt x="9685" y="333"/>
                  <a:pt x="9732" y="296"/>
                  <a:pt x="9778" y="258"/>
                </a:cubicBezTo>
                <a:lnTo>
                  <a:pt x="10000" y="0"/>
                </a:lnTo>
              </a:path>
            </a:pathLst>
          </a:custGeom>
          <a:noFill/>
          <a:ln w="3175" cap="flat" cmpd="sng">
            <a:solidFill>
              <a:srgbClr val="D9EAF7"/>
            </a:solidFill>
            <a:prstDash val="solid"/>
            <a:round/>
            <a:headEnd type="none" w="med" len="med"/>
            <a:tailEnd type="none" w="med" len="med"/>
          </a:ln>
        </p:spPr>
        <p:txBody>
          <a:bodyPr wrap="none" lIns="32632" tIns="32632" rIns="32632" bIns="32632" anchor="ctr"/>
          <a:lstStyle/>
          <a:p>
            <a:pPr defTabSz="891045"/>
            <a:endParaRPr lang="en-US" sz="1700" dirty="0">
              <a:solidFill>
                <a:srgbClr val="003149"/>
              </a:solidFill>
              <a:cs typeface="Arial" panose="020B0604020202020204" pitchFamily="34" charset="0"/>
            </a:endParaRPr>
          </a:p>
        </p:txBody>
      </p:sp>
      <p:sp>
        <p:nvSpPr>
          <p:cNvPr id="329" name="Freeform 769"/>
          <p:cNvSpPr>
            <a:spLocks noChangeAspect="1"/>
          </p:cNvSpPr>
          <p:nvPr>
            <p:custDataLst>
              <p:tags r:id="rId216"/>
            </p:custDataLst>
          </p:nvPr>
        </p:nvSpPr>
        <p:spPr bwMode="gray">
          <a:xfrm>
            <a:off x="2597621" y="3470601"/>
            <a:ext cx="89565" cy="50219"/>
          </a:xfrm>
          <a:custGeom>
            <a:avLst/>
            <a:gdLst>
              <a:gd name="T0" fmla="*/ 0 w 10000"/>
              <a:gd name="T1" fmla="*/ 0 h 9288"/>
              <a:gd name="T2" fmla="*/ 0 w 10000"/>
              <a:gd name="T3" fmla="*/ 0 h 9288"/>
              <a:gd name="T4" fmla="*/ 0 w 10000"/>
              <a:gd name="T5" fmla="*/ 0 h 9288"/>
              <a:gd name="T6" fmla="*/ 0 w 10000"/>
              <a:gd name="T7" fmla="*/ 0 h 9288"/>
              <a:gd name="T8" fmla="*/ 0 w 10000"/>
              <a:gd name="T9" fmla="*/ 0 h 9288"/>
              <a:gd name="T10" fmla="*/ 0 w 10000"/>
              <a:gd name="T11" fmla="*/ 0 h 9288"/>
              <a:gd name="T12" fmla="*/ 0 w 10000"/>
              <a:gd name="T13" fmla="*/ 0 h 9288"/>
              <a:gd name="T14" fmla="*/ 0 w 10000"/>
              <a:gd name="T15" fmla="*/ 0 h 9288"/>
              <a:gd name="T16" fmla="*/ 0 w 10000"/>
              <a:gd name="T17" fmla="*/ 0 h 9288"/>
              <a:gd name="T18" fmla="*/ 0 w 10000"/>
              <a:gd name="T19" fmla="*/ 0 h 9288"/>
              <a:gd name="T20" fmla="*/ 0 w 10000"/>
              <a:gd name="T21" fmla="*/ 0 h 9288"/>
              <a:gd name="T22" fmla="*/ 0 w 10000"/>
              <a:gd name="T23" fmla="*/ 0 h 9288"/>
              <a:gd name="T24" fmla="*/ 0 w 10000"/>
              <a:gd name="T25" fmla="*/ 0 h 9288"/>
              <a:gd name="T26" fmla="*/ 0 w 10000"/>
              <a:gd name="T27" fmla="*/ 0 h 9288"/>
              <a:gd name="T28" fmla="*/ 0 w 10000"/>
              <a:gd name="T29" fmla="*/ 0 h 9288"/>
              <a:gd name="T30" fmla="*/ 0 w 10000"/>
              <a:gd name="T31" fmla="*/ 0 h 9288"/>
              <a:gd name="T32" fmla="*/ 0 w 10000"/>
              <a:gd name="T33" fmla="*/ 0 h 9288"/>
              <a:gd name="T34" fmla="*/ 0 w 10000"/>
              <a:gd name="T35" fmla="*/ 0 h 9288"/>
              <a:gd name="T36" fmla="*/ 0 w 10000"/>
              <a:gd name="T37" fmla="*/ 0 h 9288"/>
              <a:gd name="T38" fmla="*/ 0 w 10000"/>
              <a:gd name="T39" fmla="*/ 0 h 9288"/>
              <a:gd name="T40" fmla="*/ 0 w 10000"/>
              <a:gd name="T41" fmla="*/ 0 h 9288"/>
              <a:gd name="T42" fmla="*/ 0 w 10000"/>
              <a:gd name="T43" fmla="*/ 0 h 9288"/>
              <a:gd name="T44" fmla="*/ 0 w 10000"/>
              <a:gd name="T45" fmla="*/ 0 h 9288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w 10000"/>
              <a:gd name="T70" fmla="*/ 0 h 9288"/>
              <a:gd name="T71" fmla="*/ 10000 w 10000"/>
              <a:gd name="T72" fmla="*/ 9288 h 9288"/>
            </a:gdLst>
            <a:ahLst/>
            <a:cxnLst>
              <a:cxn ang="T46">
                <a:pos x="T0" y="T1"/>
              </a:cxn>
              <a:cxn ang="T47">
                <a:pos x="T2" y="T3"/>
              </a:cxn>
              <a:cxn ang="T48">
                <a:pos x="T4" y="T5"/>
              </a:cxn>
              <a:cxn ang="T49">
                <a:pos x="T6" y="T7"/>
              </a:cxn>
              <a:cxn ang="T50">
                <a:pos x="T8" y="T9"/>
              </a:cxn>
              <a:cxn ang="T51">
                <a:pos x="T10" y="T11"/>
              </a:cxn>
              <a:cxn ang="T52">
                <a:pos x="T12" y="T13"/>
              </a:cxn>
              <a:cxn ang="T53">
                <a:pos x="T14" y="T15"/>
              </a:cxn>
              <a:cxn ang="T54">
                <a:pos x="T16" y="T17"/>
              </a:cxn>
              <a:cxn ang="T55">
                <a:pos x="T18" y="T19"/>
              </a:cxn>
              <a:cxn ang="T56">
                <a:pos x="T20" y="T21"/>
              </a:cxn>
              <a:cxn ang="T57">
                <a:pos x="T22" y="T23"/>
              </a:cxn>
              <a:cxn ang="T58">
                <a:pos x="T24" y="T25"/>
              </a:cxn>
              <a:cxn ang="T59">
                <a:pos x="T26" y="T27"/>
              </a:cxn>
              <a:cxn ang="T60">
                <a:pos x="T28" y="T29"/>
              </a:cxn>
              <a:cxn ang="T61">
                <a:pos x="T30" y="T31"/>
              </a:cxn>
              <a:cxn ang="T62">
                <a:pos x="T32" y="T33"/>
              </a:cxn>
              <a:cxn ang="T63">
                <a:pos x="T34" y="T35"/>
              </a:cxn>
              <a:cxn ang="T64">
                <a:pos x="T36" y="T37"/>
              </a:cxn>
              <a:cxn ang="T65">
                <a:pos x="T38" y="T39"/>
              </a:cxn>
              <a:cxn ang="T66">
                <a:pos x="T40" y="T41"/>
              </a:cxn>
              <a:cxn ang="T67">
                <a:pos x="T42" y="T43"/>
              </a:cxn>
              <a:cxn ang="T68">
                <a:pos x="T44" y="T45"/>
              </a:cxn>
            </a:cxnLst>
            <a:rect l="T69" t="T70" r="T71" b="T72"/>
            <a:pathLst>
              <a:path w="10000" h="9288">
                <a:moveTo>
                  <a:pt x="0" y="2610"/>
                </a:moveTo>
                <a:lnTo>
                  <a:pt x="102" y="2068"/>
                </a:lnTo>
                <a:lnTo>
                  <a:pt x="102" y="1153"/>
                </a:lnTo>
                <a:cubicBezTo>
                  <a:pt x="113" y="904"/>
                  <a:pt x="125" y="656"/>
                  <a:pt x="136" y="407"/>
                </a:cubicBezTo>
                <a:lnTo>
                  <a:pt x="852" y="102"/>
                </a:lnTo>
                <a:lnTo>
                  <a:pt x="1158" y="0"/>
                </a:lnTo>
                <a:lnTo>
                  <a:pt x="1618" y="0"/>
                </a:lnTo>
                <a:lnTo>
                  <a:pt x="2010" y="0"/>
                </a:lnTo>
                <a:lnTo>
                  <a:pt x="2470" y="305"/>
                </a:lnTo>
                <a:lnTo>
                  <a:pt x="3032" y="1017"/>
                </a:lnTo>
                <a:lnTo>
                  <a:pt x="3850" y="1627"/>
                </a:lnTo>
                <a:lnTo>
                  <a:pt x="4412" y="2034"/>
                </a:lnTo>
                <a:lnTo>
                  <a:pt x="4940" y="2542"/>
                </a:lnTo>
                <a:lnTo>
                  <a:pt x="5656" y="2678"/>
                </a:lnTo>
                <a:lnTo>
                  <a:pt x="6354" y="2915"/>
                </a:lnTo>
                <a:lnTo>
                  <a:pt x="6848" y="3220"/>
                </a:lnTo>
                <a:lnTo>
                  <a:pt x="7121" y="4000"/>
                </a:lnTo>
                <a:lnTo>
                  <a:pt x="8058" y="4169"/>
                </a:lnTo>
                <a:lnTo>
                  <a:pt x="8893" y="4508"/>
                </a:lnTo>
                <a:lnTo>
                  <a:pt x="9915" y="6847"/>
                </a:lnTo>
                <a:cubicBezTo>
                  <a:pt x="9943" y="7265"/>
                  <a:pt x="9972" y="7684"/>
                  <a:pt x="10000" y="8102"/>
                </a:cubicBezTo>
                <a:cubicBezTo>
                  <a:pt x="9977" y="8339"/>
                  <a:pt x="9955" y="8577"/>
                  <a:pt x="9932" y="8814"/>
                </a:cubicBezTo>
                <a:lnTo>
                  <a:pt x="9710" y="9288"/>
                </a:lnTo>
              </a:path>
            </a:pathLst>
          </a:custGeom>
          <a:noFill/>
          <a:ln w="317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 wrap="none" lIns="32632" tIns="32632" rIns="32632" bIns="32632" anchor="ctr"/>
          <a:lstStyle/>
          <a:p>
            <a:pPr defTabSz="891045"/>
            <a:endParaRPr lang="en-US" sz="1700" dirty="0">
              <a:solidFill>
                <a:srgbClr val="003149"/>
              </a:solidFill>
              <a:cs typeface="Arial" panose="020B0604020202020204" pitchFamily="34" charset="0"/>
            </a:endParaRPr>
          </a:p>
        </p:txBody>
      </p:sp>
      <p:sp>
        <p:nvSpPr>
          <p:cNvPr id="330" name="Freeform 777"/>
          <p:cNvSpPr>
            <a:spLocks noChangeAspect="1"/>
          </p:cNvSpPr>
          <p:nvPr>
            <p:custDataLst>
              <p:tags r:id="rId217"/>
            </p:custDataLst>
          </p:nvPr>
        </p:nvSpPr>
        <p:spPr bwMode="gray">
          <a:xfrm>
            <a:off x="2560675" y="3484934"/>
            <a:ext cx="59710" cy="218095"/>
          </a:xfrm>
          <a:custGeom>
            <a:avLst/>
            <a:gdLst>
              <a:gd name="T0" fmla="*/ 0 w 10000"/>
              <a:gd name="T1" fmla="*/ 0 h 10159"/>
              <a:gd name="T2" fmla="*/ 0 w 10000"/>
              <a:gd name="T3" fmla="*/ 0 h 10159"/>
              <a:gd name="T4" fmla="*/ 0 w 10000"/>
              <a:gd name="T5" fmla="*/ 0 h 10159"/>
              <a:gd name="T6" fmla="*/ 0 w 10000"/>
              <a:gd name="T7" fmla="*/ 0 h 10159"/>
              <a:gd name="T8" fmla="*/ 0 w 10000"/>
              <a:gd name="T9" fmla="*/ 0 h 10159"/>
              <a:gd name="T10" fmla="*/ 0 w 10000"/>
              <a:gd name="T11" fmla="*/ 0 h 10159"/>
              <a:gd name="T12" fmla="*/ 0 w 10000"/>
              <a:gd name="T13" fmla="*/ 0 h 10159"/>
              <a:gd name="T14" fmla="*/ 0 w 10000"/>
              <a:gd name="T15" fmla="*/ 0 h 10159"/>
              <a:gd name="T16" fmla="*/ 0 w 10000"/>
              <a:gd name="T17" fmla="*/ 0 h 10159"/>
              <a:gd name="T18" fmla="*/ 0 w 10000"/>
              <a:gd name="T19" fmla="*/ 0 h 10159"/>
              <a:gd name="T20" fmla="*/ 0 w 10000"/>
              <a:gd name="T21" fmla="*/ 0 h 10159"/>
              <a:gd name="T22" fmla="*/ 0 w 10000"/>
              <a:gd name="T23" fmla="*/ 0 h 10159"/>
              <a:gd name="T24" fmla="*/ 0 w 10000"/>
              <a:gd name="T25" fmla="*/ 0 h 10159"/>
              <a:gd name="T26" fmla="*/ 0 w 10000"/>
              <a:gd name="T27" fmla="*/ 0 h 10159"/>
              <a:gd name="T28" fmla="*/ 0 w 10000"/>
              <a:gd name="T29" fmla="*/ 0 h 10159"/>
              <a:gd name="T30" fmla="*/ 0 w 10000"/>
              <a:gd name="T31" fmla="*/ 0 h 10159"/>
              <a:gd name="T32" fmla="*/ 0 w 10000"/>
              <a:gd name="T33" fmla="*/ 0 h 10159"/>
              <a:gd name="T34" fmla="*/ 0 w 10000"/>
              <a:gd name="T35" fmla="*/ 0 h 10159"/>
              <a:gd name="T36" fmla="*/ 0 w 10000"/>
              <a:gd name="T37" fmla="*/ 0 h 10159"/>
              <a:gd name="T38" fmla="*/ 0 w 10000"/>
              <a:gd name="T39" fmla="*/ 0 h 10159"/>
              <a:gd name="T40" fmla="*/ 0 w 10000"/>
              <a:gd name="T41" fmla="*/ 0 h 10159"/>
              <a:gd name="T42" fmla="*/ 0 w 10000"/>
              <a:gd name="T43" fmla="*/ 0 h 10159"/>
              <a:gd name="T44" fmla="*/ 0 w 10000"/>
              <a:gd name="T45" fmla="*/ 0 h 10159"/>
              <a:gd name="T46" fmla="*/ 0 w 10000"/>
              <a:gd name="T47" fmla="*/ 0 h 10159"/>
              <a:gd name="T48" fmla="*/ 0 w 10000"/>
              <a:gd name="T49" fmla="*/ 0 h 10159"/>
              <a:gd name="T50" fmla="*/ 0 w 10000"/>
              <a:gd name="T51" fmla="*/ 0 h 10159"/>
              <a:gd name="T52" fmla="*/ 0 w 10000"/>
              <a:gd name="T53" fmla="*/ 0 h 10159"/>
              <a:gd name="T54" fmla="*/ 0 w 10000"/>
              <a:gd name="T55" fmla="*/ 0 h 10159"/>
              <a:gd name="T56" fmla="*/ 0 w 10000"/>
              <a:gd name="T57" fmla="*/ 0 h 10159"/>
              <a:gd name="T58" fmla="*/ 0 w 10000"/>
              <a:gd name="T59" fmla="*/ 0 h 10159"/>
              <a:gd name="T60" fmla="*/ 0 w 10000"/>
              <a:gd name="T61" fmla="*/ 0 h 10159"/>
              <a:gd name="T62" fmla="*/ 0 w 10000"/>
              <a:gd name="T63" fmla="*/ 0 h 10159"/>
              <a:gd name="T64" fmla="*/ 0 w 10000"/>
              <a:gd name="T65" fmla="*/ 0 h 10159"/>
              <a:gd name="T66" fmla="*/ 0 w 10000"/>
              <a:gd name="T67" fmla="*/ 0 h 10159"/>
              <a:gd name="T68" fmla="*/ 0 w 10000"/>
              <a:gd name="T69" fmla="*/ 0 h 10159"/>
              <a:gd name="T70" fmla="*/ 0 w 10000"/>
              <a:gd name="T71" fmla="*/ 0 h 10159"/>
              <a:gd name="T72" fmla="*/ 0 w 10000"/>
              <a:gd name="T73" fmla="*/ 0 h 10159"/>
              <a:gd name="T74" fmla="*/ 0 w 10000"/>
              <a:gd name="T75" fmla="*/ 0 h 10159"/>
              <a:gd name="T76" fmla="*/ 0 w 10000"/>
              <a:gd name="T77" fmla="*/ 0 h 10159"/>
              <a:gd name="T78" fmla="*/ 0 w 10000"/>
              <a:gd name="T79" fmla="*/ 0 h 10159"/>
              <a:gd name="T80" fmla="*/ 0 w 10000"/>
              <a:gd name="T81" fmla="*/ 0 h 10159"/>
              <a:gd name="T82" fmla="*/ 0 w 10000"/>
              <a:gd name="T83" fmla="*/ 0 h 10159"/>
              <a:gd name="T84" fmla="*/ 0 w 10000"/>
              <a:gd name="T85" fmla="*/ 0 h 10159"/>
              <a:gd name="T86" fmla="*/ 0 w 10000"/>
              <a:gd name="T87" fmla="*/ 0 h 10159"/>
              <a:gd name="T88" fmla="*/ 0 w 10000"/>
              <a:gd name="T89" fmla="*/ 0 h 10159"/>
              <a:gd name="T90" fmla="*/ 0 w 10000"/>
              <a:gd name="T91" fmla="*/ 0 h 10159"/>
              <a:gd name="T92" fmla="*/ 0 w 10000"/>
              <a:gd name="T93" fmla="*/ 0 h 10159"/>
              <a:gd name="T94" fmla="*/ 0 w 10000"/>
              <a:gd name="T95" fmla="*/ 0 h 10159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w 10000"/>
              <a:gd name="T145" fmla="*/ 0 h 10159"/>
              <a:gd name="T146" fmla="*/ 10000 w 10000"/>
              <a:gd name="T147" fmla="*/ 10159 h 10159"/>
            </a:gdLst>
            <a:ahLst/>
            <a:cxnLst>
              <a:cxn ang="T96">
                <a:pos x="T0" y="T1"/>
              </a:cxn>
              <a:cxn ang="T97">
                <a:pos x="T2" y="T3"/>
              </a:cxn>
              <a:cxn ang="T98">
                <a:pos x="T4" y="T5"/>
              </a:cxn>
              <a:cxn ang="T99">
                <a:pos x="T6" y="T7"/>
              </a:cxn>
              <a:cxn ang="T100">
                <a:pos x="T8" y="T9"/>
              </a:cxn>
              <a:cxn ang="T101">
                <a:pos x="T10" y="T11"/>
              </a:cxn>
              <a:cxn ang="T102">
                <a:pos x="T12" y="T13"/>
              </a:cxn>
              <a:cxn ang="T103">
                <a:pos x="T14" y="T15"/>
              </a:cxn>
              <a:cxn ang="T104">
                <a:pos x="T16" y="T17"/>
              </a:cxn>
              <a:cxn ang="T105">
                <a:pos x="T18" y="T19"/>
              </a:cxn>
              <a:cxn ang="T106">
                <a:pos x="T20" y="T21"/>
              </a:cxn>
              <a:cxn ang="T107">
                <a:pos x="T22" y="T23"/>
              </a:cxn>
              <a:cxn ang="T108">
                <a:pos x="T24" y="T25"/>
              </a:cxn>
              <a:cxn ang="T109">
                <a:pos x="T26" y="T27"/>
              </a:cxn>
              <a:cxn ang="T110">
                <a:pos x="T28" y="T29"/>
              </a:cxn>
              <a:cxn ang="T111">
                <a:pos x="T30" y="T31"/>
              </a:cxn>
              <a:cxn ang="T112">
                <a:pos x="T32" y="T33"/>
              </a:cxn>
              <a:cxn ang="T113">
                <a:pos x="T34" y="T35"/>
              </a:cxn>
              <a:cxn ang="T114">
                <a:pos x="T36" y="T37"/>
              </a:cxn>
              <a:cxn ang="T115">
                <a:pos x="T38" y="T39"/>
              </a:cxn>
              <a:cxn ang="T116">
                <a:pos x="T40" y="T41"/>
              </a:cxn>
              <a:cxn ang="T117">
                <a:pos x="T42" y="T43"/>
              </a:cxn>
              <a:cxn ang="T118">
                <a:pos x="T44" y="T45"/>
              </a:cxn>
              <a:cxn ang="T119">
                <a:pos x="T46" y="T47"/>
              </a:cxn>
              <a:cxn ang="T120">
                <a:pos x="T48" y="T49"/>
              </a:cxn>
              <a:cxn ang="T121">
                <a:pos x="T50" y="T51"/>
              </a:cxn>
              <a:cxn ang="T122">
                <a:pos x="T52" y="T53"/>
              </a:cxn>
              <a:cxn ang="T123">
                <a:pos x="T54" y="T55"/>
              </a:cxn>
              <a:cxn ang="T124">
                <a:pos x="T56" y="T57"/>
              </a:cxn>
              <a:cxn ang="T125">
                <a:pos x="T58" y="T59"/>
              </a:cxn>
              <a:cxn ang="T126">
                <a:pos x="T60" y="T61"/>
              </a:cxn>
              <a:cxn ang="T127">
                <a:pos x="T62" y="T63"/>
              </a:cxn>
              <a:cxn ang="T128">
                <a:pos x="T64" y="T65"/>
              </a:cxn>
              <a:cxn ang="T129">
                <a:pos x="T66" y="T67"/>
              </a:cxn>
              <a:cxn ang="T130">
                <a:pos x="T68" y="T69"/>
              </a:cxn>
              <a:cxn ang="T131">
                <a:pos x="T70" y="T71"/>
              </a:cxn>
              <a:cxn ang="T132">
                <a:pos x="T72" y="T73"/>
              </a:cxn>
              <a:cxn ang="T133">
                <a:pos x="T74" y="T75"/>
              </a:cxn>
              <a:cxn ang="T134">
                <a:pos x="T76" y="T77"/>
              </a:cxn>
              <a:cxn ang="T135">
                <a:pos x="T78" y="T79"/>
              </a:cxn>
              <a:cxn ang="T136">
                <a:pos x="T80" y="T81"/>
              </a:cxn>
              <a:cxn ang="T137">
                <a:pos x="T82" y="T83"/>
              </a:cxn>
              <a:cxn ang="T138">
                <a:pos x="T84" y="T85"/>
              </a:cxn>
              <a:cxn ang="T139">
                <a:pos x="T86" y="T87"/>
              </a:cxn>
              <a:cxn ang="T140">
                <a:pos x="T88" y="T89"/>
              </a:cxn>
              <a:cxn ang="T141">
                <a:pos x="T90" y="T91"/>
              </a:cxn>
              <a:cxn ang="T142">
                <a:pos x="T92" y="T93"/>
              </a:cxn>
              <a:cxn ang="T143">
                <a:pos x="T94" y="T95"/>
              </a:cxn>
            </a:cxnLst>
            <a:rect l="T144" t="T145" r="T146" b="T147"/>
            <a:pathLst>
              <a:path w="10000" h="10159">
                <a:moveTo>
                  <a:pt x="6099" y="0"/>
                </a:moveTo>
                <a:cubicBezTo>
                  <a:pt x="6076" y="23"/>
                  <a:pt x="6053" y="47"/>
                  <a:pt x="6030" y="71"/>
                </a:cubicBezTo>
                <a:lnTo>
                  <a:pt x="5829" y="104"/>
                </a:lnTo>
                <a:lnTo>
                  <a:pt x="5829" y="285"/>
                </a:lnTo>
                <a:lnTo>
                  <a:pt x="5829" y="645"/>
                </a:lnTo>
                <a:lnTo>
                  <a:pt x="5829" y="808"/>
                </a:lnTo>
                <a:lnTo>
                  <a:pt x="6281" y="940"/>
                </a:lnTo>
                <a:lnTo>
                  <a:pt x="6482" y="1251"/>
                </a:lnTo>
                <a:lnTo>
                  <a:pt x="6734" y="1562"/>
                </a:lnTo>
                <a:lnTo>
                  <a:pt x="7487" y="1775"/>
                </a:lnTo>
                <a:lnTo>
                  <a:pt x="8643" y="2004"/>
                </a:lnTo>
                <a:lnTo>
                  <a:pt x="8643" y="2201"/>
                </a:lnTo>
                <a:lnTo>
                  <a:pt x="8241" y="2463"/>
                </a:lnTo>
                <a:lnTo>
                  <a:pt x="7739" y="2791"/>
                </a:lnTo>
                <a:lnTo>
                  <a:pt x="7487" y="2939"/>
                </a:lnTo>
                <a:lnTo>
                  <a:pt x="7538" y="3314"/>
                </a:lnTo>
                <a:lnTo>
                  <a:pt x="7538" y="3692"/>
                </a:lnTo>
                <a:cubicBezTo>
                  <a:pt x="7571" y="3763"/>
                  <a:pt x="7605" y="3833"/>
                  <a:pt x="7638" y="3904"/>
                </a:cubicBezTo>
                <a:lnTo>
                  <a:pt x="8141" y="3987"/>
                </a:lnTo>
                <a:lnTo>
                  <a:pt x="8342" y="4413"/>
                </a:lnTo>
                <a:cubicBezTo>
                  <a:pt x="8375" y="4473"/>
                  <a:pt x="8409" y="4532"/>
                  <a:pt x="8442" y="4592"/>
                </a:cubicBezTo>
                <a:lnTo>
                  <a:pt x="9648" y="4840"/>
                </a:lnTo>
                <a:lnTo>
                  <a:pt x="10000" y="4970"/>
                </a:lnTo>
                <a:lnTo>
                  <a:pt x="9447" y="5184"/>
                </a:lnTo>
                <a:lnTo>
                  <a:pt x="8844" y="5281"/>
                </a:lnTo>
                <a:lnTo>
                  <a:pt x="8342" y="5363"/>
                </a:lnTo>
                <a:cubicBezTo>
                  <a:pt x="8308" y="5615"/>
                  <a:pt x="8275" y="5865"/>
                  <a:pt x="8241" y="6117"/>
                </a:cubicBezTo>
                <a:cubicBezTo>
                  <a:pt x="8224" y="6319"/>
                  <a:pt x="8208" y="6521"/>
                  <a:pt x="8191" y="6723"/>
                </a:cubicBezTo>
                <a:lnTo>
                  <a:pt x="7337" y="7051"/>
                </a:lnTo>
                <a:lnTo>
                  <a:pt x="6382" y="7280"/>
                </a:lnTo>
                <a:lnTo>
                  <a:pt x="5377" y="7280"/>
                </a:lnTo>
                <a:lnTo>
                  <a:pt x="4925" y="7231"/>
                </a:lnTo>
                <a:lnTo>
                  <a:pt x="4673" y="7100"/>
                </a:lnTo>
                <a:lnTo>
                  <a:pt x="3869" y="7084"/>
                </a:lnTo>
                <a:lnTo>
                  <a:pt x="3116" y="7084"/>
                </a:lnTo>
                <a:lnTo>
                  <a:pt x="2111" y="7084"/>
                </a:lnTo>
                <a:lnTo>
                  <a:pt x="1508" y="7198"/>
                </a:lnTo>
                <a:cubicBezTo>
                  <a:pt x="1458" y="7301"/>
                  <a:pt x="1407" y="7405"/>
                  <a:pt x="1357" y="7509"/>
                </a:cubicBezTo>
                <a:lnTo>
                  <a:pt x="2312" y="8034"/>
                </a:lnTo>
                <a:lnTo>
                  <a:pt x="2714" y="8410"/>
                </a:lnTo>
                <a:lnTo>
                  <a:pt x="2211" y="8623"/>
                </a:lnTo>
                <a:lnTo>
                  <a:pt x="1608" y="8640"/>
                </a:lnTo>
                <a:lnTo>
                  <a:pt x="754" y="8721"/>
                </a:lnTo>
                <a:lnTo>
                  <a:pt x="0" y="8935"/>
                </a:lnTo>
                <a:cubicBezTo>
                  <a:pt x="17" y="9027"/>
                  <a:pt x="33" y="9121"/>
                  <a:pt x="50" y="9214"/>
                </a:cubicBezTo>
                <a:lnTo>
                  <a:pt x="603" y="9590"/>
                </a:lnTo>
                <a:lnTo>
                  <a:pt x="1106" y="9835"/>
                </a:lnTo>
                <a:cubicBezTo>
                  <a:pt x="1123" y="9890"/>
                  <a:pt x="820" y="10104"/>
                  <a:pt x="837" y="10159"/>
                </a:cubicBezTo>
              </a:path>
            </a:pathLst>
          </a:custGeom>
          <a:noFill/>
          <a:ln w="3175" cap="flat" cmpd="sng">
            <a:solidFill>
              <a:srgbClr val="D9EAF7"/>
            </a:solidFill>
            <a:prstDash val="solid"/>
            <a:round/>
            <a:headEnd type="none" w="med" len="med"/>
            <a:tailEnd type="none" w="med" len="med"/>
          </a:ln>
        </p:spPr>
        <p:txBody>
          <a:bodyPr wrap="none" lIns="32632" tIns="32632" rIns="32632" bIns="32632" anchor="ctr"/>
          <a:lstStyle/>
          <a:p>
            <a:pPr defTabSz="891045"/>
            <a:endParaRPr lang="en-US" sz="1700" dirty="0">
              <a:solidFill>
                <a:srgbClr val="003149"/>
              </a:solidFill>
              <a:cs typeface="Arial" panose="020B0604020202020204" pitchFamily="34" charset="0"/>
            </a:endParaRPr>
          </a:p>
        </p:txBody>
      </p:sp>
      <p:sp>
        <p:nvSpPr>
          <p:cNvPr id="331" name="Freeform 780"/>
          <p:cNvSpPr>
            <a:spLocks noChangeAspect="1"/>
          </p:cNvSpPr>
          <p:nvPr>
            <p:custDataLst>
              <p:tags r:id="rId218"/>
            </p:custDataLst>
          </p:nvPr>
        </p:nvSpPr>
        <p:spPr bwMode="gray">
          <a:xfrm>
            <a:off x="2243640" y="3582497"/>
            <a:ext cx="82456" cy="27262"/>
          </a:xfrm>
          <a:custGeom>
            <a:avLst/>
            <a:gdLst>
              <a:gd name="T0" fmla="*/ 475396809 w 262"/>
              <a:gd name="T1" fmla="*/ 551380578 h 74"/>
              <a:gd name="T2" fmla="*/ 475396809 w 262"/>
              <a:gd name="T3" fmla="*/ 551380578 h 74"/>
              <a:gd name="T4" fmla="*/ 475396809 w 262"/>
              <a:gd name="T5" fmla="*/ 551380578 h 74"/>
              <a:gd name="T6" fmla="*/ 475396809 w 262"/>
              <a:gd name="T7" fmla="*/ 551380578 h 74"/>
              <a:gd name="T8" fmla="*/ 475396809 w 262"/>
              <a:gd name="T9" fmla="*/ 551380578 h 74"/>
              <a:gd name="T10" fmla="*/ 475396809 w 262"/>
              <a:gd name="T11" fmla="*/ 551380578 h 74"/>
              <a:gd name="T12" fmla="*/ 475396809 w 262"/>
              <a:gd name="T13" fmla="*/ 551380578 h 74"/>
              <a:gd name="T14" fmla="*/ 475396809 w 262"/>
              <a:gd name="T15" fmla="*/ 551380578 h 74"/>
              <a:gd name="T16" fmla="*/ 475396809 w 262"/>
              <a:gd name="T17" fmla="*/ 551380578 h 74"/>
              <a:gd name="T18" fmla="*/ 475396809 w 262"/>
              <a:gd name="T19" fmla="*/ 551380578 h 74"/>
              <a:gd name="T20" fmla="*/ 475396809 w 262"/>
              <a:gd name="T21" fmla="*/ 551380578 h 74"/>
              <a:gd name="T22" fmla="*/ 475396809 w 262"/>
              <a:gd name="T23" fmla="*/ 551380578 h 74"/>
              <a:gd name="T24" fmla="*/ 475396809 w 262"/>
              <a:gd name="T25" fmla="*/ 0 h 74"/>
              <a:gd name="T26" fmla="*/ 475396809 w 262"/>
              <a:gd name="T27" fmla="*/ 0 h 74"/>
              <a:gd name="T28" fmla="*/ 475396809 w 262"/>
              <a:gd name="T29" fmla="*/ 551380578 h 74"/>
              <a:gd name="T30" fmla="*/ 475396809 w 262"/>
              <a:gd name="T31" fmla="*/ 551380578 h 74"/>
              <a:gd name="T32" fmla="*/ 475396809 w 262"/>
              <a:gd name="T33" fmla="*/ 551380578 h 74"/>
              <a:gd name="T34" fmla="*/ 475396809 w 262"/>
              <a:gd name="T35" fmla="*/ 551380578 h 74"/>
              <a:gd name="T36" fmla="*/ 475396809 w 262"/>
              <a:gd name="T37" fmla="*/ 551380578 h 74"/>
              <a:gd name="T38" fmla="*/ 475396809 w 262"/>
              <a:gd name="T39" fmla="*/ 551380578 h 74"/>
              <a:gd name="T40" fmla="*/ 475396809 w 262"/>
              <a:gd name="T41" fmla="*/ 551380578 h 74"/>
              <a:gd name="T42" fmla="*/ 475396809 w 262"/>
              <a:gd name="T43" fmla="*/ 551380578 h 74"/>
              <a:gd name="T44" fmla="*/ 475396809 w 262"/>
              <a:gd name="T45" fmla="*/ 551380578 h 74"/>
              <a:gd name="T46" fmla="*/ 0 w 262"/>
              <a:gd name="T47" fmla="*/ 551380578 h 74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w 262"/>
              <a:gd name="T73" fmla="*/ 0 h 74"/>
              <a:gd name="T74" fmla="*/ 262 w 262"/>
              <a:gd name="T75" fmla="*/ 74 h 74"/>
            </a:gdLst>
            <a:ahLst/>
            <a:cxnLst>
              <a:cxn ang="T48">
                <a:pos x="T0" y="T1"/>
              </a:cxn>
              <a:cxn ang="T49">
                <a:pos x="T2" y="T3"/>
              </a:cxn>
              <a:cxn ang="T50">
                <a:pos x="T4" y="T5"/>
              </a:cxn>
              <a:cxn ang="T51">
                <a:pos x="T6" y="T7"/>
              </a:cxn>
              <a:cxn ang="T52">
                <a:pos x="T8" y="T9"/>
              </a:cxn>
              <a:cxn ang="T53">
                <a:pos x="T10" y="T11"/>
              </a:cxn>
              <a:cxn ang="T54">
                <a:pos x="T12" y="T13"/>
              </a:cxn>
              <a:cxn ang="T55">
                <a:pos x="T14" y="T15"/>
              </a:cxn>
              <a:cxn ang="T56">
                <a:pos x="T16" y="T17"/>
              </a:cxn>
              <a:cxn ang="T57">
                <a:pos x="T18" y="T19"/>
              </a:cxn>
              <a:cxn ang="T58">
                <a:pos x="T20" y="T21"/>
              </a:cxn>
              <a:cxn ang="T59">
                <a:pos x="T22" y="T23"/>
              </a:cxn>
              <a:cxn ang="T60">
                <a:pos x="T24" y="T25"/>
              </a:cxn>
              <a:cxn ang="T61">
                <a:pos x="T26" y="T27"/>
              </a:cxn>
              <a:cxn ang="T62">
                <a:pos x="T28" y="T29"/>
              </a:cxn>
              <a:cxn ang="T63">
                <a:pos x="T30" y="T31"/>
              </a:cxn>
              <a:cxn ang="T64">
                <a:pos x="T32" y="T33"/>
              </a:cxn>
              <a:cxn ang="T65">
                <a:pos x="T34" y="T35"/>
              </a:cxn>
              <a:cxn ang="T66">
                <a:pos x="T36" y="T37"/>
              </a:cxn>
              <a:cxn ang="T67">
                <a:pos x="T38" y="T39"/>
              </a:cxn>
              <a:cxn ang="T68">
                <a:pos x="T40" y="T41"/>
              </a:cxn>
              <a:cxn ang="T69">
                <a:pos x="T42" y="T43"/>
              </a:cxn>
              <a:cxn ang="T70">
                <a:pos x="T44" y="T45"/>
              </a:cxn>
              <a:cxn ang="T71">
                <a:pos x="T46" y="T47"/>
              </a:cxn>
            </a:cxnLst>
            <a:rect l="T72" t="T73" r="T74" b="T75"/>
            <a:pathLst>
              <a:path w="262" h="74">
                <a:moveTo>
                  <a:pt x="262" y="38"/>
                </a:moveTo>
                <a:lnTo>
                  <a:pt x="251" y="34"/>
                </a:lnTo>
                <a:lnTo>
                  <a:pt x="233" y="29"/>
                </a:lnTo>
                <a:lnTo>
                  <a:pt x="223" y="26"/>
                </a:lnTo>
                <a:lnTo>
                  <a:pt x="210" y="22"/>
                </a:lnTo>
                <a:lnTo>
                  <a:pt x="204" y="21"/>
                </a:lnTo>
                <a:lnTo>
                  <a:pt x="196" y="22"/>
                </a:lnTo>
                <a:lnTo>
                  <a:pt x="183" y="22"/>
                </a:lnTo>
                <a:lnTo>
                  <a:pt x="170" y="21"/>
                </a:lnTo>
                <a:lnTo>
                  <a:pt x="161" y="16"/>
                </a:lnTo>
                <a:lnTo>
                  <a:pt x="150" y="7"/>
                </a:lnTo>
                <a:lnTo>
                  <a:pt x="141" y="2"/>
                </a:lnTo>
                <a:lnTo>
                  <a:pt x="134" y="0"/>
                </a:lnTo>
                <a:lnTo>
                  <a:pt x="121" y="0"/>
                </a:lnTo>
                <a:lnTo>
                  <a:pt x="113" y="1"/>
                </a:lnTo>
                <a:lnTo>
                  <a:pt x="101" y="7"/>
                </a:lnTo>
                <a:lnTo>
                  <a:pt x="92" y="7"/>
                </a:lnTo>
                <a:lnTo>
                  <a:pt x="81" y="10"/>
                </a:lnTo>
                <a:lnTo>
                  <a:pt x="57" y="35"/>
                </a:lnTo>
                <a:lnTo>
                  <a:pt x="38" y="54"/>
                </a:lnTo>
                <a:lnTo>
                  <a:pt x="29" y="59"/>
                </a:lnTo>
                <a:lnTo>
                  <a:pt x="20" y="59"/>
                </a:lnTo>
                <a:lnTo>
                  <a:pt x="10" y="66"/>
                </a:lnTo>
                <a:lnTo>
                  <a:pt x="0" y="74"/>
                </a:lnTo>
              </a:path>
            </a:pathLst>
          </a:custGeom>
          <a:noFill/>
          <a:ln w="317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 wrap="none" lIns="32632" tIns="32632" rIns="32632" bIns="32632" anchor="ctr"/>
          <a:lstStyle/>
          <a:p>
            <a:pPr defTabSz="891045"/>
            <a:endParaRPr lang="en-US" sz="1700" dirty="0">
              <a:solidFill>
                <a:srgbClr val="003149"/>
              </a:solidFill>
              <a:cs typeface="Arial" panose="020B0604020202020204" pitchFamily="34" charset="0"/>
            </a:endParaRPr>
          </a:p>
        </p:txBody>
      </p:sp>
      <p:sp>
        <p:nvSpPr>
          <p:cNvPr id="332" name="Freeform 787"/>
          <p:cNvSpPr>
            <a:spLocks noChangeAspect="1"/>
          </p:cNvSpPr>
          <p:nvPr>
            <p:custDataLst>
              <p:tags r:id="rId219"/>
            </p:custDataLst>
          </p:nvPr>
        </p:nvSpPr>
        <p:spPr bwMode="gray">
          <a:xfrm>
            <a:off x="2277750" y="3664268"/>
            <a:ext cx="86722" cy="22958"/>
          </a:xfrm>
          <a:custGeom>
            <a:avLst/>
            <a:gdLst>
              <a:gd name="T0" fmla="*/ 0 w 275"/>
              <a:gd name="T1" fmla="*/ 458129549 h 75"/>
              <a:gd name="T2" fmla="*/ 476350593 w 275"/>
              <a:gd name="T3" fmla="*/ 458129549 h 75"/>
              <a:gd name="T4" fmla="*/ 476350593 w 275"/>
              <a:gd name="T5" fmla="*/ 458129549 h 75"/>
              <a:gd name="T6" fmla="*/ 476350593 w 275"/>
              <a:gd name="T7" fmla="*/ 458129549 h 75"/>
              <a:gd name="T8" fmla="*/ 476350593 w 275"/>
              <a:gd name="T9" fmla="*/ 458129549 h 75"/>
              <a:gd name="T10" fmla="*/ 476350593 w 275"/>
              <a:gd name="T11" fmla="*/ 458129549 h 75"/>
              <a:gd name="T12" fmla="*/ 476350593 w 275"/>
              <a:gd name="T13" fmla="*/ 458129549 h 75"/>
              <a:gd name="T14" fmla="*/ 476350593 w 275"/>
              <a:gd name="T15" fmla="*/ 458129549 h 75"/>
              <a:gd name="T16" fmla="*/ 476350593 w 275"/>
              <a:gd name="T17" fmla="*/ 458129549 h 75"/>
              <a:gd name="T18" fmla="*/ 476350593 w 275"/>
              <a:gd name="T19" fmla="*/ 458129549 h 75"/>
              <a:gd name="T20" fmla="*/ 476350593 w 275"/>
              <a:gd name="T21" fmla="*/ 458129549 h 75"/>
              <a:gd name="T22" fmla="*/ 476350593 w 275"/>
              <a:gd name="T23" fmla="*/ 458129549 h 75"/>
              <a:gd name="T24" fmla="*/ 476350593 w 275"/>
              <a:gd name="T25" fmla="*/ 458129549 h 75"/>
              <a:gd name="T26" fmla="*/ 476350593 w 275"/>
              <a:gd name="T27" fmla="*/ 458129549 h 75"/>
              <a:gd name="T28" fmla="*/ 476350593 w 275"/>
              <a:gd name="T29" fmla="*/ 458129549 h 75"/>
              <a:gd name="T30" fmla="*/ 476350593 w 275"/>
              <a:gd name="T31" fmla="*/ 458129549 h 75"/>
              <a:gd name="T32" fmla="*/ 476350593 w 275"/>
              <a:gd name="T33" fmla="*/ 458129549 h 75"/>
              <a:gd name="T34" fmla="*/ 476350593 w 275"/>
              <a:gd name="T35" fmla="*/ 458129549 h 75"/>
              <a:gd name="T36" fmla="*/ 476350593 w 275"/>
              <a:gd name="T37" fmla="*/ 458129549 h 75"/>
              <a:gd name="T38" fmla="*/ 476350593 w 275"/>
              <a:gd name="T39" fmla="*/ 458129549 h 75"/>
              <a:gd name="T40" fmla="*/ 476350593 w 275"/>
              <a:gd name="T41" fmla="*/ 458129549 h 75"/>
              <a:gd name="T42" fmla="*/ 476350593 w 275"/>
              <a:gd name="T43" fmla="*/ 458129549 h 75"/>
              <a:gd name="T44" fmla="*/ 476350593 w 275"/>
              <a:gd name="T45" fmla="*/ 0 h 75"/>
              <a:gd name="T46" fmla="*/ 476350593 w 275"/>
              <a:gd name="T47" fmla="*/ 0 h 75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w 275"/>
              <a:gd name="T73" fmla="*/ 0 h 75"/>
              <a:gd name="T74" fmla="*/ 275 w 275"/>
              <a:gd name="T75" fmla="*/ 75 h 75"/>
            </a:gdLst>
            <a:ahLst/>
            <a:cxnLst>
              <a:cxn ang="T48">
                <a:pos x="T0" y="T1"/>
              </a:cxn>
              <a:cxn ang="T49">
                <a:pos x="T2" y="T3"/>
              </a:cxn>
              <a:cxn ang="T50">
                <a:pos x="T4" y="T5"/>
              </a:cxn>
              <a:cxn ang="T51">
                <a:pos x="T6" y="T7"/>
              </a:cxn>
              <a:cxn ang="T52">
                <a:pos x="T8" y="T9"/>
              </a:cxn>
              <a:cxn ang="T53">
                <a:pos x="T10" y="T11"/>
              </a:cxn>
              <a:cxn ang="T54">
                <a:pos x="T12" y="T13"/>
              </a:cxn>
              <a:cxn ang="T55">
                <a:pos x="T14" y="T15"/>
              </a:cxn>
              <a:cxn ang="T56">
                <a:pos x="T16" y="T17"/>
              </a:cxn>
              <a:cxn ang="T57">
                <a:pos x="T18" y="T19"/>
              </a:cxn>
              <a:cxn ang="T58">
                <a:pos x="T20" y="T21"/>
              </a:cxn>
              <a:cxn ang="T59">
                <a:pos x="T22" y="T23"/>
              </a:cxn>
              <a:cxn ang="T60">
                <a:pos x="T24" y="T25"/>
              </a:cxn>
              <a:cxn ang="T61">
                <a:pos x="T26" y="T27"/>
              </a:cxn>
              <a:cxn ang="T62">
                <a:pos x="T28" y="T29"/>
              </a:cxn>
              <a:cxn ang="T63">
                <a:pos x="T30" y="T31"/>
              </a:cxn>
              <a:cxn ang="T64">
                <a:pos x="T32" y="T33"/>
              </a:cxn>
              <a:cxn ang="T65">
                <a:pos x="T34" y="T35"/>
              </a:cxn>
              <a:cxn ang="T66">
                <a:pos x="T36" y="T37"/>
              </a:cxn>
              <a:cxn ang="T67">
                <a:pos x="T38" y="T39"/>
              </a:cxn>
              <a:cxn ang="T68">
                <a:pos x="T40" y="T41"/>
              </a:cxn>
              <a:cxn ang="T69">
                <a:pos x="T42" y="T43"/>
              </a:cxn>
              <a:cxn ang="T70">
                <a:pos x="T44" y="T45"/>
              </a:cxn>
              <a:cxn ang="T71">
                <a:pos x="T46" y="T47"/>
              </a:cxn>
            </a:cxnLst>
            <a:rect l="T72" t="T73" r="T74" b="T75"/>
            <a:pathLst>
              <a:path w="275" h="75">
                <a:moveTo>
                  <a:pt x="0" y="4"/>
                </a:moveTo>
                <a:lnTo>
                  <a:pt x="29" y="8"/>
                </a:lnTo>
                <a:lnTo>
                  <a:pt x="38" y="5"/>
                </a:lnTo>
                <a:lnTo>
                  <a:pt x="45" y="2"/>
                </a:lnTo>
                <a:lnTo>
                  <a:pt x="62" y="2"/>
                </a:lnTo>
                <a:lnTo>
                  <a:pt x="67" y="2"/>
                </a:lnTo>
                <a:lnTo>
                  <a:pt x="82" y="10"/>
                </a:lnTo>
                <a:lnTo>
                  <a:pt x="88" y="17"/>
                </a:lnTo>
                <a:lnTo>
                  <a:pt x="102" y="21"/>
                </a:lnTo>
                <a:lnTo>
                  <a:pt x="121" y="27"/>
                </a:lnTo>
                <a:lnTo>
                  <a:pt x="131" y="31"/>
                </a:lnTo>
                <a:lnTo>
                  <a:pt x="144" y="49"/>
                </a:lnTo>
                <a:lnTo>
                  <a:pt x="158" y="65"/>
                </a:lnTo>
                <a:lnTo>
                  <a:pt x="176" y="72"/>
                </a:lnTo>
                <a:lnTo>
                  <a:pt x="194" y="75"/>
                </a:lnTo>
                <a:lnTo>
                  <a:pt x="211" y="72"/>
                </a:lnTo>
                <a:lnTo>
                  <a:pt x="224" y="64"/>
                </a:lnTo>
                <a:lnTo>
                  <a:pt x="236" y="51"/>
                </a:lnTo>
                <a:lnTo>
                  <a:pt x="237" y="40"/>
                </a:lnTo>
                <a:lnTo>
                  <a:pt x="239" y="25"/>
                </a:lnTo>
                <a:lnTo>
                  <a:pt x="241" y="12"/>
                </a:lnTo>
                <a:lnTo>
                  <a:pt x="250" y="3"/>
                </a:lnTo>
                <a:lnTo>
                  <a:pt x="256" y="0"/>
                </a:lnTo>
                <a:lnTo>
                  <a:pt x="275" y="0"/>
                </a:lnTo>
              </a:path>
            </a:pathLst>
          </a:custGeom>
          <a:noFill/>
          <a:ln w="3175" cap="flat" cmpd="sng">
            <a:solidFill>
              <a:srgbClr val="D9EAF7"/>
            </a:solidFill>
            <a:prstDash val="solid"/>
            <a:round/>
            <a:headEnd type="none" w="med" len="med"/>
            <a:tailEnd type="none" w="med" len="med"/>
          </a:ln>
        </p:spPr>
        <p:txBody>
          <a:bodyPr wrap="none" lIns="32632" tIns="32632" rIns="32632" bIns="32632" anchor="ctr"/>
          <a:lstStyle/>
          <a:p>
            <a:pPr defTabSz="891045"/>
            <a:endParaRPr lang="en-US" sz="1700" dirty="0">
              <a:solidFill>
                <a:srgbClr val="003149"/>
              </a:solidFill>
              <a:cs typeface="Arial" panose="020B0604020202020204" pitchFamily="34" charset="0"/>
            </a:endParaRPr>
          </a:p>
        </p:txBody>
      </p:sp>
      <p:sp>
        <p:nvSpPr>
          <p:cNvPr id="333" name="Freeform 788"/>
          <p:cNvSpPr>
            <a:spLocks noChangeAspect="1"/>
          </p:cNvSpPr>
          <p:nvPr>
            <p:custDataLst>
              <p:tags r:id="rId220"/>
            </p:custDataLst>
          </p:nvPr>
        </p:nvSpPr>
        <p:spPr bwMode="gray">
          <a:xfrm>
            <a:off x="2326082" y="3703044"/>
            <a:ext cx="39806" cy="50219"/>
          </a:xfrm>
          <a:custGeom>
            <a:avLst/>
            <a:gdLst>
              <a:gd name="T0" fmla="*/ 0 w 128"/>
              <a:gd name="T1" fmla="*/ 514807386 h 146"/>
              <a:gd name="T2" fmla="*/ 469761712 w 128"/>
              <a:gd name="T3" fmla="*/ 514807386 h 146"/>
              <a:gd name="T4" fmla="*/ 469761712 w 128"/>
              <a:gd name="T5" fmla="*/ 514807386 h 146"/>
              <a:gd name="T6" fmla="*/ 469761712 w 128"/>
              <a:gd name="T7" fmla="*/ 514807386 h 146"/>
              <a:gd name="T8" fmla="*/ 469761712 w 128"/>
              <a:gd name="T9" fmla="*/ 514807386 h 146"/>
              <a:gd name="T10" fmla="*/ 469761712 w 128"/>
              <a:gd name="T11" fmla="*/ 514807386 h 146"/>
              <a:gd name="T12" fmla="*/ 469761712 w 128"/>
              <a:gd name="T13" fmla="*/ 514807386 h 146"/>
              <a:gd name="T14" fmla="*/ 469761712 w 128"/>
              <a:gd name="T15" fmla="*/ 514807386 h 146"/>
              <a:gd name="T16" fmla="*/ 469761712 w 128"/>
              <a:gd name="T17" fmla="*/ 514807386 h 146"/>
              <a:gd name="T18" fmla="*/ 469761712 w 128"/>
              <a:gd name="T19" fmla="*/ 514807386 h 146"/>
              <a:gd name="T20" fmla="*/ 469761712 w 128"/>
              <a:gd name="T21" fmla="*/ 0 h 14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128"/>
              <a:gd name="T34" fmla="*/ 0 h 146"/>
              <a:gd name="T35" fmla="*/ 128 w 128"/>
              <a:gd name="T36" fmla="*/ 146 h 146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128" h="146">
                <a:moveTo>
                  <a:pt x="0" y="146"/>
                </a:moveTo>
                <a:lnTo>
                  <a:pt x="12" y="141"/>
                </a:lnTo>
                <a:lnTo>
                  <a:pt x="27" y="132"/>
                </a:lnTo>
                <a:lnTo>
                  <a:pt x="34" y="125"/>
                </a:lnTo>
                <a:lnTo>
                  <a:pt x="52" y="119"/>
                </a:lnTo>
                <a:lnTo>
                  <a:pt x="73" y="94"/>
                </a:lnTo>
                <a:lnTo>
                  <a:pt x="94" y="71"/>
                </a:lnTo>
                <a:lnTo>
                  <a:pt x="104" y="67"/>
                </a:lnTo>
                <a:lnTo>
                  <a:pt x="119" y="63"/>
                </a:lnTo>
                <a:lnTo>
                  <a:pt x="126" y="17"/>
                </a:lnTo>
                <a:lnTo>
                  <a:pt x="128" y="0"/>
                </a:lnTo>
              </a:path>
            </a:pathLst>
          </a:custGeom>
          <a:noFill/>
          <a:ln w="3175" cap="flat" cmpd="sng">
            <a:solidFill>
              <a:srgbClr val="D9EAF7"/>
            </a:solidFill>
            <a:prstDash val="solid"/>
            <a:round/>
            <a:headEnd type="none" w="med" len="med"/>
            <a:tailEnd type="none" w="med" len="med"/>
          </a:ln>
        </p:spPr>
        <p:txBody>
          <a:bodyPr wrap="none" lIns="32632" tIns="32632" rIns="32632" bIns="32632" anchor="ctr"/>
          <a:lstStyle/>
          <a:p>
            <a:pPr defTabSz="891045"/>
            <a:endParaRPr lang="en-US" sz="1700" dirty="0">
              <a:solidFill>
                <a:srgbClr val="003149"/>
              </a:solidFill>
              <a:cs typeface="Arial" panose="020B0604020202020204" pitchFamily="34" charset="0"/>
            </a:endParaRPr>
          </a:p>
        </p:txBody>
      </p:sp>
      <p:sp>
        <p:nvSpPr>
          <p:cNvPr id="334" name="Freeform 783"/>
          <p:cNvSpPr>
            <a:spLocks noChangeAspect="1"/>
          </p:cNvSpPr>
          <p:nvPr>
            <p:custDataLst>
              <p:tags r:id="rId221"/>
            </p:custDataLst>
          </p:nvPr>
        </p:nvSpPr>
        <p:spPr bwMode="gray">
          <a:xfrm>
            <a:off x="2331770" y="3703008"/>
            <a:ext cx="86722" cy="88960"/>
          </a:xfrm>
          <a:custGeom>
            <a:avLst/>
            <a:gdLst>
              <a:gd name="T0" fmla="*/ 0 w 10144"/>
              <a:gd name="T1" fmla="*/ 0 h 10000"/>
              <a:gd name="T2" fmla="*/ 0 w 10144"/>
              <a:gd name="T3" fmla="*/ 0 h 10000"/>
              <a:gd name="T4" fmla="*/ 0 w 10144"/>
              <a:gd name="T5" fmla="*/ 0 h 10000"/>
              <a:gd name="T6" fmla="*/ 0 w 10144"/>
              <a:gd name="T7" fmla="*/ 0 h 10000"/>
              <a:gd name="T8" fmla="*/ 0 w 10144"/>
              <a:gd name="T9" fmla="*/ 0 h 10000"/>
              <a:gd name="T10" fmla="*/ 0 w 10144"/>
              <a:gd name="T11" fmla="*/ 0 h 10000"/>
              <a:gd name="T12" fmla="*/ 0 w 10144"/>
              <a:gd name="T13" fmla="*/ 0 h 10000"/>
              <a:gd name="T14" fmla="*/ 0 w 10144"/>
              <a:gd name="T15" fmla="*/ 0 h 10000"/>
              <a:gd name="T16" fmla="*/ 0 w 10144"/>
              <a:gd name="T17" fmla="*/ 0 h 10000"/>
              <a:gd name="T18" fmla="*/ 0 w 10144"/>
              <a:gd name="T19" fmla="*/ 0 h 10000"/>
              <a:gd name="T20" fmla="*/ 0 w 10144"/>
              <a:gd name="T21" fmla="*/ 0 h 10000"/>
              <a:gd name="T22" fmla="*/ 0 w 10144"/>
              <a:gd name="T23" fmla="*/ 0 h 10000"/>
              <a:gd name="T24" fmla="*/ 0 w 10144"/>
              <a:gd name="T25" fmla="*/ 0 h 10000"/>
              <a:gd name="T26" fmla="*/ 0 w 10144"/>
              <a:gd name="T27" fmla="*/ 0 h 10000"/>
              <a:gd name="T28" fmla="*/ 0 w 10144"/>
              <a:gd name="T29" fmla="*/ 0 h 10000"/>
              <a:gd name="T30" fmla="*/ 0 w 10144"/>
              <a:gd name="T31" fmla="*/ 0 h 10000"/>
              <a:gd name="T32" fmla="*/ 0 w 10144"/>
              <a:gd name="T33" fmla="*/ 0 h 10000"/>
              <a:gd name="T34" fmla="*/ 0 w 10144"/>
              <a:gd name="T35" fmla="*/ 0 h 10000"/>
              <a:gd name="T36" fmla="*/ 0 w 10144"/>
              <a:gd name="T37" fmla="*/ 0 h 10000"/>
              <a:gd name="T38" fmla="*/ 0 w 10144"/>
              <a:gd name="T39" fmla="*/ 0 h 10000"/>
              <a:gd name="T40" fmla="*/ 0 w 10144"/>
              <a:gd name="T41" fmla="*/ 0 h 10000"/>
              <a:gd name="T42" fmla="*/ 0 w 10144"/>
              <a:gd name="T43" fmla="*/ 0 h 10000"/>
              <a:gd name="T44" fmla="*/ 0 w 10144"/>
              <a:gd name="T45" fmla="*/ 0 h 10000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w 10144"/>
              <a:gd name="T70" fmla="*/ 0 h 10000"/>
              <a:gd name="T71" fmla="*/ 10144 w 10144"/>
              <a:gd name="T72" fmla="*/ 10000 h 10000"/>
            </a:gdLst>
            <a:ahLst/>
            <a:cxnLst>
              <a:cxn ang="T46">
                <a:pos x="T0" y="T1"/>
              </a:cxn>
              <a:cxn ang="T47">
                <a:pos x="T2" y="T3"/>
              </a:cxn>
              <a:cxn ang="T48">
                <a:pos x="T4" y="T5"/>
              </a:cxn>
              <a:cxn ang="T49">
                <a:pos x="T6" y="T7"/>
              </a:cxn>
              <a:cxn ang="T50">
                <a:pos x="T8" y="T9"/>
              </a:cxn>
              <a:cxn ang="T51">
                <a:pos x="T10" y="T11"/>
              </a:cxn>
              <a:cxn ang="T52">
                <a:pos x="T12" y="T13"/>
              </a:cxn>
              <a:cxn ang="T53">
                <a:pos x="T14" y="T15"/>
              </a:cxn>
              <a:cxn ang="T54">
                <a:pos x="T16" y="T17"/>
              </a:cxn>
              <a:cxn ang="T55">
                <a:pos x="T18" y="T19"/>
              </a:cxn>
              <a:cxn ang="T56">
                <a:pos x="T20" y="T21"/>
              </a:cxn>
              <a:cxn ang="T57">
                <a:pos x="T22" y="T23"/>
              </a:cxn>
              <a:cxn ang="T58">
                <a:pos x="T24" y="T25"/>
              </a:cxn>
              <a:cxn ang="T59">
                <a:pos x="T26" y="T27"/>
              </a:cxn>
              <a:cxn ang="T60">
                <a:pos x="T28" y="T29"/>
              </a:cxn>
              <a:cxn ang="T61">
                <a:pos x="T30" y="T31"/>
              </a:cxn>
              <a:cxn ang="T62">
                <a:pos x="T32" y="T33"/>
              </a:cxn>
              <a:cxn ang="T63">
                <a:pos x="T34" y="T35"/>
              </a:cxn>
              <a:cxn ang="T64">
                <a:pos x="T36" y="T37"/>
              </a:cxn>
              <a:cxn ang="T65">
                <a:pos x="T38" y="T39"/>
              </a:cxn>
              <a:cxn ang="T66">
                <a:pos x="T40" y="T41"/>
              </a:cxn>
              <a:cxn ang="T67">
                <a:pos x="T42" y="T43"/>
              </a:cxn>
              <a:cxn ang="T68">
                <a:pos x="T44" y="T45"/>
              </a:cxn>
            </a:cxnLst>
            <a:rect l="T69" t="T70" r="T71" b="T72"/>
            <a:pathLst>
              <a:path w="10144" h="10000">
                <a:moveTo>
                  <a:pt x="7150" y="0"/>
                </a:moveTo>
                <a:lnTo>
                  <a:pt x="7354" y="568"/>
                </a:lnTo>
                <a:lnTo>
                  <a:pt x="7825" y="985"/>
                </a:lnTo>
                <a:lnTo>
                  <a:pt x="8695" y="1780"/>
                </a:lnTo>
                <a:cubicBezTo>
                  <a:pt x="8779" y="2058"/>
                  <a:pt x="8864" y="2336"/>
                  <a:pt x="8948" y="2614"/>
                </a:cubicBezTo>
                <a:lnTo>
                  <a:pt x="9238" y="3220"/>
                </a:lnTo>
                <a:lnTo>
                  <a:pt x="9782" y="3826"/>
                </a:lnTo>
                <a:lnTo>
                  <a:pt x="10144" y="4205"/>
                </a:lnTo>
                <a:lnTo>
                  <a:pt x="10108" y="5000"/>
                </a:lnTo>
                <a:lnTo>
                  <a:pt x="10108" y="6061"/>
                </a:lnTo>
                <a:lnTo>
                  <a:pt x="9456" y="6705"/>
                </a:lnTo>
                <a:lnTo>
                  <a:pt x="8514" y="7652"/>
                </a:lnTo>
                <a:lnTo>
                  <a:pt x="8079" y="8144"/>
                </a:lnTo>
                <a:cubicBezTo>
                  <a:pt x="7994" y="8409"/>
                  <a:pt x="7910" y="8674"/>
                  <a:pt x="7825" y="8939"/>
                </a:cubicBezTo>
                <a:lnTo>
                  <a:pt x="6992" y="9318"/>
                </a:lnTo>
                <a:lnTo>
                  <a:pt x="6086" y="9924"/>
                </a:lnTo>
                <a:lnTo>
                  <a:pt x="4890" y="10000"/>
                </a:lnTo>
                <a:lnTo>
                  <a:pt x="4021" y="9886"/>
                </a:lnTo>
                <a:lnTo>
                  <a:pt x="3369" y="9508"/>
                </a:lnTo>
                <a:lnTo>
                  <a:pt x="2209" y="9280"/>
                </a:lnTo>
                <a:lnTo>
                  <a:pt x="1122" y="9015"/>
                </a:lnTo>
                <a:lnTo>
                  <a:pt x="470" y="8636"/>
                </a:lnTo>
                <a:lnTo>
                  <a:pt x="0" y="8282"/>
                </a:lnTo>
              </a:path>
            </a:pathLst>
          </a:custGeom>
          <a:noFill/>
          <a:ln w="3175" cap="flat" cmpd="sng">
            <a:solidFill>
              <a:srgbClr val="D9EAF7"/>
            </a:solidFill>
            <a:prstDash val="solid"/>
            <a:round/>
            <a:headEnd type="none" w="med" len="med"/>
            <a:tailEnd type="none" w="med" len="med"/>
          </a:ln>
        </p:spPr>
        <p:txBody>
          <a:bodyPr wrap="none" lIns="32632" tIns="32632" rIns="32632" bIns="32632" anchor="ctr"/>
          <a:lstStyle/>
          <a:p>
            <a:pPr defTabSz="891045"/>
            <a:endParaRPr lang="en-US" sz="1700" dirty="0">
              <a:solidFill>
                <a:srgbClr val="003149"/>
              </a:solidFill>
              <a:cs typeface="Arial" panose="020B0604020202020204" pitchFamily="34" charset="0"/>
            </a:endParaRPr>
          </a:p>
        </p:txBody>
      </p:sp>
      <p:sp>
        <p:nvSpPr>
          <p:cNvPr id="335" name="Freeform 770"/>
          <p:cNvSpPr>
            <a:spLocks noChangeAspect="1"/>
          </p:cNvSpPr>
          <p:nvPr>
            <p:custDataLst>
              <p:tags r:id="rId222"/>
            </p:custDataLst>
          </p:nvPr>
        </p:nvSpPr>
        <p:spPr bwMode="gray">
          <a:xfrm>
            <a:off x="2392904" y="3641311"/>
            <a:ext cx="68240" cy="61698"/>
          </a:xfrm>
          <a:custGeom>
            <a:avLst/>
            <a:gdLst>
              <a:gd name="T0" fmla="*/ 0 w 621"/>
              <a:gd name="T1" fmla="*/ 0 h 504"/>
              <a:gd name="T2" fmla="*/ 0 w 621"/>
              <a:gd name="T3" fmla="*/ 0 h 504"/>
              <a:gd name="T4" fmla="*/ 0 w 621"/>
              <a:gd name="T5" fmla="*/ 0 h 504"/>
              <a:gd name="T6" fmla="*/ 0 w 621"/>
              <a:gd name="T7" fmla="*/ 0 h 504"/>
              <a:gd name="T8" fmla="*/ 0 w 621"/>
              <a:gd name="T9" fmla="*/ 0 h 504"/>
              <a:gd name="T10" fmla="*/ 0 w 621"/>
              <a:gd name="T11" fmla="*/ 0 h 504"/>
              <a:gd name="T12" fmla="*/ 0 w 621"/>
              <a:gd name="T13" fmla="*/ 0 h 504"/>
              <a:gd name="T14" fmla="*/ 0 w 621"/>
              <a:gd name="T15" fmla="*/ 0 h 504"/>
              <a:gd name="T16" fmla="*/ 0 w 621"/>
              <a:gd name="T17" fmla="*/ 0 h 504"/>
              <a:gd name="T18" fmla="*/ 0 w 621"/>
              <a:gd name="T19" fmla="*/ 0 h 504"/>
              <a:gd name="T20" fmla="*/ 0 w 621"/>
              <a:gd name="T21" fmla="*/ 0 h 504"/>
              <a:gd name="T22" fmla="*/ 0 w 621"/>
              <a:gd name="T23" fmla="*/ 0 h 504"/>
              <a:gd name="T24" fmla="*/ 0 w 621"/>
              <a:gd name="T25" fmla="*/ 0 h 504"/>
              <a:gd name="T26" fmla="*/ 0 w 621"/>
              <a:gd name="T27" fmla="*/ 0 h 504"/>
              <a:gd name="T28" fmla="*/ 0 w 621"/>
              <a:gd name="T29" fmla="*/ 0 h 504"/>
              <a:gd name="T30" fmla="*/ 0 w 621"/>
              <a:gd name="T31" fmla="*/ 0 h 504"/>
              <a:gd name="T32" fmla="*/ 0 w 621"/>
              <a:gd name="T33" fmla="*/ 0 h 504"/>
              <a:gd name="T34" fmla="*/ 0 w 621"/>
              <a:gd name="T35" fmla="*/ 0 h 504"/>
              <a:gd name="T36" fmla="*/ 0 w 621"/>
              <a:gd name="T37" fmla="*/ 0 h 504"/>
              <a:gd name="T38" fmla="*/ 0 w 621"/>
              <a:gd name="T39" fmla="*/ 0 h 504"/>
              <a:gd name="T40" fmla="*/ 0 w 621"/>
              <a:gd name="T41" fmla="*/ 0 h 504"/>
              <a:gd name="T42" fmla="*/ 0 w 621"/>
              <a:gd name="T43" fmla="*/ 0 h 504"/>
              <a:gd name="T44" fmla="*/ 0 w 621"/>
              <a:gd name="T45" fmla="*/ 0 h 504"/>
              <a:gd name="T46" fmla="*/ 0 w 621"/>
              <a:gd name="T47" fmla="*/ 0 h 504"/>
              <a:gd name="T48" fmla="*/ 0 w 621"/>
              <a:gd name="T49" fmla="*/ 0 h 504"/>
              <a:gd name="T50" fmla="*/ 0 w 621"/>
              <a:gd name="T51" fmla="*/ 0 h 504"/>
              <a:gd name="T52" fmla="*/ 0 w 621"/>
              <a:gd name="T53" fmla="*/ 0 h 504"/>
              <a:gd name="T54" fmla="*/ 0 w 621"/>
              <a:gd name="T55" fmla="*/ 0 h 504"/>
              <a:gd name="T56" fmla="*/ 0 w 621"/>
              <a:gd name="T57" fmla="*/ 0 h 504"/>
              <a:gd name="T58" fmla="*/ 0 w 621"/>
              <a:gd name="T59" fmla="*/ 0 h 504"/>
              <a:gd name="T60" fmla="*/ 0 w 621"/>
              <a:gd name="T61" fmla="*/ 0 h 504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w 621"/>
              <a:gd name="T94" fmla="*/ 0 h 504"/>
              <a:gd name="T95" fmla="*/ 621 w 621"/>
              <a:gd name="T96" fmla="*/ 504 h 504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T93" t="T94" r="T95" b="T96"/>
            <a:pathLst>
              <a:path w="621" h="504">
                <a:moveTo>
                  <a:pt x="621" y="36"/>
                </a:moveTo>
                <a:lnTo>
                  <a:pt x="594" y="60"/>
                </a:lnTo>
                <a:lnTo>
                  <a:pt x="576" y="72"/>
                </a:lnTo>
                <a:lnTo>
                  <a:pt x="543" y="72"/>
                </a:lnTo>
                <a:lnTo>
                  <a:pt x="507" y="72"/>
                </a:lnTo>
                <a:lnTo>
                  <a:pt x="477" y="75"/>
                </a:lnTo>
                <a:lnTo>
                  <a:pt x="429" y="57"/>
                </a:lnTo>
                <a:lnTo>
                  <a:pt x="390" y="30"/>
                </a:lnTo>
                <a:lnTo>
                  <a:pt x="363" y="15"/>
                </a:lnTo>
                <a:lnTo>
                  <a:pt x="327" y="0"/>
                </a:lnTo>
                <a:lnTo>
                  <a:pt x="297" y="0"/>
                </a:lnTo>
                <a:lnTo>
                  <a:pt x="258" y="0"/>
                </a:lnTo>
                <a:lnTo>
                  <a:pt x="234" y="15"/>
                </a:lnTo>
                <a:lnTo>
                  <a:pt x="216" y="39"/>
                </a:lnTo>
                <a:lnTo>
                  <a:pt x="198" y="66"/>
                </a:lnTo>
                <a:lnTo>
                  <a:pt x="189" y="87"/>
                </a:lnTo>
                <a:lnTo>
                  <a:pt x="177" y="117"/>
                </a:lnTo>
                <a:lnTo>
                  <a:pt x="153" y="138"/>
                </a:lnTo>
                <a:lnTo>
                  <a:pt x="126" y="165"/>
                </a:lnTo>
                <a:lnTo>
                  <a:pt x="102" y="180"/>
                </a:lnTo>
                <a:lnTo>
                  <a:pt x="81" y="189"/>
                </a:lnTo>
                <a:lnTo>
                  <a:pt x="54" y="195"/>
                </a:lnTo>
                <a:lnTo>
                  <a:pt x="20" y="204"/>
                </a:lnTo>
                <a:lnTo>
                  <a:pt x="21" y="276"/>
                </a:lnTo>
                <a:lnTo>
                  <a:pt x="57" y="327"/>
                </a:lnTo>
                <a:lnTo>
                  <a:pt x="80" y="354"/>
                </a:lnTo>
                <a:lnTo>
                  <a:pt x="80" y="402"/>
                </a:lnTo>
                <a:lnTo>
                  <a:pt x="60" y="428"/>
                </a:lnTo>
                <a:lnTo>
                  <a:pt x="24" y="462"/>
                </a:lnTo>
                <a:lnTo>
                  <a:pt x="0" y="474"/>
                </a:lnTo>
                <a:lnTo>
                  <a:pt x="0" y="504"/>
                </a:lnTo>
              </a:path>
            </a:pathLst>
          </a:custGeom>
          <a:noFill/>
          <a:ln w="3175" cap="flat" cmpd="sng">
            <a:solidFill>
              <a:srgbClr val="D9EAF7"/>
            </a:solidFill>
            <a:prstDash val="solid"/>
            <a:round/>
            <a:headEnd type="none" w="med" len="med"/>
            <a:tailEnd type="none" w="med" len="med"/>
          </a:ln>
        </p:spPr>
        <p:txBody>
          <a:bodyPr wrap="none" lIns="32632" tIns="32632" rIns="32632" bIns="32632" anchor="ctr"/>
          <a:lstStyle/>
          <a:p>
            <a:pPr defTabSz="891045"/>
            <a:endParaRPr lang="en-US" sz="1700" dirty="0">
              <a:solidFill>
                <a:srgbClr val="003149"/>
              </a:solidFill>
              <a:cs typeface="Arial" panose="020B0604020202020204" pitchFamily="34" charset="0"/>
            </a:endParaRPr>
          </a:p>
        </p:txBody>
      </p:sp>
      <p:sp>
        <p:nvSpPr>
          <p:cNvPr id="336" name="Freeform 665"/>
          <p:cNvSpPr>
            <a:spLocks noChangeAspect="1"/>
          </p:cNvSpPr>
          <p:nvPr>
            <p:custDataLst>
              <p:tags r:id="rId223"/>
            </p:custDataLst>
          </p:nvPr>
        </p:nvSpPr>
        <p:spPr bwMode="gray">
          <a:xfrm>
            <a:off x="3034074" y="2636921"/>
            <a:ext cx="79614" cy="41611"/>
          </a:xfrm>
          <a:custGeom>
            <a:avLst/>
            <a:gdLst>
              <a:gd name="T0" fmla="*/ 0 w 8813"/>
              <a:gd name="T1" fmla="*/ 0 h 11737"/>
              <a:gd name="T2" fmla="*/ 0 w 8813"/>
              <a:gd name="T3" fmla="*/ 0 h 11737"/>
              <a:gd name="T4" fmla="*/ 0 w 8813"/>
              <a:gd name="T5" fmla="*/ 0 h 11737"/>
              <a:gd name="T6" fmla="*/ 0 w 8813"/>
              <a:gd name="T7" fmla="*/ 0 h 11737"/>
              <a:gd name="T8" fmla="*/ 0 w 8813"/>
              <a:gd name="T9" fmla="*/ 0 h 11737"/>
              <a:gd name="T10" fmla="*/ 0 w 8813"/>
              <a:gd name="T11" fmla="*/ 0 h 11737"/>
              <a:gd name="T12" fmla="*/ 0 w 8813"/>
              <a:gd name="T13" fmla="*/ 0 h 11737"/>
              <a:gd name="T14" fmla="*/ 0 w 8813"/>
              <a:gd name="T15" fmla="*/ 0 h 11737"/>
              <a:gd name="T16" fmla="*/ 0 w 8813"/>
              <a:gd name="T17" fmla="*/ 0 h 11737"/>
              <a:gd name="T18" fmla="*/ 0 w 8813"/>
              <a:gd name="T19" fmla="*/ 0 h 11737"/>
              <a:gd name="T20" fmla="*/ 0 w 8813"/>
              <a:gd name="T21" fmla="*/ 0 h 11737"/>
              <a:gd name="T22" fmla="*/ 0 w 8813"/>
              <a:gd name="T23" fmla="*/ 0 h 11737"/>
              <a:gd name="T24" fmla="*/ 0 w 8813"/>
              <a:gd name="T25" fmla="*/ 0 h 11737"/>
              <a:gd name="T26" fmla="*/ 0 w 8813"/>
              <a:gd name="T27" fmla="*/ 0 h 11737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w 8813"/>
              <a:gd name="T43" fmla="*/ 0 h 11737"/>
              <a:gd name="T44" fmla="*/ 8813 w 8813"/>
              <a:gd name="T45" fmla="*/ 11737 h 11737"/>
            </a:gdLst>
            <a:ahLst/>
            <a:cxnLst>
              <a:cxn ang="T28">
                <a:pos x="T0" y="T1"/>
              </a:cxn>
              <a:cxn ang="T29">
                <a:pos x="T2" y="T3"/>
              </a:cxn>
              <a:cxn ang="T30">
                <a:pos x="T4" y="T5"/>
              </a:cxn>
              <a:cxn ang="T31">
                <a:pos x="T6" y="T7"/>
              </a:cxn>
              <a:cxn ang="T32">
                <a:pos x="T8" y="T9"/>
              </a:cxn>
              <a:cxn ang="T33">
                <a:pos x="T10" y="T11"/>
              </a:cxn>
              <a:cxn ang="T34">
                <a:pos x="T12" y="T13"/>
              </a:cxn>
              <a:cxn ang="T35">
                <a:pos x="T14" y="T15"/>
              </a:cxn>
              <a:cxn ang="T36">
                <a:pos x="T16" y="T17"/>
              </a:cxn>
              <a:cxn ang="T37">
                <a:pos x="T18" y="T19"/>
              </a:cxn>
              <a:cxn ang="T38">
                <a:pos x="T20" y="T21"/>
              </a:cxn>
              <a:cxn ang="T39">
                <a:pos x="T22" y="T23"/>
              </a:cxn>
              <a:cxn ang="T40">
                <a:pos x="T24" y="T25"/>
              </a:cxn>
              <a:cxn ang="T41">
                <a:pos x="T26" y="T27"/>
              </a:cxn>
            </a:cxnLst>
            <a:rect l="T42" t="T43" r="T44" b="T45"/>
            <a:pathLst>
              <a:path w="8813" h="11737">
                <a:moveTo>
                  <a:pt x="8813" y="11737"/>
                </a:moveTo>
                <a:lnTo>
                  <a:pt x="7915" y="9862"/>
                </a:lnTo>
                <a:cubicBezTo>
                  <a:pt x="7846" y="8611"/>
                  <a:pt x="7778" y="7362"/>
                  <a:pt x="7708" y="6112"/>
                </a:cubicBezTo>
                <a:lnTo>
                  <a:pt x="7363" y="3612"/>
                </a:lnTo>
                <a:lnTo>
                  <a:pt x="6466" y="2154"/>
                </a:lnTo>
                <a:lnTo>
                  <a:pt x="5707" y="1737"/>
                </a:lnTo>
                <a:lnTo>
                  <a:pt x="5016" y="2154"/>
                </a:lnTo>
                <a:lnTo>
                  <a:pt x="4050" y="2154"/>
                </a:lnTo>
                <a:lnTo>
                  <a:pt x="3360" y="4237"/>
                </a:lnTo>
                <a:lnTo>
                  <a:pt x="2531" y="3612"/>
                </a:lnTo>
                <a:lnTo>
                  <a:pt x="1703" y="2362"/>
                </a:lnTo>
                <a:lnTo>
                  <a:pt x="736" y="3403"/>
                </a:lnTo>
                <a:lnTo>
                  <a:pt x="115" y="2154"/>
                </a:lnTo>
                <a:cubicBezTo>
                  <a:pt x="92" y="1390"/>
                  <a:pt x="23" y="764"/>
                  <a:pt x="0" y="0"/>
                </a:cubicBezTo>
              </a:path>
            </a:pathLst>
          </a:custGeom>
          <a:noFill/>
          <a:ln w="3175" cap="flat" cmpd="sng">
            <a:solidFill>
              <a:srgbClr val="D9EAF7"/>
            </a:solidFill>
            <a:prstDash val="solid"/>
            <a:round/>
            <a:headEnd type="none" w="med" len="med"/>
            <a:tailEnd type="none" w="sm" len="sm"/>
          </a:ln>
        </p:spPr>
        <p:txBody>
          <a:bodyPr wrap="none" lIns="32632" tIns="32632" rIns="32632" bIns="32632" anchor="ctr"/>
          <a:lstStyle/>
          <a:p>
            <a:pPr defTabSz="891045"/>
            <a:endParaRPr lang="en-US" sz="1700" dirty="0">
              <a:solidFill>
                <a:srgbClr val="003149"/>
              </a:solidFill>
              <a:cs typeface="Arial" panose="020B0604020202020204" pitchFamily="34" charset="0"/>
            </a:endParaRPr>
          </a:p>
        </p:txBody>
      </p:sp>
      <p:sp>
        <p:nvSpPr>
          <p:cNvPr id="337" name="Freeform 655"/>
          <p:cNvSpPr>
            <a:spLocks noChangeAspect="1"/>
          </p:cNvSpPr>
          <p:nvPr>
            <p:custDataLst>
              <p:tags r:id="rId224"/>
            </p:custDataLst>
          </p:nvPr>
        </p:nvSpPr>
        <p:spPr bwMode="gray">
          <a:xfrm>
            <a:off x="2775333" y="2480527"/>
            <a:ext cx="9952" cy="74612"/>
          </a:xfrm>
          <a:custGeom>
            <a:avLst/>
            <a:gdLst>
              <a:gd name="T0" fmla="*/ 0 w 5106"/>
              <a:gd name="T1" fmla="*/ 0 h 11065"/>
              <a:gd name="T2" fmla="*/ 0 w 5106"/>
              <a:gd name="T3" fmla="*/ 0 h 11065"/>
              <a:gd name="T4" fmla="*/ 0 w 5106"/>
              <a:gd name="T5" fmla="*/ 0 h 11065"/>
              <a:gd name="T6" fmla="*/ 0 w 5106"/>
              <a:gd name="T7" fmla="*/ 0 h 11065"/>
              <a:gd name="T8" fmla="*/ 0 w 5106"/>
              <a:gd name="T9" fmla="*/ 0 h 11065"/>
              <a:gd name="T10" fmla="*/ 0 w 5106"/>
              <a:gd name="T11" fmla="*/ 0 h 11065"/>
              <a:gd name="T12" fmla="*/ 0 w 5106"/>
              <a:gd name="T13" fmla="*/ 0 h 11065"/>
              <a:gd name="T14" fmla="*/ 0 w 5106"/>
              <a:gd name="T15" fmla="*/ 0 h 11065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5106"/>
              <a:gd name="T25" fmla="*/ 0 h 11065"/>
              <a:gd name="T26" fmla="*/ 5106 w 5106"/>
              <a:gd name="T27" fmla="*/ 11065 h 11065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5106" h="11065">
                <a:moveTo>
                  <a:pt x="3404" y="0"/>
                </a:moveTo>
                <a:lnTo>
                  <a:pt x="5106" y="1065"/>
                </a:lnTo>
                <a:lnTo>
                  <a:pt x="3688" y="2980"/>
                </a:lnTo>
                <a:lnTo>
                  <a:pt x="5106" y="3937"/>
                </a:lnTo>
                <a:lnTo>
                  <a:pt x="1702" y="5959"/>
                </a:lnTo>
                <a:cubicBezTo>
                  <a:pt x="1797" y="6597"/>
                  <a:pt x="1891" y="7236"/>
                  <a:pt x="1986" y="7874"/>
                </a:cubicBezTo>
                <a:lnTo>
                  <a:pt x="851" y="9044"/>
                </a:lnTo>
                <a:lnTo>
                  <a:pt x="0" y="11065"/>
                </a:lnTo>
              </a:path>
            </a:pathLst>
          </a:custGeom>
          <a:noFill/>
          <a:ln w="3175" cap="flat" cmpd="sng">
            <a:solidFill>
              <a:srgbClr val="D9EAF7"/>
            </a:solidFill>
            <a:prstDash val="solid"/>
            <a:round/>
            <a:headEnd type="none" w="med" len="med"/>
            <a:tailEnd type="none" w="sm" len="sm"/>
          </a:ln>
        </p:spPr>
        <p:txBody>
          <a:bodyPr wrap="none" lIns="32632" tIns="32632" rIns="32632" bIns="32632"/>
          <a:lstStyle/>
          <a:p>
            <a:pPr defTabSz="891045"/>
            <a:endParaRPr lang="en-US" sz="1700" dirty="0">
              <a:solidFill>
                <a:srgbClr val="003149"/>
              </a:solidFill>
              <a:cs typeface="Arial" panose="020B0604020202020204" pitchFamily="34" charset="0"/>
            </a:endParaRPr>
          </a:p>
        </p:txBody>
      </p:sp>
      <p:sp>
        <p:nvSpPr>
          <p:cNvPr id="338" name="Freeform 654"/>
          <p:cNvSpPr>
            <a:spLocks noChangeAspect="1"/>
          </p:cNvSpPr>
          <p:nvPr>
            <p:custDataLst>
              <p:tags r:id="rId225"/>
            </p:custDataLst>
          </p:nvPr>
        </p:nvSpPr>
        <p:spPr bwMode="gray">
          <a:xfrm>
            <a:off x="2954475" y="2443226"/>
            <a:ext cx="82456" cy="193702"/>
          </a:xfrm>
          <a:custGeom>
            <a:avLst/>
            <a:gdLst>
              <a:gd name="T0" fmla="*/ 0 w 10000"/>
              <a:gd name="T1" fmla="*/ 0 h 10000"/>
              <a:gd name="T2" fmla="*/ 0 w 10000"/>
              <a:gd name="T3" fmla="*/ 0 h 10000"/>
              <a:gd name="T4" fmla="*/ 0 w 10000"/>
              <a:gd name="T5" fmla="*/ 0 h 10000"/>
              <a:gd name="T6" fmla="*/ 0 w 10000"/>
              <a:gd name="T7" fmla="*/ 0 h 10000"/>
              <a:gd name="T8" fmla="*/ 0 w 10000"/>
              <a:gd name="T9" fmla="*/ 0 h 10000"/>
              <a:gd name="T10" fmla="*/ 0 w 10000"/>
              <a:gd name="T11" fmla="*/ 0 h 10000"/>
              <a:gd name="T12" fmla="*/ 0 w 10000"/>
              <a:gd name="T13" fmla="*/ 0 h 10000"/>
              <a:gd name="T14" fmla="*/ 0 w 10000"/>
              <a:gd name="T15" fmla="*/ 0 h 10000"/>
              <a:gd name="T16" fmla="*/ 0 w 10000"/>
              <a:gd name="T17" fmla="*/ 0 h 10000"/>
              <a:gd name="T18" fmla="*/ 0 w 10000"/>
              <a:gd name="T19" fmla="*/ 0 h 10000"/>
              <a:gd name="T20" fmla="*/ 0 w 10000"/>
              <a:gd name="T21" fmla="*/ 0 h 10000"/>
              <a:gd name="T22" fmla="*/ 0 w 10000"/>
              <a:gd name="T23" fmla="*/ 0 h 10000"/>
              <a:gd name="T24" fmla="*/ 0 w 10000"/>
              <a:gd name="T25" fmla="*/ 0 h 10000"/>
              <a:gd name="T26" fmla="*/ 0 w 10000"/>
              <a:gd name="T27" fmla="*/ 0 h 10000"/>
              <a:gd name="T28" fmla="*/ 0 w 10000"/>
              <a:gd name="T29" fmla="*/ 0 h 10000"/>
              <a:gd name="T30" fmla="*/ 0 w 10000"/>
              <a:gd name="T31" fmla="*/ 0 h 10000"/>
              <a:gd name="T32" fmla="*/ 0 w 10000"/>
              <a:gd name="T33" fmla="*/ 0 h 10000"/>
              <a:gd name="T34" fmla="*/ 0 w 10000"/>
              <a:gd name="T35" fmla="*/ 0 h 10000"/>
              <a:gd name="T36" fmla="*/ 0 w 10000"/>
              <a:gd name="T37" fmla="*/ 0 h 10000"/>
              <a:gd name="T38" fmla="*/ 0 w 10000"/>
              <a:gd name="T39" fmla="*/ 0 h 10000"/>
              <a:gd name="T40" fmla="*/ 0 w 10000"/>
              <a:gd name="T41" fmla="*/ 0 h 10000"/>
              <a:gd name="T42" fmla="*/ 0 w 10000"/>
              <a:gd name="T43" fmla="*/ 0 h 10000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w 10000"/>
              <a:gd name="T67" fmla="*/ 0 h 10000"/>
              <a:gd name="T68" fmla="*/ 10000 w 10000"/>
              <a:gd name="T69" fmla="*/ 10000 h 10000"/>
            </a:gdLst>
            <a:ahLst/>
            <a:cxnLst>
              <a:cxn ang="T44">
                <a:pos x="T0" y="T1"/>
              </a:cxn>
              <a:cxn ang="T45">
                <a:pos x="T2" y="T3"/>
              </a:cxn>
              <a:cxn ang="T46">
                <a:pos x="T4" y="T5"/>
              </a:cxn>
              <a:cxn ang="T47">
                <a:pos x="T6" y="T7"/>
              </a:cxn>
              <a:cxn ang="T48">
                <a:pos x="T8" y="T9"/>
              </a:cxn>
              <a:cxn ang="T49">
                <a:pos x="T10" y="T11"/>
              </a:cxn>
              <a:cxn ang="T50">
                <a:pos x="T12" y="T13"/>
              </a:cxn>
              <a:cxn ang="T51">
                <a:pos x="T14" y="T15"/>
              </a:cxn>
              <a:cxn ang="T52">
                <a:pos x="T16" y="T17"/>
              </a:cxn>
              <a:cxn ang="T53">
                <a:pos x="T18" y="T19"/>
              </a:cxn>
              <a:cxn ang="T54">
                <a:pos x="T20" y="T21"/>
              </a:cxn>
              <a:cxn ang="T55">
                <a:pos x="T22" y="T23"/>
              </a:cxn>
              <a:cxn ang="T56">
                <a:pos x="T24" y="T25"/>
              </a:cxn>
              <a:cxn ang="T57">
                <a:pos x="T26" y="T27"/>
              </a:cxn>
              <a:cxn ang="T58">
                <a:pos x="T28" y="T29"/>
              </a:cxn>
              <a:cxn ang="T59">
                <a:pos x="T30" y="T31"/>
              </a:cxn>
              <a:cxn ang="T60">
                <a:pos x="T32" y="T33"/>
              </a:cxn>
              <a:cxn ang="T61">
                <a:pos x="T34" y="T35"/>
              </a:cxn>
              <a:cxn ang="T62">
                <a:pos x="T36" y="T37"/>
              </a:cxn>
              <a:cxn ang="T63">
                <a:pos x="T38" y="T39"/>
              </a:cxn>
              <a:cxn ang="T64">
                <a:pos x="T40" y="T41"/>
              </a:cxn>
              <a:cxn ang="T65">
                <a:pos x="T42" y="T43"/>
              </a:cxn>
            </a:cxnLst>
            <a:rect l="T66" t="T67" r="T68" b="T69"/>
            <a:pathLst>
              <a:path w="10000" h="10000">
                <a:moveTo>
                  <a:pt x="9773" y="10000"/>
                </a:moveTo>
                <a:cubicBezTo>
                  <a:pt x="9798" y="9891"/>
                  <a:pt x="9823" y="9782"/>
                  <a:pt x="9847" y="9672"/>
                </a:cubicBezTo>
                <a:cubicBezTo>
                  <a:pt x="9898" y="9490"/>
                  <a:pt x="9950" y="9306"/>
                  <a:pt x="10000" y="9124"/>
                </a:cubicBezTo>
                <a:lnTo>
                  <a:pt x="9623" y="8649"/>
                </a:lnTo>
                <a:cubicBezTo>
                  <a:pt x="9521" y="8478"/>
                  <a:pt x="9418" y="8310"/>
                  <a:pt x="9318" y="8138"/>
                </a:cubicBezTo>
                <a:lnTo>
                  <a:pt x="8712" y="7883"/>
                </a:lnTo>
                <a:lnTo>
                  <a:pt x="7349" y="7699"/>
                </a:lnTo>
                <a:lnTo>
                  <a:pt x="6818" y="7335"/>
                </a:lnTo>
                <a:lnTo>
                  <a:pt x="6440" y="6899"/>
                </a:lnTo>
                <a:lnTo>
                  <a:pt x="5530" y="6935"/>
                </a:lnTo>
                <a:lnTo>
                  <a:pt x="4772" y="6935"/>
                </a:lnTo>
                <a:lnTo>
                  <a:pt x="3864" y="6935"/>
                </a:lnTo>
                <a:lnTo>
                  <a:pt x="3032" y="6681"/>
                </a:lnTo>
                <a:lnTo>
                  <a:pt x="2348" y="6241"/>
                </a:lnTo>
                <a:lnTo>
                  <a:pt x="2348" y="5693"/>
                </a:lnTo>
                <a:lnTo>
                  <a:pt x="1895" y="5037"/>
                </a:lnTo>
                <a:lnTo>
                  <a:pt x="1593" y="4198"/>
                </a:lnTo>
                <a:lnTo>
                  <a:pt x="986" y="3102"/>
                </a:lnTo>
                <a:cubicBezTo>
                  <a:pt x="909" y="2835"/>
                  <a:pt x="835" y="2567"/>
                  <a:pt x="758" y="2299"/>
                </a:cubicBezTo>
                <a:cubicBezTo>
                  <a:pt x="608" y="1945"/>
                  <a:pt x="455" y="1595"/>
                  <a:pt x="304" y="1239"/>
                </a:cubicBezTo>
                <a:cubicBezTo>
                  <a:pt x="202" y="948"/>
                  <a:pt x="102" y="658"/>
                  <a:pt x="0" y="366"/>
                </a:cubicBezTo>
                <a:lnTo>
                  <a:pt x="0" y="0"/>
                </a:lnTo>
              </a:path>
            </a:pathLst>
          </a:custGeom>
          <a:noFill/>
          <a:ln w="3175" cap="flat" cmpd="sng">
            <a:solidFill>
              <a:srgbClr val="D9EAF7"/>
            </a:solidFill>
            <a:prstDash val="solid"/>
            <a:round/>
            <a:headEnd type="none" w="med" len="med"/>
            <a:tailEnd type="none" w="sm" len="sm"/>
          </a:ln>
        </p:spPr>
        <p:txBody>
          <a:bodyPr wrap="none" lIns="32632" tIns="32632" rIns="32632" bIns="32632"/>
          <a:lstStyle/>
          <a:p>
            <a:pPr defTabSz="891045"/>
            <a:endParaRPr lang="en-US" sz="1700" dirty="0">
              <a:solidFill>
                <a:srgbClr val="003149"/>
              </a:solidFill>
              <a:cs typeface="Arial" panose="020B0604020202020204" pitchFamily="34" charset="0"/>
            </a:endParaRPr>
          </a:p>
        </p:txBody>
      </p:sp>
      <p:sp>
        <p:nvSpPr>
          <p:cNvPr id="339" name="Freeform 654"/>
          <p:cNvSpPr>
            <a:spLocks noChangeAspect="1"/>
          </p:cNvSpPr>
          <p:nvPr>
            <p:custDataLst>
              <p:tags r:id="rId226"/>
            </p:custDataLst>
          </p:nvPr>
        </p:nvSpPr>
        <p:spPr bwMode="gray">
          <a:xfrm>
            <a:off x="2913257" y="2635489"/>
            <a:ext cx="120843" cy="63133"/>
          </a:xfrm>
          <a:custGeom>
            <a:avLst/>
            <a:gdLst>
              <a:gd name="T0" fmla="*/ 0 w 9948"/>
              <a:gd name="T1" fmla="*/ 0 h 9366"/>
              <a:gd name="T2" fmla="*/ 0 w 9948"/>
              <a:gd name="T3" fmla="*/ 0 h 9366"/>
              <a:gd name="T4" fmla="*/ 0 w 9948"/>
              <a:gd name="T5" fmla="*/ 0 h 9366"/>
              <a:gd name="T6" fmla="*/ 0 w 9948"/>
              <a:gd name="T7" fmla="*/ 0 h 9366"/>
              <a:gd name="T8" fmla="*/ 0 w 9948"/>
              <a:gd name="T9" fmla="*/ 0 h 9366"/>
              <a:gd name="T10" fmla="*/ 0 w 9948"/>
              <a:gd name="T11" fmla="*/ 0 h 9366"/>
              <a:gd name="T12" fmla="*/ 0 w 9948"/>
              <a:gd name="T13" fmla="*/ 0 h 9366"/>
              <a:gd name="T14" fmla="*/ 0 w 9948"/>
              <a:gd name="T15" fmla="*/ 0 h 9366"/>
              <a:gd name="T16" fmla="*/ 0 w 9948"/>
              <a:gd name="T17" fmla="*/ 0 h 9366"/>
              <a:gd name="T18" fmla="*/ 0 w 9948"/>
              <a:gd name="T19" fmla="*/ 0 h 9366"/>
              <a:gd name="T20" fmla="*/ 0 w 9948"/>
              <a:gd name="T21" fmla="*/ 0 h 9366"/>
              <a:gd name="T22" fmla="*/ 0 w 9948"/>
              <a:gd name="T23" fmla="*/ 0 h 9366"/>
              <a:gd name="T24" fmla="*/ 0 w 9948"/>
              <a:gd name="T25" fmla="*/ 0 h 9366"/>
              <a:gd name="T26" fmla="*/ 0 w 9948"/>
              <a:gd name="T27" fmla="*/ 0 h 9366"/>
              <a:gd name="T28" fmla="*/ 0 w 9948"/>
              <a:gd name="T29" fmla="*/ 0 h 9366"/>
              <a:gd name="T30" fmla="*/ 0 w 9948"/>
              <a:gd name="T31" fmla="*/ 0 h 9366"/>
              <a:gd name="T32" fmla="*/ 0 w 9948"/>
              <a:gd name="T33" fmla="*/ 0 h 9366"/>
              <a:gd name="T34" fmla="*/ 0 w 9948"/>
              <a:gd name="T35" fmla="*/ 0 h 9366"/>
              <a:gd name="T36" fmla="*/ 0 w 9948"/>
              <a:gd name="T37" fmla="*/ 0 h 9366"/>
              <a:gd name="T38" fmla="*/ 0 w 9948"/>
              <a:gd name="T39" fmla="*/ 0 h 9366"/>
              <a:gd name="T40" fmla="*/ 0 w 9948"/>
              <a:gd name="T41" fmla="*/ 0 h 9366"/>
              <a:gd name="T42" fmla="*/ 0 w 9948"/>
              <a:gd name="T43" fmla="*/ 0 h 936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w 9948"/>
              <a:gd name="T67" fmla="*/ 0 h 9366"/>
              <a:gd name="T68" fmla="*/ 9948 w 9948"/>
              <a:gd name="T69" fmla="*/ 9366 h 9366"/>
            </a:gdLst>
            <a:ahLst/>
            <a:cxnLst>
              <a:cxn ang="T44">
                <a:pos x="T0" y="T1"/>
              </a:cxn>
              <a:cxn ang="T45">
                <a:pos x="T2" y="T3"/>
              </a:cxn>
              <a:cxn ang="T46">
                <a:pos x="T4" y="T5"/>
              </a:cxn>
              <a:cxn ang="T47">
                <a:pos x="T6" y="T7"/>
              </a:cxn>
              <a:cxn ang="T48">
                <a:pos x="T8" y="T9"/>
              </a:cxn>
              <a:cxn ang="T49">
                <a:pos x="T10" y="T11"/>
              </a:cxn>
              <a:cxn ang="T50">
                <a:pos x="T12" y="T13"/>
              </a:cxn>
              <a:cxn ang="T51">
                <a:pos x="T14" y="T15"/>
              </a:cxn>
              <a:cxn ang="T52">
                <a:pos x="T16" y="T17"/>
              </a:cxn>
              <a:cxn ang="T53">
                <a:pos x="T18" y="T19"/>
              </a:cxn>
              <a:cxn ang="T54">
                <a:pos x="T20" y="T21"/>
              </a:cxn>
              <a:cxn ang="T55">
                <a:pos x="T22" y="T23"/>
              </a:cxn>
              <a:cxn ang="T56">
                <a:pos x="T24" y="T25"/>
              </a:cxn>
              <a:cxn ang="T57">
                <a:pos x="T26" y="T27"/>
              </a:cxn>
              <a:cxn ang="T58">
                <a:pos x="T28" y="T29"/>
              </a:cxn>
              <a:cxn ang="T59">
                <a:pos x="T30" y="T31"/>
              </a:cxn>
              <a:cxn ang="T60">
                <a:pos x="T32" y="T33"/>
              </a:cxn>
              <a:cxn ang="T61">
                <a:pos x="T34" y="T35"/>
              </a:cxn>
              <a:cxn ang="T62">
                <a:pos x="T36" y="T37"/>
              </a:cxn>
              <a:cxn ang="T63">
                <a:pos x="T38" y="T39"/>
              </a:cxn>
              <a:cxn ang="T64">
                <a:pos x="T40" y="T41"/>
              </a:cxn>
              <a:cxn ang="T65">
                <a:pos x="T42" y="T43"/>
              </a:cxn>
            </a:cxnLst>
            <a:rect l="T66" t="T67" r="T68" b="T69"/>
            <a:pathLst>
              <a:path w="9948" h="9366">
                <a:moveTo>
                  <a:pt x="0" y="8803"/>
                </a:moveTo>
                <a:lnTo>
                  <a:pt x="729" y="7785"/>
                </a:lnTo>
                <a:lnTo>
                  <a:pt x="1493" y="8418"/>
                </a:lnTo>
                <a:lnTo>
                  <a:pt x="1849" y="9366"/>
                </a:lnTo>
                <a:lnTo>
                  <a:pt x="2614" y="9156"/>
                </a:lnTo>
                <a:cubicBezTo>
                  <a:pt x="2665" y="8837"/>
                  <a:pt x="2715" y="8520"/>
                  <a:pt x="2767" y="8204"/>
                </a:cubicBezTo>
                <a:lnTo>
                  <a:pt x="3174" y="8418"/>
                </a:lnTo>
                <a:lnTo>
                  <a:pt x="3939" y="8104"/>
                </a:lnTo>
                <a:lnTo>
                  <a:pt x="4600" y="8521"/>
                </a:lnTo>
                <a:cubicBezTo>
                  <a:pt x="4583" y="7859"/>
                  <a:pt x="4566" y="7189"/>
                  <a:pt x="4550" y="6525"/>
                </a:cubicBezTo>
                <a:lnTo>
                  <a:pt x="5161" y="6000"/>
                </a:lnTo>
                <a:lnTo>
                  <a:pt x="5467" y="6628"/>
                </a:lnTo>
                <a:lnTo>
                  <a:pt x="5059" y="4102"/>
                </a:lnTo>
                <a:lnTo>
                  <a:pt x="5467" y="3686"/>
                </a:lnTo>
                <a:lnTo>
                  <a:pt x="5824" y="3996"/>
                </a:lnTo>
                <a:lnTo>
                  <a:pt x="6231" y="3049"/>
                </a:lnTo>
                <a:lnTo>
                  <a:pt x="6995" y="2520"/>
                </a:lnTo>
                <a:lnTo>
                  <a:pt x="7758" y="1896"/>
                </a:lnTo>
                <a:cubicBezTo>
                  <a:pt x="7826" y="1648"/>
                  <a:pt x="7895" y="1406"/>
                  <a:pt x="7962" y="1161"/>
                </a:cubicBezTo>
                <a:lnTo>
                  <a:pt x="8371" y="313"/>
                </a:lnTo>
                <a:lnTo>
                  <a:pt x="9185" y="0"/>
                </a:lnTo>
                <a:lnTo>
                  <a:pt x="9948" y="313"/>
                </a:lnTo>
              </a:path>
            </a:pathLst>
          </a:custGeom>
          <a:noFill/>
          <a:ln w="3175" cap="flat" cmpd="sng">
            <a:solidFill>
              <a:srgbClr val="D9EAF7"/>
            </a:solidFill>
            <a:prstDash val="solid"/>
            <a:round/>
            <a:headEnd type="none" w="med" len="med"/>
            <a:tailEnd type="none" w="sm" len="sm"/>
          </a:ln>
        </p:spPr>
        <p:txBody>
          <a:bodyPr wrap="none" lIns="32632" tIns="32632" rIns="32632" bIns="32632"/>
          <a:lstStyle/>
          <a:p>
            <a:pPr defTabSz="891045"/>
            <a:endParaRPr lang="en-US" sz="1700" dirty="0">
              <a:solidFill>
                <a:srgbClr val="003149"/>
              </a:solidFill>
              <a:cs typeface="Arial" panose="020B0604020202020204" pitchFamily="34" charset="0"/>
            </a:endParaRPr>
          </a:p>
        </p:txBody>
      </p:sp>
      <p:sp>
        <p:nvSpPr>
          <p:cNvPr id="340" name="Freeform 666"/>
          <p:cNvSpPr>
            <a:spLocks noChangeAspect="1"/>
          </p:cNvSpPr>
          <p:nvPr>
            <p:custDataLst>
              <p:tags r:id="rId227"/>
            </p:custDataLst>
          </p:nvPr>
        </p:nvSpPr>
        <p:spPr bwMode="gray">
          <a:xfrm>
            <a:off x="3095233" y="2678533"/>
            <a:ext cx="187661" cy="258270"/>
          </a:xfrm>
          <a:custGeom>
            <a:avLst/>
            <a:gdLst>
              <a:gd name="T0" fmla="*/ 0 w 10245"/>
              <a:gd name="T1" fmla="*/ 0 h 9964"/>
              <a:gd name="T2" fmla="*/ 0 w 10245"/>
              <a:gd name="T3" fmla="*/ 0 h 9964"/>
              <a:gd name="T4" fmla="*/ 0 w 10245"/>
              <a:gd name="T5" fmla="*/ 0 h 9964"/>
              <a:gd name="T6" fmla="*/ 0 w 10245"/>
              <a:gd name="T7" fmla="*/ 0 h 9964"/>
              <a:gd name="T8" fmla="*/ 0 w 10245"/>
              <a:gd name="T9" fmla="*/ 0 h 9964"/>
              <a:gd name="T10" fmla="*/ 0 w 10245"/>
              <a:gd name="T11" fmla="*/ 0 h 9964"/>
              <a:gd name="T12" fmla="*/ 0 w 10245"/>
              <a:gd name="T13" fmla="*/ 0 h 9964"/>
              <a:gd name="T14" fmla="*/ 0 w 10245"/>
              <a:gd name="T15" fmla="*/ 0 h 9964"/>
              <a:gd name="T16" fmla="*/ 0 w 10245"/>
              <a:gd name="T17" fmla="*/ 0 h 9964"/>
              <a:gd name="T18" fmla="*/ 0 w 10245"/>
              <a:gd name="T19" fmla="*/ 0 h 9964"/>
              <a:gd name="T20" fmla="*/ 0 w 10245"/>
              <a:gd name="T21" fmla="*/ 0 h 9964"/>
              <a:gd name="T22" fmla="*/ 0 w 10245"/>
              <a:gd name="T23" fmla="*/ 0 h 9964"/>
              <a:gd name="T24" fmla="*/ 0 w 10245"/>
              <a:gd name="T25" fmla="*/ 0 h 9964"/>
              <a:gd name="T26" fmla="*/ 0 w 10245"/>
              <a:gd name="T27" fmla="*/ 0 h 9964"/>
              <a:gd name="T28" fmla="*/ 0 w 10245"/>
              <a:gd name="T29" fmla="*/ 0 h 9964"/>
              <a:gd name="T30" fmla="*/ 0 w 10245"/>
              <a:gd name="T31" fmla="*/ 0 h 9964"/>
              <a:gd name="T32" fmla="*/ 0 w 10245"/>
              <a:gd name="T33" fmla="*/ 0 h 9964"/>
              <a:gd name="T34" fmla="*/ 0 w 10245"/>
              <a:gd name="T35" fmla="*/ 0 h 9964"/>
              <a:gd name="T36" fmla="*/ 0 w 10245"/>
              <a:gd name="T37" fmla="*/ 0 h 9964"/>
              <a:gd name="T38" fmla="*/ 0 w 10245"/>
              <a:gd name="T39" fmla="*/ 0 h 9964"/>
              <a:gd name="T40" fmla="*/ 0 w 10245"/>
              <a:gd name="T41" fmla="*/ 0 h 9964"/>
              <a:gd name="T42" fmla="*/ 0 w 10245"/>
              <a:gd name="T43" fmla="*/ 0 h 9964"/>
              <a:gd name="T44" fmla="*/ 0 w 10245"/>
              <a:gd name="T45" fmla="*/ 0 h 9964"/>
              <a:gd name="T46" fmla="*/ 0 w 10245"/>
              <a:gd name="T47" fmla="*/ 0 h 9964"/>
              <a:gd name="T48" fmla="*/ 0 w 10245"/>
              <a:gd name="T49" fmla="*/ 0 h 9964"/>
              <a:gd name="T50" fmla="*/ 0 w 10245"/>
              <a:gd name="T51" fmla="*/ 0 h 9964"/>
              <a:gd name="T52" fmla="*/ 0 w 10245"/>
              <a:gd name="T53" fmla="*/ 0 h 9964"/>
              <a:gd name="T54" fmla="*/ 0 w 10245"/>
              <a:gd name="T55" fmla="*/ 0 h 9964"/>
              <a:gd name="T56" fmla="*/ 0 w 10245"/>
              <a:gd name="T57" fmla="*/ 0 h 9964"/>
              <a:gd name="T58" fmla="*/ 0 w 10245"/>
              <a:gd name="T59" fmla="*/ 0 h 9964"/>
              <a:gd name="T60" fmla="*/ 0 w 10245"/>
              <a:gd name="T61" fmla="*/ 0 h 9964"/>
              <a:gd name="T62" fmla="*/ 0 w 10245"/>
              <a:gd name="T63" fmla="*/ 0 h 9964"/>
              <a:gd name="T64" fmla="*/ 0 w 10245"/>
              <a:gd name="T65" fmla="*/ 0 h 9964"/>
              <a:gd name="T66" fmla="*/ 0 w 10245"/>
              <a:gd name="T67" fmla="*/ 0 h 9964"/>
              <a:gd name="T68" fmla="*/ 0 w 10245"/>
              <a:gd name="T69" fmla="*/ 0 h 9964"/>
              <a:gd name="T70" fmla="*/ 0 w 10245"/>
              <a:gd name="T71" fmla="*/ 0 h 9964"/>
              <a:gd name="T72" fmla="*/ 0 w 10245"/>
              <a:gd name="T73" fmla="*/ 0 h 9964"/>
              <a:gd name="T74" fmla="*/ 0 w 10245"/>
              <a:gd name="T75" fmla="*/ 0 h 9964"/>
              <a:gd name="T76" fmla="*/ 0 w 10245"/>
              <a:gd name="T77" fmla="*/ 0 h 9964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w 10245"/>
              <a:gd name="T118" fmla="*/ 0 h 9964"/>
              <a:gd name="T119" fmla="*/ 10245 w 10245"/>
              <a:gd name="T120" fmla="*/ 9964 h 9964"/>
            </a:gdLst>
            <a:ahLst/>
            <a:cxnLst>
              <a:cxn ang="T78">
                <a:pos x="T0" y="T1"/>
              </a:cxn>
              <a:cxn ang="T79">
                <a:pos x="T2" y="T3"/>
              </a:cxn>
              <a:cxn ang="T80">
                <a:pos x="T4" y="T5"/>
              </a:cxn>
              <a:cxn ang="T81">
                <a:pos x="T6" y="T7"/>
              </a:cxn>
              <a:cxn ang="T82">
                <a:pos x="T8" y="T9"/>
              </a:cxn>
              <a:cxn ang="T83">
                <a:pos x="T10" y="T11"/>
              </a:cxn>
              <a:cxn ang="T84">
                <a:pos x="T12" y="T13"/>
              </a:cxn>
              <a:cxn ang="T85">
                <a:pos x="T14" y="T15"/>
              </a:cxn>
              <a:cxn ang="T86">
                <a:pos x="T16" y="T17"/>
              </a:cxn>
              <a:cxn ang="T87">
                <a:pos x="T18" y="T19"/>
              </a:cxn>
              <a:cxn ang="T88">
                <a:pos x="T20" y="T21"/>
              </a:cxn>
              <a:cxn ang="T89">
                <a:pos x="T22" y="T23"/>
              </a:cxn>
              <a:cxn ang="T90">
                <a:pos x="T24" y="T25"/>
              </a:cxn>
              <a:cxn ang="T91">
                <a:pos x="T26" y="T27"/>
              </a:cxn>
              <a:cxn ang="T92">
                <a:pos x="T28" y="T29"/>
              </a:cxn>
              <a:cxn ang="T93">
                <a:pos x="T30" y="T31"/>
              </a:cxn>
              <a:cxn ang="T94">
                <a:pos x="T32" y="T33"/>
              </a:cxn>
              <a:cxn ang="T95">
                <a:pos x="T34" y="T35"/>
              </a:cxn>
              <a:cxn ang="T96">
                <a:pos x="T36" y="T37"/>
              </a:cxn>
              <a:cxn ang="T97">
                <a:pos x="T38" y="T39"/>
              </a:cxn>
              <a:cxn ang="T98">
                <a:pos x="T40" y="T41"/>
              </a:cxn>
              <a:cxn ang="T99">
                <a:pos x="T42" y="T43"/>
              </a:cxn>
              <a:cxn ang="T100">
                <a:pos x="T44" y="T45"/>
              </a:cxn>
              <a:cxn ang="T101">
                <a:pos x="T46" y="T47"/>
              </a:cxn>
              <a:cxn ang="T102">
                <a:pos x="T48" y="T49"/>
              </a:cxn>
              <a:cxn ang="T103">
                <a:pos x="T50" y="T51"/>
              </a:cxn>
              <a:cxn ang="T104">
                <a:pos x="T52" y="T53"/>
              </a:cxn>
              <a:cxn ang="T105">
                <a:pos x="T54" y="T55"/>
              </a:cxn>
              <a:cxn ang="T106">
                <a:pos x="T56" y="T57"/>
              </a:cxn>
              <a:cxn ang="T107">
                <a:pos x="T58" y="T59"/>
              </a:cxn>
              <a:cxn ang="T108">
                <a:pos x="T60" y="T61"/>
              </a:cxn>
              <a:cxn ang="T109">
                <a:pos x="T62" y="T63"/>
              </a:cxn>
              <a:cxn ang="T110">
                <a:pos x="T64" y="T65"/>
              </a:cxn>
              <a:cxn ang="T111">
                <a:pos x="T66" y="T67"/>
              </a:cxn>
              <a:cxn ang="T112">
                <a:pos x="T68" y="T69"/>
              </a:cxn>
              <a:cxn ang="T113">
                <a:pos x="T70" y="T71"/>
              </a:cxn>
              <a:cxn ang="T114">
                <a:pos x="T72" y="T73"/>
              </a:cxn>
              <a:cxn ang="T115">
                <a:pos x="T74" y="T75"/>
              </a:cxn>
              <a:cxn ang="T116">
                <a:pos x="T76" y="T77"/>
              </a:cxn>
            </a:cxnLst>
            <a:rect l="T117" t="T118" r="T119" b="T120"/>
            <a:pathLst>
              <a:path w="10245" h="9964">
                <a:moveTo>
                  <a:pt x="1069" y="0"/>
                </a:moveTo>
                <a:lnTo>
                  <a:pt x="1069" y="568"/>
                </a:lnTo>
                <a:lnTo>
                  <a:pt x="702" y="810"/>
                </a:lnTo>
                <a:cubicBezTo>
                  <a:pt x="657" y="892"/>
                  <a:pt x="612" y="972"/>
                  <a:pt x="568" y="1054"/>
                </a:cubicBezTo>
                <a:lnTo>
                  <a:pt x="301" y="1324"/>
                </a:lnTo>
                <a:cubicBezTo>
                  <a:pt x="257" y="1424"/>
                  <a:pt x="211" y="1522"/>
                  <a:pt x="167" y="1622"/>
                </a:cubicBezTo>
                <a:cubicBezTo>
                  <a:pt x="134" y="1738"/>
                  <a:pt x="100" y="1856"/>
                  <a:pt x="67" y="1972"/>
                </a:cubicBezTo>
                <a:cubicBezTo>
                  <a:pt x="45" y="2076"/>
                  <a:pt x="22" y="2181"/>
                  <a:pt x="0" y="2284"/>
                </a:cubicBezTo>
                <a:cubicBezTo>
                  <a:pt x="33" y="2383"/>
                  <a:pt x="67" y="2482"/>
                  <a:pt x="100" y="2581"/>
                </a:cubicBezTo>
                <a:lnTo>
                  <a:pt x="268" y="2824"/>
                </a:lnTo>
                <a:lnTo>
                  <a:pt x="702" y="3176"/>
                </a:lnTo>
                <a:lnTo>
                  <a:pt x="969" y="3338"/>
                </a:lnTo>
                <a:cubicBezTo>
                  <a:pt x="1002" y="3445"/>
                  <a:pt x="1036" y="3554"/>
                  <a:pt x="1069" y="3661"/>
                </a:cubicBezTo>
                <a:lnTo>
                  <a:pt x="1503" y="4040"/>
                </a:lnTo>
                <a:lnTo>
                  <a:pt x="1804" y="4202"/>
                </a:lnTo>
                <a:lnTo>
                  <a:pt x="2205" y="4446"/>
                </a:lnTo>
                <a:lnTo>
                  <a:pt x="2472" y="4716"/>
                </a:lnTo>
                <a:lnTo>
                  <a:pt x="2873" y="5014"/>
                </a:lnTo>
                <a:cubicBezTo>
                  <a:pt x="2906" y="5121"/>
                  <a:pt x="2940" y="5230"/>
                  <a:pt x="2974" y="5337"/>
                </a:cubicBezTo>
                <a:lnTo>
                  <a:pt x="3307" y="5662"/>
                </a:lnTo>
                <a:lnTo>
                  <a:pt x="3575" y="6013"/>
                </a:lnTo>
                <a:lnTo>
                  <a:pt x="4076" y="6175"/>
                </a:lnTo>
                <a:lnTo>
                  <a:pt x="4276" y="6472"/>
                </a:lnTo>
                <a:lnTo>
                  <a:pt x="4610" y="6716"/>
                </a:lnTo>
                <a:lnTo>
                  <a:pt x="5111" y="6959"/>
                </a:lnTo>
                <a:lnTo>
                  <a:pt x="5479" y="6905"/>
                </a:lnTo>
                <a:lnTo>
                  <a:pt x="5813" y="6877"/>
                </a:lnTo>
                <a:lnTo>
                  <a:pt x="6414" y="6959"/>
                </a:lnTo>
                <a:lnTo>
                  <a:pt x="6615" y="7229"/>
                </a:lnTo>
                <a:lnTo>
                  <a:pt x="6982" y="7540"/>
                </a:lnTo>
                <a:lnTo>
                  <a:pt x="7584" y="7702"/>
                </a:lnTo>
                <a:lnTo>
                  <a:pt x="8218" y="7838"/>
                </a:lnTo>
                <a:lnTo>
                  <a:pt x="8619" y="8027"/>
                </a:lnTo>
                <a:cubicBezTo>
                  <a:pt x="8652" y="8188"/>
                  <a:pt x="8686" y="8351"/>
                  <a:pt x="8719" y="8513"/>
                </a:cubicBezTo>
                <a:lnTo>
                  <a:pt x="8987" y="9053"/>
                </a:lnTo>
                <a:lnTo>
                  <a:pt x="9388" y="9323"/>
                </a:lnTo>
                <a:cubicBezTo>
                  <a:pt x="9455" y="9395"/>
                  <a:pt x="9521" y="9468"/>
                  <a:pt x="9588" y="9540"/>
                </a:cubicBezTo>
                <a:lnTo>
                  <a:pt x="9989" y="9729"/>
                </a:lnTo>
                <a:cubicBezTo>
                  <a:pt x="10000" y="9837"/>
                  <a:pt x="10234" y="9855"/>
                  <a:pt x="10245" y="9964"/>
                </a:cubicBezTo>
              </a:path>
            </a:pathLst>
          </a:custGeom>
          <a:noFill/>
          <a:ln w="3175" cap="flat" cmpd="sng">
            <a:solidFill>
              <a:srgbClr val="D9EAF7"/>
            </a:solidFill>
            <a:prstDash val="solid"/>
            <a:round/>
            <a:headEnd type="none" w="med" len="med"/>
            <a:tailEnd type="none" w="sm" len="sm"/>
          </a:ln>
        </p:spPr>
        <p:txBody>
          <a:bodyPr wrap="none" lIns="32632" tIns="32632" rIns="32632" bIns="32632" anchor="ctr"/>
          <a:lstStyle/>
          <a:p>
            <a:pPr defTabSz="891045"/>
            <a:endParaRPr lang="en-US" sz="1700" dirty="0">
              <a:solidFill>
                <a:srgbClr val="003149"/>
              </a:solidFill>
              <a:cs typeface="Arial" panose="020B0604020202020204" pitchFamily="34" charset="0"/>
            </a:endParaRPr>
          </a:p>
        </p:txBody>
      </p:sp>
      <p:sp>
        <p:nvSpPr>
          <p:cNvPr id="341" name="Freeform 657"/>
          <p:cNvSpPr>
            <a:spLocks noChangeAspect="1"/>
          </p:cNvSpPr>
          <p:nvPr>
            <p:custDataLst>
              <p:tags r:id="rId228"/>
            </p:custDataLst>
          </p:nvPr>
        </p:nvSpPr>
        <p:spPr bwMode="gray">
          <a:xfrm>
            <a:off x="3267243" y="2261020"/>
            <a:ext cx="55446" cy="73177"/>
          </a:xfrm>
          <a:custGeom>
            <a:avLst/>
            <a:gdLst>
              <a:gd name="T0" fmla="*/ 0 w 11765"/>
              <a:gd name="T1" fmla="*/ 0 h 9939"/>
              <a:gd name="T2" fmla="*/ 0 w 11765"/>
              <a:gd name="T3" fmla="*/ 0 h 9939"/>
              <a:gd name="T4" fmla="*/ 0 w 11765"/>
              <a:gd name="T5" fmla="*/ 0 h 9939"/>
              <a:gd name="T6" fmla="*/ 0 w 11765"/>
              <a:gd name="T7" fmla="*/ 0 h 9939"/>
              <a:gd name="T8" fmla="*/ 0 w 11765"/>
              <a:gd name="T9" fmla="*/ 0 h 9939"/>
              <a:gd name="T10" fmla="*/ 0 w 11765"/>
              <a:gd name="T11" fmla="*/ 0 h 9939"/>
              <a:gd name="T12" fmla="*/ 0 w 11765"/>
              <a:gd name="T13" fmla="*/ 0 h 9939"/>
              <a:gd name="T14" fmla="*/ 0 w 11765"/>
              <a:gd name="T15" fmla="*/ 0 h 9939"/>
              <a:gd name="T16" fmla="*/ 0 w 11765"/>
              <a:gd name="T17" fmla="*/ 0 h 9939"/>
              <a:gd name="T18" fmla="*/ 0 w 11765"/>
              <a:gd name="T19" fmla="*/ 0 h 9939"/>
              <a:gd name="T20" fmla="*/ 0 w 11765"/>
              <a:gd name="T21" fmla="*/ 0 h 9939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11765"/>
              <a:gd name="T34" fmla="*/ 0 h 9939"/>
              <a:gd name="T35" fmla="*/ 11765 w 11765"/>
              <a:gd name="T36" fmla="*/ 9939 h 9939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11765" h="9939">
                <a:moveTo>
                  <a:pt x="7453" y="9939"/>
                </a:moveTo>
                <a:lnTo>
                  <a:pt x="7453" y="8431"/>
                </a:lnTo>
                <a:cubicBezTo>
                  <a:pt x="7582" y="7789"/>
                  <a:pt x="7716" y="7143"/>
                  <a:pt x="7843" y="6505"/>
                </a:cubicBezTo>
                <a:lnTo>
                  <a:pt x="10197" y="4312"/>
                </a:lnTo>
                <a:lnTo>
                  <a:pt x="11765" y="2806"/>
                </a:lnTo>
                <a:lnTo>
                  <a:pt x="10394" y="1430"/>
                </a:lnTo>
                <a:lnTo>
                  <a:pt x="9020" y="883"/>
                </a:lnTo>
                <a:lnTo>
                  <a:pt x="5883" y="883"/>
                </a:lnTo>
                <a:lnTo>
                  <a:pt x="3923" y="883"/>
                </a:lnTo>
                <a:lnTo>
                  <a:pt x="1765" y="883"/>
                </a:lnTo>
                <a:lnTo>
                  <a:pt x="0" y="0"/>
                </a:lnTo>
              </a:path>
            </a:pathLst>
          </a:custGeom>
          <a:noFill/>
          <a:ln w="3175" cap="flat" cmpd="sng">
            <a:solidFill>
              <a:srgbClr val="D9EAF7"/>
            </a:solidFill>
            <a:prstDash val="solid"/>
            <a:round/>
            <a:headEnd type="none" w="med" len="med"/>
            <a:tailEnd type="none" w="sm" len="sm"/>
          </a:ln>
        </p:spPr>
        <p:txBody>
          <a:bodyPr wrap="none" lIns="32632" tIns="32632" rIns="32632" bIns="32632"/>
          <a:lstStyle/>
          <a:p>
            <a:pPr defTabSz="891045"/>
            <a:endParaRPr lang="en-US" sz="1700" dirty="0">
              <a:solidFill>
                <a:srgbClr val="003149"/>
              </a:solidFill>
              <a:cs typeface="Arial" panose="020B0604020202020204" pitchFamily="34" charset="0"/>
            </a:endParaRPr>
          </a:p>
        </p:txBody>
      </p:sp>
      <p:grpSp>
        <p:nvGrpSpPr>
          <p:cNvPr id="342" name="Group 1379"/>
          <p:cNvGrpSpPr>
            <a:grpSpLocks/>
          </p:cNvGrpSpPr>
          <p:nvPr/>
        </p:nvGrpSpPr>
        <p:grpSpPr bwMode="gray">
          <a:xfrm>
            <a:off x="2213785" y="2648401"/>
            <a:ext cx="3518636" cy="1321483"/>
            <a:chOff x="277025" y="4853257"/>
            <a:chExt cx="20396200" cy="6762752"/>
          </a:xfrm>
        </p:grpSpPr>
        <p:sp>
          <p:nvSpPr>
            <p:cNvPr id="343" name="Freeform 1050"/>
            <p:cNvSpPr>
              <a:spLocks noChangeAspect="1"/>
            </p:cNvSpPr>
            <p:nvPr>
              <p:custDataLst>
                <p:tags r:id="rId248"/>
              </p:custDataLst>
            </p:nvPr>
          </p:nvSpPr>
          <p:spPr bwMode="gray">
            <a:xfrm>
              <a:off x="19720725" y="10568257"/>
              <a:ext cx="952500" cy="1047752"/>
            </a:xfrm>
            <a:custGeom>
              <a:avLst/>
              <a:gdLst>
                <a:gd name="T0" fmla="*/ 0 w 178"/>
                <a:gd name="T1" fmla="*/ 0 h 197"/>
                <a:gd name="T2" fmla="*/ 2147483647 w 178"/>
                <a:gd name="T3" fmla="*/ 2147483647 h 197"/>
                <a:gd name="T4" fmla="*/ 2147483647 w 178"/>
                <a:gd name="T5" fmla="*/ 2147483647 h 197"/>
                <a:gd name="T6" fmla="*/ 2147483647 w 178"/>
                <a:gd name="T7" fmla="*/ 2147483647 h 197"/>
                <a:gd name="T8" fmla="*/ 2147483647 w 178"/>
                <a:gd name="T9" fmla="*/ 2147483647 h 197"/>
                <a:gd name="T10" fmla="*/ 2147483647 w 178"/>
                <a:gd name="T11" fmla="*/ 2147483647 h 197"/>
                <a:gd name="T12" fmla="*/ 2147483647 w 178"/>
                <a:gd name="T13" fmla="*/ 2147483647 h 197"/>
                <a:gd name="T14" fmla="*/ 2147483647 w 178"/>
                <a:gd name="T15" fmla="*/ 2147483647 h 197"/>
                <a:gd name="T16" fmla="*/ 2147483647 w 178"/>
                <a:gd name="T17" fmla="*/ 2147483647 h 197"/>
                <a:gd name="T18" fmla="*/ 2147483647 w 178"/>
                <a:gd name="T19" fmla="*/ 2147483647 h 197"/>
                <a:gd name="T20" fmla="*/ 2147483647 w 178"/>
                <a:gd name="T21" fmla="*/ 2147483647 h 197"/>
                <a:gd name="T22" fmla="*/ 2147483647 w 178"/>
                <a:gd name="T23" fmla="*/ 2147483647 h 197"/>
                <a:gd name="T24" fmla="*/ 2147483647 w 178"/>
                <a:gd name="T25" fmla="*/ 2147483647 h 197"/>
                <a:gd name="T26" fmla="*/ 2147483647 w 178"/>
                <a:gd name="T27" fmla="*/ 2147483647 h 197"/>
                <a:gd name="T28" fmla="*/ 2147483647 w 178"/>
                <a:gd name="T29" fmla="*/ 2147483647 h 197"/>
                <a:gd name="T30" fmla="*/ 2147483647 w 178"/>
                <a:gd name="T31" fmla="*/ 2147483647 h 197"/>
                <a:gd name="T32" fmla="*/ 2147483647 w 178"/>
                <a:gd name="T33" fmla="*/ 2147483647 h 197"/>
                <a:gd name="T34" fmla="*/ 2147483647 w 178"/>
                <a:gd name="T35" fmla="*/ 2147483647 h 197"/>
                <a:gd name="T36" fmla="*/ 2147483647 w 178"/>
                <a:gd name="T37" fmla="*/ 2147483647 h 197"/>
                <a:gd name="T38" fmla="*/ 2147483647 w 178"/>
                <a:gd name="T39" fmla="*/ 2147483647 h 197"/>
                <a:gd name="T40" fmla="*/ 2147483647 w 178"/>
                <a:gd name="T41" fmla="*/ 2147483647 h 197"/>
                <a:gd name="T42" fmla="*/ 2147483647 w 178"/>
                <a:gd name="T43" fmla="*/ 2147483647 h 197"/>
                <a:gd name="T44" fmla="*/ 2147483647 w 178"/>
                <a:gd name="T45" fmla="*/ 2147483647 h 197"/>
                <a:gd name="T46" fmla="*/ 2147483647 w 178"/>
                <a:gd name="T47" fmla="*/ 2147483647 h 197"/>
                <a:gd name="T48" fmla="*/ 2147483647 w 178"/>
                <a:gd name="T49" fmla="*/ 2147483647 h 197"/>
                <a:gd name="T50" fmla="*/ 2147483647 w 178"/>
                <a:gd name="T51" fmla="*/ 2147483647 h 197"/>
                <a:gd name="T52" fmla="*/ 2147483647 w 178"/>
                <a:gd name="T53" fmla="*/ 2147483647 h 197"/>
                <a:gd name="T54" fmla="*/ 2147483647 w 178"/>
                <a:gd name="T55" fmla="*/ 2147483647 h 197"/>
                <a:gd name="T56" fmla="*/ 2147483647 w 178"/>
                <a:gd name="T57" fmla="*/ 2147483647 h 197"/>
                <a:gd name="T58" fmla="*/ 2147483647 w 178"/>
                <a:gd name="T59" fmla="*/ 2147483647 h 197"/>
                <a:gd name="T60" fmla="*/ 2147483647 w 178"/>
                <a:gd name="T61" fmla="*/ 2147483647 h 197"/>
                <a:gd name="T62" fmla="*/ 2147483647 w 178"/>
                <a:gd name="T63" fmla="*/ 2147483647 h 197"/>
                <a:gd name="T64" fmla="*/ 2147483647 w 178"/>
                <a:gd name="T65" fmla="*/ 2147483647 h 197"/>
                <a:gd name="T66" fmla="*/ 2147483647 w 178"/>
                <a:gd name="T67" fmla="*/ 2147483647 h 197"/>
                <a:gd name="T68" fmla="*/ 2147483647 w 178"/>
                <a:gd name="T69" fmla="*/ 2147483647 h 197"/>
                <a:gd name="T70" fmla="*/ 2147483647 w 178"/>
                <a:gd name="T71" fmla="*/ 2147483647 h 197"/>
                <a:gd name="T72" fmla="*/ 2147483647 w 178"/>
                <a:gd name="T73" fmla="*/ 2147483647 h 197"/>
                <a:gd name="T74" fmla="*/ 2147483647 w 178"/>
                <a:gd name="T75" fmla="*/ 2147483647 h 197"/>
                <a:gd name="T76" fmla="*/ 2147483647 w 178"/>
                <a:gd name="T77" fmla="*/ 2147483647 h 197"/>
                <a:gd name="T78" fmla="*/ 2147483647 w 178"/>
                <a:gd name="T79" fmla="*/ 2147483647 h 197"/>
                <a:gd name="T80" fmla="*/ 2147483647 w 178"/>
                <a:gd name="T81" fmla="*/ 2147483647 h 197"/>
                <a:gd name="T82" fmla="*/ 2147483647 w 178"/>
                <a:gd name="T83" fmla="*/ 2147483647 h 197"/>
                <a:gd name="T84" fmla="*/ 2147483647 w 178"/>
                <a:gd name="T85" fmla="*/ 2147483647 h 197"/>
                <a:gd name="T86" fmla="*/ 2147483647 w 178"/>
                <a:gd name="T87" fmla="*/ 2147483647 h 197"/>
                <a:gd name="T88" fmla="*/ 2147483647 w 178"/>
                <a:gd name="T89" fmla="*/ 2147483647 h 197"/>
                <a:gd name="T90" fmla="*/ 2147483647 w 178"/>
                <a:gd name="T91" fmla="*/ 2147483647 h 197"/>
                <a:gd name="T92" fmla="*/ 2147483647 w 178"/>
                <a:gd name="T93" fmla="*/ 2147483647 h 197"/>
                <a:gd name="T94" fmla="*/ 2147483647 w 178"/>
                <a:gd name="T95" fmla="*/ 2147483647 h 197"/>
                <a:gd name="T96" fmla="*/ 2147483647 w 178"/>
                <a:gd name="T97" fmla="*/ 2147483647 h 197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178"/>
                <a:gd name="T148" fmla="*/ 0 h 197"/>
                <a:gd name="T149" fmla="*/ 178 w 178"/>
                <a:gd name="T150" fmla="*/ 197 h 197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178" h="197">
                  <a:moveTo>
                    <a:pt x="0" y="0"/>
                  </a:moveTo>
                  <a:lnTo>
                    <a:pt x="1" y="7"/>
                  </a:lnTo>
                  <a:lnTo>
                    <a:pt x="5" y="13"/>
                  </a:lnTo>
                  <a:lnTo>
                    <a:pt x="7" y="18"/>
                  </a:lnTo>
                  <a:lnTo>
                    <a:pt x="10" y="22"/>
                  </a:lnTo>
                  <a:lnTo>
                    <a:pt x="23" y="23"/>
                  </a:lnTo>
                  <a:lnTo>
                    <a:pt x="37" y="29"/>
                  </a:lnTo>
                  <a:lnTo>
                    <a:pt x="44" y="34"/>
                  </a:lnTo>
                  <a:lnTo>
                    <a:pt x="37" y="40"/>
                  </a:lnTo>
                  <a:lnTo>
                    <a:pt x="30" y="44"/>
                  </a:lnTo>
                  <a:lnTo>
                    <a:pt x="31" y="52"/>
                  </a:lnTo>
                  <a:lnTo>
                    <a:pt x="35" y="58"/>
                  </a:lnTo>
                  <a:lnTo>
                    <a:pt x="38" y="66"/>
                  </a:lnTo>
                  <a:lnTo>
                    <a:pt x="49" y="65"/>
                  </a:lnTo>
                  <a:lnTo>
                    <a:pt x="56" y="53"/>
                  </a:lnTo>
                  <a:lnTo>
                    <a:pt x="70" y="43"/>
                  </a:lnTo>
                  <a:lnTo>
                    <a:pt x="83" y="47"/>
                  </a:lnTo>
                  <a:lnTo>
                    <a:pt x="90" y="58"/>
                  </a:lnTo>
                  <a:lnTo>
                    <a:pt x="94" y="67"/>
                  </a:lnTo>
                  <a:lnTo>
                    <a:pt x="96" y="76"/>
                  </a:lnTo>
                  <a:lnTo>
                    <a:pt x="106" y="70"/>
                  </a:lnTo>
                  <a:lnTo>
                    <a:pt x="113" y="63"/>
                  </a:lnTo>
                  <a:lnTo>
                    <a:pt x="121" y="67"/>
                  </a:lnTo>
                  <a:lnTo>
                    <a:pt x="124" y="77"/>
                  </a:lnTo>
                  <a:lnTo>
                    <a:pt x="126" y="84"/>
                  </a:lnTo>
                  <a:lnTo>
                    <a:pt x="129" y="93"/>
                  </a:lnTo>
                  <a:lnTo>
                    <a:pt x="131" y="102"/>
                  </a:lnTo>
                  <a:lnTo>
                    <a:pt x="127" y="104"/>
                  </a:lnTo>
                  <a:lnTo>
                    <a:pt x="125" y="112"/>
                  </a:lnTo>
                  <a:lnTo>
                    <a:pt x="125" y="119"/>
                  </a:lnTo>
                  <a:lnTo>
                    <a:pt x="133" y="116"/>
                  </a:lnTo>
                  <a:lnTo>
                    <a:pt x="136" y="115"/>
                  </a:lnTo>
                  <a:lnTo>
                    <a:pt x="138" y="122"/>
                  </a:lnTo>
                  <a:lnTo>
                    <a:pt x="146" y="128"/>
                  </a:lnTo>
                  <a:lnTo>
                    <a:pt x="155" y="130"/>
                  </a:lnTo>
                  <a:lnTo>
                    <a:pt x="150" y="134"/>
                  </a:lnTo>
                  <a:lnTo>
                    <a:pt x="148" y="139"/>
                  </a:lnTo>
                  <a:lnTo>
                    <a:pt x="141" y="137"/>
                  </a:lnTo>
                  <a:lnTo>
                    <a:pt x="139" y="134"/>
                  </a:lnTo>
                  <a:lnTo>
                    <a:pt x="133" y="137"/>
                  </a:lnTo>
                  <a:lnTo>
                    <a:pt x="137" y="145"/>
                  </a:lnTo>
                  <a:lnTo>
                    <a:pt x="142" y="153"/>
                  </a:lnTo>
                  <a:lnTo>
                    <a:pt x="142" y="166"/>
                  </a:lnTo>
                  <a:lnTo>
                    <a:pt x="150" y="171"/>
                  </a:lnTo>
                  <a:lnTo>
                    <a:pt x="155" y="172"/>
                  </a:lnTo>
                  <a:lnTo>
                    <a:pt x="163" y="183"/>
                  </a:lnTo>
                  <a:lnTo>
                    <a:pt x="164" y="191"/>
                  </a:lnTo>
                  <a:lnTo>
                    <a:pt x="176" y="194"/>
                  </a:lnTo>
                  <a:lnTo>
                    <a:pt x="178" y="197"/>
                  </a:lnTo>
                </a:path>
              </a:pathLst>
            </a:custGeom>
            <a:noFill/>
            <a:ln w="317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none" lIns="36000" tIns="36000" rIns="36000" bIns="36000" anchor="ctr"/>
            <a:lstStyle/>
            <a:p>
              <a:pPr defTabSz="891045"/>
              <a:endParaRPr lang="en-US" sz="1700" dirty="0">
                <a:solidFill>
                  <a:srgbClr val="003149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344" name="Freeform 835"/>
            <p:cNvSpPr>
              <a:spLocks noChangeAspect="1"/>
            </p:cNvSpPr>
            <p:nvPr>
              <p:custDataLst>
                <p:tags r:id="rId249"/>
              </p:custDataLst>
            </p:nvPr>
          </p:nvSpPr>
          <p:spPr bwMode="gray">
            <a:xfrm>
              <a:off x="16919513" y="8396664"/>
              <a:ext cx="2428289" cy="1866794"/>
            </a:xfrm>
            <a:custGeom>
              <a:avLst/>
              <a:gdLst>
                <a:gd name="T0" fmla="*/ 2147483647 w 9981"/>
                <a:gd name="T1" fmla="*/ 2147483647 h 10000"/>
                <a:gd name="T2" fmla="*/ 2147483647 w 9981"/>
                <a:gd name="T3" fmla="*/ 2147483647 h 10000"/>
                <a:gd name="T4" fmla="*/ 2147483647 w 9981"/>
                <a:gd name="T5" fmla="*/ 2147483647 h 10000"/>
                <a:gd name="T6" fmla="*/ 2147483647 w 9981"/>
                <a:gd name="T7" fmla="*/ 2147483647 h 10000"/>
                <a:gd name="T8" fmla="*/ 2147483647 w 9981"/>
                <a:gd name="T9" fmla="*/ 2147483647 h 10000"/>
                <a:gd name="T10" fmla="*/ 2147483647 w 9981"/>
                <a:gd name="T11" fmla="*/ 2147483647 h 10000"/>
                <a:gd name="T12" fmla="*/ 2147483647 w 9981"/>
                <a:gd name="T13" fmla="*/ 2147483647 h 10000"/>
                <a:gd name="T14" fmla="*/ 2147483647 w 9981"/>
                <a:gd name="T15" fmla="*/ 2147483647 h 10000"/>
                <a:gd name="T16" fmla="*/ 2147483647 w 9981"/>
                <a:gd name="T17" fmla="*/ 2147483647 h 10000"/>
                <a:gd name="T18" fmla="*/ 2147483647 w 9981"/>
                <a:gd name="T19" fmla="*/ 2147483647 h 10000"/>
                <a:gd name="T20" fmla="*/ 2147483647 w 9981"/>
                <a:gd name="T21" fmla="*/ 2147483647 h 10000"/>
                <a:gd name="T22" fmla="*/ 2147483647 w 9981"/>
                <a:gd name="T23" fmla="*/ 2147483647 h 10000"/>
                <a:gd name="T24" fmla="*/ 2147483647 w 9981"/>
                <a:gd name="T25" fmla="*/ 2147483647 h 10000"/>
                <a:gd name="T26" fmla="*/ 2147483647 w 9981"/>
                <a:gd name="T27" fmla="*/ 2147483647 h 10000"/>
                <a:gd name="T28" fmla="*/ 2147483647 w 9981"/>
                <a:gd name="T29" fmla="*/ 2147483647 h 10000"/>
                <a:gd name="T30" fmla="*/ 2147483647 w 9981"/>
                <a:gd name="T31" fmla="*/ 2147483647 h 10000"/>
                <a:gd name="T32" fmla="*/ 2147483647 w 9981"/>
                <a:gd name="T33" fmla="*/ 2147483647 h 10000"/>
                <a:gd name="T34" fmla="*/ 2147483647 w 9981"/>
                <a:gd name="T35" fmla="*/ 2147483647 h 10000"/>
                <a:gd name="T36" fmla="*/ 2147483647 w 9981"/>
                <a:gd name="T37" fmla="*/ 2147483647 h 10000"/>
                <a:gd name="T38" fmla="*/ 2147483647 w 9981"/>
                <a:gd name="T39" fmla="*/ 2147483647 h 10000"/>
                <a:gd name="T40" fmla="*/ 2147483647 w 9981"/>
                <a:gd name="T41" fmla="*/ 2147483647 h 10000"/>
                <a:gd name="T42" fmla="*/ 2147483647 w 9981"/>
                <a:gd name="T43" fmla="*/ 2147483647 h 10000"/>
                <a:gd name="T44" fmla="*/ 2147483647 w 9981"/>
                <a:gd name="T45" fmla="*/ 2147483647 h 10000"/>
                <a:gd name="T46" fmla="*/ 2147483647 w 9981"/>
                <a:gd name="T47" fmla="*/ 2147483647 h 10000"/>
                <a:gd name="T48" fmla="*/ 2147483647 w 9981"/>
                <a:gd name="T49" fmla="*/ 2147483647 h 10000"/>
                <a:gd name="T50" fmla="*/ 2147483647 w 9981"/>
                <a:gd name="T51" fmla="*/ 2147483647 h 10000"/>
                <a:gd name="T52" fmla="*/ 2147483647 w 9981"/>
                <a:gd name="T53" fmla="*/ 2147483647 h 10000"/>
                <a:gd name="T54" fmla="*/ 2147483647 w 9981"/>
                <a:gd name="T55" fmla="*/ 2147483647 h 10000"/>
                <a:gd name="T56" fmla="*/ 2147483647 w 9981"/>
                <a:gd name="T57" fmla="*/ 2147483647 h 10000"/>
                <a:gd name="T58" fmla="*/ 2147483647 w 9981"/>
                <a:gd name="T59" fmla="*/ 2147483647 h 10000"/>
                <a:gd name="T60" fmla="*/ 2147483647 w 9981"/>
                <a:gd name="T61" fmla="*/ 2147483647 h 10000"/>
                <a:gd name="T62" fmla="*/ 2147483647 w 9981"/>
                <a:gd name="T63" fmla="*/ 2147483647 h 10000"/>
                <a:gd name="T64" fmla="*/ 2147483647 w 9981"/>
                <a:gd name="T65" fmla="*/ 2147483647 h 10000"/>
                <a:gd name="T66" fmla="*/ 2147483647 w 9981"/>
                <a:gd name="T67" fmla="*/ 2147483647 h 10000"/>
                <a:gd name="T68" fmla="*/ 2147483647 w 9981"/>
                <a:gd name="T69" fmla="*/ 2147483647 h 10000"/>
                <a:gd name="T70" fmla="*/ 2147483647 w 9981"/>
                <a:gd name="T71" fmla="*/ 2147483647 h 10000"/>
                <a:gd name="T72" fmla="*/ 2147483647 w 9981"/>
                <a:gd name="T73" fmla="*/ 2147483647 h 10000"/>
                <a:gd name="T74" fmla="*/ 2147483647 w 9981"/>
                <a:gd name="T75" fmla="*/ 2147483647 h 10000"/>
                <a:gd name="T76" fmla="*/ 2147483647 w 9981"/>
                <a:gd name="T77" fmla="*/ 2147483647 h 10000"/>
                <a:gd name="T78" fmla="*/ 2147483647 w 9981"/>
                <a:gd name="T79" fmla="*/ 2147483647 h 10000"/>
                <a:gd name="T80" fmla="*/ 2147483647 w 9981"/>
                <a:gd name="T81" fmla="*/ 2147483647 h 10000"/>
                <a:gd name="T82" fmla="*/ 2147483647 w 9981"/>
                <a:gd name="T83" fmla="*/ 2147483647 h 10000"/>
                <a:gd name="T84" fmla="*/ 2147483647 w 9981"/>
                <a:gd name="T85" fmla="*/ 2147483647 h 10000"/>
                <a:gd name="T86" fmla="*/ 2147483647 w 9981"/>
                <a:gd name="T87" fmla="*/ 2147483647 h 10000"/>
                <a:gd name="T88" fmla="*/ 2147483647 w 9981"/>
                <a:gd name="T89" fmla="*/ 2147483647 h 10000"/>
                <a:gd name="T90" fmla="*/ 2147483647 w 9981"/>
                <a:gd name="T91" fmla="*/ 2147483647 h 10000"/>
                <a:gd name="T92" fmla="*/ 2147483647 w 9981"/>
                <a:gd name="T93" fmla="*/ 2147483647 h 10000"/>
                <a:gd name="T94" fmla="*/ 2147483647 w 9981"/>
                <a:gd name="T95" fmla="*/ 2147483647 h 10000"/>
                <a:gd name="T96" fmla="*/ 2147483647 w 9981"/>
                <a:gd name="T97" fmla="*/ 2147483647 h 10000"/>
                <a:gd name="T98" fmla="*/ 2147483647 w 9981"/>
                <a:gd name="T99" fmla="*/ 2147483647 h 10000"/>
                <a:gd name="T100" fmla="*/ 2147483647 w 9981"/>
                <a:gd name="T101" fmla="*/ 2147483647 h 10000"/>
                <a:gd name="T102" fmla="*/ 2147483647 w 9981"/>
                <a:gd name="T103" fmla="*/ 2147483647 h 10000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9981"/>
                <a:gd name="T157" fmla="*/ 0 h 10000"/>
                <a:gd name="T158" fmla="*/ 9981 w 9981"/>
                <a:gd name="T159" fmla="*/ 10000 h 10000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9981" h="10000">
                  <a:moveTo>
                    <a:pt x="0" y="27"/>
                  </a:moveTo>
                  <a:lnTo>
                    <a:pt x="183" y="0"/>
                  </a:lnTo>
                  <a:cubicBezTo>
                    <a:pt x="199" y="56"/>
                    <a:pt x="213" y="114"/>
                    <a:pt x="227" y="170"/>
                  </a:cubicBezTo>
                  <a:lnTo>
                    <a:pt x="227" y="341"/>
                  </a:lnTo>
                  <a:lnTo>
                    <a:pt x="402" y="456"/>
                  </a:lnTo>
                  <a:cubicBezTo>
                    <a:pt x="424" y="495"/>
                    <a:pt x="447" y="532"/>
                    <a:pt x="469" y="570"/>
                  </a:cubicBezTo>
                  <a:cubicBezTo>
                    <a:pt x="498" y="646"/>
                    <a:pt x="526" y="722"/>
                    <a:pt x="555" y="797"/>
                  </a:cubicBezTo>
                  <a:cubicBezTo>
                    <a:pt x="541" y="844"/>
                    <a:pt x="526" y="893"/>
                    <a:pt x="512" y="940"/>
                  </a:cubicBezTo>
                  <a:lnTo>
                    <a:pt x="293" y="1025"/>
                  </a:lnTo>
                  <a:lnTo>
                    <a:pt x="161" y="996"/>
                  </a:lnTo>
                  <a:lnTo>
                    <a:pt x="95" y="1167"/>
                  </a:lnTo>
                  <a:cubicBezTo>
                    <a:pt x="88" y="1254"/>
                    <a:pt x="80" y="1339"/>
                    <a:pt x="73" y="1425"/>
                  </a:cubicBezTo>
                  <a:lnTo>
                    <a:pt x="249" y="1339"/>
                  </a:lnTo>
                  <a:lnTo>
                    <a:pt x="402" y="1310"/>
                  </a:lnTo>
                  <a:lnTo>
                    <a:pt x="840" y="1310"/>
                  </a:lnTo>
                  <a:cubicBezTo>
                    <a:pt x="855" y="1339"/>
                    <a:pt x="869" y="1368"/>
                    <a:pt x="884" y="1396"/>
                  </a:cubicBezTo>
                  <a:cubicBezTo>
                    <a:pt x="906" y="1461"/>
                    <a:pt x="928" y="1529"/>
                    <a:pt x="949" y="1594"/>
                  </a:cubicBezTo>
                  <a:lnTo>
                    <a:pt x="1125" y="1681"/>
                  </a:lnTo>
                  <a:cubicBezTo>
                    <a:pt x="1132" y="1756"/>
                    <a:pt x="1140" y="1833"/>
                    <a:pt x="1147" y="1909"/>
                  </a:cubicBezTo>
                  <a:cubicBezTo>
                    <a:pt x="1169" y="2031"/>
                    <a:pt x="1191" y="2155"/>
                    <a:pt x="1213" y="2278"/>
                  </a:cubicBezTo>
                  <a:cubicBezTo>
                    <a:pt x="1221" y="2355"/>
                    <a:pt x="1229" y="2431"/>
                    <a:pt x="1235" y="2507"/>
                  </a:cubicBezTo>
                  <a:lnTo>
                    <a:pt x="1388" y="2621"/>
                  </a:lnTo>
                  <a:lnTo>
                    <a:pt x="1388" y="2792"/>
                  </a:lnTo>
                  <a:lnTo>
                    <a:pt x="1279" y="2876"/>
                  </a:lnTo>
                  <a:cubicBezTo>
                    <a:pt x="1264" y="2963"/>
                    <a:pt x="1250" y="3048"/>
                    <a:pt x="1235" y="3134"/>
                  </a:cubicBezTo>
                  <a:cubicBezTo>
                    <a:pt x="1220" y="3192"/>
                    <a:pt x="1206" y="3248"/>
                    <a:pt x="1191" y="3305"/>
                  </a:cubicBezTo>
                  <a:cubicBezTo>
                    <a:pt x="1206" y="3352"/>
                    <a:pt x="1221" y="3400"/>
                    <a:pt x="1235" y="3447"/>
                  </a:cubicBezTo>
                  <a:lnTo>
                    <a:pt x="1521" y="3447"/>
                  </a:lnTo>
                  <a:lnTo>
                    <a:pt x="1739" y="3589"/>
                  </a:lnTo>
                  <a:cubicBezTo>
                    <a:pt x="1754" y="3693"/>
                    <a:pt x="1768" y="3799"/>
                    <a:pt x="1783" y="3903"/>
                  </a:cubicBezTo>
                  <a:cubicBezTo>
                    <a:pt x="1776" y="3979"/>
                    <a:pt x="1768" y="4054"/>
                    <a:pt x="1761" y="4130"/>
                  </a:cubicBezTo>
                  <a:cubicBezTo>
                    <a:pt x="1710" y="4197"/>
                    <a:pt x="1658" y="4263"/>
                    <a:pt x="1607" y="4330"/>
                  </a:cubicBezTo>
                  <a:cubicBezTo>
                    <a:pt x="1578" y="4396"/>
                    <a:pt x="1550" y="4464"/>
                    <a:pt x="1521" y="4530"/>
                  </a:cubicBezTo>
                  <a:cubicBezTo>
                    <a:pt x="1542" y="4587"/>
                    <a:pt x="1563" y="4644"/>
                    <a:pt x="1585" y="4701"/>
                  </a:cubicBezTo>
                  <a:lnTo>
                    <a:pt x="1783" y="4957"/>
                  </a:lnTo>
                  <a:cubicBezTo>
                    <a:pt x="1798" y="5014"/>
                    <a:pt x="1812" y="5070"/>
                    <a:pt x="1826" y="5127"/>
                  </a:cubicBezTo>
                  <a:cubicBezTo>
                    <a:pt x="1833" y="5204"/>
                    <a:pt x="1841" y="5280"/>
                    <a:pt x="1848" y="5355"/>
                  </a:cubicBezTo>
                  <a:cubicBezTo>
                    <a:pt x="1855" y="5432"/>
                    <a:pt x="1863" y="5507"/>
                    <a:pt x="1870" y="5584"/>
                  </a:cubicBezTo>
                  <a:lnTo>
                    <a:pt x="1980" y="5584"/>
                  </a:lnTo>
                  <a:lnTo>
                    <a:pt x="2133" y="5613"/>
                  </a:lnTo>
                  <a:cubicBezTo>
                    <a:pt x="2162" y="5689"/>
                    <a:pt x="2192" y="5764"/>
                    <a:pt x="2221" y="5839"/>
                  </a:cubicBezTo>
                  <a:lnTo>
                    <a:pt x="2396" y="5783"/>
                  </a:lnTo>
                  <a:cubicBezTo>
                    <a:pt x="2418" y="5860"/>
                    <a:pt x="2440" y="5934"/>
                    <a:pt x="2462" y="6011"/>
                  </a:cubicBezTo>
                  <a:cubicBezTo>
                    <a:pt x="2433" y="6068"/>
                    <a:pt x="2403" y="6125"/>
                    <a:pt x="2375" y="6182"/>
                  </a:cubicBezTo>
                  <a:cubicBezTo>
                    <a:pt x="2368" y="6239"/>
                    <a:pt x="2360" y="6297"/>
                    <a:pt x="2353" y="6353"/>
                  </a:cubicBezTo>
                  <a:cubicBezTo>
                    <a:pt x="2331" y="6400"/>
                    <a:pt x="2309" y="6448"/>
                    <a:pt x="2287" y="6495"/>
                  </a:cubicBezTo>
                  <a:cubicBezTo>
                    <a:pt x="2324" y="6542"/>
                    <a:pt x="2360" y="6591"/>
                    <a:pt x="2396" y="6637"/>
                  </a:cubicBezTo>
                  <a:cubicBezTo>
                    <a:pt x="2382" y="6685"/>
                    <a:pt x="2368" y="6733"/>
                    <a:pt x="2353" y="6780"/>
                  </a:cubicBezTo>
                  <a:lnTo>
                    <a:pt x="2244" y="6780"/>
                  </a:lnTo>
                  <a:lnTo>
                    <a:pt x="2177" y="6780"/>
                  </a:lnTo>
                  <a:lnTo>
                    <a:pt x="2177" y="6866"/>
                  </a:lnTo>
                  <a:lnTo>
                    <a:pt x="2287" y="6923"/>
                  </a:lnTo>
                  <a:cubicBezTo>
                    <a:pt x="2272" y="6971"/>
                    <a:pt x="2258" y="7018"/>
                    <a:pt x="2244" y="7066"/>
                  </a:cubicBezTo>
                  <a:cubicBezTo>
                    <a:pt x="2214" y="7093"/>
                    <a:pt x="2185" y="7123"/>
                    <a:pt x="2155" y="7151"/>
                  </a:cubicBezTo>
                  <a:cubicBezTo>
                    <a:pt x="2140" y="7208"/>
                    <a:pt x="2126" y="7265"/>
                    <a:pt x="2111" y="7322"/>
                  </a:cubicBezTo>
                  <a:lnTo>
                    <a:pt x="2111" y="7436"/>
                  </a:lnTo>
                  <a:cubicBezTo>
                    <a:pt x="2104" y="7502"/>
                    <a:pt x="2097" y="7569"/>
                    <a:pt x="2090" y="7635"/>
                  </a:cubicBezTo>
                  <a:cubicBezTo>
                    <a:pt x="2068" y="7702"/>
                    <a:pt x="2046" y="7767"/>
                    <a:pt x="2024" y="7835"/>
                  </a:cubicBezTo>
                  <a:cubicBezTo>
                    <a:pt x="2031" y="7901"/>
                    <a:pt x="2039" y="7968"/>
                    <a:pt x="2046" y="8033"/>
                  </a:cubicBezTo>
                  <a:cubicBezTo>
                    <a:pt x="2083" y="8071"/>
                    <a:pt x="2118" y="8110"/>
                    <a:pt x="2155" y="8148"/>
                  </a:cubicBezTo>
                  <a:cubicBezTo>
                    <a:pt x="2133" y="8167"/>
                    <a:pt x="2111" y="8185"/>
                    <a:pt x="2090" y="8204"/>
                  </a:cubicBezTo>
                  <a:lnTo>
                    <a:pt x="2090" y="8348"/>
                  </a:lnTo>
                  <a:cubicBezTo>
                    <a:pt x="2075" y="8386"/>
                    <a:pt x="2061" y="8424"/>
                    <a:pt x="2046" y="8462"/>
                  </a:cubicBezTo>
                  <a:cubicBezTo>
                    <a:pt x="2024" y="8490"/>
                    <a:pt x="2002" y="8519"/>
                    <a:pt x="1980" y="8547"/>
                  </a:cubicBezTo>
                  <a:cubicBezTo>
                    <a:pt x="1972" y="8604"/>
                    <a:pt x="1964" y="8661"/>
                    <a:pt x="1957" y="8718"/>
                  </a:cubicBezTo>
                  <a:cubicBezTo>
                    <a:pt x="1979" y="8775"/>
                    <a:pt x="2002" y="8832"/>
                    <a:pt x="2024" y="8889"/>
                  </a:cubicBezTo>
                  <a:cubicBezTo>
                    <a:pt x="2017" y="8926"/>
                    <a:pt x="2009" y="8965"/>
                    <a:pt x="2002" y="9003"/>
                  </a:cubicBezTo>
                  <a:lnTo>
                    <a:pt x="1870" y="9118"/>
                  </a:lnTo>
                  <a:cubicBezTo>
                    <a:pt x="1892" y="9174"/>
                    <a:pt x="1914" y="9231"/>
                    <a:pt x="1936" y="9288"/>
                  </a:cubicBezTo>
                  <a:cubicBezTo>
                    <a:pt x="1921" y="9326"/>
                    <a:pt x="1907" y="9363"/>
                    <a:pt x="1892" y="9402"/>
                  </a:cubicBezTo>
                  <a:cubicBezTo>
                    <a:pt x="1877" y="9449"/>
                    <a:pt x="1863" y="9497"/>
                    <a:pt x="1848" y="9544"/>
                  </a:cubicBezTo>
                  <a:lnTo>
                    <a:pt x="2090" y="9601"/>
                  </a:lnTo>
                  <a:cubicBezTo>
                    <a:pt x="2104" y="9658"/>
                    <a:pt x="2118" y="9715"/>
                    <a:pt x="2133" y="9771"/>
                  </a:cubicBezTo>
                  <a:cubicBezTo>
                    <a:pt x="2155" y="9801"/>
                    <a:pt x="2177" y="9829"/>
                    <a:pt x="2199" y="9858"/>
                  </a:cubicBezTo>
                  <a:lnTo>
                    <a:pt x="2199" y="9972"/>
                  </a:lnTo>
                  <a:lnTo>
                    <a:pt x="2331" y="9972"/>
                  </a:lnTo>
                  <a:lnTo>
                    <a:pt x="2507" y="10000"/>
                  </a:lnTo>
                  <a:lnTo>
                    <a:pt x="2681" y="10000"/>
                  </a:lnTo>
                  <a:lnTo>
                    <a:pt x="2834" y="9915"/>
                  </a:lnTo>
                  <a:lnTo>
                    <a:pt x="2987" y="9801"/>
                  </a:lnTo>
                  <a:cubicBezTo>
                    <a:pt x="2994" y="9734"/>
                    <a:pt x="3003" y="9669"/>
                    <a:pt x="3010" y="9601"/>
                  </a:cubicBezTo>
                  <a:cubicBezTo>
                    <a:pt x="3047" y="9535"/>
                    <a:pt x="3083" y="9468"/>
                    <a:pt x="3119" y="9402"/>
                  </a:cubicBezTo>
                  <a:lnTo>
                    <a:pt x="3339" y="9402"/>
                  </a:lnTo>
                  <a:cubicBezTo>
                    <a:pt x="3368" y="9421"/>
                    <a:pt x="3398" y="9439"/>
                    <a:pt x="3426" y="9458"/>
                  </a:cubicBezTo>
                  <a:lnTo>
                    <a:pt x="3601" y="9373"/>
                  </a:lnTo>
                  <a:cubicBezTo>
                    <a:pt x="3608" y="9326"/>
                    <a:pt x="3616" y="9278"/>
                    <a:pt x="3623" y="9232"/>
                  </a:cubicBezTo>
                  <a:lnTo>
                    <a:pt x="3864" y="9315"/>
                  </a:lnTo>
                  <a:cubicBezTo>
                    <a:pt x="3879" y="9278"/>
                    <a:pt x="3893" y="9240"/>
                    <a:pt x="3908" y="9202"/>
                  </a:cubicBezTo>
                  <a:lnTo>
                    <a:pt x="4149" y="9118"/>
                  </a:lnTo>
                  <a:lnTo>
                    <a:pt x="4149" y="8860"/>
                  </a:lnTo>
                  <a:cubicBezTo>
                    <a:pt x="4171" y="8802"/>
                    <a:pt x="4193" y="8746"/>
                    <a:pt x="4215" y="8689"/>
                  </a:cubicBezTo>
                  <a:lnTo>
                    <a:pt x="4369" y="8689"/>
                  </a:lnTo>
                  <a:cubicBezTo>
                    <a:pt x="4376" y="8765"/>
                    <a:pt x="4384" y="8841"/>
                    <a:pt x="4391" y="8917"/>
                  </a:cubicBezTo>
                  <a:cubicBezTo>
                    <a:pt x="4427" y="8946"/>
                    <a:pt x="4464" y="8974"/>
                    <a:pt x="4500" y="9003"/>
                  </a:cubicBezTo>
                  <a:cubicBezTo>
                    <a:pt x="4507" y="8955"/>
                    <a:pt x="4514" y="8907"/>
                    <a:pt x="4521" y="8860"/>
                  </a:cubicBezTo>
                  <a:lnTo>
                    <a:pt x="4653" y="8917"/>
                  </a:lnTo>
                  <a:cubicBezTo>
                    <a:pt x="4631" y="9012"/>
                    <a:pt x="4609" y="9108"/>
                    <a:pt x="4587" y="9202"/>
                  </a:cubicBezTo>
                  <a:lnTo>
                    <a:pt x="4521" y="9544"/>
                  </a:lnTo>
                  <a:cubicBezTo>
                    <a:pt x="4529" y="9639"/>
                    <a:pt x="4537" y="9734"/>
                    <a:pt x="4544" y="9829"/>
                  </a:cubicBezTo>
                  <a:lnTo>
                    <a:pt x="4718" y="9829"/>
                  </a:lnTo>
                  <a:cubicBezTo>
                    <a:pt x="4704" y="9744"/>
                    <a:pt x="4690" y="9658"/>
                    <a:pt x="4675" y="9573"/>
                  </a:cubicBezTo>
                  <a:cubicBezTo>
                    <a:pt x="4660" y="9544"/>
                    <a:pt x="4646" y="9516"/>
                    <a:pt x="4631" y="9486"/>
                  </a:cubicBezTo>
                  <a:cubicBezTo>
                    <a:pt x="4646" y="9449"/>
                    <a:pt x="4660" y="9411"/>
                    <a:pt x="4675" y="9373"/>
                  </a:cubicBezTo>
                  <a:cubicBezTo>
                    <a:pt x="4718" y="9402"/>
                    <a:pt x="4763" y="9430"/>
                    <a:pt x="4807" y="9458"/>
                  </a:cubicBezTo>
                  <a:cubicBezTo>
                    <a:pt x="4829" y="9411"/>
                    <a:pt x="4851" y="9363"/>
                    <a:pt x="4872" y="9315"/>
                  </a:cubicBezTo>
                  <a:cubicBezTo>
                    <a:pt x="4916" y="9278"/>
                    <a:pt x="4959" y="9240"/>
                    <a:pt x="5003" y="9202"/>
                  </a:cubicBezTo>
                  <a:lnTo>
                    <a:pt x="5136" y="9118"/>
                  </a:lnTo>
                  <a:cubicBezTo>
                    <a:pt x="5157" y="9069"/>
                    <a:pt x="5179" y="9022"/>
                    <a:pt x="5201" y="8975"/>
                  </a:cubicBezTo>
                  <a:cubicBezTo>
                    <a:pt x="5186" y="8907"/>
                    <a:pt x="5172" y="8841"/>
                    <a:pt x="5157" y="8775"/>
                  </a:cubicBezTo>
                  <a:cubicBezTo>
                    <a:pt x="5201" y="8727"/>
                    <a:pt x="5246" y="8680"/>
                    <a:pt x="5290" y="8632"/>
                  </a:cubicBezTo>
                  <a:cubicBezTo>
                    <a:pt x="5304" y="8566"/>
                    <a:pt x="5318" y="8498"/>
                    <a:pt x="5333" y="8433"/>
                  </a:cubicBezTo>
                  <a:lnTo>
                    <a:pt x="5333" y="8204"/>
                  </a:lnTo>
                  <a:lnTo>
                    <a:pt x="5464" y="8033"/>
                  </a:lnTo>
                  <a:cubicBezTo>
                    <a:pt x="5501" y="7986"/>
                    <a:pt x="5537" y="7938"/>
                    <a:pt x="5574" y="7891"/>
                  </a:cubicBezTo>
                  <a:cubicBezTo>
                    <a:pt x="5610" y="7844"/>
                    <a:pt x="5646" y="7796"/>
                    <a:pt x="5683" y="7749"/>
                  </a:cubicBezTo>
                  <a:cubicBezTo>
                    <a:pt x="5690" y="7672"/>
                    <a:pt x="5698" y="7597"/>
                    <a:pt x="5705" y="7521"/>
                  </a:cubicBezTo>
                  <a:cubicBezTo>
                    <a:pt x="5712" y="7474"/>
                    <a:pt x="5720" y="7426"/>
                    <a:pt x="5726" y="7379"/>
                  </a:cubicBezTo>
                  <a:lnTo>
                    <a:pt x="5924" y="7093"/>
                  </a:lnTo>
                  <a:cubicBezTo>
                    <a:pt x="5953" y="7018"/>
                    <a:pt x="5983" y="6942"/>
                    <a:pt x="6012" y="6866"/>
                  </a:cubicBezTo>
                  <a:cubicBezTo>
                    <a:pt x="6071" y="6819"/>
                    <a:pt x="6129" y="6771"/>
                    <a:pt x="6187" y="6724"/>
                  </a:cubicBezTo>
                  <a:cubicBezTo>
                    <a:pt x="6202" y="6591"/>
                    <a:pt x="6216" y="6458"/>
                    <a:pt x="6231" y="6325"/>
                  </a:cubicBezTo>
                  <a:lnTo>
                    <a:pt x="6494" y="6182"/>
                  </a:lnTo>
                  <a:lnTo>
                    <a:pt x="6713" y="6125"/>
                  </a:lnTo>
                  <a:lnTo>
                    <a:pt x="6998" y="6154"/>
                  </a:lnTo>
                  <a:cubicBezTo>
                    <a:pt x="7034" y="6182"/>
                    <a:pt x="7070" y="6211"/>
                    <a:pt x="7108" y="6239"/>
                  </a:cubicBezTo>
                  <a:lnTo>
                    <a:pt x="7371" y="6182"/>
                  </a:lnTo>
                  <a:cubicBezTo>
                    <a:pt x="7422" y="6220"/>
                    <a:pt x="7472" y="6259"/>
                    <a:pt x="7523" y="6297"/>
                  </a:cubicBezTo>
                  <a:lnTo>
                    <a:pt x="7808" y="6495"/>
                  </a:lnTo>
                  <a:cubicBezTo>
                    <a:pt x="7838" y="6542"/>
                    <a:pt x="7867" y="6590"/>
                    <a:pt x="7897" y="6637"/>
                  </a:cubicBezTo>
                  <a:cubicBezTo>
                    <a:pt x="7948" y="6590"/>
                    <a:pt x="7998" y="6542"/>
                    <a:pt x="8049" y="6495"/>
                  </a:cubicBezTo>
                  <a:cubicBezTo>
                    <a:pt x="8064" y="6542"/>
                    <a:pt x="8078" y="6591"/>
                    <a:pt x="8094" y="6637"/>
                  </a:cubicBezTo>
                  <a:cubicBezTo>
                    <a:pt x="8057" y="6704"/>
                    <a:pt x="8021" y="6771"/>
                    <a:pt x="7984" y="6838"/>
                  </a:cubicBezTo>
                  <a:cubicBezTo>
                    <a:pt x="7999" y="6895"/>
                    <a:pt x="8013" y="6951"/>
                    <a:pt x="8028" y="7009"/>
                  </a:cubicBezTo>
                  <a:cubicBezTo>
                    <a:pt x="8056" y="7066"/>
                    <a:pt x="8086" y="7122"/>
                    <a:pt x="8116" y="7179"/>
                  </a:cubicBezTo>
                  <a:cubicBezTo>
                    <a:pt x="8123" y="7265"/>
                    <a:pt x="8131" y="7350"/>
                    <a:pt x="8138" y="7436"/>
                  </a:cubicBezTo>
                  <a:lnTo>
                    <a:pt x="8334" y="7551"/>
                  </a:lnTo>
                  <a:lnTo>
                    <a:pt x="8553" y="7493"/>
                  </a:lnTo>
                  <a:lnTo>
                    <a:pt x="8553" y="7407"/>
                  </a:lnTo>
                  <a:cubicBezTo>
                    <a:pt x="8582" y="7417"/>
                    <a:pt x="8613" y="7426"/>
                    <a:pt x="8641" y="7436"/>
                  </a:cubicBezTo>
                  <a:lnTo>
                    <a:pt x="8772" y="7436"/>
                  </a:lnTo>
                  <a:cubicBezTo>
                    <a:pt x="8779" y="7369"/>
                    <a:pt x="8787" y="7303"/>
                    <a:pt x="8794" y="7236"/>
                  </a:cubicBezTo>
                  <a:lnTo>
                    <a:pt x="8948" y="7151"/>
                  </a:lnTo>
                  <a:lnTo>
                    <a:pt x="9146" y="7236"/>
                  </a:lnTo>
                  <a:cubicBezTo>
                    <a:pt x="9182" y="7256"/>
                    <a:pt x="9219" y="7274"/>
                    <a:pt x="9255" y="7293"/>
                  </a:cubicBezTo>
                  <a:lnTo>
                    <a:pt x="9409" y="7322"/>
                  </a:lnTo>
                  <a:cubicBezTo>
                    <a:pt x="9438" y="7332"/>
                    <a:pt x="9468" y="7340"/>
                    <a:pt x="9496" y="7350"/>
                  </a:cubicBezTo>
                  <a:cubicBezTo>
                    <a:pt x="9525" y="7398"/>
                    <a:pt x="9554" y="7445"/>
                    <a:pt x="9583" y="7493"/>
                  </a:cubicBezTo>
                  <a:cubicBezTo>
                    <a:pt x="9598" y="7540"/>
                    <a:pt x="9612" y="7588"/>
                    <a:pt x="9628" y="7635"/>
                  </a:cubicBezTo>
                  <a:cubicBezTo>
                    <a:pt x="9606" y="7693"/>
                    <a:pt x="9583" y="7749"/>
                    <a:pt x="9561" y="7806"/>
                  </a:cubicBezTo>
                  <a:cubicBezTo>
                    <a:pt x="9590" y="7835"/>
                    <a:pt x="9621" y="7863"/>
                    <a:pt x="9649" y="7891"/>
                  </a:cubicBezTo>
                  <a:lnTo>
                    <a:pt x="9802" y="7891"/>
                  </a:lnTo>
                  <a:lnTo>
                    <a:pt x="9802" y="8033"/>
                  </a:lnTo>
                  <a:cubicBezTo>
                    <a:pt x="9781" y="8071"/>
                    <a:pt x="9759" y="8110"/>
                    <a:pt x="9737" y="8148"/>
                  </a:cubicBezTo>
                  <a:cubicBezTo>
                    <a:pt x="9759" y="8224"/>
                    <a:pt x="9781" y="8299"/>
                    <a:pt x="9802" y="8375"/>
                  </a:cubicBezTo>
                  <a:lnTo>
                    <a:pt x="9913" y="8490"/>
                  </a:lnTo>
                  <a:cubicBezTo>
                    <a:pt x="9928" y="8538"/>
                    <a:pt x="9941" y="8585"/>
                    <a:pt x="9956" y="8632"/>
                  </a:cubicBezTo>
                  <a:cubicBezTo>
                    <a:pt x="9971" y="8699"/>
                    <a:pt x="9966" y="8752"/>
                    <a:pt x="9981" y="8819"/>
                  </a:cubicBezTo>
                </a:path>
              </a:pathLst>
            </a:custGeom>
            <a:noFill/>
            <a:ln w="317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none"/>
            <a:lstStyle/>
            <a:p>
              <a:pPr defTabSz="891045"/>
              <a:endParaRPr lang="en-US" sz="1700" dirty="0">
                <a:solidFill>
                  <a:srgbClr val="003149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345" name="Freeform 1049"/>
            <p:cNvSpPr>
              <a:spLocks noChangeAspect="1"/>
            </p:cNvSpPr>
            <p:nvPr>
              <p:custDataLst>
                <p:tags r:id="rId250"/>
              </p:custDataLst>
            </p:nvPr>
          </p:nvSpPr>
          <p:spPr bwMode="gray">
            <a:xfrm>
              <a:off x="19346073" y="10041209"/>
              <a:ext cx="374652" cy="527048"/>
            </a:xfrm>
            <a:custGeom>
              <a:avLst/>
              <a:gdLst>
                <a:gd name="T0" fmla="*/ 0 w 71"/>
                <a:gd name="T1" fmla="*/ 0 h 98"/>
                <a:gd name="T2" fmla="*/ 2147483647 w 71"/>
                <a:gd name="T3" fmla="*/ 2147483647 h 98"/>
                <a:gd name="T4" fmla="*/ 2147483647 w 71"/>
                <a:gd name="T5" fmla="*/ 2147483647 h 98"/>
                <a:gd name="T6" fmla="*/ 2147483647 w 71"/>
                <a:gd name="T7" fmla="*/ 2147483647 h 98"/>
                <a:gd name="T8" fmla="*/ 2147483647 w 71"/>
                <a:gd name="T9" fmla="*/ 2147483647 h 98"/>
                <a:gd name="T10" fmla="*/ 2147483647 w 71"/>
                <a:gd name="T11" fmla="*/ 2147483647 h 98"/>
                <a:gd name="T12" fmla="*/ 2147483647 w 71"/>
                <a:gd name="T13" fmla="*/ 2147483647 h 98"/>
                <a:gd name="T14" fmla="*/ 2147483647 w 71"/>
                <a:gd name="T15" fmla="*/ 2147483647 h 98"/>
                <a:gd name="T16" fmla="*/ 2147483647 w 71"/>
                <a:gd name="T17" fmla="*/ 2147483647 h 98"/>
                <a:gd name="T18" fmla="*/ 2147483647 w 71"/>
                <a:gd name="T19" fmla="*/ 2147483647 h 98"/>
                <a:gd name="T20" fmla="*/ 2147483647 w 71"/>
                <a:gd name="T21" fmla="*/ 2147483647 h 98"/>
                <a:gd name="T22" fmla="*/ 2147483647 w 71"/>
                <a:gd name="T23" fmla="*/ 2147483647 h 98"/>
                <a:gd name="T24" fmla="*/ 2147483647 w 71"/>
                <a:gd name="T25" fmla="*/ 2147483647 h 98"/>
                <a:gd name="T26" fmla="*/ 2147483647 w 71"/>
                <a:gd name="T27" fmla="*/ 2147483647 h 98"/>
                <a:gd name="T28" fmla="*/ 2147483647 w 71"/>
                <a:gd name="T29" fmla="*/ 2147483647 h 98"/>
                <a:gd name="T30" fmla="*/ 2147483647 w 71"/>
                <a:gd name="T31" fmla="*/ 2147483647 h 98"/>
                <a:gd name="T32" fmla="*/ 2147483647 w 71"/>
                <a:gd name="T33" fmla="*/ 2147483647 h 98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71"/>
                <a:gd name="T52" fmla="*/ 0 h 98"/>
                <a:gd name="T53" fmla="*/ 71 w 71"/>
                <a:gd name="T54" fmla="*/ 98 h 98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71" h="98">
                  <a:moveTo>
                    <a:pt x="0" y="0"/>
                  </a:moveTo>
                  <a:lnTo>
                    <a:pt x="6" y="4"/>
                  </a:lnTo>
                  <a:lnTo>
                    <a:pt x="11" y="8"/>
                  </a:lnTo>
                  <a:lnTo>
                    <a:pt x="14" y="14"/>
                  </a:lnTo>
                  <a:lnTo>
                    <a:pt x="19" y="23"/>
                  </a:lnTo>
                  <a:lnTo>
                    <a:pt x="24" y="35"/>
                  </a:lnTo>
                  <a:lnTo>
                    <a:pt x="26" y="50"/>
                  </a:lnTo>
                  <a:lnTo>
                    <a:pt x="31" y="54"/>
                  </a:lnTo>
                  <a:lnTo>
                    <a:pt x="32" y="63"/>
                  </a:lnTo>
                  <a:lnTo>
                    <a:pt x="39" y="63"/>
                  </a:lnTo>
                  <a:lnTo>
                    <a:pt x="44" y="57"/>
                  </a:lnTo>
                  <a:lnTo>
                    <a:pt x="47" y="63"/>
                  </a:lnTo>
                  <a:lnTo>
                    <a:pt x="49" y="70"/>
                  </a:lnTo>
                  <a:lnTo>
                    <a:pt x="58" y="77"/>
                  </a:lnTo>
                  <a:lnTo>
                    <a:pt x="60" y="83"/>
                  </a:lnTo>
                  <a:lnTo>
                    <a:pt x="63" y="92"/>
                  </a:lnTo>
                  <a:lnTo>
                    <a:pt x="71" y="98"/>
                  </a:lnTo>
                </a:path>
              </a:pathLst>
            </a:custGeom>
            <a:noFill/>
            <a:ln w="317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none" lIns="36000" tIns="36000" rIns="36000" bIns="36000" anchor="ctr"/>
            <a:lstStyle/>
            <a:p>
              <a:pPr defTabSz="891045"/>
              <a:endParaRPr lang="en-US" sz="1700" dirty="0">
                <a:solidFill>
                  <a:srgbClr val="003149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346" name="Freeform 748"/>
            <p:cNvSpPr>
              <a:spLocks noChangeAspect="1"/>
            </p:cNvSpPr>
            <p:nvPr>
              <p:custDataLst>
                <p:tags r:id="rId251"/>
              </p:custDataLst>
            </p:nvPr>
          </p:nvSpPr>
          <p:spPr bwMode="gray">
            <a:xfrm>
              <a:off x="16679079" y="5021527"/>
              <a:ext cx="184146" cy="422281"/>
            </a:xfrm>
            <a:custGeom>
              <a:avLst/>
              <a:gdLst>
                <a:gd name="T0" fmla="*/ 2147483647 w 5342"/>
                <a:gd name="T1" fmla="*/ 0 h 10635"/>
                <a:gd name="T2" fmla="*/ 2147483647 w 5342"/>
                <a:gd name="T3" fmla="*/ 2147483647 h 10635"/>
                <a:gd name="T4" fmla="*/ 2147483647 w 5342"/>
                <a:gd name="T5" fmla="*/ 2147483647 h 10635"/>
                <a:gd name="T6" fmla="*/ 2147483647 w 5342"/>
                <a:gd name="T7" fmla="*/ 2147483647 h 10635"/>
                <a:gd name="T8" fmla="*/ 2147483647 w 5342"/>
                <a:gd name="T9" fmla="*/ 2147483647 h 10635"/>
                <a:gd name="T10" fmla="*/ 2147483647 w 5342"/>
                <a:gd name="T11" fmla="*/ 2147483647 h 10635"/>
                <a:gd name="T12" fmla="*/ 2147483647 w 5342"/>
                <a:gd name="T13" fmla="*/ 2147483647 h 10635"/>
                <a:gd name="T14" fmla="*/ 2147483647 w 5342"/>
                <a:gd name="T15" fmla="*/ 2147483647 h 10635"/>
                <a:gd name="T16" fmla="*/ 0 w 5342"/>
                <a:gd name="T17" fmla="*/ 2147483647 h 10635"/>
                <a:gd name="T18" fmla="*/ 2147483647 w 5342"/>
                <a:gd name="T19" fmla="*/ 2147483647 h 10635"/>
                <a:gd name="T20" fmla="*/ 2147483647 w 5342"/>
                <a:gd name="T21" fmla="*/ 2147483647 h 10635"/>
                <a:gd name="T22" fmla="*/ 2147483647 w 5342"/>
                <a:gd name="T23" fmla="*/ 2147483647 h 10635"/>
                <a:gd name="T24" fmla="*/ 2147483647 w 5342"/>
                <a:gd name="T25" fmla="*/ 2147483647 h 10635"/>
                <a:gd name="T26" fmla="*/ 2147483647 w 5342"/>
                <a:gd name="T27" fmla="*/ 2147483647 h 10635"/>
                <a:gd name="T28" fmla="*/ 2147483647 w 5342"/>
                <a:gd name="T29" fmla="*/ 2147483647 h 10635"/>
                <a:gd name="T30" fmla="*/ 2147483647 w 5342"/>
                <a:gd name="T31" fmla="*/ 2147483647 h 10635"/>
                <a:gd name="T32" fmla="*/ 2147483647 w 5342"/>
                <a:gd name="T33" fmla="*/ 2147483647 h 10635"/>
                <a:gd name="T34" fmla="*/ 2147483647 w 5342"/>
                <a:gd name="T35" fmla="*/ 2147483647 h 10635"/>
                <a:gd name="T36" fmla="*/ 2147483647 w 5342"/>
                <a:gd name="T37" fmla="*/ 2147483647 h 10635"/>
                <a:gd name="T38" fmla="*/ 2147483647 w 5342"/>
                <a:gd name="T39" fmla="*/ 2147483647 h 10635"/>
                <a:gd name="T40" fmla="*/ 2147483647 w 5342"/>
                <a:gd name="T41" fmla="*/ 2147483647 h 10635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w 5342"/>
                <a:gd name="T64" fmla="*/ 0 h 10635"/>
                <a:gd name="T65" fmla="*/ 5342 w 5342"/>
                <a:gd name="T66" fmla="*/ 10635 h 10635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T63" t="T64" r="T65" b="T66"/>
              <a:pathLst>
                <a:path w="5342" h="10635">
                  <a:moveTo>
                    <a:pt x="2388" y="0"/>
                  </a:moveTo>
                  <a:lnTo>
                    <a:pt x="3142" y="635"/>
                  </a:lnTo>
                  <a:cubicBezTo>
                    <a:pt x="3194" y="810"/>
                    <a:pt x="3247" y="986"/>
                    <a:pt x="3299" y="1161"/>
                  </a:cubicBezTo>
                  <a:lnTo>
                    <a:pt x="2671" y="1293"/>
                  </a:lnTo>
                  <a:lnTo>
                    <a:pt x="2043" y="1556"/>
                  </a:lnTo>
                  <a:lnTo>
                    <a:pt x="1728" y="2477"/>
                  </a:lnTo>
                  <a:cubicBezTo>
                    <a:pt x="1676" y="2609"/>
                    <a:pt x="1623" y="2740"/>
                    <a:pt x="1571" y="2872"/>
                  </a:cubicBezTo>
                  <a:lnTo>
                    <a:pt x="628" y="3135"/>
                  </a:lnTo>
                  <a:lnTo>
                    <a:pt x="0" y="3530"/>
                  </a:lnTo>
                  <a:lnTo>
                    <a:pt x="1257" y="3661"/>
                  </a:lnTo>
                  <a:lnTo>
                    <a:pt x="1885" y="4056"/>
                  </a:lnTo>
                  <a:lnTo>
                    <a:pt x="1257" y="4319"/>
                  </a:lnTo>
                  <a:lnTo>
                    <a:pt x="1571" y="4845"/>
                  </a:lnTo>
                  <a:lnTo>
                    <a:pt x="2671" y="4451"/>
                  </a:lnTo>
                  <a:lnTo>
                    <a:pt x="2985" y="5503"/>
                  </a:lnTo>
                  <a:lnTo>
                    <a:pt x="2985" y="6293"/>
                  </a:lnTo>
                  <a:lnTo>
                    <a:pt x="2514" y="6293"/>
                  </a:lnTo>
                  <a:lnTo>
                    <a:pt x="2985" y="8398"/>
                  </a:lnTo>
                  <a:lnTo>
                    <a:pt x="3771" y="9582"/>
                  </a:lnTo>
                  <a:lnTo>
                    <a:pt x="5185" y="9977"/>
                  </a:lnTo>
                  <a:cubicBezTo>
                    <a:pt x="5237" y="10196"/>
                    <a:pt x="5290" y="10416"/>
                    <a:pt x="5342" y="10635"/>
                  </a:cubicBezTo>
                </a:path>
              </a:pathLst>
            </a:custGeom>
            <a:noFill/>
            <a:ln w="317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none" lIns="36000" tIns="36000" rIns="36000" bIns="36000" anchor="ctr"/>
            <a:lstStyle/>
            <a:p>
              <a:pPr defTabSz="891045"/>
              <a:endParaRPr lang="en-US" sz="1700" dirty="0">
                <a:solidFill>
                  <a:srgbClr val="003149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347" name="Freeform 800"/>
            <p:cNvSpPr>
              <a:spLocks noChangeAspect="1"/>
            </p:cNvSpPr>
            <p:nvPr>
              <p:custDataLst>
                <p:tags r:id="rId252"/>
              </p:custDataLst>
            </p:nvPr>
          </p:nvSpPr>
          <p:spPr bwMode="gray">
            <a:xfrm>
              <a:off x="16374273" y="5443809"/>
              <a:ext cx="787400" cy="1187448"/>
            </a:xfrm>
            <a:custGeom>
              <a:avLst/>
              <a:gdLst>
                <a:gd name="T0" fmla="*/ 2147483647 w 595"/>
                <a:gd name="T1" fmla="*/ 0 h 889"/>
                <a:gd name="T2" fmla="*/ 2147483647 w 595"/>
                <a:gd name="T3" fmla="*/ 2147483647 h 889"/>
                <a:gd name="T4" fmla="*/ 2147483647 w 595"/>
                <a:gd name="T5" fmla="*/ 2147483647 h 889"/>
                <a:gd name="T6" fmla="*/ 2147483647 w 595"/>
                <a:gd name="T7" fmla="*/ 2147483647 h 889"/>
                <a:gd name="T8" fmla="*/ 2147483647 w 595"/>
                <a:gd name="T9" fmla="*/ 2147483647 h 889"/>
                <a:gd name="T10" fmla="*/ 2147483647 w 595"/>
                <a:gd name="T11" fmla="*/ 2147483647 h 889"/>
                <a:gd name="T12" fmla="*/ 2147483647 w 595"/>
                <a:gd name="T13" fmla="*/ 2147483647 h 889"/>
                <a:gd name="T14" fmla="*/ 2147483647 w 595"/>
                <a:gd name="T15" fmla="*/ 2147483647 h 889"/>
                <a:gd name="T16" fmla="*/ 2147483647 w 595"/>
                <a:gd name="T17" fmla="*/ 2147483647 h 889"/>
                <a:gd name="T18" fmla="*/ 2147483647 w 595"/>
                <a:gd name="T19" fmla="*/ 2147483647 h 889"/>
                <a:gd name="T20" fmla="*/ 2147483647 w 595"/>
                <a:gd name="T21" fmla="*/ 2147483647 h 889"/>
                <a:gd name="T22" fmla="*/ 2147483647 w 595"/>
                <a:gd name="T23" fmla="*/ 2147483647 h 889"/>
                <a:gd name="T24" fmla="*/ 2147483647 w 595"/>
                <a:gd name="T25" fmla="*/ 2147483647 h 889"/>
                <a:gd name="T26" fmla="*/ 2147483647 w 595"/>
                <a:gd name="T27" fmla="*/ 2147483647 h 889"/>
                <a:gd name="T28" fmla="*/ 2147483647 w 595"/>
                <a:gd name="T29" fmla="*/ 2147483647 h 889"/>
                <a:gd name="T30" fmla="*/ 2147483647 w 595"/>
                <a:gd name="T31" fmla="*/ 2147483647 h 889"/>
                <a:gd name="T32" fmla="*/ 2147483647 w 595"/>
                <a:gd name="T33" fmla="*/ 2147483647 h 889"/>
                <a:gd name="T34" fmla="*/ 2147483647 w 595"/>
                <a:gd name="T35" fmla="*/ 2147483647 h 889"/>
                <a:gd name="T36" fmla="*/ 2147483647 w 595"/>
                <a:gd name="T37" fmla="*/ 2147483647 h 889"/>
                <a:gd name="T38" fmla="*/ 2147483647 w 595"/>
                <a:gd name="T39" fmla="*/ 2147483647 h 889"/>
                <a:gd name="T40" fmla="*/ 2147483647 w 595"/>
                <a:gd name="T41" fmla="*/ 2147483647 h 889"/>
                <a:gd name="T42" fmla="*/ 2147483647 w 595"/>
                <a:gd name="T43" fmla="*/ 2147483647 h 889"/>
                <a:gd name="T44" fmla="*/ 2147483647 w 595"/>
                <a:gd name="T45" fmla="*/ 2147483647 h 889"/>
                <a:gd name="T46" fmla="*/ 2147483647 w 595"/>
                <a:gd name="T47" fmla="*/ 2147483647 h 889"/>
                <a:gd name="T48" fmla="*/ 2147483647 w 595"/>
                <a:gd name="T49" fmla="*/ 2147483647 h 889"/>
                <a:gd name="T50" fmla="*/ 2147483647 w 595"/>
                <a:gd name="T51" fmla="*/ 2147483647 h 889"/>
                <a:gd name="T52" fmla="*/ 2147483647 w 595"/>
                <a:gd name="T53" fmla="*/ 2147483647 h 889"/>
                <a:gd name="T54" fmla="*/ 2147483647 w 595"/>
                <a:gd name="T55" fmla="*/ 2147483647 h 889"/>
                <a:gd name="T56" fmla="*/ 2147483647 w 595"/>
                <a:gd name="T57" fmla="*/ 2147483647 h 889"/>
                <a:gd name="T58" fmla="*/ 2147483647 w 595"/>
                <a:gd name="T59" fmla="*/ 2147483647 h 889"/>
                <a:gd name="T60" fmla="*/ 2147483647 w 595"/>
                <a:gd name="T61" fmla="*/ 2147483647 h 889"/>
                <a:gd name="T62" fmla="*/ 2147483647 w 595"/>
                <a:gd name="T63" fmla="*/ 2147483647 h 889"/>
                <a:gd name="T64" fmla="*/ 2147483647 w 595"/>
                <a:gd name="T65" fmla="*/ 2147483647 h 889"/>
                <a:gd name="T66" fmla="*/ 2147483647 w 595"/>
                <a:gd name="T67" fmla="*/ 2147483647 h 889"/>
                <a:gd name="T68" fmla="*/ 2147483647 w 595"/>
                <a:gd name="T69" fmla="*/ 2147483647 h 889"/>
                <a:gd name="T70" fmla="*/ 2147483647 w 595"/>
                <a:gd name="T71" fmla="*/ 2147483647 h 889"/>
                <a:gd name="T72" fmla="*/ 2147483647 w 595"/>
                <a:gd name="T73" fmla="*/ 2147483647 h 889"/>
                <a:gd name="T74" fmla="*/ 2147483647 w 595"/>
                <a:gd name="T75" fmla="*/ 2147483647 h 889"/>
                <a:gd name="T76" fmla="*/ 2147483647 w 595"/>
                <a:gd name="T77" fmla="*/ 2147483647 h 889"/>
                <a:gd name="T78" fmla="*/ 2147483647 w 595"/>
                <a:gd name="T79" fmla="*/ 2147483647 h 889"/>
                <a:gd name="T80" fmla="*/ 2147483647 w 595"/>
                <a:gd name="T81" fmla="*/ 2147483647 h 889"/>
                <a:gd name="T82" fmla="*/ 2147483647 w 595"/>
                <a:gd name="T83" fmla="*/ 2147483647 h 889"/>
                <a:gd name="T84" fmla="*/ 2147483647 w 595"/>
                <a:gd name="T85" fmla="*/ 2147483647 h 889"/>
                <a:gd name="T86" fmla="*/ 2147483647 w 595"/>
                <a:gd name="T87" fmla="*/ 2147483647 h 889"/>
                <a:gd name="T88" fmla="*/ 2147483647 w 595"/>
                <a:gd name="T89" fmla="*/ 2147483647 h 889"/>
                <a:gd name="T90" fmla="*/ 2147483647 w 595"/>
                <a:gd name="T91" fmla="*/ 2147483647 h 889"/>
                <a:gd name="T92" fmla="*/ 2147483647 w 595"/>
                <a:gd name="T93" fmla="*/ 2147483647 h 889"/>
                <a:gd name="T94" fmla="*/ 0 w 595"/>
                <a:gd name="T95" fmla="*/ 2147483647 h 889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595"/>
                <a:gd name="T145" fmla="*/ 0 h 889"/>
                <a:gd name="T146" fmla="*/ 595 w 595"/>
                <a:gd name="T147" fmla="*/ 889 h 889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595" h="889">
                  <a:moveTo>
                    <a:pt x="370" y="0"/>
                  </a:moveTo>
                  <a:lnTo>
                    <a:pt x="365" y="32"/>
                  </a:lnTo>
                  <a:lnTo>
                    <a:pt x="402" y="47"/>
                  </a:lnTo>
                  <a:lnTo>
                    <a:pt x="425" y="57"/>
                  </a:lnTo>
                  <a:lnTo>
                    <a:pt x="455" y="80"/>
                  </a:lnTo>
                  <a:lnTo>
                    <a:pt x="472" y="88"/>
                  </a:lnTo>
                  <a:lnTo>
                    <a:pt x="504" y="233"/>
                  </a:lnTo>
                  <a:lnTo>
                    <a:pt x="518" y="273"/>
                  </a:lnTo>
                  <a:lnTo>
                    <a:pt x="544" y="281"/>
                  </a:lnTo>
                  <a:lnTo>
                    <a:pt x="561" y="290"/>
                  </a:lnTo>
                  <a:lnTo>
                    <a:pt x="595" y="294"/>
                  </a:lnTo>
                  <a:lnTo>
                    <a:pt x="586" y="329"/>
                  </a:lnTo>
                  <a:lnTo>
                    <a:pt x="580" y="350"/>
                  </a:lnTo>
                  <a:lnTo>
                    <a:pt x="559" y="384"/>
                  </a:lnTo>
                  <a:lnTo>
                    <a:pt x="531" y="367"/>
                  </a:lnTo>
                  <a:lnTo>
                    <a:pt x="512" y="397"/>
                  </a:lnTo>
                  <a:lnTo>
                    <a:pt x="484" y="417"/>
                  </a:lnTo>
                  <a:lnTo>
                    <a:pt x="457" y="441"/>
                  </a:lnTo>
                  <a:lnTo>
                    <a:pt x="404" y="459"/>
                  </a:lnTo>
                  <a:lnTo>
                    <a:pt x="380" y="476"/>
                  </a:lnTo>
                  <a:lnTo>
                    <a:pt x="359" y="499"/>
                  </a:lnTo>
                  <a:lnTo>
                    <a:pt x="355" y="531"/>
                  </a:lnTo>
                  <a:lnTo>
                    <a:pt x="380" y="560"/>
                  </a:lnTo>
                  <a:lnTo>
                    <a:pt x="374" y="579"/>
                  </a:lnTo>
                  <a:lnTo>
                    <a:pt x="342" y="589"/>
                  </a:lnTo>
                  <a:lnTo>
                    <a:pt x="314" y="600"/>
                  </a:lnTo>
                  <a:lnTo>
                    <a:pt x="317" y="623"/>
                  </a:lnTo>
                  <a:lnTo>
                    <a:pt x="293" y="638"/>
                  </a:lnTo>
                  <a:lnTo>
                    <a:pt x="300" y="667"/>
                  </a:lnTo>
                  <a:lnTo>
                    <a:pt x="331" y="688"/>
                  </a:lnTo>
                  <a:lnTo>
                    <a:pt x="323" y="707"/>
                  </a:lnTo>
                  <a:lnTo>
                    <a:pt x="321" y="759"/>
                  </a:lnTo>
                  <a:lnTo>
                    <a:pt x="300" y="767"/>
                  </a:lnTo>
                  <a:lnTo>
                    <a:pt x="263" y="767"/>
                  </a:lnTo>
                  <a:lnTo>
                    <a:pt x="257" y="742"/>
                  </a:lnTo>
                  <a:lnTo>
                    <a:pt x="217" y="749"/>
                  </a:lnTo>
                  <a:lnTo>
                    <a:pt x="191" y="749"/>
                  </a:lnTo>
                  <a:lnTo>
                    <a:pt x="198" y="761"/>
                  </a:lnTo>
                  <a:lnTo>
                    <a:pt x="181" y="805"/>
                  </a:lnTo>
                  <a:lnTo>
                    <a:pt x="149" y="805"/>
                  </a:lnTo>
                  <a:lnTo>
                    <a:pt x="113" y="816"/>
                  </a:lnTo>
                  <a:lnTo>
                    <a:pt x="91" y="837"/>
                  </a:lnTo>
                  <a:lnTo>
                    <a:pt x="66" y="845"/>
                  </a:lnTo>
                  <a:lnTo>
                    <a:pt x="32" y="849"/>
                  </a:lnTo>
                  <a:lnTo>
                    <a:pt x="19" y="841"/>
                  </a:lnTo>
                  <a:lnTo>
                    <a:pt x="13" y="858"/>
                  </a:lnTo>
                  <a:lnTo>
                    <a:pt x="2" y="876"/>
                  </a:lnTo>
                  <a:lnTo>
                    <a:pt x="0" y="889"/>
                  </a:lnTo>
                </a:path>
              </a:pathLst>
            </a:custGeom>
            <a:noFill/>
            <a:ln w="317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none" lIns="36000" tIns="36000" rIns="36000" bIns="36000" anchor="ctr"/>
            <a:lstStyle/>
            <a:p>
              <a:pPr defTabSz="891045"/>
              <a:endParaRPr lang="en-US" sz="1700" dirty="0">
                <a:solidFill>
                  <a:srgbClr val="003149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348" name="Freeform 750"/>
            <p:cNvSpPr>
              <a:spLocks noChangeAspect="1"/>
            </p:cNvSpPr>
            <p:nvPr>
              <p:custDataLst>
                <p:tags r:id="rId253"/>
              </p:custDataLst>
            </p:nvPr>
          </p:nvSpPr>
          <p:spPr bwMode="gray">
            <a:xfrm>
              <a:off x="16355210" y="6636037"/>
              <a:ext cx="564403" cy="1798619"/>
            </a:xfrm>
            <a:custGeom>
              <a:avLst/>
              <a:gdLst>
                <a:gd name="T0" fmla="*/ 2147483647 w 9124"/>
                <a:gd name="T1" fmla="*/ 2147483647 h 10414"/>
                <a:gd name="T2" fmla="*/ 2147483647 w 9124"/>
                <a:gd name="T3" fmla="*/ 2147483647 h 10414"/>
                <a:gd name="T4" fmla="*/ 2147483647 w 9124"/>
                <a:gd name="T5" fmla="*/ 2147483647 h 10414"/>
                <a:gd name="T6" fmla="*/ 2147483647 w 9124"/>
                <a:gd name="T7" fmla="*/ 2147483647 h 10414"/>
                <a:gd name="T8" fmla="*/ 2147483647 w 9124"/>
                <a:gd name="T9" fmla="*/ 2147483647 h 10414"/>
                <a:gd name="T10" fmla="*/ 2147483647 w 9124"/>
                <a:gd name="T11" fmla="*/ 2147483647 h 10414"/>
                <a:gd name="T12" fmla="*/ 2147483647 w 9124"/>
                <a:gd name="T13" fmla="*/ 2147483647 h 10414"/>
                <a:gd name="T14" fmla="*/ 2147483647 w 9124"/>
                <a:gd name="T15" fmla="*/ 2147483647 h 10414"/>
                <a:gd name="T16" fmla="*/ 2147483647 w 9124"/>
                <a:gd name="T17" fmla="*/ 2147483647 h 10414"/>
                <a:gd name="T18" fmla="*/ 2147483647 w 9124"/>
                <a:gd name="T19" fmla="*/ 2147483647 h 10414"/>
                <a:gd name="T20" fmla="*/ 2147483647 w 9124"/>
                <a:gd name="T21" fmla="*/ 2147483647 h 10414"/>
                <a:gd name="T22" fmla="*/ 2147483647 w 9124"/>
                <a:gd name="T23" fmla="*/ 2147483647 h 10414"/>
                <a:gd name="T24" fmla="*/ 2147483647 w 9124"/>
                <a:gd name="T25" fmla="*/ 2147483647 h 10414"/>
                <a:gd name="T26" fmla="*/ 2147483647 w 9124"/>
                <a:gd name="T27" fmla="*/ 2147483647 h 10414"/>
                <a:gd name="T28" fmla="*/ 2147483647 w 9124"/>
                <a:gd name="T29" fmla="*/ 2147483647 h 10414"/>
                <a:gd name="T30" fmla="*/ 2147483647 w 9124"/>
                <a:gd name="T31" fmla="*/ 2147483647 h 10414"/>
                <a:gd name="T32" fmla="*/ 2147483647 w 9124"/>
                <a:gd name="T33" fmla="*/ 2147483647 h 10414"/>
                <a:gd name="T34" fmla="*/ 2147483647 w 9124"/>
                <a:gd name="T35" fmla="*/ 2147483647 h 10414"/>
                <a:gd name="T36" fmla="*/ 2147483647 w 9124"/>
                <a:gd name="T37" fmla="*/ 2147483647 h 10414"/>
                <a:gd name="T38" fmla="*/ 2147483647 w 9124"/>
                <a:gd name="T39" fmla="*/ 2147483647 h 10414"/>
                <a:gd name="T40" fmla="*/ 2147483647 w 9124"/>
                <a:gd name="T41" fmla="*/ 2147483647 h 10414"/>
                <a:gd name="T42" fmla="*/ 2147483647 w 9124"/>
                <a:gd name="T43" fmla="*/ 2147483647 h 10414"/>
                <a:gd name="T44" fmla="*/ 2147483647 w 9124"/>
                <a:gd name="T45" fmla="*/ 2147483647 h 10414"/>
                <a:gd name="T46" fmla="*/ 2147483647 w 9124"/>
                <a:gd name="T47" fmla="*/ 2147483647 h 10414"/>
                <a:gd name="T48" fmla="*/ 2147483647 w 9124"/>
                <a:gd name="T49" fmla="*/ 2147483647 h 10414"/>
                <a:gd name="T50" fmla="*/ 2147483647 w 9124"/>
                <a:gd name="T51" fmla="*/ 2147483647 h 10414"/>
                <a:gd name="T52" fmla="*/ 2147483647 w 9124"/>
                <a:gd name="T53" fmla="*/ 2147483647 h 10414"/>
                <a:gd name="T54" fmla="*/ 2147483647 w 9124"/>
                <a:gd name="T55" fmla="*/ 2147483647 h 10414"/>
                <a:gd name="T56" fmla="*/ 2147483647 w 9124"/>
                <a:gd name="T57" fmla="*/ 2147483647 h 10414"/>
                <a:gd name="T58" fmla="*/ 2147483647 w 9124"/>
                <a:gd name="T59" fmla="*/ 2147483647 h 10414"/>
                <a:gd name="T60" fmla="*/ 2147483647 w 9124"/>
                <a:gd name="T61" fmla="*/ 2147483647 h 10414"/>
                <a:gd name="T62" fmla="*/ 2147483647 w 9124"/>
                <a:gd name="T63" fmla="*/ 2147483647 h 10414"/>
                <a:gd name="T64" fmla="*/ 2147483647 w 9124"/>
                <a:gd name="T65" fmla="*/ 2147483647 h 10414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9124"/>
                <a:gd name="T100" fmla="*/ 0 h 10414"/>
                <a:gd name="T101" fmla="*/ 9124 w 9124"/>
                <a:gd name="T102" fmla="*/ 10414 h 10414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9124" h="10414">
                  <a:moveTo>
                    <a:pt x="394" y="0"/>
                  </a:moveTo>
                  <a:lnTo>
                    <a:pt x="1209" y="434"/>
                  </a:lnTo>
                  <a:lnTo>
                    <a:pt x="2418" y="1112"/>
                  </a:lnTo>
                  <a:cubicBezTo>
                    <a:pt x="2504" y="1564"/>
                    <a:pt x="2591" y="2015"/>
                    <a:pt x="2677" y="2467"/>
                  </a:cubicBezTo>
                  <a:cubicBezTo>
                    <a:pt x="2821" y="3052"/>
                    <a:pt x="2964" y="3638"/>
                    <a:pt x="3108" y="4223"/>
                  </a:cubicBezTo>
                  <a:lnTo>
                    <a:pt x="2850" y="4377"/>
                  </a:lnTo>
                  <a:lnTo>
                    <a:pt x="2246" y="4346"/>
                  </a:lnTo>
                  <a:lnTo>
                    <a:pt x="1899" y="4470"/>
                  </a:lnTo>
                  <a:lnTo>
                    <a:pt x="1382" y="4470"/>
                  </a:lnTo>
                  <a:cubicBezTo>
                    <a:pt x="1353" y="4542"/>
                    <a:pt x="1324" y="4613"/>
                    <a:pt x="1295" y="4685"/>
                  </a:cubicBezTo>
                  <a:lnTo>
                    <a:pt x="778" y="4839"/>
                  </a:lnTo>
                  <a:lnTo>
                    <a:pt x="431" y="4901"/>
                  </a:lnTo>
                  <a:lnTo>
                    <a:pt x="0" y="4962"/>
                  </a:lnTo>
                  <a:lnTo>
                    <a:pt x="431" y="5116"/>
                  </a:lnTo>
                  <a:lnTo>
                    <a:pt x="1382" y="5116"/>
                  </a:lnTo>
                  <a:lnTo>
                    <a:pt x="1554" y="5270"/>
                  </a:lnTo>
                  <a:lnTo>
                    <a:pt x="1468" y="5362"/>
                  </a:lnTo>
                  <a:lnTo>
                    <a:pt x="2073" y="5424"/>
                  </a:lnTo>
                  <a:lnTo>
                    <a:pt x="2418" y="5855"/>
                  </a:lnTo>
                  <a:cubicBezTo>
                    <a:pt x="2390" y="5927"/>
                    <a:pt x="2360" y="5999"/>
                    <a:pt x="2331" y="6071"/>
                  </a:cubicBezTo>
                  <a:lnTo>
                    <a:pt x="1987" y="6133"/>
                  </a:lnTo>
                  <a:cubicBezTo>
                    <a:pt x="2016" y="6174"/>
                    <a:pt x="2044" y="6215"/>
                    <a:pt x="2073" y="6256"/>
                  </a:cubicBezTo>
                  <a:lnTo>
                    <a:pt x="2246" y="6441"/>
                  </a:lnTo>
                  <a:lnTo>
                    <a:pt x="2591" y="6594"/>
                  </a:lnTo>
                  <a:lnTo>
                    <a:pt x="3195" y="6718"/>
                  </a:lnTo>
                  <a:cubicBezTo>
                    <a:pt x="3253" y="6841"/>
                    <a:pt x="3311" y="6964"/>
                    <a:pt x="3367" y="7087"/>
                  </a:cubicBezTo>
                  <a:cubicBezTo>
                    <a:pt x="3311" y="7170"/>
                    <a:pt x="3253" y="7251"/>
                    <a:pt x="3195" y="7334"/>
                  </a:cubicBezTo>
                  <a:lnTo>
                    <a:pt x="3541" y="7519"/>
                  </a:lnTo>
                  <a:lnTo>
                    <a:pt x="4404" y="7673"/>
                  </a:lnTo>
                  <a:lnTo>
                    <a:pt x="4663" y="7827"/>
                  </a:lnTo>
                  <a:lnTo>
                    <a:pt x="4663" y="8043"/>
                  </a:lnTo>
                  <a:lnTo>
                    <a:pt x="4230" y="8196"/>
                  </a:lnTo>
                  <a:lnTo>
                    <a:pt x="3799" y="8258"/>
                  </a:lnTo>
                  <a:cubicBezTo>
                    <a:pt x="3770" y="8309"/>
                    <a:pt x="3742" y="8361"/>
                    <a:pt x="3714" y="8412"/>
                  </a:cubicBezTo>
                  <a:lnTo>
                    <a:pt x="3714" y="8566"/>
                  </a:lnTo>
                  <a:lnTo>
                    <a:pt x="3367" y="8659"/>
                  </a:lnTo>
                  <a:lnTo>
                    <a:pt x="2850" y="8812"/>
                  </a:lnTo>
                  <a:lnTo>
                    <a:pt x="2418" y="8905"/>
                  </a:lnTo>
                  <a:cubicBezTo>
                    <a:pt x="2476" y="8956"/>
                    <a:pt x="2533" y="9008"/>
                    <a:pt x="2591" y="9059"/>
                  </a:cubicBezTo>
                  <a:lnTo>
                    <a:pt x="3195" y="9120"/>
                  </a:lnTo>
                  <a:cubicBezTo>
                    <a:pt x="3223" y="9182"/>
                    <a:pt x="3253" y="9243"/>
                    <a:pt x="3281" y="9305"/>
                  </a:cubicBezTo>
                  <a:lnTo>
                    <a:pt x="2850" y="9305"/>
                  </a:lnTo>
                  <a:lnTo>
                    <a:pt x="2504" y="9275"/>
                  </a:lnTo>
                  <a:lnTo>
                    <a:pt x="2677" y="9398"/>
                  </a:lnTo>
                  <a:lnTo>
                    <a:pt x="2418" y="9552"/>
                  </a:lnTo>
                  <a:lnTo>
                    <a:pt x="2418" y="9706"/>
                  </a:lnTo>
                  <a:lnTo>
                    <a:pt x="1899" y="9768"/>
                  </a:lnTo>
                  <a:lnTo>
                    <a:pt x="2073" y="9829"/>
                  </a:lnTo>
                  <a:lnTo>
                    <a:pt x="2504" y="10106"/>
                  </a:lnTo>
                  <a:lnTo>
                    <a:pt x="2850" y="9952"/>
                  </a:lnTo>
                  <a:lnTo>
                    <a:pt x="3195" y="10014"/>
                  </a:lnTo>
                  <a:lnTo>
                    <a:pt x="3195" y="10137"/>
                  </a:lnTo>
                  <a:lnTo>
                    <a:pt x="3714" y="10137"/>
                  </a:lnTo>
                  <a:lnTo>
                    <a:pt x="4318" y="10076"/>
                  </a:lnTo>
                  <a:cubicBezTo>
                    <a:pt x="4289" y="10035"/>
                    <a:pt x="4260" y="9993"/>
                    <a:pt x="4230" y="9952"/>
                  </a:cubicBezTo>
                  <a:lnTo>
                    <a:pt x="4663" y="9921"/>
                  </a:lnTo>
                  <a:lnTo>
                    <a:pt x="4922" y="10137"/>
                  </a:lnTo>
                  <a:lnTo>
                    <a:pt x="5613" y="10137"/>
                  </a:lnTo>
                  <a:lnTo>
                    <a:pt x="6217" y="10199"/>
                  </a:lnTo>
                  <a:lnTo>
                    <a:pt x="6648" y="10322"/>
                  </a:lnTo>
                  <a:lnTo>
                    <a:pt x="7081" y="10291"/>
                  </a:lnTo>
                  <a:lnTo>
                    <a:pt x="7512" y="10291"/>
                  </a:lnTo>
                  <a:lnTo>
                    <a:pt x="8116" y="10414"/>
                  </a:lnTo>
                  <a:lnTo>
                    <a:pt x="8462" y="10384"/>
                  </a:lnTo>
                  <a:lnTo>
                    <a:pt x="8808" y="10229"/>
                  </a:lnTo>
                  <a:cubicBezTo>
                    <a:pt x="8952" y="10219"/>
                    <a:pt x="8979" y="10238"/>
                    <a:pt x="9124" y="10227"/>
                  </a:cubicBezTo>
                </a:path>
              </a:pathLst>
            </a:custGeom>
            <a:noFill/>
            <a:ln w="317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none" lIns="36000" tIns="36000" rIns="36000" bIns="36000" anchor="ctr"/>
            <a:lstStyle/>
            <a:p>
              <a:pPr defTabSz="891045"/>
              <a:endParaRPr lang="en-US" sz="1700" dirty="0">
                <a:solidFill>
                  <a:srgbClr val="003149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349" name="Freeform 671"/>
            <p:cNvSpPr>
              <a:spLocks noChangeAspect="1"/>
            </p:cNvSpPr>
            <p:nvPr>
              <p:custDataLst>
                <p:tags r:id="rId254"/>
              </p:custDataLst>
            </p:nvPr>
          </p:nvSpPr>
          <p:spPr bwMode="gray">
            <a:xfrm>
              <a:off x="10614825" y="5627957"/>
              <a:ext cx="184148" cy="273052"/>
            </a:xfrm>
            <a:custGeom>
              <a:avLst/>
              <a:gdLst>
                <a:gd name="T0" fmla="*/ 0 w 100"/>
                <a:gd name="T1" fmla="*/ 2147483647 h 149"/>
                <a:gd name="T2" fmla="*/ 2147483647 w 100"/>
                <a:gd name="T3" fmla="*/ 2147483647 h 149"/>
                <a:gd name="T4" fmla="*/ 2147483647 w 100"/>
                <a:gd name="T5" fmla="*/ 2147483647 h 149"/>
                <a:gd name="T6" fmla="*/ 2147483647 w 100"/>
                <a:gd name="T7" fmla="*/ 2147483647 h 149"/>
                <a:gd name="T8" fmla="*/ 2147483647 w 100"/>
                <a:gd name="T9" fmla="*/ 2147483647 h 149"/>
                <a:gd name="T10" fmla="*/ 2147483647 w 100"/>
                <a:gd name="T11" fmla="*/ 2147483647 h 149"/>
                <a:gd name="T12" fmla="*/ 2147483647 w 100"/>
                <a:gd name="T13" fmla="*/ 2147483647 h 149"/>
                <a:gd name="T14" fmla="*/ 2147483647 w 100"/>
                <a:gd name="T15" fmla="*/ 2147483647 h 149"/>
                <a:gd name="T16" fmla="*/ 2147483647 w 100"/>
                <a:gd name="T17" fmla="*/ 2147483647 h 149"/>
                <a:gd name="T18" fmla="*/ 2147483647 w 100"/>
                <a:gd name="T19" fmla="*/ 2147483647 h 149"/>
                <a:gd name="T20" fmla="*/ 2147483647 w 100"/>
                <a:gd name="T21" fmla="*/ 2147483647 h 149"/>
                <a:gd name="T22" fmla="*/ 2147483647 w 100"/>
                <a:gd name="T23" fmla="*/ 0 h 149"/>
                <a:gd name="T24" fmla="*/ 2147483647 w 100"/>
                <a:gd name="T25" fmla="*/ 2147483647 h 149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100"/>
                <a:gd name="T40" fmla="*/ 0 h 149"/>
                <a:gd name="T41" fmla="*/ 100 w 100"/>
                <a:gd name="T42" fmla="*/ 149 h 149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100" h="149">
                  <a:moveTo>
                    <a:pt x="0" y="149"/>
                  </a:moveTo>
                  <a:lnTo>
                    <a:pt x="18" y="137"/>
                  </a:lnTo>
                  <a:lnTo>
                    <a:pt x="42" y="137"/>
                  </a:lnTo>
                  <a:lnTo>
                    <a:pt x="54" y="119"/>
                  </a:lnTo>
                  <a:lnTo>
                    <a:pt x="62" y="85"/>
                  </a:lnTo>
                  <a:lnTo>
                    <a:pt x="50" y="65"/>
                  </a:lnTo>
                  <a:lnTo>
                    <a:pt x="30" y="55"/>
                  </a:lnTo>
                  <a:lnTo>
                    <a:pt x="14" y="37"/>
                  </a:lnTo>
                  <a:lnTo>
                    <a:pt x="12" y="23"/>
                  </a:lnTo>
                  <a:lnTo>
                    <a:pt x="24" y="2"/>
                  </a:lnTo>
                  <a:lnTo>
                    <a:pt x="44" y="6"/>
                  </a:lnTo>
                  <a:lnTo>
                    <a:pt x="68" y="0"/>
                  </a:lnTo>
                  <a:lnTo>
                    <a:pt x="100" y="4"/>
                  </a:lnTo>
                </a:path>
              </a:pathLst>
            </a:custGeom>
            <a:noFill/>
            <a:ln w="317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sm" len="sm"/>
            </a:ln>
          </p:spPr>
          <p:txBody>
            <a:bodyPr wrap="none" lIns="36000" tIns="36000" rIns="36000" bIns="36000" anchor="ctr"/>
            <a:lstStyle/>
            <a:p>
              <a:pPr defTabSz="891045"/>
              <a:endParaRPr lang="en-US" sz="1700" dirty="0">
                <a:solidFill>
                  <a:srgbClr val="003149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350" name="Freeform 706"/>
            <p:cNvSpPr>
              <a:spLocks noChangeAspect="1"/>
            </p:cNvSpPr>
            <p:nvPr>
              <p:custDataLst>
                <p:tags r:id="rId255"/>
              </p:custDataLst>
            </p:nvPr>
          </p:nvSpPr>
          <p:spPr bwMode="gray">
            <a:xfrm>
              <a:off x="7579525" y="7215457"/>
              <a:ext cx="863600" cy="247652"/>
            </a:xfrm>
            <a:custGeom>
              <a:avLst/>
              <a:gdLst>
                <a:gd name="T0" fmla="*/ 0 w 241"/>
                <a:gd name="T1" fmla="*/ 2147483647 h 69"/>
                <a:gd name="T2" fmla="*/ 2147483647 w 241"/>
                <a:gd name="T3" fmla="*/ 2147483647 h 69"/>
                <a:gd name="T4" fmla="*/ 2147483647 w 241"/>
                <a:gd name="T5" fmla="*/ 2147483647 h 69"/>
                <a:gd name="T6" fmla="*/ 2147483647 w 241"/>
                <a:gd name="T7" fmla="*/ 2147483647 h 69"/>
                <a:gd name="T8" fmla="*/ 2147483647 w 241"/>
                <a:gd name="T9" fmla="*/ 0 h 69"/>
                <a:gd name="T10" fmla="*/ 2147483647 w 241"/>
                <a:gd name="T11" fmla="*/ 2147483647 h 69"/>
                <a:gd name="T12" fmla="*/ 2147483647 w 241"/>
                <a:gd name="T13" fmla="*/ 2147483647 h 69"/>
                <a:gd name="T14" fmla="*/ 2147483647 w 241"/>
                <a:gd name="T15" fmla="*/ 2147483647 h 69"/>
                <a:gd name="T16" fmla="*/ 2147483647 w 241"/>
                <a:gd name="T17" fmla="*/ 2147483647 h 69"/>
                <a:gd name="T18" fmla="*/ 2147483647 w 241"/>
                <a:gd name="T19" fmla="*/ 2147483647 h 69"/>
                <a:gd name="T20" fmla="*/ 2147483647 w 241"/>
                <a:gd name="T21" fmla="*/ 2147483647 h 69"/>
                <a:gd name="T22" fmla="*/ 2147483647 w 241"/>
                <a:gd name="T23" fmla="*/ 2147483647 h 69"/>
                <a:gd name="T24" fmla="*/ 2147483647 w 241"/>
                <a:gd name="T25" fmla="*/ 2147483647 h 69"/>
                <a:gd name="T26" fmla="*/ 2147483647 w 241"/>
                <a:gd name="T27" fmla="*/ 2147483647 h 69"/>
                <a:gd name="T28" fmla="*/ 2147483647 w 241"/>
                <a:gd name="T29" fmla="*/ 2147483647 h 69"/>
                <a:gd name="T30" fmla="*/ 2147483647 w 241"/>
                <a:gd name="T31" fmla="*/ 2147483647 h 69"/>
                <a:gd name="T32" fmla="*/ 2147483647 w 241"/>
                <a:gd name="T33" fmla="*/ 2147483647 h 69"/>
                <a:gd name="T34" fmla="*/ 2147483647 w 241"/>
                <a:gd name="T35" fmla="*/ 2147483647 h 69"/>
                <a:gd name="T36" fmla="*/ 2147483647 w 241"/>
                <a:gd name="T37" fmla="*/ 2147483647 h 69"/>
                <a:gd name="T38" fmla="*/ 2147483647 w 241"/>
                <a:gd name="T39" fmla="*/ 2147483647 h 69"/>
                <a:gd name="T40" fmla="*/ 2147483647 w 241"/>
                <a:gd name="T41" fmla="*/ 2147483647 h 69"/>
                <a:gd name="T42" fmla="*/ 2147483647 w 241"/>
                <a:gd name="T43" fmla="*/ 2147483647 h 69"/>
                <a:gd name="T44" fmla="*/ 2147483647 w 241"/>
                <a:gd name="T45" fmla="*/ 2147483647 h 69"/>
                <a:gd name="T46" fmla="*/ 2147483647 w 241"/>
                <a:gd name="T47" fmla="*/ 2147483647 h 69"/>
                <a:gd name="T48" fmla="*/ 2147483647 w 241"/>
                <a:gd name="T49" fmla="*/ 2147483647 h 69"/>
                <a:gd name="T50" fmla="*/ 2147483647 w 241"/>
                <a:gd name="T51" fmla="*/ 2147483647 h 69"/>
                <a:gd name="T52" fmla="*/ 2147483647 w 241"/>
                <a:gd name="T53" fmla="*/ 2147483647 h 69"/>
                <a:gd name="T54" fmla="*/ 2147483647 w 241"/>
                <a:gd name="T55" fmla="*/ 2147483647 h 69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w 241"/>
                <a:gd name="T85" fmla="*/ 0 h 69"/>
                <a:gd name="T86" fmla="*/ 241 w 241"/>
                <a:gd name="T87" fmla="*/ 69 h 69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T84" t="T85" r="T86" b="T87"/>
              <a:pathLst>
                <a:path w="241" h="69">
                  <a:moveTo>
                    <a:pt x="0" y="10"/>
                  </a:moveTo>
                  <a:lnTo>
                    <a:pt x="8" y="4"/>
                  </a:lnTo>
                  <a:lnTo>
                    <a:pt x="19" y="3"/>
                  </a:lnTo>
                  <a:lnTo>
                    <a:pt x="24" y="1"/>
                  </a:lnTo>
                  <a:lnTo>
                    <a:pt x="32" y="0"/>
                  </a:lnTo>
                  <a:lnTo>
                    <a:pt x="39" y="5"/>
                  </a:lnTo>
                  <a:lnTo>
                    <a:pt x="47" y="11"/>
                  </a:lnTo>
                  <a:lnTo>
                    <a:pt x="53" y="10"/>
                  </a:lnTo>
                  <a:lnTo>
                    <a:pt x="59" y="9"/>
                  </a:lnTo>
                  <a:lnTo>
                    <a:pt x="65" y="13"/>
                  </a:lnTo>
                  <a:lnTo>
                    <a:pt x="73" y="21"/>
                  </a:lnTo>
                  <a:lnTo>
                    <a:pt x="80" y="19"/>
                  </a:lnTo>
                  <a:lnTo>
                    <a:pt x="81" y="14"/>
                  </a:lnTo>
                  <a:lnTo>
                    <a:pt x="89" y="8"/>
                  </a:lnTo>
                  <a:lnTo>
                    <a:pt x="95" y="6"/>
                  </a:lnTo>
                  <a:lnTo>
                    <a:pt x="98" y="10"/>
                  </a:lnTo>
                  <a:lnTo>
                    <a:pt x="106" y="10"/>
                  </a:lnTo>
                  <a:lnTo>
                    <a:pt x="114" y="15"/>
                  </a:lnTo>
                  <a:lnTo>
                    <a:pt x="124" y="22"/>
                  </a:lnTo>
                  <a:lnTo>
                    <a:pt x="135" y="27"/>
                  </a:lnTo>
                  <a:lnTo>
                    <a:pt x="151" y="37"/>
                  </a:lnTo>
                  <a:lnTo>
                    <a:pt x="167" y="47"/>
                  </a:lnTo>
                  <a:lnTo>
                    <a:pt x="184" y="55"/>
                  </a:lnTo>
                  <a:lnTo>
                    <a:pt x="204" y="64"/>
                  </a:lnTo>
                  <a:lnTo>
                    <a:pt x="219" y="69"/>
                  </a:lnTo>
                  <a:lnTo>
                    <a:pt x="227" y="69"/>
                  </a:lnTo>
                  <a:lnTo>
                    <a:pt x="235" y="69"/>
                  </a:lnTo>
                  <a:lnTo>
                    <a:pt x="241" y="66"/>
                  </a:lnTo>
                </a:path>
              </a:pathLst>
            </a:custGeom>
            <a:noFill/>
            <a:ln w="317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sm" len="sm"/>
            </a:ln>
          </p:spPr>
          <p:txBody>
            <a:bodyPr wrap="none" lIns="36000" tIns="36000" rIns="36000" bIns="36000" anchor="ctr"/>
            <a:lstStyle/>
            <a:p>
              <a:pPr defTabSz="891045"/>
              <a:endParaRPr lang="en-US" sz="1700" dirty="0">
                <a:solidFill>
                  <a:srgbClr val="003149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351" name="Freeform 707"/>
            <p:cNvSpPr>
              <a:spLocks noChangeAspect="1"/>
            </p:cNvSpPr>
            <p:nvPr>
              <p:custDataLst>
                <p:tags r:id="rId256"/>
              </p:custDataLst>
            </p:nvPr>
          </p:nvSpPr>
          <p:spPr bwMode="gray">
            <a:xfrm>
              <a:off x="8473365" y="6510738"/>
              <a:ext cx="1041397" cy="868213"/>
            </a:xfrm>
            <a:custGeom>
              <a:avLst/>
              <a:gdLst>
                <a:gd name="T0" fmla="*/ 2147483647 w 9699"/>
                <a:gd name="T1" fmla="*/ 0 h 9882"/>
                <a:gd name="T2" fmla="*/ 2147483647 w 9699"/>
                <a:gd name="T3" fmla="*/ 2147483647 h 9882"/>
                <a:gd name="T4" fmla="*/ 2147483647 w 9699"/>
                <a:gd name="T5" fmla="*/ 2147483647 h 9882"/>
                <a:gd name="T6" fmla="*/ 2147483647 w 9699"/>
                <a:gd name="T7" fmla="*/ 2147483647 h 9882"/>
                <a:gd name="T8" fmla="*/ 2147483647 w 9699"/>
                <a:gd name="T9" fmla="*/ 2147483647 h 9882"/>
                <a:gd name="T10" fmla="*/ 2147483647 w 9699"/>
                <a:gd name="T11" fmla="*/ 2147483647 h 9882"/>
                <a:gd name="T12" fmla="*/ 2147483647 w 9699"/>
                <a:gd name="T13" fmla="*/ 2147483647 h 9882"/>
                <a:gd name="T14" fmla="*/ 2147483647 w 9699"/>
                <a:gd name="T15" fmla="*/ 2147483647 h 9882"/>
                <a:gd name="T16" fmla="*/ 2147483647 w 9699"/>
                <a:gd name="T17" fmla="*/ 2147483647 h 9882"/>
                <a:gd name="T18" fmla="*/ 2147483647 w 9699"/>
                <a:gd name="T19" fmla="*/ 2147483647 h 9882"/>
                <a:gd name="T20" fmla="*/ 2147483647 w 9699"/>
                <a:gd name="T21" fmla="*/ 2147483647 h 9882"/>
                <a:gd name="T22" fmla="*/ 2147483647 w 9699"/>
                <a:gd name="T23" fmla="*/ 2147483647 h 9882"/>
                <a:gd name="T24" fmla="*/ 2147483647 w 9699"/>
                <a:gd name="T25" fmla="*/ 2147483647 h 9882"/>
                <a:gd name="T26" fmla="*/ 2147483647 w 9699"/>
                <a:gd name="T27" fmla="*/ 2147483647 h 9882"/>
                <a:gd name="T28" fmla="*/ 2147483647 w 9699"/>
                <a:gd name="T29" fmla="*/ 2147483647 h 9882"/>
                <a:gd name="T30" fmla="*/ 2147483647 w 9699"/>
                <a:gd name="T31" fmla="*/ 2147483647 h 9882"/>
                <a:gd name="T32" fmla="*/ 2147483647 w 9699"/>
                <a:gd name="T33" fmla="*/ 2147483647 h 9882"/>
                <a:gd name="T34" fmla="*/ 2147483647 w 9699"/>
                <a:gd name="T35" fmla="*/ 2147483647 h 9882"/>
                <a:gd name="T36" fmla="*/ 2147483647 w 9699"/>
                <a:gd name="T37" fmla="*/ 2147483647 h 9882"/>
                <a:gd name="T38" fmla="*/ 2147483647 w 9699"/>
                <a:gd name="T39" fmla="*/ 2147483647 h 9882"/>
                <a:gd name="T40" fmla="*/ 2147483647 w 9699"/>
                <a:gd name="T41" fmla="*/ 2147483647 h 9882"/>
                <a:gd name="T42" fmla="*/ 2147483647 w 9699"/>
                <a:gd name="T43" fmla="*/ 2147483647 h 9882"/>
                <a:gd name="T44" fmla="*/ 2147483647 w 9699"/>
                <a:gd name="T45" fmla="*/ 2147483647 h 9882"/>
                <a:gd name="T46" fmla="*/ 2147483647 w 9699"/>
                <a:gd name="T47" fmla="*/ 2147483647 h 9882"/>
                <a:gd name="T48" fmla="*/ 2147483647 w 9699"/>
                <a:gd name="T49" fmla="*/ 2147483647 h 9882"/>
                <a:gd name="T50" fmla="*/ 2147483647 w 9699"/>
                <a:gd name="T51" fmla="*/ 2147483647 h 9882"/>
                <a:gd name="T52" fmla="*/ 2147483647 w 9699"/>
                <a:gd name="T53" fmla="*/ 2147483647 h 9882"/>
                <a:gd name="T54" fmla="*/ 2147483647 w 9699"/>
                <a:gd name="T55" fmla="*/ 2147483647 h 9882"/>
                <a:gd name="T56" fmla="*/ 2147483647 w 9699"/>
                <a:gd name="T57" fmla="*/ 2147483647 h 9882"/>
                <a:gd name="T58" fmla="*/ 2147483647 w 9699"/>
                <a:gd name="T59" fmla="*/ 2147483647 h 9882"/>
                <a:gd name="T60" fmla="*/ 0 w 9699"/>
                <a:gd name="T61" fmla="*/ 2147483647 h 9882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w 9699"/>
                <a:gd name="T94" fmla="*/ 0 h 9882"/>
                <a:gd name="T95" fmla="*/ 9699 w 9699"/>
                <a:gd name="T96" fmla="*/ 9882 h 9882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T93" t="T94" r="T95" b="T96"/>
              <a:pathLst>
                <a:path w="9699" h="9882">
                  <a:moveTo>
                    <a:pt x="9699" y="0"/>
                  </a:moveTo>
                  <a:lnTo>
                    <a:pt x="9299" y="244"/>
                  </a:lnTo>
                  <a:cubicBezTo>
                    <a:pt x="9205" y="326"/>
                    <a:pt x="9116" y="406"/>
                    <a:pt x="9028" y="488"/>
                  </a:cubicBezTo>
                  <a:cubicBezTo>
                    <a:pt x="8926" y="571"/>
                    <a:pt x="8829" y="655"/>
                    <a:pt x="8725" y="736"/>
                  </a:cubicBezTo>
                  <a:lnTo>
                    <a:pt x="8129" y="977"/>
                  </a:lnTo>
                  <a:lnTo>
                    <a:pt x="7588" y="1144"/>
                  </a:lnTo>
                  <a:cubicBezTo>
                    <a:pt x="7521" y="965"/>
                    <a:pt x="7460" y="788"/>
                    <a:pt x="7390" y="608"/>
                  </a:cubicBezTo>
                  <a:lnTo>
                    <a:pt x="7390" y="126"/>
                  </a:lnTo>
                  <a:lnTo>
                    <a:pt x="6892" y="126"/>
                  </a:lnTo>
                  <a:lnTo>
                    <a:pt x="6018" y="406"/>
                  </a:lnTo>
                  <a:cubicBezTo>
                    <a:pt x="5973" y="657"/>
                    <a:pt x="5933" y="902"/>
                    <a:pt x="5888" y="1144"/>
                  </a:cubicBezTo>
                  <a:lnTo>
                    <a:pt x="5488" y="1223"/>
                  </a:lnTo>
                  <a:cubicBezTo>
                    <a:pt x="5367" y="1487"/>
                    <a:pt x="5237" y="1742"/>
                    <a:pt x="5115" y="2000"/>
                  </a:cubicBezTo>
                  <a:cubicBezTo>
                    <a:pt x="5050" y="2124"/>
                    <a:pt x="4981" y="2246"/>
                    <a:pt x="4914" y="2368"/>
                  </a:cubicBezTo>
                  <a:cubicBezTo>
                    <a:pt x="4940" y="2559"/>
                    <a:pt x="4960" y="2749"/>
                    <a:pt x="4982" y="2940"/>
                  </a:cubicBezTo>
                  <a:lnTo>
                    <a:pt x="4380" y="3104"/>
                  </a:lnTo>
                  <a:lnTo>
                    <a:pt x="3913" y="3470"/>
                  </a:lnTo>
                  <a:lnTo>
                    <a:pt x="3575" y="3960"/>
                  </a:lnTo>
                  <a:cubicBezTo>
                    <a:pt x="3510" y="4085"/>
                    <a:pt x="3445" y="4206"/>
                    <a:pt x="3375" y="4323"/>
                  </a:cubicBezTo>
                  <a:cubicBezTo>
                    <a:pt x="3291" y="4519"/>
                    <a:pt x="3203" y="4711"/>
                    <a:pt x="3110" y="4897"/>
                  </a:cubicBezTo>
                  <a:lnTo>
                    <a:pt x="2774" y="5146"/>
                  </a:lnTo>
                  <a:cubicBezTo>
                    <a:pt x="2672" y="5305"/>
                    <a:pt x="2575" y="5470"/>
                    <a:pt x="2476" y="5635"/>
                  </a:cubicBezTo>
                  <a:lnTo>
                    <a:pt x="1808" y="6000"/>
                  </a:lnTo>
                  <a:lnTo>
                    <a:pt x="1808" y="6650"/>
                  </a:lnTo>
                  <a:cubicBezTo>
                    <a:pt x="1730" y="6764"/>
                    <a:pt x="1653" y="6873"/>
                    <a:pt x="1573" y="6982"/>
                  </a:cubicBezTo>
                  <a:cubicBezTo>
                    <a:pt x="1447" y="7117"/>
                    <a:pt x="1323" y="7251"/>
                    <a:pt x="1207" y="7391"/>
                  </a:cubicBezTo>
                  <a:cubicBezTo>
                    <a:pt x="1228" y="7591"/>
                    <a:pt x="1250" y="7796"/>
                    <a:pt x="1272" y="8002"/>
                  </a:cubicBezTo>
                  <a:cubicBezTo>
                    <a:pt x="1207" y="8121"/>
                    <a:pt x="1142" y="8249"/>
                    <a:pt x="1072" y="8368"/>
                  </a:cubicBezTo>
                  <a:lnTo>
                    <a:pt x="570" y="9064"/>
                  </a:lnTo>
                  <a:cubicBezTo>
                    <a:pt x="426" y="9282"/>
                    <a:pt x="282" y="9493"/>
                    <a:pt x="129" y="9713"/>
                  </a:cubicBezTo>
                  <a:cubicBezTo>
                    <a:pt x="88" y="9769"/>
                    <a:pt x="44" y="9827"/>
                    <a:pt x="0" y="9882"/>
                  </a:cubicBezTo>
                </a:path>
              </a:pathLst>
            </a:custGeom>
            <a:noFill/>
            <a:ln w="317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sm" len="sm"/>
            </a:ln>
          </p:spPr>
          <p:txBody>
            <a:bodyPr wrap="none" lIns="36000" tIns="36000" rIns="36000" bIns="36000" anchor="ctr"/>
            <a:lstStyle/>
            <a:p>
              <a:pPr defTabSz="891045"/>
              <a:endParaRPr lang="en-US" sz="1700" dirty="0">
                <a:solidFill>
                  <a:srgbClr val="003149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352" name="Freeform 721"/>
            <p:cNvSpPr>
              <a:spLocks noChangeAspect="1"/>
            </p:cNvSpPr>
            <p:nvPr>
              <p:custDataLst>
                <p:tags r:id="rId257"/>
              </p:custDataLst>
            </p:nvPr>
          </p:nvSpPr>
          <p:spPr bwMode="gray">
            <a:xfrm>
              <a:off x="9046373" y="9460976"/>
              <a:ext cx="1435100" cy="1073152"/>
            </a:xfrm>
            <a:custGeom>
              <a:avLst/>
              <a:gdLst>
                <a:gd name="T0" fmla="*/ 0 w 401"/>
                <a:gd name="T1" fmla="*/ 2147483647 h 299"/>
                <a:gd name="T2" fmla="*/ 2147483647 w 401"/>
                <a:gd name="T3" fmla="*/ 2147483647 h 299"/>
                <a:gd name="T4" fmla="*/ 2147483647 w 401"/>
                <a:gd name="T5" fmla="*/ 2147483647 h 299"/>
                <a:gd name="T6" fmla="*/ 2147483647 w 401"/>
                <a:gd name="T7" fmla="*/ 2147483647 h 299"/>
                <a:gd name="T8" fmla="*/ 2147483647 w 401"/>
                <a:gd name="T9" fmla="*/ 2147483647 h 299"/>
                <a:gd name="T10" fmla="*/ 2147483647 w 401"/>
                <a:gd name="T11" fmla="*/ 2147483647 h 299"/>
                <a:gd name="T12" fmla="*/ 2147483647 w 401"/>
                <a:gd name="T13" fmla="*/ 2147483647 h 299"/>
                <a:gd name="T14" fmla="*/ 2147483647 w 401"/>
                <a:gd name="T15" fmla="*/ 2147483647 h 299"/>
                <a:gd name="T16" fmla="*/ 2147483647 w 401"/>
                <a:gd name="T17" fmla="*/ 2147483647 h 299"/>
                <a:gd name="T18" fmla="*/ 2147483647 w 401"/>
                <a:gd name="T19" fmla="*/ 2147483647 h 299"/>
                <a:gd name="T20" fmla="*/ 2147483647 w 401"/>
                <a:gd name="T21" fmla="*/ 2147483647 h 299"/>
                <a:gd name="T22" fmla="*/ 2147483647 w 401"/>
                <a:gd name="T23" fmla="*/ 2147483647 h 299"/>
                <a:gd name="T24" fmla="*/ 2147483647 w 401"/>
                <a:gd name="T25" fmla="*/ 2147483647 h 299"/>
                <a:gd name="T26" fmla="*/ 2147483647 w 401"/>
                <a:gd name="T27" fmla="*/ 2147483647 h 299"/>
                <a:gd name="T28" fmla="*/ 2147483647 w 401"/>
                <a:gd name="T29" fmla="*/ 2147483647 h 299"/>
                <a:gd name="T30" fmla="*/ 2147483647 w 401"/>
                <a:gd name="T31" fmla="*/ 2147483647 h 299"/>
                <a:gd name="T32" fmla="*/ 2147483647 w 401"/>
                <a:gd name="T33" fmla="*/ 2147483647 h 299"/>
                <a:gd name="T34" fmla="*/ 2147483647 w 401"/>
                <a:gd name="T35" fmla="*/ 2147483647 h 299"/>
                <a:gd name="T36" fmla="*/ 2147483647 w 401"/>
                <a:gd name="T37" fmla="*/ 2147483647 h 299"/>
                <a:gd name="T38" fmla="*/ 2147483647 w 401"/>
                <a:gd name="T39" fmla="*/ 2147483647 h 299"/>
                <a:gd name="T40" fmla="*/ 2147483647 w 401"/>
                <a:gd name="T41" fmla="*/ 2147483647 h 299"/>
                <a:gd name="T42" fmla="*/ 2147483647 w 401"/>
                <a:gd name="T43" fmla="*/ 2147483647 h 299"/>
                <a:gd name="T44" fmla="*/ 2147483647 w 401"/>
                <a:gd name="T45" fmla="*/ 2147483647 h 299"/>
                <a:gd name="T46" fmla="*/ 2147483647 w 401"/>
                <a:gd name="T47" fmla="*/ 2147483647 h 299"/>
                <a:gd name="T48" fmla="*/ 2147483647 w 401"/>
                <a:gd name="T49" fmla="*/ 2147483647 h 299"/>
                <a:gd name="T50" fmla="*/ 2147483647 w 401"/>
                <a:gd name="T51" fmla="*/ 0 h 299"/>
                <a:gd name="T52" fmla="*/ 2147483647 w 401"/>
                <a:gd name="T53" fmla="*/ 2147483647 h 299"/>
                <a:gd name="T54" fmla="*/ 2147483647 w 401"/>
                <a:gd name="T55" fmla="*/ 2147483647 h 299"/>
                <a:gd name="T56" fmla="*/ 2147483647 w 401"/>
                <a:gd name="T57" fmla="*/ 2147483647 h 299"/>
                <a:gd name="T58" fmla="*/ 2147483647 w 401"/>
                <a:gd name="T59" fmla="*/ 2147483647 h 299"/>
                <a:gd name="T60" fmla="*/ 2147483647 w 401"/>
                <a:gd name="T61" fmla="*/ 2147483647 h 299"/>
                <a:gd name="T62" fmla="*/ 2147483647 w 401"/>
                <a:gd name="T63" fmla="*/ 2147483647 h 299"/>
                <a:gd name="T64" fmla="*/ 2147483647 w 401"/>
                <a:gd name="T65" fmla="*/ 2147483647 h 299"/>
                <a:gd name="T66" fmla="*/ 2147483647 w 401"/>
                <a:gd name="T67" fmla="*/ 2147483647 h 299"/>
                <a:gd name="T68" fmla="*/ 2147483647 w 401"/>
                <a:gd name="T69" fmla="*/ 2147483647 h 299"/>
                <a:gd name="T70" fmla="*/ 2147483647 w 401"/>
                <a:gd name="T71" fmla="*/ 2147483647 h 299"/>
                <a:gd name="T72" fmla="*/ 2147483647 w 401"/>
                <a:gd name="T73" fmla="*/ 2147483647 h 299"/>
                <a:gd name="T74" fmla="*/ 2147483647 w 401"/>
                <a:gd name="T75" fmla="*/ 2147483647 h 299"/>
                <a:gd name="T76" fmla="*/ 2147483647 w 401"/>
                <a:gd name="T77" fmla="*/ 2147483647 h 299"/>
                <a:gd name="T78" fmla="*/ 2147483647 w 401"/>
                <a:gd name="T79" fmla="*/ 2147483647 h 299"/>
                <a:gd name="T80" fmla="*/ 2147483647 w 401"/>
                <a:gd name="T81" fmla="*/ 2147483647 h 299"/>
                <a:gd name="T82" fmla="*/ 2147483647 w 401"/>
                <a:gd name="T83" fmla="*/ 2147483647 h 299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401"/>
                <a:gd name="T127" fmla="*/ 0 h 299"/>
                <a:gd name="T128" fmla="*/ 401 w 401"/>
                <a:gd name="T129" fmla="*/ 299 h 299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401" h="299">
                  <a:moveTo>
                    <a:pt x="0" y="299"/>
                  </a:moveTo>
                  <a:lnTo>
                    <a:pt x="13" y="283"/>
                  </a:lnTo>
                  <a:lnTo>
                    <a:pt x="21" y="271"/>
                  </a:lnTo>
                  <a:lnTo>
                    <a:pt x="32" y="259"/>
                  </a:lnTo>
                  <a:lnTo>
                    <a:pt x="37" y="246"/>
                  </a:lnTo>
                  <a:lnTo>
                    <a:pt x="55" y="237"/>
                  </a:lnTo>
                  <a:lnTo>
                    <a:pt x="74" y="232"/>
                  </a:lnTo>
                  <a:lnTo>
                    <a:pt x="72" y="204"/>
                  </a:lnTo>
                  <a:lnTo>
                    <a:pt x="73" y="190"/>
                  </a:lnTo>
                  <a:lnTo>
                    <a:pt x="84" y="186"/>
                  </a:lnTo>
                  <a:lnTo>
                    <a:pt x="110" y="176"/>
                  </a:lnTo>
                  <a:lnTo>
                    <a:pt x="126" y="169"/>
                  </a:lnTo>
                  <a:lnTo>
                    <a:pt x="135" y="167"/>
                  </a:lnTo>
                  <a:lnTo>
                    <a:pt x="138" y="155"/>
                  </a:lnTo>
                  <a:lnTo>
                    <a:pt x="134" y="145"/>
                  </a:lnTo>
                  <a:lnTo>
                    <a:pt x="125" y="139"/>
                  </a:lnTo>
                  <a:lnTo>
                    <a:pt x="122" y="116"/>
                  </a:lnTo>
                  <a:lnTo>
                    <a:pt x="117" y="104"/>
                  </a:lnTo>
                  <a:lnTo>
                    <a:pt x="101" y="104"/>
                  </a:lnTo>
                  <a:lnTo>
                    <a:pt x="94" y="83"/>
                  </a:lnTo>
                  <a:lnTo>
                    <a:pt x="104" y="67"/>
                  </a:lnTo>
                  <a:lnTo>
                    <a:pt x="122" y="57"/>
                  </a:lnTo>
                  <a:lnTo>
                    <a:pt x="128" y="42"/>
                  </a:lnTo>
                  <a:lnTo>
                    <a:pt x="133" y="27"/>
                  </a:lnTo>
                  <a:lnTo>
                    <a:pt x="141" y="13"/>
                  </a:lnTo>
                  <a:lnTo>
                    <a:pt x="163" y="0"/>
                  </a:lnTo>
                  <a:lnTo>
                    <a:pt x="177" y="1"/>
                  </a:lnTo>
                  <a:lnTo>
                    <a:pt x="186" y="11"/>
                  </a:lnTo>
                  <a:lnTo>
                    <a:pt x="186" y="25"/>
                  </a:lnTo>
                  <a:lnTo>
                    <a:pt x="181" y="30"/>
                  </a:lnTo>
                  <a:lnTo>
                    <a:pt x="184" y="43"/>
                  </a:lnTo>
                  <a:lnTo>
                    <a:pt x="217" y="54"/>
                  </a:lnTo>
                  <a:lnTo>
                    <a:pt x="256" y="70"/>
                  </a:lnTo>
                  <a:lnTo>
                    <a:pt x="269" y="79"/>
                  </a:lnTo>
                  <a:lnTo>
                    <a:pt x="286" y="81"/>
                  </a:lnTo>
                  <a:lnTo>
                    <a:pt x="293" y="88"/>
                  </a:lnTo>
                  <a:lnTo>
                    <a:pt x="313" y="95"/>
                  </a:lnTo>
                  <a:lnTo>
                    <a:pt x="325" y="102"/>
                  </a:lnTo>
                  <a:lnTo>
                    <a:pt x="343" y="111"/>
                  </a:lnTo>
                  <a:lnTo>
                    <a:pt x="359" y="106"/>
                  </a:lnTo>
                  <a:lnTo>
                    <a:pt x="395" y="121"/>
                  </a:lnTo>
                  <a:lnTo>
                    <a:pt x="401" y="123"/>
                  </a:lnTo>
                </a:path>
              </a:pathLst>
            </a:custGeom>
            <a:noFill/>
            <a:ln w="317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none" lIns="36000" tIns="36000" rIns="36000" bIns="36000" anchor="ctr"/>
            <a:lstStyle/>
            <a:p>
              <a:pPr defTabSz="891045"/>
              <a:endParaRPr lang="en-US" sz="1700" dirty="0">
                <a:solidFill>
                  <a:srgbClr val="003149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353" name="Freeform 722"/>
            <p:cNvSpPr>
              <a:spLocks noChangeAspect="1"/>
            </p:cNvSpPr>
            <p:nvPr>
              <p:custDataLst>
                <p:tags r:id="rId258"/>
              </p:custDataLst>
            </p:nvPr>
          </p:nvSpPr>
          <p:spPr bwMode="gray">
            <a:xfrm>
              <a:off x="10569600" y="9096646"/>
              <a:ext cx="1994674" cy="640545"/>
            </a:xfrm>
            <a:custGeom>
              <a:avLst/>
              <a:gdLst>
                <a:gd name="T0" fmla="*/ 0 w 9973"/>
                <a:gd name="T1" fmla="*/ 2147483647 h 9852"/>
                <a:gd name="T2" fmla="*/ 2147483647 w 9973"/>
                <a:gd name="T3" fmla="*/ 2147483647 h 9852"/>
                <a:gd name="T4" fmla="*/ 2147483647 w 9973"/>
                <a:gd name="T5" fmla="*/ 2147483647 h 9852"/>
                <a:gd name="T6" fmla="*/ 2147483647 w 9973"/>
                <a:gd name="T7" fmla="*/ 2147483647 h 9852"/>
                <a:gd name="T8" fmla="*/ 2147483647 w 9973"/>
                <a:gd name="T9" fmla="*/ 2147483647 h 9852"/>
                <a:gd name="T10" fmla="*/ 2147483647 w 9973"/>
                <a:gd name="T11" fmla="*/ 2147483647 h 9852"/>
                <a:gd name="T12" fmla="*/ 2147483647 w 9973"/>
                <a:gd name="T13" fmla="*/ 2147483647 h 9852"/>
                <a:gd name="T14" fmla="*/ 2147483647 w 9973"/>
                <a:gd name="T15" fmla="*/ 2147483647 h 9852"/>
                <a:gd name="T16" fmla="*/ 2147483647 w 9973"/>
                <a:gd name="T17" fmla="*/ 2147483647 h 9852"/>
                <a:gd name="T18" fmla="*/ 2147483647 w 9973"/>
                <a:gd name="T19" fmla="*/ 2147483647 h 9852"/>
                <a:gd name="T20" fmla="*/ 2147483647 w 9973"/>
                <a:gd name="T21" fmla="*/ 2147483647 h 9852"/>
                <a:gd name="T22" fmla="*/ 2147483647 w 9973"/>
                <a:gd name="T23" fmla="*/ 2147483647 h 9852"/>
                <a:gd name="T24" fmla="*/ 2147483647 w 9973"/>
                <a:gd name="T25" fmla="*/ 2147483647 h 9852"/>
                <a:gd name="T26" fmla="*/ 2147483647 w 9973"/>
                <a:gd name="T27" fmla="*/ 2147483647 h 9852"/>
                <a:gd name="T28" fmla="*/ 2147483647 w 9973"/>
                <a:gd name="T29" fmla="*/ 2147483647 h 9852"/>
                <a:gd name="T30" fmla="*/ 2147483647 w 9973"/>
                <a:gd name="T31" fmla="*/ 2147483647 h 9852"/>
                <a:gd name="T32" fmla="*/ 2147483647 w 9973"/>
                <a:gd name="T33" fmla="*/ 2147483647 h 9852"/>
                <a:gd name="T34" fmla="*/ 2147483647 w 9973"/>
                <a:gd name="T35" fmla="*/ 2147483647 h 9852"/>
                <a:gd name="T36" fmla="*/ 2147483647 w 9973"/>
                <a:gd name="T37" fmla="*/ 2147483647 h 9852"/>
                <a:gd name="T38" fmla="*/ 2147483647 w 9973"/>
                <a:gd name="T39" fmla="*/ 2147483647 h 9852"/>
                <a:gd name="T40" fmla="*/ 2147483647 w 9973"/>
                <a:gd name="T41" fmla="*/ 2147483647 h 9852"/>
                <a:gd name="T42" fmla="*/ 2147483647 w 9973"/>
                <a:gd name="T43" fmla="*/ 0 h 9852"/>
                <a:gd name="T44" fmla="*/ 2147483647 w 9973"/>
                <a:gd name="T45" fmla="*/ 2147483647 h 9852"/>
                <a:gd name="T46" fmla="*/ 2147483647 w 9973"/>
                <a:gd name="T47" fmla="*/ 2147483647 h 9852"/>
                <a:gd name="T48" fmla="*/ 2147483647 w 9973"/>
                <a:gd name="T49" fmla="*/ 2147483647 h 9852"/>
                <a:gd name="T50" fmla="*/ 2147483647 w 9973"/>
                <a:gd name="T51" fmla="*/ 2147483647 h 9852"/>
                <a:gd name="T52" fmla="*/ 2147483647 w 9973"/>
                <a:gd name="T53" fmla="*/ 2147483647 h 9852"/>
                <a:gd name="T54" fmla="*/ 2147483647 w 9973"/>
                <a:gd name="T55" fmla="*/ 2147483647 h 9852"/>
                <a:gd name="T56" fmla="*/ 2147483647 w 9973"/>
                <a:gd name="T57" fmla="*/ 2147483647 h 9852"/>
                <a:gd name="T58" fmla="*/ 2147483647 w 9973"/>
                <a:gd name="T59" fmla="*/ 2147483647 h 9852"/>
                <a:gd name="T60" fmla="*/ 2147483647 w 9973"/>
                <a:gd name="T61" fmla="*/ 2147483647 h 9852"/>
                <a:gd name="T62" fmla="*/ 2147483647 w 9973"/>
                <a:gd name="T63" fmla="*/ 2147483647 h 9852"/>
                <a:gd name="T64" fmla="*/ 2147483647 w 9973"/>
                <a:gd name="T65" fmla="*/ 2147483647 h 9852"/>
                <a:gd name="T66" fmla="*/ 2147483647 w 9973"/>
                <a:gd name="T67" fmla="*/ 2147483647 h 9852"/>
                <a:gd name="T68" fmla="*/ 2147483647 w 9973"/>
                <a:gd name="T69" fmla="*/ 2147483647 h 9852"/>
                <a:gd name="T70" fmla="*/ 2147483647 w 9973"/>
                <a:gd name="T71" fmla="*/ 2147483647 h 9852"/>
                <a:gd name="T72" fmla="*/ 2147483647 w 9973"/>
                <a:gd name="T73" fmla="*/ 2147483647 h 9852"/>
                <a:gd name="T74" fmla="*/ 2147483647 w 9973"/>
                <a:gd name="T75" fmla="*/ 2147483647 h 9852"/>
                <a:gd name="T76" fmla="*/ 2147483647 w 9973"/>
                <a:gd name="T77" fmla="*/ 2147483647 h 9852"/>
                <a:gd name="T78" fmla="*/ 2147483647 w 9973"/>
                <a:gd name="T79" fmla="*/ 2147483647 h 9852"/>
                <a:gd name="T80" fmla="*/ 2147483647 w 9973"/>
                <a:gd name="T81" fmla="*/ 2147483647 h 9852"/>
                <a:gd name="T82" fmla="*/ 2147483647 w 9973"/>
                <a:gd name="T83" fmla="*/ 2147483647 h 9852"/>
                <a:gd name="T84" fmla="*/ 2147483647 w 9973"/>
                <a:gd name="T85" fmla="*/ 2147483647 h 9852"/>
                <a:gd name="T86" fmla="*/ 2147483647 w 9973"/>
                <a:gd name="T87" fmla="*/ 2147483647 h 9852"/>
                <a:gd name="T88" fmla="*/ 2147483647 w 9973"/>
                <a:gd name="T89" fmla="*/ 2147483647 h 9852"/>
                <a:gd name="T90" fmla="*/ 2147483647 w 9973"/>
                <a:gd name="T91" fmla="*/ 2147483647 h 9852"/>
                <a:gd name="T92" fmla="*/ 2147483647 w 9973"/>
                <a:gd name="T93" fmla="*/ 2147483647 h 9852"/>
                <a:gd name="T94" fmla="*/ 2147483647 w 9973"/>
                <a:gd name="T95" fmla="*/ 2147483647 h 9852"/>
                <a:gd name="T96" fmla="*/ 2147483647 w 9973"/>
                <a:gd name="T97" fmla="*/ 2147483647 h 9852"/>
                <a:gd name="T98" fmla="*/ 2147483647 w 9973"/>
                <a:gd name="T99" fmla="*/ 2147483647 h 9852"/>
                <a:gd name="T100" fmla="*/ 2147483647 w 9973"/>
                <a:gd name="T101" fmla="*/ 2147483647 h 9852"/>
                <a:gd name="T102" fmla="*/ 2147483647 w 9973"/>
                <a:gd name="T103" fmla="*/ 2147483647 h 9852"/>
                <a:gd name="T104" fmla="*/ 2147483647 w 9973"/>
                <a:gd name="T105" fmla="*/ 2147483647 h 9852"/>
                <a:gd name="T106" fmla="*/ 2147483647 w 9973"/>
                <a:gd name="T107" fmla="*/ 2147483647 h 9852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9973"/>
                <a:gd name="T163" fmla="*/ 0 h 9852"/>
                <a:gd name="T164" fmla="*/ 9973 w 9973"/>
                <a:gd name="T165" fmla="*/ 9852 h 9852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9973" h="9852">
                  <a:moveTo>
                    <a:pt x="0" y="9852"/>
                  </a:moveTo>
                  <a:cubicBezTo>
                    <a:pt x="32" y="9772"/>
                    <a:pt x="65" y="9693"/>
                    <a:pt x="98" y="9611"/>
                  </a:cubicBezTo>
                  <a:lnTo>
                    <a:pt x="439" y="9274"/>
                  </a:lnTo>
                  <a:lnTo>
                    <a:pt x="798" y="8438"/>
                  </a:lnTo>
                  <a:lnTo>
                    <a:pt x="798" y="7654"/>
                  </a:lnTo>
                  <a:cubicBezTo>
                    <a:pt x="822" y="7486"/>
                    <a:pt x="846" y="7319"/>
                    <a:pt x="870" y="7151"/>
                  </a:cubicBezTo>
                  <a:lnTo>
                    <a:pt x="995" y="7151"/>
                  </a:lnTo>
                  <a:lnTo>
                    <a:pt x="1157" y="6873"/>
                  </a:lnTo>
                  <a:lnTo>
                    <a:pt x="1265" y="6481"/>
                  </a:lnTo>
                  <a:lnTo>
                    <a:pt x="1553" y="6202"/>
                  </a:lnTo>
                  <a:lnTo>
                    <a:pt x="1731" y="6147"/>
                  </a:lnTo>
                  <a:lnTo>
                    <a:pt x="1912" y="6370"/>
                  </a:lnTo>
                  <a:lnTo>
                    <a:pt x="2074" y="6090"/>
                  </a:lnTo>
                  <a:cubicBezTo>
                    <a:pt x="2146" y="5829"/>
                    <a:pt x="2217" y="5569"/>
                    <a:pt x="2289" y="5308"/>
                  </a:cubicBezTo>
                  <a:cubicBezTo>
                    <a:pt x="2313" y="4823"/>
                    <a:pt x="2337" y="4339"/>
                    <a:pt x="2361" y="3856"/>
                  </a:cubicBezTo>
                  <a:cubicBezTo>
                    <a:pt x="2409" y="3594"/>
                    <a:pt x="2456" y="3333"/>
                    <a:pt x="2504" y="3071"/>
                  </a:cubicBezTo>
                  <a:cubicBezTo>
                    <a:pt x="2570" y="2942"/>
                    <a:pt x="2635" y="2812"/>
                    <a:pt x="2701" y="2683"/>
                  </a:cubicBezTo>
                  <a:cubicBezTo>
                    <a:pt x="2713" y="2384"/>
                    <a:pt x="2725" y="2084"/>
                    <a:pt x="2738" y="1787"/>
                  </a:cubicBezTo>
                  <a:lnTo>
                    <a:pt x="2988" y="1620"/>
                  </a:lnTo>
                  <a:lnTo>
                    <a:pt x="3150" y="1396"/>
                  </a:lnTo>
                  <a:cubicBezTo>
                    <a:pt x="3180" y="1098"/>
                    <a:pt x="3210" y="800"/>
                    <a:pt x="3239" y="503"/>
                  </a:cubicBezTo>
                  <a:cubicBezTo>
                    <a:pt x="3305" y="334"/>
                    <a:pt x="3372" y="168"/>
                    <a:pt x="3437" y="0"/>
                  </a:cubicBezTo>
                  <a:lnTo>
                    <a:pt x="3671" y="391"/>
                  </a:lnTo>
                  <a:lnTo>
                    <a:pt x="3975" y="613"/>
                  </a:lnTo>
                  <a:cubicBezTo>
                    <a:pt x="4036" y="780"/>
                    <a:pt x="4095" y="949"/>
                    <a:pt x="4156" y="1117"/>
                  </a:cubicBezTo>
                  <a:lnTo>
                    <a:pt x="4390" y="1285"/>
                  </a:lnTo>
                  <a:lnTo>
                    <a:pt x="4588" y="1452"/>
                  </a:lnTo>
                  <a:lnTo>
                    <a:pt x="4802" y="1452"/>
                  </a:lnTo>
                  <a:lnTo>
                    <a:pt x="4928" y="1564"/>
                  </a:lnTo>
                  <a:lnTo>
                    <a:pt x="5054" y="1564"/>
                  </a:lnTo>
                  <a:lnTo>
                    <a:pt x="5161" y="1675"/>
                  </a:lnTo>
                  <a:lnTo>
                    <a:pt x="5341" y="1787"/>
                  </a:lnTo>
                  <a:cubicBezTo>
                    <a:pt x="5352" y="2142"/>
                    <a:pt x="5365" y="2495"/>
                    <a:pt x="5377" y="2849"/>
                  </a:cubicBezTo>
                  <a:lnTo>
                    <a:pt x="5647" y="2961"/>
                  </a:lnTo>
                  <a:lnTo>
                    <a:pt x="5968" y="3354"/>
                  </a:lnTo>
                  <a:cubicBezTo>
                    <a:pt x="6029" y="3297"/>
                    <a:pt x="6088" y="3240"/>
                    <a:pt x="6149" y="3185"/>
                  </a:cubicBezTo>
                  <a:lnTo>
                    <a:pt x="6400" y="3071"/>
                  </a:lnTo>
                  <a:lnTo>
                    <a:pt x="6544" y="3242"/>
                  </a:lnTo>
                  <a:lnTo>
                    <a:pt x="6777" y="3131"/>
                  </a:lnTo>
                  <a:lnTo>
                    <a:pt x="6993" y="3742"/>
                  </a:lnTo>
                  <a:lnTo>
                    <a:pt x="6993" y="4245"/>
                  </a:lnTo>
                  <a:cubicBezTo>
                    <a:pt x="7047" y="4357"/>
                    <a:pt x="7100" y="4470"/>
                    <a:pt x="7154" y="4582"/>
                  </a:cubicBezTo>
                  <a:lnTo>
                    <a:pt x="7459" y="4582"/>
                  </a:lnTo>
                  <a:lnTo>
                    <a:pt x="7711" y="5196"/>
                  </a:lnTo>
                  <a:cubicBezTo>
                    <a:pt x="7746" y="5326"/>
                    <a:pt x="7783" y="5457"/>
                    <a:pt x="7818" y="5587"/>
                  </a:cubicBezTo>
                  <a:lnTo>
                    <a:pt x="8069" y="5699"/>
                  </a:lnTo>
                  <a:cubicBezTo>
                    <a:pt x="8081" y="5438"/>
                    <a:pt x="8094" y="5178"/>
                    <a:pt x="8106" y="4916"/>
                  </a:cubicBezTo>
                  <a:cubicBezTo>
                    <a:pt x="8184" y="4787"/>
                    <a:pt x="8261" y="4656"/>
                    <a:pt x="8339" y="4527"/>
                  </a:cubicBezTo>
                  <a:lnTo>
                    <a:pt x="8716" y="3799"/>
                  </a:lnTo>
                  <a:lnTo>
                    <a:pt x="9003" y="3577"/>
                  </a:lnTo>
                  <a:lnTo>
                    <a:pt x="9309" y="3799"/>
                  </a:lnTo>
                  <a:cubicBezTo>
                    <a:pt x="9368" y="4117"/>
                    <a:pt x="9429" y="4433"/>
                    <a:pt x="9488" y="4751"/>
                  </a:cubicBezTo>
                  <a:cubicBezTo>
                    <a:pt x="9549" y="4899"/>
                    <a:pt x="9607" y="5046"/>
                    <a:pt x="9667" y="5196"/>
                  </a:cubicBezTo>
                  <a:lnTo>
                    <a:pt x="9973" y="5196"/>
                  </a:lnTo>
                </a:path>
              </a:pathLst>
            </a:custGeom>
            <a:noFill/>
            <a:ln w="317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none" lIns="36000" tIns="36000" rIns="36000" bIns="36000" anchor="ctr"/>
            <a:lstStyle/>
            <a:p>
              <a:pPr defTabSz="891045"/>
              <a:endParaRPr lang="en-US" sz="1700" dirty="0">
                <a:solidFill>
                  <a:srgbClr val="003149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354" name="Freeform 749"/>
            <p:cNvSpPr>
              <a:spLocks noChangeAspect="1"/>
            </p:cNvSpPr>
            <p:nvPr>
              <p:custDataLst>
                <p:tags r:id="rId259"/>
              </p:custDataLst>
            </p:nvPr>
          </p:nvSpPr>
          <p:spPr bwMode="gray">
            <a:xfrm>
              <a:off x="12564271" y="8989424"/>
              <a:ext cx="357687" cy="442198"/>
            </a:xfrm>
            <a:custGeom>
              <a:avLst/>
              <a:gdLst>
                <a:gd name="T0" fmla="*/ 0 w 10000"/>
                <a:gd name="T1" fmla="*/ 2147483647 h 9472"/>
                <a:gd name="T2" fmla="*/ 2147483647 w 10000"/>
                <a:gd name="T3" fmla="*/ 2147483647 h 9472"/>
                <a:gd name="T4" fmla="*/ 2147483647 w 10000"/>
                <a:gd name="T5" fmla="*/ 2147483647 h 9472"/>
                <a:gd name="T6" fmla="*/ 2147483647 w 10000"/>
                <a:gd name="T7" fmla="*/ 2147483647 h 9472"/>
                <a:gd name="T8" fmla="*/ 2147483647 w 10000"/>
                <a:gd name="T9" fmla="*/ 2147483647 h 9472"/>
                <a:gd name="T10" fmla="*/ 2147483647 w 10000"/>
                <a:gd name="T11" fmla="*/ 2147483647 h 9472"/>
                <a:gd name="T12" fmla="*/ 2147483647 w 10000"/>
                <a:gd name="T13" fmla="*/ 2147483647 h 9472"/>
                <a:gd name="T14" fmla="*/ 2147483647 w 10000"/>
                <a:gd name="T15" fmla="*/ 2147483647 h 9472"/>
                <a:gd name="T16" fmla="*/ 2147483647 w 10000"/>
                <a:gd name="T17" fmla="*/ 2147483647 h 9472"/>
                <a:gd name="T18" fmla="*/ 2147483647 w 10000"/>
                <a:gd name="T19" fmla="*/ 2147483647 h 9472"/>
                <a:gd name="T20" fmla="*/ 2147483647 w 10000"/>
                <a:gd name="T21" fmla="*/ 2147483647 h 9472"/>
                <a:gd name="T22" fmla="*/ 2147483647 w 10000"/>
                <a:gd name="T23" fmla="*/ 2147483647 h 9472"/>
                <a:gd name="T24" fmla="*/ 2147483647 w 10000"/>
                <a:gd name="T25" fmla="*/ 2147483647 h 9472"/>
                <a:gd name="T26" fmla="*/ 2147483647 w 10000"/>
                <a:gd name="T27" fmla="*/ 2147483647 h 9472"/>
                <a:gd name="T28" fmla="*/ 2147483647 w 10000"/>
                <a:gd name="T29" fmla="*/ 2147483647 h 9472"/>
                <a:gd name="T30" fmla="*/ 2147483647 w 10000"/>
                <a:gd name="T31" fmla="*/ 2147483647 h 9472"/>
                <a:gd name="T32" fmla="*/ 2147483647 w 10000"/>
                <a:gd name="T33" fmla="*/ 2147483647 h 9472"/>
                <a:gd name="T34" fmla="*/ 2147483647 w 10000"/>
                <a:gd name="T35" fmla="*/ 2147483647 h 9472"/>
                <a:gd name="T36" fmla="*/ 2147483647 w 10000"/>
                <a:gd name="T37" fmla="*/ 0 h 9472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10000"/>
                <a:gd name="T58" fmla="*/ 0 h 9472"/>
                <a:gd name="T59" fmla="*/ 10000 w 10000"/>
                <a:gd name="T60" fmla="*/ 9472 h 9472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10000" h="9472">
                  <a:moveTo>
                    <a:pt x="0" y="9472"/>
                  </a:moveTo>
                  <a:lnTo>
                    <a:pt x="2236" y="9007"/>
                  </a:lnTo>
                  <a:lnTo>
                    <a:pt x="4662" y="8250"/>
                  </a:lnTo>
                  <a:lnTo>
                    <a:pt x="7277" y="7619"/>
                  </a:lnTo>
                  <a:lnTo>
                    <a:pt x="7986" y="7619"/>
                  </a:lnTo>
                  <a:lnTo>
                    <a:pt x="7986" y="6743"/>
                  </a:lnTo>
                  <a:lnTo>
                    <a:pt x="8693" y="6079"/>
                  </a:lnTo>
                  <a:lnTo>
                    <a:pt x="10000" y="5986"/>
                  </a:lnTo>
                  <a:cubicBezTo>
                    <a:pt x="9962" y="5797"/>
                    <a:pt x="9926" y="5586"/>
                    <a:pt x="9888" y="5401"/>
                  </a:cubicBezTo>
                  <a:lnTo>
                    <a:pt x="8769" y="5176"/>
                  </a:lnTo>
                  <a:lnTo>
                    <a:pt x="8471" y="4724"/>
                  </a:lnTo>
                  <a:lnTo>
                    <a:pt x="7574" y="4315"/>
                  </a:lnTo>
                  <a:lnTo>
                    <a:pt x="6380" y="3671"/>
                  </a:lnTo>
                  <a:lnTo>
                    <a:pt x="6380" y="3175"/>
                  </a:lnTo>
                  <a:lnTo>
                    <a:pt x="5448" y="2917"/>
                  </a:lnTo>
                  <a:lnTo>
                    <a:pt x="4662" y="2917"/>
                  </a:lnTo>
                  <a:lnTo>
                    <a:pt x="3954" y="2087"/>
                  </a:lnTo>
                  <a:lnTo>
                    <a:pt x="3954" y="923"/>
                  </a:lnTo>
                  <a:cubicBezTo>
                    <a:pt x="3979" y="623"/>
                    <a:pt x="4006" y="320"/>
                    <a:pt x="4029" y="0"/>
                  </a:cubicBezTo>
                </a:path>
              </a:pathLst>
            </a:custGeom>
            <a:noFill/>
            <a:ln w="317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none" lIns="36000" tIns="36000" rIns="36000" bIns="36000" anchor="ctr"/>
            <a:lstStyle/>
            <a:p>
              <a:pPr defTabSz="891045"/>
              <a:endParaRPr lang="en-US" sz="1700" dirty="0">
                <a:solidFill>
                  <a:srgbClr val="003149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355" name="Freeform 1048"/>
            <p:cNvSpPr>
              <a:spLocks noChangeAspect="1"/>
            </p:cNvSpPr>
            <p:nvPr>
              <p:custDataLst>
                <p:tags r:id="rId260"/>
              </p:custDataLst>
            </p:nvPr>
          </p:nvSpPr>
          <p:spPr bwMode="gray">
            <a:xfrm>
              <a:off x="7027072" y="6929709"/>
              <a:ext cx="553213" cy="323058"/>
            </a:xfrm>
            <a:custGeom>
              <a:avLst/>
              <a:gdLst>
                <a:gd name="T0" fmla="*/ 2147483647 w 10357"/>
                <a:gd name="T1" fmla="*/ 2147483647 h 10627"/>
                <a:gd name="T2" fmla="*/ 2147483647 w 10357"/>
                <a:gd name="T3" fmla="*/ 2147483647 h 10627"/>
                <a:gd name="T4" fmla="*/ 2147483647 w 10357"/>
                <a:gd name="T5" fmla="*/ 2147483647 h 10627"/>
                <a:gd name="T6" fmla="*/ 2147483647 w 10357"/>
                <a:gd name="T7" fmla="*/ 2147483647 h 10627"/>
                <a:gd name="T8" fmla="*/ 2147483647 w 10357"/>
                <a:gd name="T9" fmla="*/ 2147483647 h 10627"/>
                <a:gd name="T10" fmla="*/ 2147483647 w 10357"/>
                <a:gd name="T11" fmla="*/ 2147483647 h 10627"/>
                <a:gd name="T12" fmla="*/ 2147483647 w 10357"/>
                <a:gd name="T13" fmla="*/ 2147483647 h 10627"/>
                <a:gd name="T14" fmla="*/ 2147483647 w 10357"/>
                <a:gd name="T15" fmla="*/ 2147483647 h 10627"/>
                <a:gd name="T16" fmla="*/ 2147483647 w 10357"/>
                <a:gd name="T17" fmla="*/ 2147483647 h 10627"/>
                <a:gd name="T18" fmla="*/ 2147483647 w 10357"/>
                <a:gd name="T19" fmla="*/ 2147483647 h 10627"/>
                <a:gd name="T20" fmla="*/ 2147483647 w 10357"/>
                <a:gd name="T21" fmla="*/ 2147483647 h 10627"/>
                <a:gd name="T22" fmla="*/ 2147483647 w 10357"/>
                <a:gd name="T23" fmla="*/ 2147483647 h 10627"/>
                <a:gd name="T24" fmla="*/ 2147483647 w 10357"/>
                <a:gd name="T25" fmla="*/ 2147483647 h 10627"/>
                <a:gd name="T26" fmla="*/ 2147483647 w 10357"/>
                <a:gd name="T27" fmla="*/ 2147483647 h 10627"/>
                <a:gd name="T28" fmla="*/ 2147483647 w 10357"/>
                <a:gd name="T29" fmla="*/ 2147483647 h 10627"/>
                <a:gd name="T30" fmla="*/ 2147483647 w 10357"/>
                <a:gd name="T31" fmla="*/ 2147483647 h 10627"/>
                <a:gd name="T32" fmla="*/ 2147483647 w 10357"/>
                <a:gd name="T33" fmla="*/ 2147483647 h 10627"/>
                <a:gd name="T34" fmla="*/ 2147483647 w 10357"/>
                <a:gd name="T35" fmla="*/ 2147483647 h 10627"/>
                <a:gd name="T36" fmla="*/ 2147483647 w 10357"/>
                <a:gd name="T37" fmla="*/ 2147483647 h 10627"/>
                <a:gd name="T38" fmla="*/ 2147483647 w 10357"/>
                <a:gd name="T39" fmla="*/ 2147483647 h 10627"/>
                <a:gd name="T40" fmla="*/ 2147483647 w 10357"/>
                <a:gd name="T41" fmla="*/ 2147483647 h 10627"/>
                <a:gd name="T42" fmla="*/ 2147483647 w 10357"/>
                <a:gd name="T43" fmla="*/ 2147483647 h 10627"/>
                <a:gd name="T44" fmla="*/ 2147483647 w 10357"/>
                <a:gd name="T45" fmla="*/ 2147483647 h 10627"/>
                <a:gd name="T46" fmla="*/ 2147483647 w 10357"/>
                <a:gd name="T47" fmla="*/ 2147483647 h 10627"/>
                <a:gd name="T48" fmla="*/ 2147483647 w 10357"/>
                <a:gd name="T49" fmla="*/ 0 h 10627"/>
                <a:gd name="T50" fmla="*/ 2147483647 w 10357"/>
                <a:gd name="T51" fmla="*/ 0 h 10627"/>
                <a:gd name="T52" fmla="*/ 2147483647 w 10357"/>
                <a:gd name="T53" fmla="*/ 2147483647 h 10627"/>
                <a:gd name="T54" fmla="*/ 2147483647 w 10357"/>
                <a:gd name="T55" fmla="*/ 2147483647 h 10627"/>
                <a:gd name="T56" fmla="*/ 2147483647 w 10357"/>
                <a:gd name="T57" fmla="*/ 2147483647 h 10627"/>
                <a:gd name="T58" fmla="*/ 2147483647 w 10357"/>
                <a:gd name="T59" fmla="*/ 2147483647 h 10627"/>
                <a:gd name="T60" fmla="*/ 0 w 10357"/>
                <a:gd name="T61" fmla="*/ 2147483647 h 10627"/>
                <a:gd name="T62" fmla="*/ 2147483647 w 10357"/>
                <a:gd name="T63" fmla="*/ 2147483647 h 10627"/>
                <a:gd name="T64" fmla="*/ 2147483647 w 10357"/>
                <a:gd name="T65" fmla="*/ 2147483647 h 10627"/>
                <a:gd name="T66" fmla="*/ 2147483647 w 10357"/>
                <a:gd name="T67" fmla="*/ 2147483647 h 10627"/>
                <a:gd name="T68" fmla="*/ 2147483647 w 10357"/>
                <a:gd name="T69" fmla="*/ 2147483647 h 10627"/>
                <a:gd name="T70" fmla="*/ 2147483647 w 10357"/>
                <a:gd name="T71" fmla="*/ 2147483647 h 10627"/>
                <a:gd name="T72" fmla="*/ 2147483647 w 10357"/>
                <a:gd name="T73" fmla="*/ 2147483647 h 10627"/>
                <a:gd name="T74" fmla="*/ 2147483647 w 10357"/>
                <a:gd name="T75" fmla="*/ 2147483647 h 10627"/>
                <a:gd name="T76" fmla="*/ 2147483647 w 10357"/>
                <a:gd name="T77" fmla="*/ 2147483647 h 10627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w 10357"/>
                <a:gd name="T118" fmla="*/ 0 h 10627"/>
                <a:gd name="T119" fmla="*/ 10357 w 10357"/>
                <a:gd name="T120" fmla="*/ 10627 h 10627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T117" t="T118" r="T119" b="T120"/>
              <a:pathLst>
                <a:path w="10357" h="10627">
                  <a:moveTo>
                    <a:pt x="10357" y="10627"/>
                  </a:moveTo>
                  <a:lnTo>
                    <a:pt x="8408" y="7557"/>
                  </a:lnTo>
                  <a:lnTo>
                    <a:pt x="7601" y="6376"/>
                  </a:lnTo>
                  <a:lnTo>
                    <a:pt x="7062" y="6494"/>
                  </a:lnTo>
                  <a:lnTo>
                    <a:pt x="6660" y="6847"/>
                  </a:lnTo>
                  <a:lnTo>
                    <a:pt x="6391" y="6847"/>
                  </a:lnTo>
                  <a:cubicBezTo>
                    <a:pt x="6277" y="6612"/>
                    <a:pt x="6167" y="6375"/>
                    <a:pt x="6053" y="6139"/>
                  </a:cubicBezTo>
                  <a:cubicBezTo>
                    <a:pt x="5986" y="5824"/>
                    <a:pt x="5920" y="5510"/>
                    <a:pt x="5851" y="5195"/>
                  </a:cubicBezTo>
                  <a:lnTo>
                    <a:pt x="5851" y="4369"/>
                  </a:lnTo>
                  <a:lnTo>
                    <a:pt x="6189" y="3424"/>
                  </a:lnTo>
                  <a:lnTo>
                    <a:pt x="6189" y="3069"/>
                  </a:lnTo>
                  <a:lnTo>
                    <a:pt x="5919" y="2716"/>
                  </a:lnTo>
                  <a:lnTo>
                    <a:pt x="5649" y="2243"/>
                  </a:lnTo>
                  <a:cubicBezTo>
                    <a:pt x="5582" y="2165"/>
                    <a:pt x="5516" y="2085"/>
                    <a:pt x="5449" y="2007"/>
                  </a:cubicBezTo>
                  <a:lnTo>
                    <a:pt x="5045" y="1890"/>
                  </a:lnTo>
                  <a:lnTo>
                    <a:pt x="4574" y="2007"/>
                  </a:lnTo>
                  <a:cubicBezTo>
                    <a:pt x="4529" y="2125"/>
                    <a:pt x="4484" y="2244"/>
                    <a:pt x="4440" y="2362"/>
                  </a:cubicBezTo>
                  <a:lnTo>
                    <a:pt x="4035" y="1653"/>
                  </a:lnTo>
                  <a:lnTo>
                    <a:pt x="3767" y="1181"/>
                  </a:lnTo>
                  <a:lnTo>
                    <a:pt x="3363" y="945"/>
                  </a:lnTo>
                  <a:lnTo>
                    <a:pt x="2826" y="1416"/>
                  </a:lnTo>
                  <a:lnTo>
                    <a:pt x="2623" y="1535"/>
                  </a:lnTo>
                  <a:lnTo>
                    <a:pt x="2219" y="945"/>
                  </a:lnTo>
                  <a:cubicBezTo>
                    <a:pt x="2175" y="709"/>
                    <a:pt x="2130" y="472"/>
                    <a:pt x="2085" y="236"/>
                  </a:cubicBezTo>
                  <a:lnTo>
                    <a:pt x="1817" y="0"/>
                  </a:lnTo>
                  <a:lnTo>
                    <a:pt x="1546" y="0"/>
                  </a:lnTo>
                  <a:lnTo>
                    <a:pt x="1144" y="354"/>
                  </a:lnTo>
                  <a:lnTo>
                    <a:pt x="740" y="708"/>
                  </a:lnTo>
                  <a:lnTo>
                    <a:pt x="335" y="1299"/>
                  </a:lnTo>
                  <a:lnTo>
                    <a:pt x="67" y="1890"/>
                  </a:lnTo>
                  <a:cubicBezTo>
                    <a:pt x="44" y="2007"/>
                    <a:pt x="23" y="2125"/>
                    <a:pt x="0" y="2243"/>
                  </a:cubicBezTo>
                  <a:cubicBezTo>
                    <a:pt x="44" y="2440"/>
                    <a:pt x="90" y="2637"/>
                    <a:pt x="136" y="2834"/>
                  </a:cubicBezTo>
                  <a:lnTo>
                    <a:pt x="537" y="4015"/>
                  </a:lnTo>
                  <a:cubicBezTo>
                    <a:pt x="560" y="4407"/>
                    <a:pt x="582" y="4802"/>
                    <a:pt x="606" y="5195"/>
                  </a:cubicBezTo>
                  <a:cubicBezTo>
                    <a:pt x="628" y="5314"/>
                    <a:pt x="651" y="5431"/>
                    <a:pt x="673" y="5550"/>
                  </a:cubicBezTo>
                  <a:lnTo>
                    <a:pt x="404" y="5903"/>
                  </a:lnTo>
                  <a:cubicBezTo>
                    <a:pt x="383" y="6022"/>
                    <a:pt x="358" y="6139"/>
                    <a:pt x="335" y="6257"/>
                  </a:cubicBezTo>
                  <a:lnTo>
                    <a:pt x="269" y="6494"/>
                  </a:lnTo>
                  <a:cubicBezTo>
                    <a:pt x="202" y="6650"/>
                    <a:pt x="136" y="6809"/>
                    <a:pt x="67" y="6966"/>
                  </a:cubicBezTo>
                </a:path>
              </a:pathLst>
            </a:custGeom>
            <a:noFill/>
            <a:ln w="317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sm" len="sm"/>
            </a:ln>
          </p:spPr>
          <p:txBody>
            <a:bodyPr wrap="none" lIns="36000" tIns="36000" rIns="36000" bIns="36000" anchor="ctr"/>
            <a:lstStyle/>
            <a:p>
              <a:pPr defTabSz="891045"/>
              <a:endParaRPr lang="en-US" sz="1700" dirty="0">
                <a:solidFill>
                  <a:srgbClr val="003149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356" name="Freeform 710"/>
            <p:cNvSpPr>
              <a:spLocks noChangeAspect="1"/>
            </p:cNvSpPr>
            <p:nvPr>
              <p:custDataLst>
                <p:tags r:id="rId261"/>
              </p:custDataLst>
            </p:nvPr>
          </p:nvSpPr>
          <p:spPr bwMode="gray">
            <a:xfrm>
              <a:off x="6868325" y="7453513"/>
              <a:ext cx="1578016" cy="1388378"/>
            </a:xfrm>
            <a:custGeom>
              <a:avLst/>
              <a:gdLst>
                <a:gd name="T0" fmla="*/ 2147483647 w 10000"/>
                <a:gd name="T1" fmla="*/ 2147483647 h 10052"/>
                <a:gd name="T2" fmla="*/ 2147483647 w 10000"/>
                <a:gd name="T3" fmla="*/ 2147483647 h 10052"/>
                <a:gd name="T4" fmla="*/ 2147483647 w 10000"/>
                <a:gd name="T5" fmla="*/ 2147483647 h 10052"/>
                <a:gd name="T6" fmla="*/ 2147483647 w 10000"/>
                <a:gd name="T7" fmla="*/ 2147483647 h 10052"/>
                <a:gd name="T8" fmla="*/ 2147483647 w 10000"/>
                <a:gd name="T9" fmla="*/ 2147483647 h 10052"/>
                <a:gd name="T10" fmla="*/ 2147483647 w 10000"/>
                <a:gd name="T11" fmla="*/ 2147483647 h 10052"/>
                <a:gd name="T12" fmla="*/ 2147483647 w 10000"/>
                <a:gd name="T13" fmla="*/ 2147483647 h 10052"/>
                <a:gd name="T14" fmla="*/ 2147483647 w 10000"/>
                <a:gd name="T15" fmla="*/ 2147483647 h 10052"/>
                <a:gd name="T16" fmla="*/ 2147483647 w 10000"/>
                <a:gd name="T17" fmla="*/ 2147483647 h 10052"/>
                <a:gd name="T18" fmla="*/ 2147483647 w 10000"/>
                <a:gd name="T19" fmla="*/ 2147483647 h 10052"/>
                <a:gd name="T20" fmla="*/ 2147483647 w 10000"/>
                <a:gd name="T21" fmla="*/ 2147483647 h 10052"/>
                <a:gd name="T22" fmla="*/ 2147483647 w 10000"/>
                <a:gd name="T23" fmla="*/ 2147483647 h 10052"/>
                <a:gd name="T24" fmla="*/ 2147483647 w 10000"/>
                <a:gd name="T25" fmla="*/ 2147483647 h 10052"/>
                <a:gd name="T26" fmla="*/ 2147483647 w 10000"/>
                <a:gd name="T27" fmla="*/ 2147483647 h 10052"/>
                <a:gd name="T28" fmla="*/ 2147483647 w 10000"/>
                <a:gd name="T29" fmla="*/ 2147483647 h 10052"/>
                <a:gd name="T30" fmla="*/ 2147483647 w 10000"/>
                <a:gd name="T31" fmla="*/ 2147483647 h 10052"/>
                <a:gd name="T32" fmla="*/ 2147483647 w 10000"/>
                <a:gd name="T33" fmla="*/ 2147483647 h 10052"/>
                <a:gd name="T34" fmla="*/ 2147483647 w 10000"/>
                <a:gd name="T35" fmla="*/ 2147483647 h 10052"/>
                <a:gd name="T36" fmla="*/ 2147483647 w 10000"/>
                <a:gd name="T37" fmla="*/ 2147483647 h 10052"/>
                <a:gd name="T38" fmla="*/ 2147483647 w 10000"/>
                <a:gd name="T39" fmla="*/ 2147483647 h 10052"/>
                <a:gd name="T40" fmla="*/ 2147483647 w 10000"/>
                <a:gd name="T41" fmla="*/ 2147483647 h 10052"/>
                <a:gd name="T42" fmla="*/ 2147483647 w 10000"/>
                <a:gd name="T43" fmla="*/ 2147483647 h 10052"/>
                <a:gd name="T44" fmla="*/ 2147483647 w 10000"/>
                <a:gd name="T45" fmla="*/ 2147483647 h 10052"/>
                <a:gd name="T46" fmla="*/ 2147483647 w 10000"/>
                <a:gd name="T47" fmla="*/ 2147483647 h 10052"/>
                <a:gd name="T48" fmla="*/ 2147483647 w 10000"/>
                <a:gd name="T49" fmla="*/ 2147483647 h 10052"/>
                <a:gd name="T50" fmla="*/ 2147483647 w 10000"/>
                <a:gd name="T51" fmla="*/ 2147483647 h 10052"/>
                <a:gd name="T52" fmla="*/ 2147483647 w 10000"/>
                <a:gd name="T53" fmla="*/ 2147483647 h 10052"/>
                <a:gd name="T54" fmla="*/ 2147483647 w 10000"/>
                <a:gd name="T55" fmla="*/ 2147483647 h 10052"/>
                <a:gd name="T56" fmla="*/ 2147483647 w 10000"/>
                <a:gd name="T57" fmla="*/ 2147483647 h 10052"/>
                <a:gd name="T58" fmla="*/ 2147483647 w 10000"/>
                <a:gd name="T59" fmla="*/ 2147483647 h 10052"/>
                <a:gd name="T60" fmla="*/ 2147483647 w 10000"/>
                <a:gd name="T61" fmla="*/ 2147483647 h 10052"/>
                <a:gd name="T62" fmla="*/ 2147483647 w 10000"/>
                <a:gd name="T63" fmla="*/ 2147483647 h 10052"/>
                <a:gd name="T64" fmla="*/ 2147483647 w 10000"/>
                <a:gd name="T65" fmla="*/ 2147483647 h 10052"/>
                <a:gd name="T66" fmla="*/ 2147483647 w 10000"/>
                <a:gd name="T67" fmla="*/ 2147483647 h 10052"/>
                <a:gd name="T68" fmla="*/ 2147483647 w 10000"/>
                <a:gd name="T69" fmla="*/ 2147483647 h 10052"/>
                <a:gd name="T70" fmla="*/ 2147483647 w 10000"/>
                <a:gd name="T71" fmla="*/ 2147483647 h 10052"/>
                <a:gd name="T72" fmla="*/ 2147483647 w 10000"/>
                <a:gd name="T73" fmla="*/ 2147483647 h 10052"/>
                <a:gd name="T74" fmla="*/ 2147483647 w 10000"/>
                <a:gd name="T75" fmla="*/ 2147483647 h 10052"/>
                <a:gd name="T76" fmla="*/ 2147483647 w 10000"/>
                <a:gd name="T77" fmla="*/ 2147483647 h 10052"/>
                <a:gd name="T78" fmla="*/ 2147483647 w 10000"/>
                <a:gd name="T79" fmla="*/ 2147483647 h 10052"/>
                <a:gd name="T80" fmla="*/ 2147483647 w 10000"/>
                <a:gd name="T81" fmla="*/ 2147483647 h 10052"/>
                <a:gd name="T82" fmla="*/ 2147483647 w 10000"/>
                <a:gd name="T83" fmla="*/ 2147483647 h 10052"/>
                <a:gd name="T84" fmla="*/ 2147483647 w 10000"/>
                <a:gd name="T85" fmla="*/ 2147483647 h 10052"/>
                <a:gd name="T86" fmla="*/ 0 w 10000"/>
                <a:gd name="T87" fmla="*/ 2147483647 h 10052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10000"/>
                <a:gd name="T133" fmla="*/ 0 h 10052"/>
                <a:gd name="T134" fmla="*/ 10000 w 10000"/>
                <a:gd name="T135" fmla="*/ 10052 h 10052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10000" h="10052">
                  <a:moveTo>
                    <a:pt x="10000" y="0"/>
                  </a:moveTo>
                  <a:lnTo>
                    <a:pt x="9735" y="298"/>
                  </a:lnTo>
                  <a:lnTo>
                    <a:pt x="9073" y="1004"/>
                  </a:lnTo>
                  <a:lnTo>
                    <a:pt x="8731" y="1318"/>
                  </a:lnTo>
                  <a:lnTo>
                    <a:pt x="8503" y="1657"/>
                  </a:lnTo>
                  <a:lnTo>
                    <a:pt x="8207" y="1971"/>
                  </a:lnTo>
                  <a:lnTo>
                    <a:pt x="7979" y="2102"/>
                  </a:lnTo>
                  <a:lnTo>
                    <a:pt x="7500" y="2520"/>
                  </a:lnTo>
                  <a:lnTo>
                    <a:pt x="7181" y="2965"/>
                  </a:lnTo>
                  <a:lnTo>
                    <a:pt x="6839" y="3462"/>
                  </a:lnTo>
                  <a:lnTo>
                    <a:pt x="6566" y="3592"/>
                  </a:lnTo>
                  <a:lnTo>
                    <a:pt x="6292" y="3723"/>
                  </a:lnTo>
                  <a:lnTo>
                    <a:pt x="5995" y="3854"/>
                  </a:lnTo>
                  <a:lnTo>
                    <a:pt x="5699" y="4168"/>
                  </a:lnTo>
                  <a:lnTo>
                    <a:pt x="5699" y="4325"/>
                  </a:lnTo>
                  <a:cubicBezTo>
                    <a:pt x="5714" y="4361"/>
                    <a:pt x="5730" y="4395"/>
                    <a:pt x="5745" y="4430"/>
                  </a:cubicBezTo>
                  <a:cubicBezTo>
                    <a:pt x="5714" y="4500"/>
                    <a:pt x="5684" y="4569"/>
                    <a:pt x="5654" y="4639"/>
                  </a:cubicBezTo>
                  <a:lnTo>
                    <a:pt x="5858" y="4900"/>
                  </a:lnTo>
                  <a:cubicBezTo>
                    <a:pt x="5904" y="4961"/>
                    <a:pt x="5949" y="5023"/>
                    <a:pt x="5995" y="5084"/>
                  </a:cubicBezTo>
                  <a:cubicBezTo>
                    <a:pt x="6018" y="5145"/>
                    <a:pt x="6041" y="5205"/>
                    <a:pt x="6064" y="5267"/>
                  </a:cubicBezTo>
                  <a:lnTo>
                    <a:pt x="5858" y="5475"/>
                  </a:lnTo>
                  <a:lnTo>
                    <a:pt x="5654" y="5737"/>
                  </a:lnTo>
                  <a:lnTo>
                    <a:pt x="5654" y="5920"/>
                  </a:lnTo>
                  <a:lnTo>
                    <a:pt x="5539" y="6025"/>
                  </a:lnTo>
                  <a:lnTo>
                    <a:pt x="5403" y="6104"/>
                  </a:lnTo>
                  <a:cubicBezTo>
                    <a:pt x="5388" y="6165"/>
                    <a:pt x="5372" y="6225"/>
                    <a:pt x="5357" y="6287"/>
                  </a:cubicBezTo>
                  <a:cubicBezTo>
                    <a:pt x="5372" y="6348"/>
                    <a:pt x="5388" y="6409"/>
                    <a:pt x="5403" y="6470"/>
                  </a:cubicBezTo>
                  <a:lnTo>
                    <a:pt x="5516" y="6548"/>
                  </a:lnTo>
                  <a:lnTo>
                    <a:pt x="5516" y="6783"/>
                  </a:lnTo>
                  <a:lnTo>
                    <a:pt x="5380" y="6888"/>
                  </a:lnTo>
                  <a:lnTo>
                    <a:pt x="5266" y="7019"/>
                  </a:lnTo>
                  <a:lnTo>
                    <a:pt x="4993" y="7045"/>
                  </a:lnTo>
                  <a:cubicBezTo>
                    <a:pt x="4962" y="7097"/>
                    <a:pt x="4932" y="7150"/>
                    <a:pt x="4901" y="7202"/>
                  </a:cubicBezTo>
                  <a:lnTo>
                    <a:pt x="4673" y="7202"/>
                  </a:lnTo>
                  <a:lnTo>
                    <a:pt x="4491" y="7202"/>
                  </a:lnTo>
                  <a:lnTo>
                    <a:pt x="4354" y="7202"/>
                  </a:lnTo>
                  <a:cubicBezTo>
                    <a:pt x="4340" y="7176"/>
                    <a:pt x="4324" y="7150"/>
                    <a:pt x="4309" y="7123"/>
                  </a:cubicBezTo>
                  <a:lnTo>
                    <a:pt x="4081" y="7176"/>
                  </a:lnTo>
                  <a:lnTo>
                    <a:pt x="3852" y="7228"/>
                  </a:lnTo>
                  <a:lnTo>
                    <a:pt x="3693" y="7281"/>
                  </a:lnTo>
                  <a:cubicBezTo>
                    <a:pt x="3671" y="7324"/>
                    <a:pt x="3648" y="7368"/>
                    <a:pt x="3625" y="7411"/>
                  </a:cubicBezTo>
                  <a:lnTo>
                    <a:pt x="3625" y="7777"/>
                  </a:lnTo>
                  <a:cubicBezTo>
                    <a:pt x="3633" y="7812"/>
                    <a:pt x="3640" y="7846"/>
                    <a:pt x="3648" y="7882"/>
                  </a:cubicBezTo>
                  <a:cubicBezTo>
                    <a:pt x="3663" y="7934"/>
                    <a:pt x="3679" y="7986"/>
                    <a:pt x="3693" y="8039"/>
                  </a:cubicBezTo>
                  <a:cubicBezTo>
                    <a:pt x="3686" y="8074"/>
                    <a:pt x="3679" y="8108"/>
                    <a:pt x="3671" y="8143"/>
                  </a:cubicBezTo>
                  <a:cubicBezTo>
                    <a:pt x="3633" y="8187"/>
                    <a:pt x="3594" y="8230"/>
                    <a:pt x="3556" y="8274"/>
                  </a:cubicBezTo>
                  <a:lnTo>
                    <a:pt x="3396" y="8274"/>
                  </a:lnTo>
                  <a:lnTo>
                    <a:pt x="3214" y="8274"/>
                  </a:lnTo>
                  <a:lnTo>
                    <a:pt x="3054" y="8300"/>
                  </a:lnTo>
                  <a:cubicBezTo>
                    <a:pt x="3025" y="8291"/>
                    <a:pt x="2994" y="8283"/>
                    <a:pt x="2964" y="8274"/>
                  </a:cubicBezTo>
                  <a:lnTo>
                    <a:pt x="2872" y="8196"/>
                  </a:lnTo>
                  <a:cubicBezTo>
                    <a:pt x="2880" y="8152"/>
                    <a:pt x="2887" y="8108"/>
                    <a:pt x="2895" y="8065"/>
                  </a:cubicBezTo>
                  <a:cubicBezTo>
                    <a:pt x="2910" y="8039"/>
                    <a:pt x="2926" y="8012"/>
                    <a:pt x="2941" y="7986"/>
                  </a:cubicBezTo>
                  <a:lnTo>
                    <a:pt x="2941" y="7882"/>
                  </a:lnTo>
                  <a:lnTo>
                    <a:pt x="2827" y="7829"/>
                  </a:lnTo>
                  <a:lnTo>
                    <a:pt x="2712" y="7751"/>
                  </a:lnTo>
                  <a:lnTo>
                    <a:pt x="2599" y="7777"/>
                  </a:lnTo>
                  <a:cubicBezTo>
                    <a:pt x="2561" y="7812"/>
                    <a:pt x="2523" y="7846"/>
                    <a:pt x="2485" y="7882"/>
                  </a:cubicBezTo>
                  <a:lnTo>
                    <a:pt x="2371" y="7908"/>
                  </a:lnTo>
                  <a:lnTo>
                    <a:pt x="2257" y="7934"/>
                  </a:lnTo>
                  <a:cubicBezTo>
                    <a:pt x="2249" y="7986"/>
                    <a:pt x="2242" y="8039"/>
                    <a:pt x="2234" y="8091"/>
                  </a:cubicBezTo>
                  <a:cubicBezTo>
                    <a:pt x="2226" y="8126"/>
                    <a:pt x="2219" y="8160"/>
                    <a:pt x="2212" y="8196"/>
                  </a:cubicBezTo>
                  <a:lnTo>
                    <a:pt x="2120" y="8274"/>
                  </a:lnTo>
                  <a:cubicBezTo>
                    <a:pt x="2097" y="8300"/>
                    <a:pt x="2074" y="8327"/>
                    <a:pt x="2051" y="8353"/>
                  </a:cubicBezTo>
                  <a:cubicBezTo>
                    <a:pt x="2074" y="8388"/>
                    <a:pt x="2097" y="8422"/>
                    <a:pt x="2120" y="8458"/>
                  </a:cubicBezTo>
                  <a:lnTo>
                    <a:pt x="2120" y="8614"/>
                  </a:lnTo>
                  <a:cubicBezTo>
                    <a:pt x="2105" y="8649"/>
                    <a:pt x="2089" y="8683"/>
                    <a:pt x="2074" y="8718"/>
                  </a:cubicBezTo>
                  <a:lnTo>
                    <a:pt x="1892" y="8823"/>
                  </a:lnTo>
                  <a:cubicBezTo>
                    <a:pt x="1855" y="8832"/>
                    <a:pt x="1816" y="8840"/>
                    <a:pt x="1778" y="8849"/>
                  </a:cubicBezTo>
                  <a:lnTo>
                    <a:pt x="1664" y="8875"/>
                  </a:lnTo>
                  <a:lnTo>
                    <a:pt x="1459" y="8902"/>
                  </a:lnTo>
                  <a:cubicBezTo>
                    <a:pt x="1436" y="8892"/>
                    <a:pt x="1413" y="8884"/>
                    <a:pt x="1391" y="8875"/>
                  </a:cubicBezTo>
                  <a:lnTo>
                    <a:pt x="1276" y="8954"/>
                  </a:lnTo>
                  <a:lnTo>
                    <a:pt x="1117" y="8954"/>
                  </a:lnTo>
                  <a:lnTo>
                    <a:pt x="980" y="8849"/>
                  </a:lnTo>
                  <a:lnTo>
                    <a:pt x="889" y="8771"/>
                  </a:lnTo>
                  <a:lnTo>
                    <a:pt x="775" y="8666"/>
                  </a:lnTo>
                  <a:lnTo>
                    <a:pt x="661" y="8718"/>
                  </a:lnTo>
                  <a:cubicBezTo>
                    <a:pt x="631" y="8753"/>
                    <a:pt x="600" y="8788"/>
                    <a:pt x="570" y="8823"/>
                  </a:cubicBezTo>
                  <a:lnTo>
                    <a:pt x="570" y="9006"/>
                  </a:lnTo>
                  <a:cubicBezTo>
                    <a:pt x="562" y="9059"/>
                    <a:pt x="555" y="9111"/>
                    <a:pt x="547" y="9163"/>
                  </a:cubicBezTo>
                  <a:cubicBezTo>
                    <a:pt x="540" y="9225"/>
                    <a:pt x="532" y="9285"/>
                    <a:pt x="525" y="9347"/>
                  </a:cubicBezTo>
                  <a:lnTo>
                    <a:pt x="410" y="9425"/>
                  </a:lnTo>
                  <a:lnTo>
                    <a:pt x="250" y="9477"/>
                  </a:lnTo>
                  <a:cubicBezTo>
                    <a:pt x="221" y="9504"/>
                    <a:pt x="190" y="9529"/>
                    <a:pt x="160" y="9555"/>
                  </a:cubicBezTo>
                  <a:cubicBezTo>
                    <a:pt x="129" y="9616"/>
                    <a:pt x="99" y="9677"/>
                    <a:pt x="69" y="9738"/>
                  </a:cubicBezTo>
                  <a:cubicBezTo>
                    <a:pt x="54" y="9791"/>
                    <a:pt x="38" y="9843"/>
                    <a:pt x="23" y="9895"/>
                  </a:cubicBezTo>
                  <a:cubicBezTo>
                    <a:pt x="15" y="9931"/>
                    <a:pt x="8" y="10017"/>
                    <a:pt x="0" y="10052"/>
                  </a:cubicBezTo>
                </a:path>
              </a:pathLst>
            </a:custGeom>
            <a:noFill/>
            <a:ln w="317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sm" len="sm"/>
            </a:ln>
          </p:spPr>
          <p:txBody>
            <a:bodyPr wrap="none" lIns="36000" tIns="36000" rIns="36000" bIns="36000" anchor="ctr"/>
            <a:lstStyle/>
            <a:p>
              <a:pPr defTabSz="891045"/>
              <a:endParaRPr lang="en-US" sz="1700" dirty="0">
                <a:solidFill>
                  <a:srgbClr val="003149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357" name="Freeform 533"/>
            <p:cNvSpPr>
              <a:spLocks noChangeAspect="1"/>
            </p:cNvSpPr>
            <p:nvPr/>
          </p:nvSpPr>
          <p:spPr bwMode="gray">
            <a:xfrm>
              <a:off x="12643506" y="5238473"/>
              <a:ext cx="431259" cy="1670929"/>
            </a:xfrm>
            <a:custGeom>
              <a:avLst/>
              <a:gdLst>
                <a:gd name="T0" fmla="*/ 2147483647 w 10000"/>
                <a:gd name="T1" fmla="*/ 2147483647 h 9875"/>
                <a:gd name="T2" fmla="*/ 2147483647 w 10000"/>
                <a:gd name="T3" fmla="*/ 2147483647 h 9875"/>
                <a:gd name="T4" fmla="*/ 2147483647 w 10000"/>
                <a:gd name="T5" fmla="*/ 2147483647 h 9875"/>
                <a:gd name="T6" fmla="*/ 2147483647 w 10000"/>
                <a:gd name="T7" fmla="*/ 2147483647 h 9875"/>
                <a:gd name="T8" fmla="*/ 2147483647 w 10000"/>
                <a:gd name="T9" fmla="*/ 2147483647 h 9875"/>
                <a:gd name="T10" fmla="*/ 2147483647 w 10000"/>
                <a:gd name="T11" fmla="*/ 2147483647 h 9875"/>
                <a:gd name="T12" fmla="*/ 2147483647 w 10000"/>
                <a:gd name="T13" fmla="*/ 2147483647 h 9875"/>
                <a:gd name="T14" fmla="*/ 2147483647 w 10000"/>
                <a:gd name="T15" fmla="*/ 2147483647 h 9875"/>
                <a:gd name="T16" fmla="*/ 2147483647 w 10000"/>
                <a:gd name="T17" fmla="*/ 2147483647 h 9875"/>
                <a:gd name="T18" fmla="*/ 2147483647 w 10000"/>
                <a:gd name="T19" fmla="*/ 2147483647 h 9875"/>
                <a:gd name="T20" fmla="*/ 2147483647 w 10000"/>
                <a:gd name="T21" fmla="*/ 2147483647 h 9875"/>
                <a:gd name="T22" fmla="*/ 2147483647 w 10000"/>
                <a:gd name="T23" fmla="*/ 2147483647 h 9875"/>
                <a:gd name="T24" fmla="*/ 2147483647 w 10000"/>
                <a:gd name="T25" fmla="*/ 2147483647 h 9875"/>
                <a:gd name="T26" fmla="*/ 2147483647 w 10000"/>
                <a:gd name="T27" fmla="*/ 2147483647 h 9875"/>
                <a:gd name="T28" fmla="*/ 2147483647 w 10000"/>
                <a:gd name="T29" fmla="*/ 2147483647 h 9875"/>
                <a:gd name="T30" fmla="*/ 2147483647 w 10000"/>
                <a:gd name="T31" fmla="*/ 2147483647 h 9875"/>
                <a:gd name="T32" fmla="*/ 2147483647 w 10000"/>
                <a:gd name="T33" fmla="*/ 2147483647 h 9875"/>
                <a:gd name="T34" fmla="*/ 2147483647 w 10000"/>
                <a:gd name="T35" fmla="*/ 2147483647 h 9875"/>
                <a:gd name="T36" fmla="*/ 0 w 10000"/>
                <a:gd name="T37" fmla="*/ 2147483647 h 9875"/>
                <a:gd name="T38" fmla="*/ 2147483647 w 10000"/>
                <a:gd name="T39" fmla="*/ 2147483647 h 9875"/>
                <a:gd name="T40" fmla="*/ 2147483647 w 10000"/>
                <a:gd name="T41" fmla="*/ 2147483647 h 9875"/>
                <a:gd name="T42" fmla="*/ 2147483647 w 10000"/>
                <a:gd name="T43" fmla="*/ 2147483647 h 9875"/>
                <a:gd name="T44" fmla="*/ 2147483647 w 10000"/>
                <a:gd name="T45" fmla="*/ 2147483647 h 9875"/>
                <a:gd name="T46" fmla="*/ 2147483647 w 10000"/>
                <a:gd name="T47" fmla="*/ 2147483647 h 9875"/>
                <a:gd name="T48" fmla="*/ 2147483647 w 10000"/>
                <a:gd name="T49" fmla="*/ 2147483647 h 9875"/>
                <a:gd name="T50" fmla="*/ 2147483647 w 10000"/>
                <a:gd name="T51" fmla="*/ 2147483647 h 9875"/>
                <a:gd name="T52" fmla="*/ 2147483647 w 10000"/>
                <a:gd name="T53" fmla="*/ 2147483647 h 9875"/>
                <a:gd name="T54" fmla="*/ 2147483647 w 10000"/>
                <a:gd name="T55" fmla="*/ 2147483647 h 9875"/>
                <a:gd name="T56" fmla="*/ 2147483647 w 10000"/>
                <a:gd name="T57" fmla="*/ 2147483647 h 9875"/>
                <a:gd name="T58" fmla="*/ 2147483647 w 10000"/>
                <a:gd name="T59" fmla="*/ 2147483647 h 9875"/>
                <a:gd name="T60" fmla="*/ 2147483647 w 10000"/>
                <a:gd name="T61" fmla="*/ 2147483647 h 9875"/>
                <a:gd name="T62" fmla="*/ 2147483647 w 10000"/>
                <a:gd name="T63" fmla="*/ 2147483647 h 9875"/>
                <a:gd name="T64" fmla="*/ 2147483647 w 10000"/>
                <a:gd name="T65" fmla="*/ 2147483647 h 9875"/>
                <a:gd name="T66" fmla="*/ 2147483647 w 10000"/>
                <a:gd name="T67" fmla="*/ 2147483647 h 9875"/>
                <a:gd name="T68" fmla="*/ 2147483647 w 10000"/>
                <a:gd name="T69" fmla="*/ 2147483647 h 9875"/>
                <a:gd name="T70" fmla="*/ 2147483647 w 10000"/>
                <a:gd name="T71" fmla="*/ 2147483647 h 9875"/>
                <a:gd name="T72" fmla="*/ 2147483647 w 10000"/>
                <a:gd name="T73" fmla="*/ 2147483647 h 9875"/>
                <a:gd name="T74" fmla="*/ 2147483647 w 10000"/>
                <a:gd name="T75" fmla="*/ 2147483647 h 9875"/>
                <a:gd name="T76" fmla="*/ 2147483647 w 10000"/>
                <a:gd name="T77" fmla="*/ 2147483647 h 9875"/>
                <a:gd name="T78" fmla="*/ 2147483647 w 10000"/>
                <a:gd name="T79" fmla="*/ 2147483647 h 9875"/>
                <a:gd name="T80" fmla="*/ 2147483647 w 10000"/>
                <a:gd name="T81" fmla="*/ 2147483647 h 9875"/>
                <a:gd name="T82" fmla="*/ 2147483647 w 10000"/>
                <a:gd name="T83" fmla="*/ 2147483647 h 9875"/>
                <a:gd name="T84" fmla="*/ 2147483647 w 10000"/>
                <a:gd name="T85" fmla="*/ 2147483647 h 9875"/>
                <a:gd name="T86" fmla="*/ 2147483647 w 10000"/>
                <a:gd name="T87" fmla="*/ 2147483647 h 9875"/>
                <a:gd name="T88" fmla="*/ 2147483647 w 10000"/>
                <a:gd name="T89" fmla="*/ 2147483647 h 9875"/>
                <a:gd name="T90" fmla="*/ 2147483647 w 10000"/>
                <a:gd name="T91" fmla="*/ 2147483647 h 9875"/>
                <a:gd name="T92" fmla="*/ 2147483647 w 10000"/>
                <a:gd name="T93" fmla="*/ 2147483647 h 9875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10000"/>
                <a:gd name="T142" fmla="*/ 0 h 9875"/>
                <a:gd name="T143" fmla="*/ 10000 w 10000"/>
                <a:gd name="T144" fmla="*/ 9875 h 9875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10000" h="9875">
                  <a:moveTo>
                    <a:pt x="6416" y="9875"/>
                  </a:moveTo>
                  <a:lnTo>
                    <a:pt x="7030" y="9622"/>
                  </a:lnTo>
                  <a:lnTo>
                    <a:pt x="8518" y="8995"/>
                  </a:lnTo>
                  <a:cubicBezTo>
                    <a:pt x="8593" y="8931"/>
                    <a:pt x="8677" y="8869"/>
                    <a:pt x="8764" y="8806"/>
                  </a:cubicBezTo>
                  <a:cubicBezTo>
                    <a:pt x="8724" y="8753"/>
                    <a:pt x="8677" y="8701"/>
                    <a:pt x="8639" y="8649"/>
                  </a:cubicBezTo>
                  <a:cubicBezTo>
                    <a:pt x="8764" y="8597"/>
                    <a:pt x="8884" y="8542"/>
                    <a:pt x="9006" y="8492"/>
                  </a:cubicBezTo>
                  <a:lnTo>
                    <a:pt x="10000" y="8301"/>
                  </a:lnTo>
                  <a:lnTo>
                    <a:pt x="9378" y="8051"/>
                  </a:lnTo>
                  <a:cubicBezTo>
                    <a:pt x="9299" y="8008"/>
                    <a:pt x="9209" y="7966"/>
                    <a:pt x="9132" y="7924"/>
                  </a:cubicBezTo>
                  <a:cubicBezTo>
                    <a:pt x="9170" y="7873"/>
                    <a:pt x="9209" y="7820"/>
                    <a:pt x="9253" y="7768"/>
                  </a:cubicBezTo>
                  <a:lnTo>
                    <a:pt x="8884" y="7673"/>
                  </a:lnTo>
                  <a:lnTo>
                    <a:pt x="9378" y="7516"/>
                  </a:lnTo>
                  <a:lnTo>
                    <a:pt x="9749" y="7422"/>
                  </a:lnTo>
                  <a:cubicBezTo>
                    <a:pt x="9711" y="7392"/>
                    <a:pt x="9674" y="7358"/>
                    <a:pt x="9626" y="7328"/>
                  </a:cubicBezTo>
                  <a:lnTo>
                    <a:pt x="9132" y="7297"/>
                  </a:lnTo>
                  <a:lnTo>
                    <a:pt x="8639" y="7297"/>
                  </a:lnTo>
                  <a:lnTo>
                    <a:pt x="7895" y="7171"/>
                  </a:lnTo>
                  <a:lnTo>
                    <a:pt x="7895" y="7044"/>
                  </a:lnTo>
                  <a:lnTo>
                    <a:pt x="8268" y="6952"/>
                  </a:lnTo>
                  <a:cubicBezTo>
                    <a:pt x="8348" y="6877"/>
                    <a:pt x="8432" y="6803"/>
                    <a:pt x="8518" y="6730"/>
                  </a:cubicBezTo>
                  <a:lnTo>
                    <a:pt x="7895" y="6667"/>
                  </a:lnTo>
                  <a:lnTo>
                    <a:pt x="7775" y="6855"/>
                  </a:lnTo>
                  <a:lnTo>
                    <a:pt x="7278" y="6982"/>
                  </a:lnTo>
                  <a:lnTo>
                    <a:pt x="6911" y="7044"/>
                  </a:lnTo>
                  <a:lnTo>
                    <a:pt x="6047" y="6888"/>
                  </a:lnTo>
                  <a:lnTo>
                    <a:pt x="5187" y="6982"/>
                  </a:lnTo>
                  <a:lnTo>
                    <a:pt x="4566" y="6982"/>
                  </a:lnTo>
                  <a:cubicBezTo>
                    <a:pt x="4522" y="6907"/>
                    <a:pt x="4486" y="6834"/>
                    <a:pt x="4443" y="6760"/>
                  </a:cubicBezTo>
                  <a:lnTo>
                    <a:pt x="3951" y="6637"/>
                  </a:lnTo>
                  <a:lnTo>
                    <a:pt x="2961" y="6510"/>
                  </a:lnTo>
                  <a:lnTo>
                    <a:pt x="2098" y="6478"/>
                  </a:lnTo>
                  <a:lnTo>
                    <a:pt x="1731" y="6478"/>
                  </a:lnTo>
                  <a:cubicBezTo>
                    <a:pt x="1643" y="6395"/>
                    <a:pt x="1565" y="6310"/>
                    <a:pt x="1481" y="6226"/>
                  </a:cubicBezTo>
                  <a:lnTo>
                    <a:pt x="1230" y="6006"/>
                  </a:lnTo>
                  <a:lnTo>
                    <a:pt x="1601" y="5974"/>
                  </a:lnTo>
                  <a:cubicBezTo>
                    <a:pt x="1522" y="5902"/>
                    <a:pt x="1434" y="5827"/>
                    <a:pt x="1356" y="5754"/>
                  </a:cubicBezTo>
                  <a:lnTo>
                    <a:pt x="865" y="5660"/>
                  </a:lnTo>
                  <a:lnTo>
                    <a:pt x="0" y="5409"/>
                  </a:lnTo>
                  <a:cubicBezTo>
                    <a:pt x="167" y="5359"/>
                    <a:pt x="324" y="5304"/>
                    <a:pt x="496" y="5253"/>
                  </a:cubicBezTo>
                  <a:cubicBezTo>
                    <a:pt x="411" y="5189"/>
                    <a:pt x="324" y="5126"/>
                    <a:pt x="245" y="5062"/>
                  </a:cubicBezTo>
                  <a:lnTo>
                    <a:pt x="865" y="4969"/>
                  </a:lnTo>
                  <a:lnTo>
                    <a:pt x="1481" y="4969"/>
                  </a:lnTo>
                  <a:lnTo>
                    <a:pt x="1977" y="4843"/>
                  </a:lnTo>
                  <a:lnTo>
                    <a:pt x="2473" y="4811"/>
                  </a:lnTo>
                  <a:cubicBezTo>
                    <a:pt x="2427" y="4759"/>
                    <a:pt x="2385" y="4707"/>
                    <a:pt x="2342" y="4655"/>
                  </a:cubicBezTo>
                  <a:lnTo>
                    <a:pt x="2844" y="4591"/>
                  </a:lnTo>
                  <a:lnTo>
                    <a:pt x="3207" y="4684"/>
                  </a:lnTo>
                  <a:lnTo>
                    <a:pt x="3820" y="4464"/>
                  </a:lnTo>
                  <a:lnTo>
                    <a:pt x="4443" y="4464"/>
                  </a:lnTo>
                  <a:lnTo>
                    <a:pt x="5187" y="4404"/>
                  </a:lnTo>
                  <a:lnTo>
                    <a:pt x="5674" y="4277"/>
                  </a:lnTo>
                  <a:lnTo>
                    <a:pt x="6294" y="4152"/>
                  </a:lnTo>
                  <a:lnTo>
                    <a:pt x="6911" y="4214"/>
                  </a:lnTo>
                  <a:lnTo>
                    <a:pt x="7155" y="4277"/>
                  </a:lnTo>
                  <a:lnTo>
                    <a:pt x="7528" y="4244"/>
                  </a:lnTo>
                  <a:cubicBezTo>
                    <a:pt x="7490" y="4192"/>
                    <a:pt x="7451" y="4139"/>
                    <a:pt x="7406" y="4089"/>
                  </a:cubicBezTo>
                  <a:lnTo>
                    <a:pt x="7895" y="3931"/>
                  </a:lnTo>
                  <a:cubicBezTo>
                    <a:pt x="7940" y="3899"/>
                    <a:pt x="7978" y="3867"/>
                    <a:pt x="8017" y="3836"/>
                  </a:cubicBezTo>
                  <a:cubicBezTo>
                    <a:pt x="8060" y="3784"/>
                    <a:pt x="8102" y="3731"/>
                    <a:pt x="8145" y="3679"/>
                  </a:cubicBezTo>
                  <a:cubicBezTo>
                    <a:pt x="8185" y="3659"/>
                    <a:pt x="8227" y="3637"/>
                    <a:pt x="8268" y="3615"/>
                  </a:cubicBezTo>
                  <a:lnTo>
                    <a:pt x="8268" y="3492"/>
                  </a:lnTo>
                  <a:cubicBezTo>
                    <a:pt x="8306" y="3449"/>
                    <a:pt x="8346" y="3406"/>
                    <a:pt x="8386" y="3365"/>
                  </a:cubicBezTo>
                  <a:cubicBezTo>
                    <a:pt x="8429" y="3344"/>
                    <a:pt x="8469" y="3322"/>
                    <a:pt x="8518" y="3301"/>
                  </a:cubicBezTo>
                  <a:lnTo>
                    <a:pt x="8518" y="3207"/>
                  </a:lnTo>
                  <a:cubicBezTo>
                    <a:pt x="8593" y="3176"/>
                    <a:pt x="8677" y="3145"/>
                    <a:pt x="8764" y="3113"/>
                  </a:cubicBezTo>
                  <a:lnTo>
                    <a:pt x="8386" y="3052"/>
                  </a:lnTo>
                  <a:lnTo>
                    <a:pt x="7775" y="2957"/>
                  </a:lnTo>
                  <a:lnTo>
                    <a:pt x="7030" y="2830"/>
                  </a:lnTo>
                  <a:lnTo>
                    <a:pt x="6543" y="2673"/>
                  </a:lnTo>
                  <a:cubicBezTo>
                    <a:pt x="6497" y="2621"/>
                    <a:pt x="6457" y="2568"/>
                    <a:pt x="6416" y="2515"/>
                  </a:cubicBezTo>
                  <a:lnTo>
                    <a:pt x="6047" y="2390"/>
                  </a:lnTo>
                  <a:cubicBezTo>
                    <a:pt x="5963" y="2326"/>
                    <a:pt x="5876" y="2264"/>
                    <a:pt x="5795" y="2202"/>
                  </a:cubicBezTo>
                  <a:lnTo>
                    <a:pt x="5795" y="2076"/>
                  </a:lnTo>
                  <a:cubicBezTo>
                    <a:pt x="5925" y="1991"/>
                    <a:pt x="6047" y="1908"/>
                    <a:pt x="6161" y="1822"/>
                  </a:cubicBezTo>
                  <a:cubicBezTo>
                    <a:pt x="6254" y="1782"/>
                    <a:pt x="6334" y="1740"/>
                    <a:pt x="6416" y="1698"/>
                  </a:cubicBezTo>
                  <a:lnTo>
                    <a:pt x="7278" y="1637"/>
                  </a:lnTo>
                  <a:lnTo>
                    <a:pt x="8017" y="1761"/>
                  </a:lnTo>
                  <a:lnTo>
                    <a:pt x="8639" y="1637"/>
                  </a:lnTo>
                  <a:lnTo>
                    <a:pt x="9006" y="1446"/>
                  </a:lnTo>
                  <a:cubicBezTo>
                    <a:pt x="9091" y="1384"/>
                    <a:pt x="9169" y="1321"/>
                    <a:pt x="9253" y="1259"/>
                  </a:cubicBezTo>
                  <a:lnTo>
                    <a:pt x="9749" y="1290"/>
                  </a:lnTo>
                  <a:cubicBezTo>
                    <a:pt x="9711" y="1246"/>
                    <a:pt x="9674" y="1206"/>
                    <a:pt x="9626" y="1162"/>
                  </a:cubicBezTo>
                  <a:lnTo>
                    <a:pt x="9132" y="1068"/>
                  </a:lnTo>
                  <a:lnTo>
                    <a:pt x="9132" y="974"/>
                  </a:lnTo>
                  <a:lnTo>
                    <a:pt x="8518" y="880"/>
                  </a:lnTo>
                  <a:cubicBezTo>
                    <a:pt x="8432" y="860"/>
                    <a:pt x="8348" y="838"/>
                    <a:pt x="8268" y="818"/>
                  </a:cubicBezTo>
                  <a:lnTo>
                    <a:pt x="7895" y="818"/>
                  </a:lnTo>
                  <a:lnTo>
                    <a:pt x="7278" y="723"/>
                  </a:lnTo>
                  <a:cubicBezTo>
                    <a:pt x="7201" y="650"/>
                    <a:pt x="7110" y="578"/>
                    <a:pt x="7030" y="504"/>
                  </a:cubicBezTo>
                  <a:lnTo>
                    <a:pt x="6294" y="534"/>
                  </a:lnTo>
                  <a:cubicBezTo>
                    <a:pt x="6210" y="493"/>
                    <a:pt x="6126" y="451"/>
                    <a:pt x="6047" y="409"/>
                  </a:cubicBezTo>
                  <a:cubicBezTo>
                    <a:pt x="5963" y="388"/>
                    <a:pt x="5876" y="368"/>
                    <a:pt x="5795" y="346"/>
                  </a:cubicBezTo>
                  <a:cubicBezTo>
                    <a:pt x="5838" y="293"/>
                    <a:pt x="5876" y="241"/>
                    <a:pt x="5925" y="188"/>
                  </a:cubicBezTo>
                  <a:lnTo>
                    <a:pt x="6161" y="188"/>
                  </a:lnTo>
                  <a:cubicBezTo>
                    <a:pt x="6122" y="126"/>
                    <a:pt x="6086" y="63"/>
                    <a:pt x="6047" y="0"/>
                  </a:cubicBezTo>
                </a:path>
              </a:pathLst>
            </a:custGeom>
            <a:noFill/>
            <a:ln w="317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none" lIns="36000" tIns="36000" rIns="36000" bIns="36000" anchor="ctr"/>
            <a:lstStyle/>
            <a:p>
              <a:pPr defTabSz="891045"/>
              <a:endParaRPr lang="en-US" sz="1700" dirty="0">
                <a:solidFill>
                  <a:srgbClr val="003149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358" name="Freeform 707"/>
            <p:cNvSpPr>
              <a:spLocks noChangeAspect="1"/>
            </p:cNvSpPr>
            <p:nvPr>
              <p:custDataLst>
                <p:tags r:id="rId262"/>
              </p:custDataLst>
            </p:nvPr>
          </p:nvSpPr>
          <p:spPr bwMode="gray">
            <a:xfrm>
              <a:off x="9514668" y="5891467"/>
              <a:ext cx="1112864" cy="619503"/>
            </a:xfrm>
            <a:custGeom>
              <a:avLst/>
              <a:gdLst>
                <a:gd name="T0" fmla="*/ 2147483647 w 9627"/>
                <a:gd name="T1" fmla="*/ 0 h 9666"/>
                <a:gd name="T2" fmla="*/ 2147483647 w 9627"/>
                <a:gd name="T3" fmla="*/ 2147483647 h 9666"/>
                <a:gd name="T4" fmla="*/ 2147483647 w 9627"/>
                <a:gd name="T5" fmla="*/ 2147483647 h 9666"/>
                <a:gd name="T6" fmla="*/ 2147483647 w 9627"/>
                <a:gd name="T7" fmla="*/ 2147483647 h 9666"/>
                <a:gd name="T8" fmla="*/ 2147483647 w 9627"/>
                <a:gd name="T9" fmla="*/ 2147483647 h 9666"/>
                <a:gd name="T10" fmla="*/ 2147483647 w 9627"/>
                <a:gd name="T11" fmla="*/ 2147483647 h 9666"/>
                <a:gd name="T12" fmla="*/ 2147483647 w 9627"/>
                <a:gd name="T13" fmla="*/ 2147483647 h 9666"/>
                <a:gd name="T14" fmla="*/ 2147483647 w 9627"/>
                <a:gd name="T15" fmla="*/ 2147483647 h 9666"/>
                <a:gd name="T16" fmla="*/ 2147483647 w 9627"/>
                <a:gd name="T17" fmla="*/ 2147483647 h 9666"/>
                <a:gd name="T18" fmla="*/ 2147483647 w 9627"/>
                <a:gd name="T19" fmla="*/ 2147483647 h 9666"/>
                <a:gd name="T20" fmla="*/ 2147483647 w 9627"/>
                <a:gd name="T21" fmla="*/ 2147483647 h 9666"/>
                <a:gd name="T22" fmla="*/ 2147483647 w 9627"/>
                <a:gd name="T23" fmla="*/ 2147483647 h 9666"/>
                <a:gd name="T24" fmla="*/ 2147483647 w 9627"/>
                <a:gd name="T25" fmla="*/ 2147483647 h 9666"/>
                <a:gd name="T26" fmla="*/ 2147483647 w 9627"/>
                <a:gd name="T27" fmla="*/ 2147483647 h 9666"/>
                <a:gd name="T28" fmla="*/ 2147483647 w 9627"/>
                <a:gd name="T29" fmla="*/ 2147483647 h 9666"/>
                <a:gd name="T30" fmla="*/ 2147483647 w 9627"/>
                <a:gd name="T31" fmla="*/ 2147483647 h 9666"/>
                <a:gd name="T32" fmla="*/ 2147483647 w 9627"/>
                <a:gd name="T33" fmla="*/ 2147483647 h 9666"/>
                <a:gd name="T34" fmla="*/ 2147483647 w 9627"/>
                <a:gd name="T35" fmla="*/ 2147483647 h 9666"/>
                <a:gd name="T36" fmla="*/ 2147483647 w 9627"/>
                <a:gd name="T37" fmla="*/ 2147483647 h 9666"/>
                <a:gd name="T38" fmla="*/ 2147483647 w 9627"/>
                <a:gd name="T39" fmla="*/ 2147483647 h 9666"/>
                <a:gd name="T40" fmla="*/ 2147483647 w 9627"/>
                <a:gd name="T41" fmla="*/ 2147483647 h 9666"/>
                <a:gd name="T42" fmla="*/ 2147483647 w 9627"/>
                <a:gd name="T43" fmla="*/ 2147483647 h 9666"/>
                <a:gd name="T44" fmla="*/ 2147483647 w 9627"/>
                <a:gd name="T45" fmla="*/ 2147483647 h 9666"/>
                <a:gd name="T46" fmla="*/ 2147483647 w 9627"/>
                <a:gd name="T47" fmla="*/ 2147483647 h 9666"/>
                <a:gd name="T48" fmla="*/ 2147483647 w 9627"/>
                <a:gd name="T49" fmla="*/ 2147483647 h 9666"/>
                <a:gd name="T50" fmla="*/ 2147483647 w 9627"/>
                <a:gd name="T51" fmla="*/ 2147483647 h 9666"/>
                <a:gd name="T52" fmla="*/ 2147483647 w 9627"/>
                <a:gd name="T53" fmla="*/ 2147483647 h 9666"/>
                <a:gd name="T54" fmla="*/ 2147483647 w 9627"/>
                <a:gd name="T55" fmla="*/ 2147483647 h 9666"/>
                <a:gd name="T56" fmla="*/ 2147483647 w 9627"/>
                <a:gd name="T57" fmla="*/ 2147483647 h 9666"/>
                <a:gd name="T58" fmla="*/ 0 w 9627"/>
                <a:gd name="T59" fmla="*/ 2147483647 h 966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w 9627"/>
                <a:gd name="T91" fmla="*/ 0 h 9666"/>
                <a:gd name="T92" fmla="*/ 9627 w 9627"/>
                <a:gd name="T93" fmla="*/ 9666 h 9666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T90" t="T91" r="T92" b="T93"/>
              <a:pathLst>
                <a:path w="9627" h="9666">
                  <a:moveTo>
                    <a:pt x="9627" y="0"/>
                  </a:moveTo>
                  <a:lnTo>
                    <a:pt x="9254" y="428"/>
                  </a:lnTo>
                  <a:cubicBezTo>
                    <a:pt x="9244" y="674"/>
                    <a:pt x="9233" y="916"/>
                    <a:pt x="9226" y="1155"/>
                  </a:cubicBezTo>
                  <a:lnTo>
                    <a:pt x="8881" y="1493"/>
                  </a:lnTo>
                  <a:cubicBezTo>
                    <a:pt x="8872" y="1697"/>
                    <a:pt x="8862" y="1900"/>
                    <a:pt x="8852" y="2105"/>
                  </a:cubicBezTo>
                  <a:lnTo>
                    <a:pt x="9348" y="2783"/>
                  </a:lnTo>
                  <a:cubicBezTo>
                    <a:pt x="9434" y="2910"/>
                    <a:pt x="9514" y="3044"/>
                    <a:pt x="9601" y="3177"/>
                  </a:cubicBezTo>
                  <a:cubicBezTo>
                    <a:pt x="9568" y="3396"/>
                    <a:pt x="9535" y="3618"/>
                    <a:pt x="9507" y="3844"/>
                  </a:cubicBezTo>
                  <a:lnTo>
                    <a:pt x="9130" y="3956"/>
                  </a:lnTo>
                  <a:cubicBezTo>
                    <a:pt x="9046" y="4064"/>
                    <a:pt x="8966" y="4177"/>
                    <a:pt x="8881" y="4295"/>
                  </a:cubicBezTo>
                  <a:cubicBezTo>
                    <a:pt x="8950" y="4520"/>
                    <a:pt x="9005" y="4733"/>
                    <a:pt x="9070" y="4961"/>
                  </a:cubicBezTo>
                  <a:lnTo>
                    <a:pt x="8477" y="5185"/>
                  </a:lnTo>
                  <a:lnTo>
                    <a:pt x="8198" y="5459"/>
                  </a:lnTo>
                  <a:lnTo>
                    <a:pt x="7448" y="5691"/>
                  </a:lnTo>
                  <a:lnTo>
                    <a:pt x="7106" y="5691"/>
                  </a:lnTo>
                  <a:cubicBezTo>
                    <a:pt x="6987" y="6007"/>
                    <a:pt x="6864" y="6324"/>
                    <a:pt x="6740" y="6638"/>
                  </a:cubicBezTo>
                  <a:lnTo>
                    <a:pt x="5961" y="6975"/>
                  </a:lnTo>
                  <a:lnTo>
                    <a:pt x="5217" y="7146"/>
                  </a:lnTo>
                  <a:lnTo>
                    <a:pt x="4784" y="6812"/>
                  </a:lnTo>
                  <a:lnTo>
                    <a:pt x="4318" y="7029"/>
                  </a:lnTo>
                  <a:lnTo>
                    <a:pt x="3816" y="7146"/>
                  </a:lnTo>
                  <a:cubicBezTo>
                    <a:pt x="3738" y="7429"/>
                    <a:pt x="3657" y="7706"/>
                    <a:pt x="3567" y="7983"/>
                  </a:cubicBezTo>
                  <a:lnTo>
                    <a:pt x="3290" y="7706"/>
                  </a:lnTo>
                  <a:lnTo>
                    <a:pt x="2980" y="8150"/>
                  </a:lnTo>
                  <a:cubicBezTo>
                    <a:pt x="2867" y="8338"/>
                    <a:pt x="2751" y="8525"/>
                    <a:pt x="2642" y="8709"/>
                  </a:cubicBezTo>
                  <a:lnTo>
                    <a:pt x="2266" y="9156"/>
                  </a:lnTo>
                  <a:lnTo>
                    <a:pt x="1679" y="9212"/>
                  </a:lnTo>
                  <a:lnTo>
                    <a:pt x="1055" y="9328"/>
                  </a:lnTo>
                  <a:lnTo>
                    <a:pt x="587" y="9494"/>
                  </a:lnTo>
                  <a:lnTo>
                    <a:pt x="0" y="9666"/>
                  </a:lnTo>
                </a:path>
              </a:pathLst>
            </a:custGeom>
            <a:noFill/>
            <a:ln w="317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sm" len="sm"/>
            </a:ln>
          </p:spPr>
          <p:txBody>
            <a:bodyPr wrap="none" lIns="36000" tIns="36000" rIns="36000" bIns="36000" anchor="ctr"/>
            <a:lstStyle/>
            <a:p>
              <a:pPr defTabSz="891045"/>
              <a:endParaRPr lang="en-US" sz="1700" dirty="0">
                <a:solidFill>
                  <a:srgbClr val="003149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359" name="Freeform 749"/>
            <p:cNvSpPr>
              <a:spLocks noChangeAspect="1"/>
            </p:cNvSpPr>
            <p:nvPr>
              <p:custDataLst>
                <p:tags r:id="rId263"/>
              </p:custDataLst>
            </p:nvPr>
          </p:nvSpPr>
          <p:spPr bwMode="gray">
            <a:xfrm>
              <a:off x="12708381" y="6872552"/>
              <a:ext cx="459144" cy="2117116"/>
            </a:xfrm>
            <a:custGeom>
              <a:avLst/>
              <a:gdLst>
                <a:gd name="T0" fmla="*/ 0 w 9943"/>
                <a:gd name="T1" fmla="*/ 2147483647 h 9802"/>
                <a:gd name="T2" fmla="*/ 2147483647 w 9943"/>
                <a:gd name="T3" fmla="*/ 2147483647 h 9802"/>
                <a:gd name="T4" fmla="*/ 2147483647 w 9943"/>
                <a:gd name="T5" fmla="*/ 2147483647 h 9802"/>
                <a:gd name="T6" fmla="*/ 2147483647 w 9943"/>
                <a:gd name="T7" fmla="*/ 2147483647 h 9802"/>
                <a:gd name="T8" fmla="*/ 2147483647 w 9943"/>
                <a:gd name="T9" fmla="*/ 2147483647 h 9802"/>
                <a:gd name="T10" fmla="*/ 2147483647 w 9943"/>
                <a:gd name="T11" fmla="*/ 2147483647 h 9802"/>
                <a:gd name="T12" fmla="*/ 2147483647 w 9943"/>
                <a:gd name="T13" fmla="*/ 2147483647 h 9802"/>
                <a:gd name="T14" fmla="*/ 2147483647 w 9943"/>
                <a:gd name="T15" fmla="*/ 2147483647 h 9802"/>
                <a:gd name="T16" fmla="*/ 2147483647 w 9943"/>
                <a:gd name="T17" fmla="*/ 2147483647 h 9802"/>
                <a:gd name="T18" fmla="*/ 2147483647 w 9943"/>
                <a:gd name="T19" fmla="*/ 2147483647 h 9802"/>
                <a:gd name="T20" fmla="*/ 2147483647 w 9943"/>
                <a:gd name="T21" fmla="*/ 2147483647 h 9802"/>
                <a:gd name="T22" fmla="*/ 2147483647 w 9943"/>
                <a:gd name="T23" fmla="*/ 2147483647 h 9802"/>
                <a:gd name="T24" fmla="*/ 2147483647 w 9943"/>
                <a:gd name="T25" fmla="*/ 2147483647 h 9802"/>
                <a:gd name="T26" fmla="*/ 2147483647 w 9943"/>
                <a:gd name="T27" fmla="*/ 2147483647 h 9802"/>
                <a:gd name="T28" fmla="*/ 2147483647 w 9943"/>
                <a:gd name="T29" fmla="*/ 2147483647 h 9802"/>
                <a:gd name="T30" fmla="*/ 2147483647 w 9943"/>
                <a:gd name="T31" fmla="*/ 2147483647 h 9802"/>
                <a:gd name="T32" fmla="*/ 2147483647 w 9943"/>
                <a:gd name="T33" fmla="*/ 2147483647 h 9802"/>
                <a:gd name="T34" fmla="*/ 2147483647 w 9943"/>
                <a:gd name="T35" fmla="*/ 2147483647 h 9802"/>
                <a:gd name="T36" fmla="*/ 2147483647 w 9943"/>
                <a:gd name="T37" fmla="*/ 2147483647 h 9802"/>
                <a:gd name="T38" fmla="*/ 2147483647 w 9943"/>
                <a:gd name="T39" fmla="*/ 2147483647 h 9802"/>
                <a:gd name="T40" fmla="*/ 2147483647 w 9943"/>
                <a:gd name="T41" fmla="*/ 2147483647 h 9802"/>
                <a:gd name="T42" fmla="*/ 2147483647 w 9943"/>
                <a:gd name="T43" fmla="*/ 2147483647 h 9802"/>
                <a:gd name="T44" fmla="*/ 2147483647 w 9943"/>
                <a:gd name="T45" fmla="*/ 2147483647 h 9802"/>
                <a:gd name="T46" fmla="*/ 2147483647 w 9943"/>
                <a:gd name="T47" fmla="*/ 2147483647 h 9802"/>
                <a:gd name="T48" fmla="*/ 2147483647 w 9943"/>
                <a:gd name="T49" fmla="*/ 2147483647 h 9802"/>
                <a:gd name="T50" fmla="*/ 2147483647 w 9943"/>
                <a:gd name="T51" fmla="*/ 2147483647 h 9802"/>
                <a:gd name="T52" fmla="*/ 2147483647 w 9943"/>
                <a:gd name="T53" fmla="*/ 2147483647 h 9802"/>
                <a:gd name="T54" fmla="*/ 2147483647 w 9943"/>
                <a:gd name="T55" fmla="*/ 2147483647 h 9802"/>
                <a:gd name="T56" fmla="*/ 2147483647 w 9943"/>
                <a:gd name="T57" fmla="*/ 2147483647 h 9802"/>
                <a:gd name="T58" fmla="*/ 2147483647 w 9943"/>
                <a:gd name="T59" fmla="*/ 2147483647 h 9802"/>
                <a:gd name="T60" fmla="*/ 2147483647 w 9943"/>
                <a:gd name="T61" fmla="*/ 2147483647 h 9802"/>
                <a:gd name="T62" fmla="*/ 2147483647 w 9943"/>
                <a:gd name="T63" fmla="*/ 2147483647 h 9802"/>
                <a:gd name="T64" fmla="*/ 2147483647 w 9943"/>
                <a:gd name="T65" fmla="*/ 2147483647 h 9802"/>
                <a:gd name="T66" fmla="*/ 2147483647 w 9943"/>
                <a:gd name="T67" fmla="*/ 2147483647 h 9802"/>
                <a:gd name="T68" fmla="*/ 2147483647 w 9943"/>
                <a:gd name="T69" fmla="*/ 2147483647 h 9802"/>
                <a:gd name="T70" fmla="*/ 2147483647 w 9943"/>
                <a:gd name="T71" fmla="*/ 2147483647 h 9802"/>
                <a:gd name="T72" fmla="*/ 2147483647 w 9943"/>
                <a:gd name="T73" fmla="*/ 2147483647 h 9802"/>
                <a:gd name="T74" fmla="*/ 2147483647 w 9943"/>
                <a:gd name="T75" fmla="*/ 2147483647 h 9802"/>
                <a:gd name="T76" fmla="*/ 2147483647 w 9943"/>
                <a:gd name="T77" fmla="*/ 2147483647 h 9802"/>
                <a:gd name="T78" fmla="*/ 2147483647 w 9943"/>
                <a:gd name="T79" fmla="*/ 2147483647 h 9802"/>
                <a:gd name="T80" fmla="*/ 2147483647 w 9943"/>
                <a:gd name="T81" fmla="*/ 2147483647 h 9802"/>
                <a:gd name="T82" fmla="*/ 2147483647 w 9943"/>
                <a:gd name="T83" fmla="*/ 2147483647 h 9802"/>
                <a:gd name="T84" fmla="*/ 2147483647 w 9943"/>
                <a:gd name="T85" fmla="*/ 2147483647 h 9802"/>
                <a:gd name="T86" fmla="*/ 2147483647 w 9943"/>
                <a:gd name="T87" fmla="*/ 2147483647 h 9802"/>
                <a:gd name="T88" fmla="*/ 2147483647 w 9943"/>
                <a:gd name="T89" fmla="*/ 2147483647 h 9802"/>
                <a:gd name="T90" fmla="*/ 2147483647 w 9943"/>
                <a:gd name="T91" fmla="*/ 2147483647 h 9802"/>
                <a:gd name="T92" fmla="*/ 2147483647 w 9943"/>
                <a:gd name="T93" fmla="*/ 2147483647 h 9802"/>
                <a:gd name="T94" fmla="*/ 2147483647 w 9943"/>
                <a:gd name="T95" fmla="*/ 2147483647 h 9802"/>
                <a:gd name="T96" fmla="*/ 2147483647 w 9943"/>
                <a:gd name="T97" fmla="*/ 2147483647 h 9802"/>
                <a:gd name="T98" fmla="*/ 2147483647 w 9943"/>
                <a:gd name="T99" fmla="*/ 2147483647 h 9802"/>
                <a:gd name="T100" fmla="*/ 2147483647 w 9943"/>
                <a:gd name="T101" fmla="*/ 2147483647 h 9802"/>
                <a:gd name="T102" fmla="*/ 2147483647 w 9943"/>
                <a:gd name="T103" fmla="*/ 2147483647 h 9802"/>
                <a:gd name="T104" fmla="*/ 2147483647 w 9943"/>
                <a:gd name="T105" fmla="*/ 2147483647 h 9802"/>
                <a:gd name="T106" fmla="*/ 2147483647 w 9943"/>
                <a:gd name="T107" fmla="*/ 2147483647 h 9802"/>
                <a:gd name="T108" fmla="*/ 2147483647 w 9943"/>
                <a:gd name="T109" fmla="*/ 2147483647 h 9802"/>
                <a:gd name="T110" fmla="*/ 2147483647 w 9943"/>
                <a:gd name="T111" fmla="*/ 2147483647 h 9802"/>
                <a:gd name="T112" fmla="*/ 2147483647 w 9943"/>
                <a:gd name="T113" fmla="*/ 2147483647 h 9802"/>
                <a:gd name="T114" fmla="*/ 2147483647 w 9943"/>
                <a:gd name="T115" fmla="*/ 2147483647 h 9802"/>
                <a:gd name="T116" fmla="*/ 2147483647 w 9943"/>
                <a:gd name="T117" fmla="*/ 2147483647 h 9802"/>
                <a:gd name="T118" fmla="*/ 2147483647 w 9943"/>
                <a:gd name="T119" fmla="*/ 0 h 9802"/>
                <a:gd name="T120" fmla="*/ 2147483647 w 9943"/>
                <a:gd name="T121" fmla="*/ 2147483647 h 9802"/>
                <a:gd name="T122" fmla="*/ 2147483647 w 9943"/>
                <a:gd name="T123" fmla="*/ 2147483647 h 9802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9943"/>
                <a:gd name="T187" fmla="*/ 0 h 9802"/>
                <a:gd name="T188" fmla="*/ 9943 w 9943"/>
                <a:gd name="T189" fmla="*/ 9802 h 9802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9943" h="9802">
                  <a:moveTo>
                    <a:pt x="0" y="9802"/>
                  </a:moveTo>
                  <a:lnTo>
                    <a:pt x="319" y="9684"/>
                  </a:lnTo>
                  <a:lnTo>
                    <a:pt x="2198" y="9383"/>
                  </a:lnTo>
                  <a:lnTo>
                    <a:pt x="3439" y="9021"/>
                  </a:lnTo>
                  <a:lnTo>
                    <a:pt x="4539" y="8752"/>
                  </a:lnTo>
                  <a:lnTo>
                    <a:pt x="6331" y="8455"/>
                  </a:lnTo>
                  <a:lnTo>
                    <a:pt x="5638" y="8188"/>
                  </a:lnTo>
                  <a:lnTo>
                    <a:pt x="6734" y="7922"/>
                  </a:lnTo>
                  <a:lnTo>
                    <a:pt x="5955" y="7789"/>
                  </a:lnTo>
                  <a:cubicBezTo>
                    <a:pt x="5907" y="7731"/>
                    <a:pt x="5858" y="7678"/>
                    <a:pt x="5810" y="7624"/>
                  </a:cubicBezTo>
                  <a:lnTo>
                    <a:pt x="5318" y="7624"/>
                  </a:lnTo>
                  <a:lnTo>
                    <a:pt x="5087" y="7486"/>
                  </a:lnTo>
                  <a:lnTo>
                    <a:pt x="6100" y="7486"/>
                  </a:lnTo>
                  <a:lnTo>
                    <a:pt x="6331" y="7308"/>
                  </a:lnTo>
                  <a:lnTo>
                    <a:pt x="6331" y="7152"/>
                  </a:lnTo>
                  <a:lnTo>
                    <a:pt x="7602" y="6954"/>
                  </a:lnTo>
                  <a:lnTo>
                    <a:pt x="9163" y="6840"/>
                  </a:lnTo>
                  <a:cubicBezTo>
                    <a:pt x="9240" y="6689"/>
                    <a:pt x="9318" y="6539"/>
                    <a:pt x="9395" y="6388"/>
                  </a:cubicBezTo>
                  <a:lnTo>
                    <a:pt x="9943" y="5888"/>
                  </a:lnTo>
                  <a:cubicBezTo>
                    <a:pt x="9915" y="5811"/>
                    <a:pt x="9885" y="5735"/>
                    <a:pt x="9857" y="5658"/>
                  </a:cubicBezTo>
                  <a:lnTo>
                    <a:pt x="9075" y="5558"/>
                  </a:lnTo>
                  <a:lnTo>
                    <a:pt x="8296" y="5576"/>
                  </a:lnTo>
                  <a:lnTo>
                    <a:pt x="7747" y="5645"/>
                  </a:lnTo>
                  <a:lnTo>
                    <a:pt x="7428" y="5488"/>
                  </a:lnTo>
                  <a:lnTo>
                    <a:pt x="7054" y="5407"/>
                  </a:lnTo>
                  <a:lnTo>
                    <a:pt x="7747" y="5312"/>
                  </a:lnTo>
                  <a:lnTo>
                    <a:pt x="7197" y="5243"/>
                  </a:lnTo>
                  <a:lnTo>
                    <a:pt x="5724" y="5205"/>
                  </a:lnTo>
                  <a:lnTo>
                    <a:pt x="4856" y="5194"/>
                  </a:lnTo>
                  <a:cubicBezTo>
                    <a:pt x="4904" y="5155"/>
                    <a:pt x="4953" y="5118"/>
                    <a:pt x="5001" y="5078"/>
                  </a:cubicBezTo>
                  <a:lnTo>
                    <a:pt x="5549" y="4794"/>
                  </a:lnTo>
                  <a:lnTo>
                    <a:pt x="6331" y="4696"/>
                  </a:lnTo>
                  <a:lnTo>
                    <a:pt x="6822" y="4393"/>
                  </a:lnTo>
                  <a:lnTo>
                    <a:pt x="6331" y="4258"/>
                  </a:lnTo>
                  <a:lnTo>
                    <a:pt x="5810" y="4146"/>
                  </a:lnTo>
                  <a:lnTo>
                    <a:pt x="6186" y="4028"/>
                  </a:lnTo>
                  <a:lnTo>
                    <a:pt x="5638" y="3912"/>
                  </a:lnTo>
                  <a:lnTo>
                    <a:pt x="4712" y="3808"/>
                  </a:lnTo>
                  <a:lnTo>
                    <a:pt x="3931" y="3680"/>
                  </a:lnTo>
                  <a:lnTo>
                    <a:pt x="4162" y="3578"/>
                  </a:lnTo>
                  <a:lnTo>
                    <a:pt x="3758" y="3444"/>
                  </a:lnTo>
                  <a:lnTo>
                    <a:pt x="3989" y="3248"/>
                  </a:lnTo>
                  <a:lnTo>
                    <a:pt x="4481" y="3132"/>
                  </a:lnTo>
                  <a:cubicBezTo>
                    <a:pt x="4501" y="3068"/>
                    <a:pt x="4519" y="3007"/>
                    <a:pt x="4539" y="2946"/>
                  </a:cubicBezTo>
                  <a:lnTo>
                    <a:pt x="4162" y="2729"/>
                  </a:lnTo>
                  <a:cubicBezTo>
                    <a:pt x="4133" y="2675"/>
                    <a:pt x="4105" y="2618"/>
                    <a:pt x="4076" y="2562"/>
                  </a:cubicBezTo>
                  <a:cubicBezTo>
                    <a:pt x="4105" y="2504"/>
                    <a:pt x="4134" y="2439"/>
                    <a:pt x="4162" y="2379"/>
                  </a:cubicBezTo>
                  <a:lnTo>
                    <a:pt x="4856" y="2229"/>
                  </a:lnTo>
                  <a:cubicBezTo>
                    <a:pt x="4827" y="2172"/>
                    <a:pt x="4798" y="2120"/>
                    <a:pt x="4770" y="2064"/>
                  </a:cubicBezTo>
                  <a:lnTo>
                    <a:pt x="4162" y="1749"/>
                  </a:lnTo>
                  <a:lnTo>
                    <a:pt x="3208" y="1478"/>
                  </a:lnTo>
                  <a:lnTo>
                    <a:pt x="2602" y="1301"/>
                  </a:lnTo>
                  <a:lnTo>
                    <a:pt x="2746" y="1183"/>
                  </a:lnTo>
                  <a:lnTo>
                    <a:pt x="3297" y="1066"/>
                  </a:lnTo>
                  <a:lnTo>
                    <a:pt x="3758" y="848"/>
                  </a:lnTo>
                  <a:cubicBezTo>
                    <a:pt x="3709" y="782"/>
                    <a:pt x="3662" y="715"/>
                    <a:pt x="3614" y="648"/>
                  </a:cubicBezTo>
                  <a:lnTo>
                    <a:pt x="3064" y="482"/>
                  </a:lnTo>
                  <a:lnTo>
                    <a:pt x="2746" y="252"/>
                  </a:lnTo>
                  <a:cubicBezTo>
                    <a:pt x="2774" y="195"/>
                    <a:pt x="2805" y="143"/>
                    <a:pt x="2833" y="86"/>
                  </a:cubicBezTo>
                  <a:lnTo>
                    <a:pt x="3208" y="0"/>
                  </a:lnTo>
                  <a:lnTo>
                    <a:pt x="3845" y="86"/>
                  </a:lnTo>
                  <a:lnTo>
                    <a:pt x="4539" y="135"/>
                  </a:lnTo>
                </a:path>
              </a:pathLst>
            </a:custGeom>
            <a:noFill/>
            <a:ln w="317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none" lIns="36000" tIns="36000" rIns="36000" bIns="36000" anchor="ctr"/>
            <a:lstStyle/>
            <a:p>
              <a:pPr defTabSz="891045"/>
              <a:endParaRPr lang="en-US" sz="1700" dirty="0">
                <a:solidFill>
                  <a:srgbClr val="003149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360" name="Freeform 707"/>
            <p:cNvSpPr>
              <a:spLocks noChangeAspect="1"/>
            </p:cNvSpPr>
            <p:nvPr>
              <p:custDataLst>
                <p:tags r:id="rId264"/>
              </p:custDataLst>
            </p:nvPr>
          </p:nvSpPr>
          <p:spPr bwMode="gray">
            <a:xfrm>
              <a:off x="8430412" y="7379046"/>
              <a:ext cx="43034" cy="73711"/>
            </a:xfrm>
            <a:custGeom>
              <a:avLst/>
              <a:gdLst>
                <a:gd name="T0" fmla="*/ 2147483647 w 7562"/>
                <a:gd name="T1" fmla="*/ 0 h 8309"/>
                <a:gd name="T2" fmla="*/ 2147483647 w 7562"/>
                <a:gd name="T3" fmla="*/ 2147483647 h 8309"/>
                <a:gd name="T4" fmla="*/ 0 w 7562"/>
                <a:gd name="T5" fmla="*/ 2147483647 h 8309"/>
                <a:gd name="T6" fmla="*/ 2147483647 w 7562"/>
                <a:gd name="T7" fmla="*/ 2147483647 h 8309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7562"/>
                <a:gd name="T13" fmla="*/ 0 h 8309"/>
                <a:gd name="T14" fmla="*/ 7562 w 7562"/>
                <a:gd name="T15" fmla="*/ 8309 h 8309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7562" h="8309">
                  <a:moveTo>
                    <a:pt x="7562" y="0"/>
                  </a:moveTo>
                  <a:lnTo>
                    <a:pt x="1861" y="1170"/>
                  </a:lnTo>
                  <a:cubicBezTo>
                    <a:pt x="1275" y="1974"/>
                    <a:pt x="643" y="2755"/>
                    <a:pt x="0" y="3585"/>
                  </a:cubicBezTo>
                  <a:cubicBezTo>
                    <a:pt x="1275" y="5081"/>
                    <a:pt x="1685" y="6811"/>
                    <a:pt x="2993" y="8309"/>
                  </a:cubicBezTo>
                </a:path>
              </a:pathLst>
            </a:custGeom>
            <a:noFill/>
            <a:ln w="317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sm" len="sm"/>
            </a:ln>
          </p:spPr>
          <p:txBody>
            <a:bodyPr wrap="none" lIns="36000" tIns="36000" rIns="36000" bIns="36000" anchor="ctr"/>
            <a:lstStyle/>
            <a:p>
              <a:pPr defTabSz="891045"/>
              <a:endParaRPr lang="en-US" sz="1700" dirty="0">
                <a:solidFill>
                  <a:srgbClr val="003149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361" name="Freeform 722"/>
            <p:cNvSpPr>
              <a:spLocks noChangeAspect="1"/>
            </p:cNvSpPr>
            <p:nvPr>
              <p:custDataLst>
                <p:tags r:id="rId265"/>
              </p:custDataLst>
            </p:nvPr>
          </p:nvSpPr>
          <p:spPr bwMode="gray">
            <a:xfrm>
              <a:off x="10481463" y="9737262"/>
              <a:ext cx="93360" cy="165837"/>
            </a:xfrm>
            <a:custGeom>
              <a:avLst/>
              <a:gdLst>
                <a:gd name="T0" fmla="*/ 0 w 8656"/>
                <a:gd name="T1" fmla="*/ 2147483647 h 9126"/>
                <a:gd name="T2" fmla="*/ 2147483647 w 8656"/>
                <a:gd name="T3" fmla="*/ 2147483647 h 9126"/>
                <a:gd name="T4" fmla="*/ 2147483647 w 8656"/>
                <a:gd name="T5" fmla="*/ 2147483647 h 9126"/>
                <a:gd name="T6" fmla="*/ 2147483647 w 8656"/>
                <a:gd name="T7" fmla="*/ 2147483647 h 9126"/>
                <a:gd name="T8" fmla="*/ 2147483647 w 8656"/>
                <a:gd name="T9" fmla="*/ 2147483647 h 9126"/>
                <a:gd name="T10" fmla="*/ 2147483647 w 8656"/>
                <a:gd name="T11" fmla="*/ 2147483647 h 9126"/>
                <a:gd name="T12" fmla="*/ 2147483647 w 8656"/>
                <a:gd name="T13" fmla="*/ 2147483647 h 9126"/>
                <a:gd name="T14" fmla="*/ 2147483647 w 8656"/>
                <a:gd name="T15" fmla="*/ 0 h 912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8656"/>
                <a:gd name="T25" fmla="*/ 0 h 9126"/>
                <a:gd name="T26" fmla="*/ 8656 w 8656"/>
                <a:gd name="T27" fmla="*/ 9126 h 912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8656" h="9126">
                  <a:moveTo>
                    <a:pt x="0" y="9126"/>
                  </a:moveTo>
                  <a:lnTo>
                    <a:pt x="3691" y="8719"/>
                  </a:lnTo>
                  <a:cubicBezTo>
                    <a:pt x="3403" y="8262"/>
                    <a:pt x="3220" y="7800"/>
                    <a:pt x="3012" y="7335"/>
                  </a:cubicBezTo>
                  <a:lnTo>
                    <a:pt x="3012" y="5329"/>
                  </a:lnTo>
                  <a:lnTo>
                    <a:pt x="8656" y="4323"/>
                  </a:lnTo>
                  <a:cubicBezTo>
                    <a:pt x="8500" y="3862"/>
                    <a:pt x="8409" y="3399"/>
                    <a:pt x="8312" y="2935"/>
                  </a:cubicBezTo>
                  <a:cubicBezTo>
                    <a:pt x="8128" y="2134"/>
                    <a:pt x="7891" y="1328"/>
                    <a:pt x="7674" y="534"/>
                  </a:cubicBezTo>
                  <a:cubicBezTo>
                    <a:pt x="7858" y="357"/>
                    <a:pt x="7969" y="169"/>
                    <a:pt x="8207" y="0"/>
                  </a:cubicBezTo>
                </a:path>
              </a:pathLst>
            </a:custGeom>
            <a:noFill/>
            <a:ln w="317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none" lIns="36000" tIns="36000" rIns="36000" bIns="36000" anchor="ctr"/>
            <a:lstStyle/>
            <a:p>
              <a:pPr defTabSz="891045"/>
              <a:endParaRPr lang="en-US" sz="1700" dirty="0">
                <a:solidFill>
                  <a:srgbClr val="003149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362" name="Freeform 667"/>
            <p:cNvSpPr>
              <a:spLocks noChangeAspect="1"/>
            </p:cNvSpPr>
            <p:nvPr>
              <p:custDataLst>
                <p:tags r:id="rId266"/>
              </p:custDataLst>
            </p:nvPr>
          </p:nvSpPr>
          <p:spPr bwMode="gray">
            <a:xfrm>
              <a:off x="4492906" y="5696888"/>
              <a:ext cx="1588020" cy="972470"/>
            </a:xfrm>
            <a:custGeom>
              <a:avLst/>
              <a:gdLst>
                <a:gd name="T0" fmla="*/ 0 w 10015"/>
                <a:gd name="T1" fmla="*/ 0 h 10001"/>
                <a:gd name="T2" fmla="*/ 2147483647 w 10015"/>
                <a:gd name="T3" fmla="*/ 2147483647 h 10001"/>
                <a:gd name="T4" fmla="*/ 2147483647 w 10015"/>
                <a:gd name="T5" fmla="*/ 2147483647 h 10001"/>
                <a:gd name="T6" fmla="*/ 2147483647 w 10015"/>
                <a:gd name="T7" fmla="*/ 2147483647 h 10001"/>
                <a:gd name="T8" fmla="*/ 2147483647 w 10015"/>
                <a:gd name="T9" fmla="*/ 2147483647 h 10001"/>
                <a:gd name="T10" fmla="*/ 2147483647 w 10015"/>
                <a:gd name="T11" fmla="*/ 2147483647 h 10001"/>
                <a:gd name="T12" fmla="*/ 2147483647 w 10015"/>
                <a:gd name="T13" fmla="*/ 2147483647 h 10001"/>
                <a:gd name="T14" fmla="*/ 2147483647 w 10015"/>
                <a:gd name="T15" fmla="*/ 2147483647 h 10001"/>
                <a:gd name="T16" fmla="*/ 2147483647 w 10015"/>
                <a:gd name="T17" fmla="*/ 2147483647 h 10001"/>
                <a:gd name="T18" fmla="*/ 2147483647 w 10015"/>
                <a:gd name="T19" fmla="*/ 2147483647 h 10001"/>
                <a:gd name="T20" fmla="*/ 2147483647 w 10015"/>
                <a:gd name="T21" fmla="*/ 2147483647 h 10001"/>
                <a:gd name="T22" fmla="*/ 2147483647 w 10015"/>
                <a:gd name="T23" fmla="*/ 2147483647 h 10001"/>
                <a:gd name="T24" fmla="*/ 2147483647 w 10015"/>
                <a:gd name="T25" fmla="*/ 2147483647 h 10001"/>
                <a:gd name="T26" fmla="*/ 2147483647 w 10015"/>
                <a:gd name="T27" fmla="*/ 2147483647 h 10001"/>
                <a:gd name="T28" fmla="*/ 2147483647 w 10015"/>
                <a:gd name="T29" fmla="*/ 2147483647 h 10001"/>
                <a:gd name="T30" fmla="*/ 2147483647 w 10015"/>
                <a:gd name="T31" fmla="*/ 2147483647 h 10001"/>
                <a:gd name="T32" fmla="*/ 2147483647 w 10015"/>
                <a:gd name="T33" fmla="*/ 2147483647 h 10001"/>
                <a:gd name="T34" fmla="*/ 2147483647 w 10015"/>
                <a:gd name="T35" fmla="*/ 2147483647 h 10001"/>
                <a:gd name="T36" fmla="*/ 2147483647 w 10015"/>
                <a:gd name="T37" fmla="*/ 2147483647 h 10001"/>
                <a:gd name="T38" fmla="*/ 2147483647 w 10015"/>
                <a:gd name="T39" fmla="*/ 2147483647 h 10001"/>
                <a:gd name="T40" fmla="*/ 2147483647 w 10015"/>
                <a:gd name="T41" fmla="*/ 2147483647 h 10001"/>
                <a:gd name="T42" fmla="*/ 2147483647 w 10015"/>
                <a:gd name="T43" fmla="*/ 2147483647 h 10001"/>
                <a:gd name="T44" fmla="*/ 2147483647 w 10015"/>
                <a:gd name="T45" fmla="*/ 2147483647 h 10001"/>
                <a:gd name="T46" fmla="*/ 2147483647 w 10015"/>
                <a:gd name="T47" fmla="*/ 2147483647 h 10001"/>
                <a:gd name="T48" fmla="*/ 2147483647 w 10015"/>
                <a:gd name="T49" fmla="*/ 2147483647 h 10001"/>
                <a:gd name="T50" fmla="*/ 2147483647 w 10015"/>
                <a:gd name="T51" fmla="*/ 2147483647 h 10001"/>
                <a:gd name="T52" fmla="*/ 2147483647 w 10015"/>
                <a:gd name="T53" fmla="*/ 2147483647 h 10001"/>
                <a:gd name="T54" fmla="*/ 2147483647 w 10015"/>
                <a:gd name="T55" fmla="*/ 2147483647 h 10001"/>
                <a:gd name="T56" fmla="*/ 2147483647 w 10015"/>
                <a:gd name="T57" fmla="*/ 2147483647 h 10001"/>
                <a:gd name="T58" fmla="*/ 2147483647 w 10015"/>
                <a:gd name="T59" fmla="*/ 2147483647 h 10001"/>
                <a:gd name="T60" fmla="*/ 2147483647 w 10015"/>
                <a:gd name="T61" fmla="*/ 2147483647 h 10001"/>
                <a:gd name="T62" fmla="*/ 2147483647 w 10015"/>
                <a:gd name="T63" fmla="*/ 2147483647 h 10001"/>
                <a:gd name="T64" fmla="*/ 2147483647 w 10015"/>
                <a:gd name="T65" fmla="*/ 2147483647 h 10001"/>
                <a:gd name="T66" fmla="*/ 2147483647 w 10015"/>
                <a:gd name="T67" fmla="*/ 2147483647 h 10001"/>
                <a:gd name="T68" fmla="*/ 2147483647 w 10015"/>
                <a:gd name="T69" fmla="*/ 2147483647 h 10001"/>
                <a:gd name="T70" fmla="*/ 2147483647 w 10015"/>
                <a:gd name="T71" fmla="*/ 2147483647 h 10001"/>
                <a:gd name="T72" fmla="*/ 2147483647 w 10015"/>
                <a:gd name="T73" fmla="*/ 2147483647 h 10001"/>
                <a:gd name="T74" fmla="*/ 2147483647 w 10015"/>
                <a:gd name="T75" fmla="*/ 2147483647 h 10001"/>
                <a:gd name="T76" fmla="*/ 2147483647 w 10015"/>
                <a:gd name="T77" fmla="*/ 2147483647 h 10001"/>
                <a:gd name="T78" fmla="*/ 2147483647 w 10015"/>
                <a:gd name="T79" fmla="*/ 2147483647 h 10001"/>
                <a:gd name="T80" fmla="*/ 2147483647 w 10015"/>
                <a:gd name="T81" fmla="*/ 2147483647 h 10001"/>
                <a:gd name="T82" fmla="*/ 2147483647 w 10015"/>
                <a:gd name="T83" fmla="*/ 2147483647 h 10001"/>
                <a:gd name="T84" fmla="*/ 2147483647 w 10015"/>
                <a:gd name="T85" fmla="*/ 2147483647 h 10001"/>
                <a:gd name="T86" fmla="*/ 2147483647 w 10015"/>
                <a:gd name="T87" fmla="*/ 2147483647 h 10001"/>
                <a:gd name="T88" fmla="*/ 2147483647 w 10015"/>
                <a:gd name="T89" fmla="*/ 2147483647 h 10001"/>
                <a:gd name="T90" fmla="*/ 2147483647 w 10015"/>
                <a:gd name="T91" fmla="*/ 2147483647 h 10001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w 10015"/>
                <a:gd name="T139" fmla="*/ 0 h 10001"/>
                <a:gd name="T140" fmla="*/ 10015 w 10015"/>
                <a:gd name="T141" fmla="*/ 10001 h 10001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T138" t="T139" r="T140" b="T141"/>
              <a:pathLst>
                <a:path w="10015" h="10001">
                  <a:moveTo>
                    <a:pt x="0" y="0"/>
                  </a:moveTo>
                  <a:lnTo>
                    <a:pt x="267" y="445"/>
                  </a:lnTo>
                  <a:lnTo>
                    <a:pt x="538" y="484"/>
                  </a:lnTo>
                  <a:lnTo>
                    <a:pt x="879" y="594"/>
                  </a:lnTo>
                  <a:lnTo>
                    <a:pt x="1105" y="372"/>
                  </a:lnTo>
                  <a:cubicBezTo>
                    <a:pt x="1142" y="248"/>
                    <a:pt x="1181" y="126"/>
                    <a:pt x="1218" y="1"/>
                  </a:cubicBezTo>
                  <a:lnTo>
                    <a:pt x="1445" y="260"/>
                  </a:lnTo>
                  <a:cubicBezTo>
                    <a:pt x="1468" y="325"/>
                    <a:pt x="1490" y="384"/>
                    <a:pt x="1513" y="445"/>
                  </a:cubicBezTo>
                  <a:lnTo>
                    <a:pt x="1786" y="484"/>
                  </a:lnTo>
                  <a:lnTo>
                    <a:pt x="2058" y="149"/>
                  </a:lnTo>
                  <a:cubicBezTo>
                    <a:pt x="2148" y="322"/>
                    <a:pt x="2239" y="494"/>
                    <a:pt x="2329" y="667"/>
                  </a:cubicBezTo>
                  <a:cubicBezTo>
                    <a:pt x="2397" y="853"/>
                    <a:pt x="2466" y="1040"/>
                    <a:pt x="2534" y="1225"/>
                  </a:cubicBezTo>
                  <a:lnTo>
                    <a:pt x="2534" y="1932"/>
                  </a:lnTo>
                  <a:cubicBezTo>
                    <a:pt x="2488" y="2078"/>
                    <a:pt x="2442" y="2225"/>
                    <a:pt x="2397" y="2375"/>
                  </a:cubicBezTo>
                  <a:lnTo>
                    <a:pt x="2397" y="3007"/>
                  </a:lnTo>
                  <a:cubicBezTo>
                    <a:pt x="2457" y="3167"/>
                    <a:pt x="2519" y="3327"/>
                    <a:pt x="2579" y="3490"/>
                  </a:cubicBezTo>
                  <a:lnTo>
                    <a:pt x="2874" y="3710"/>
                  </a:lnTo>
                  <a:lnTo>
                    <a:pt x="2972" y="3838"/>
                  </a:lnTo>
                  <a:lnTo>
                    <a:pt x="3145" y="3935"/>
                  </a:lnTo>
                  <a:lnTo>
                    <a:pt x="3464" y="3822"/>
                  </a:lnTo>
                  <a:cubicBezTo>
                    <a:pt x="3509" y="3698"/>
                    <a:pt x="3553" y="3575"/>
                    <a:pt x="3599" y="3451"/>
                  </a:cubicBezTo>
                  <a:lnTo>
                    <a:pt x="3940" y="3341"/>
                  </a:lnTo>
                  <a:lnTo>
                    <a:pt x="4165" y="3490"/>
                  </a:lnTo>
                  <a:lnTo>
                    <a:pt x="4438" y="3676"/>
                  </a:lnTo>
                  <a:lnTo>
                    <a:pt x="4709" y="3935"/>
                  </a:lnTo>
                  <a:lnTo>
                    <a:pt x="5029" y="3822"/>
                  </a:lnTo>
                  <a:cubicBezTo>
                    <a:pt x="5050" y="3710"/>
                    <a:pt x="5073" y="3598"/>
                    <a:pt x="5096" y="3490"/>
                  </a:cubicBezTo>
                  <a:lnTo>
                    <a:pt x="5436" y="3490"/>
                  </a:lnTo>
                  <a:cubicBezTo>
                    <a:pt x="5503" y="3700"/>
                    <a:pt x="5572" y="3908"/>
                    <a:pt x="5639" y="4117"/>
                  </a:cubicBezTo>
                  <a:cubicBezTo>
                    <a:pt x="5684" y="4279"/>
                    <a:pt x="5730" y="4441"/>
                    <a:pt x="5775" y="4602"/>
                  </a:cubicBezTo>
                  <a:cubicBezTo>
                    <a:pt x="5761" y="4714"/>
                    <a:pt x="5745" y="4825"/>
                    <a:pt x="5730" y="4935"/>
                  </a:cubicBezTo>
                  <a:cubicBezTo>
                    <a:pt x="5798" y="5121"/>
                    <a:pt x="5867" y="5306"/>
                    <a:pt x="5935" y="5492"/>
                  </a:cubicBezTo>
                  <a:lnTo>
                    <a:pt x="6319" y="5696"/>
                  </a:lnTo>
                  <a:lnTo>
                    <a:pt x="6660" y="6550"/>
                  </a:lnTo>
                  <a:lnTo>
                    <a:pt x="6931" y="6886"/>
                  </a:lnTo>
                  <a:lnTo>
                    <a:pt x="6931" y="7477"/>
                  </a:lnTo>
                  <a:lnTo>
                    <a:pt x="7339" y="8035"/>
                  </a:lnTo>
                  <a:cubicBezTo>
                    <a:pt x="7370" y="8144"/>
                    <a:pt x="7401" y="8258"/>
                    <a:pt x="7430" y="8369"/>
                  </a:cubicBezTo>
                  <a:lnTo>
                    <a:pt x="7975" y="8701"/>
                  </a:lnTo>
                  <a:cubicBezTo>
                    <a:pt x="8043" y="8923"/>
                    <a:pt x="8109" y="9149"/>
                    <a:pt x="8178" y="9371"/>
                  </a:cubicBezTo>
                  <a:lnTo>
                    <a:pt x="8382" y="9258"/>
                  </a:lnTo>
                  <a:lnTo>
                    <a:pt x="8858" y="9371"/>
                  </a:lnTo>
                  <a:lnTo>
                    <a:pt x="9131" y="9592"/>
                  </a:lnTo>
                  <a:lnTo>
                    <a:pt x="9402" y="9258"/>
                  </a:lnTo>
                  <a:lnTo>
                    <a:pt x="9675" y="9258"/>
                  </a:lnTo>
                  <a:lnTo>
                    <a:pt x="10015" y="10001"/>
                  </a:lnTo>
                </a:path>
              </a:pathLst>
            </a:custGeom>
            <a:noFill/>
            <a:ln w="317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sm" len="sm"/>
            </a:ln>
          </p:spPr>
          <p:txBody>
            <a:bodyPr wrap="none" lIns="36000" tIns="36000" rIns="36000" bIns="36000" anchor="ctr"/>
            <a:lstStyle/>
            <a:p>
              <a:pPr defTabSz="891045"/>
              <a:endParaRPr lang="en-US" sz="1700" dirty="0">
                <a:solidFill>
                  <a:srgbClr val="003149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363" name="Freeform 670"/>
            <p:cNvSpPr>
              <a:spLocks noChangeAspect="1"/>
            </p:cNvSpPr>
            <p:nvPr>
              <p:custDataLst>
                <p:tags r:id="rId267"/>
              </p:custDataLst>
            </p:nvPr>
          </p:nvSpPr>
          <p:spPr bwMode="gray">
            <a:xfrm>
              <a:off x="6486254" y="6323420"/>
              <a:ext cx="97171" cy="99451"/>
            </a:xfrm>
            <a:custGeom>
              <a:avLst/>
              <a:gdLst>
                <a:gd name="T0" fmla="*/ 0 w 9764"/>
                <a:gd name="T1" fmla="*/ 0 h 10247"/>
                <a:gd name="T2" fmla="*/ 2147483647 w 9764"/>
                <a:gd name="T3" fmla="*/ 2147483647 h 10247"/>
                <a:gd name="T4" fmla="*/ 2147483647 w 9764"/>
                <a:gd name="T5" fmla="*/ 2147483647 h 10247"/>
                <a:gd name="T6" fmla="*/ 2147483647 w 9764"/>
                <a:gd name="T7" fmla="*/ 2147483647 h 10247"/>
                <a:gd name="T8" fmla="*/ 2147483647 w 9764"/>
                <a:gd name="T9" fmla="*/ 2147483647 h 1024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9764"/>
                <a:gd name="T16" fmla="*/ 0 h 10247"/>
                <a:gd name="T17" fmla="*/ 9764 w 9764"/>
                <a:gd name="T18" fmla="*/ 10247 h 10247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9764" h="10247">
                  <a:moveTo>
                    <a:pt x="0" y="0"/>
                  </a:moveTo>
                  <a:lnTo>
                    <a:pt x="4420" y="247"/>
                  </a:lnTo>
                  <a:lnTo>
                    <a:pt x="6328" y="4443"/>
                  </a:lnTo>
                  <a:lnTo>
                    <a:pt x="9764" y="6542"/>
                  </a:lnTo>
                  <a:cubicBezTo>
                    <a:pt x="9764" y="7941"/>
                    <a:pt x="9055" y="8848"/>
                    <a:pt x="9055" y="10247"/>
                  </a:cubicBezTo>
                </a:path>
              </a:pathLst>
            </a:custGeom>
            <a:noFill/>
            <a:ln w="3175" cap="flat" cmpd="sng">
              <a:solidFill>
                <a:srgbClr val="2D84C5"/>
              </a:solidFill>
              <a:prstDash val="solid"/>
              <a:round/>
              <a:headEnd type="none" w="med" len="med"/>
              <a:tailEnd type="none" w="sm" len="sm"/>
            </a:ln>
          </p:spPr>
          <p:txBody>
            <a:bodyPr wrap="none" lIns="36000" tIns="36000" rIns="36000" bIns="36000" anchor="ctr"/>
            <a:lstStyle/>
            <a:p>
              <a:pPr defTabSz="891045"/>
              <a:endParaRPr lang="en-US" sz="1700" dirty="0">
                <a:solidFill>
                  <a:srgbClr val="003149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364" name="Freeform 676"/>
            <p:cNvSpPr>
              <a:spLocks noChangeAspect="1"/>
            </p:cNvSpPr>
            <p:nvPr>
              <p:custDataLst>
                <p:tags r:id="rId268"/>
              </p:custDataLst>
            </p:nvPr>
          </p:nvSpPr>
          <p:spPr bwMode="gray">
            <a:xfrm>
              <a:off x="5637205" y="6674134"/>
              <a:ext cx="442912" cy="246045"/>
            </a:xfrm>
            <a:custGeom>
              <a:avLst/>
              <a:gdLst>
                <a:gd name="T0" fmla="*/ 2147483647 w 9841"/>
                <a:gd name="T1" fmla="*/ 0 h 10197"/>
                <a:gd name="T2" fmla="*/ 2147483647 w 9841"/>
                <a:gd name="T3" fmla="*/ 2147483647 h 10197"/>
                <a:gd name="T4" fmla="*/ 2147483647 w 9841"/>
                <a:gd name="T5" fmla="*/ 2147483647 h 10197"/>
                <a:gd name="T6" fmla="*/ 2147483647 w 9841"/>
                <a:gd name="T7" fmla="*/ 2147483647 h 10197"/>
                <a:gd name="T8" fmla="*/ 2147483647 w 9841"/>
                <a:gd name="T9" fmla="*/ 2147483647 h 10197"/>
                <a:gd name="T10" fmla="*/ 2147483647 w 9841"/>
                <a:gd name="T11" fmla="*/ 2147483647 h 10197"/>
                <a:gd name="T12" fmla="*/ 2147483647 w 9841"/>
                <a:gd name="T13" fmla="*/ 2147483647 h 10197"/>
                <a:gd name="T14" fmla="*/ 2147483647 w 9841"/>
                <a:gd name="T15" fmla="*/ 2147483647 h 10197"/>
                <a:gd name="T16" fmla="*/ 2147483647 w 9841"/>
                <a:gd name="T17" fmla="*/ 2147483647 h 10197"/>
                <a:gd name="T18" fmla="*/ 2147483647 w 9841"/>
                <a:gd name="T19" fmla="*/ 2147483647 h 10197"/>
                <a:gd name="T20" fmla="*/ 2147483647 w 9841"/>
                <a:gd name="T21" fmla="*/ 2147483647 h 10197"/>
                <a:gd name="T22" fmla="*/ 2147483647 w 9841"/>
                <a:gd name="T23" fmla="*/ 2147483647 h 10197"/>
                <a:gd name="T24" fmla="*/ 2147483647 w 9841"/>
                <a:gd name="T25" fmla="*/ 2147483647 h 10197"/>
                <a:gd name="T26" fmla="*/ 2147483647 w 9841"/>
                <a:gd name="T27" fmla="*/ 2147483647 h 10197"/>
                <a:gd name="T28" fmla="*/ 2147483647 w 9841"/>
                <a:gd name="T29" fmla="*/ 2147483647 h 10197"/>
                <a:gd name="T30" fmla="*/ 2147483647 w 9841"/>
                <a:gd name="T31" fmla="*/ 2147483647 h 10197"/>
                <a:gd name="T32" fmla="*/ 2147483647 w 9841"/>
                <a:gd name="T33" fmla="*/ 2147483647 h 10197"/>
                <a:gd name="T34" fmla="*/ 0 w 9841"/>
                <a:gd name="T35" fmla="*/ 2147483647 h 10197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9841"/>
                <a:gd name="T55" fmla="*/ 0 h 10197"/>
                <a:gd name="T56" fmla="*/ 9841 w 9841"/>
                <a:gd name="T57" fmla="*/ 10197 h 10197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9841" h="10197">
                  <a:moveTo>
                    <a:pt x="9841" y="0"/>
                  </a:moveTo>
                  <a:cubicBezTo>
                    <a:pt x="9721" y="353"/>
                    <a:pt x="9600" y="705"/>
                    <a:pt x="9480" y="1058"/>
                  </a:cubicBezTo>
                  <a:lnTo>
                    <a:pt x="8520" y="2463"/>
                  </a:lnTo>
                  <a:cubicBezTo>
                    <a:pt x="8587" y="2906"/>
                    <a:pt x="8653" y="3350"/>
                    <a:pt x="8720" y="3794"/>
                  </a:cubicBezTo>
                  <a:lnTo>
                    <a:pt x="8241" y="5271"/>
                  </a:lnTo>
                  <a:cubicBezTo>
                    <a:pt x="8147" y="5641"/>
                    <a:pt x="8054" y="6010"/>
                    <a:pt x="7960" y="6380"/>
                  </a:cubicBezTo>
                  <a:lnTo>
                    <a:pt x="8080" y="7931"/>
                  </a:lnTo>
                  <a:lnTo>
                    <a:pt x="7640" y="9040"/>
                  </a:lnTo>
                  <a:lnTo>
                    <a:pt x="7080" y="9705"/>
                  </a:lnTo>
                  <a:lnTo>
                    <a:pt x="6521" y="9040"/>
                  </a:lnTo>
                  <a:lnTo>
                    <a:pt x="5720" y="9928"/>
                  </a:lnTo>
                  <a:lnTo>
                    <a:pt x="4281" y="9188"/>
                  </a:lnTo>
                  <a:lnTo>
                    <a:pt x="3521" y="9928"/>
                  </a:lnTo>
                  <a:cubicBezTo>
                    <a:pt x="3428" y="9632"/>
                    <a:pt x="3334" y="9336"/>
                    <a:pt x="3241" y="9040"/>
                  </a:cubicBezTo>
                  <a:lnTo>
                    <a:pt x="2481" y="8301"/>
                  </a:lnTo>
                  <a:lnTo>
                    <a:pt x="1601" y="8818"/>
                  </a:lnTo>
                  <a:lnTo>
                    <a:pt x="1041" y="10001"/>
                  </a:lnTo>
                  <a:cubicBezTo>
                    <a:pt x="641" y="10198"/>
                    <a:pt x="400" y="9999"/>
                    <a:pt x="0" y="10197"/>
                  </a:cubicBezTo>
                </a:path>
              </a:pathLst>
            </a:custGeom>
            <a:noFill/>
            <a:ln w="317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sm" len="sm"/>
            </a:ln>
          </p:spPr>
          <p:txBody>
            <a:bodyPr wrap="none" lIns="36000" tIns="36000" rIns="36000" bIns="36000" anchor="ctr"/>
            <a:lstStyle/>
            <a:p>
              <a:pPr defTabSz="891045"/>
              <a:endParaRPr lang="en-US" sz="1700" dirty="0">
                <a:solidFill>
                  <a:srgbClr val="003149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365" name="Freeform 682"/>
            <p:cNvSpPr>
              <a:spLocks noChangeAspect="1"/>
            </p:cNvSpPr>
            <p:nvPr>
              <p:custDataLst>
                <p:tags r:id="rId269"/>
              </p:custDataLst>
            </p:nvPr>
          </p:nvSpPr>
          <p:spPr bwMode="gray">
            <a:xfrm>
              <a:off x="6220625" y="10225357"/>
              <a:ext cx="159602" cy="160752"/>
            </a:xfrm>
            <a:custGeom>
              <a:avLst/>
              <a:gdLst>
                <a:gd name="T0" fmla="*/ 2147483647 w 10000"/>
                <a:gd name="T1" fmla="*/ 2147483647 h 10465"/>
                <a:gd name="T2" fmla="*/ 2147483647 w 10000"/>
                <a:gd name="T3" fmla="*/ 2147483647 h 10465"/>
                <a:gd name="T4" fmla="*/ 2147483647 w 10000"/>
                <a:gd name="T5" fmla="*/ 2147483647 h 10465"/>
                <a:gd name="T6" fmla="*/ 2147483647 w 10000"/>
                <a:gd name="T7" fmla="*/ 2147483647 h 10465"/>
                <a:gd name="T8" fmla="*/ 2147483647 w 10000"/>
                <a:gd name="T9" fmla="*/ 2147483647 h 10465"/>
                <a:gd name="T10" fmla="*/ 2147483647 w 10000"/>
                <a:gd name="T11" fmla="*/ 2147483647 h 10465"/>
                <a:gd name="T12" fmla="*/ 2147483647 w 10000"/>
                <a:gd name="T13" fmla="*/ 2147483647 h 10465"/>
                <a:gd name="T14" fmla="*/ 2147483647 w 10000"/>
                <a:gd name="T15" fmla="*/ 2147483647 h 10465"/>
                <a:gd name="T16" fmla="*/ 2147483647 w 10000"/>
                <a:gd name="T17" fmla="*/ 2147483647 h 10465"/>
                <a:gd name="T18" fmla="*/ 2147483647 w 10000"/>
                <a:gd name="T19" fmla="*/ 2147483647 h 10465"/>
                <a:gd name="T20" fmla="*/ 2147483647 w 10000"/>
                <a:gd name="T21" fmla="*/ 2147483647 h 10465"/>
                <a:gd name="T22" fmla="*/ 0 w 10000"/>
                <a:gd name="T23" fmla="*/ 0 h 10465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10000"/>
                <a:gd name="T37" fmla="*/ 0 h 10465"/>
                <a:gd name="T38" fmla="*/ 10000 w 10000"/>
                <a:gd name="T39" fmla="*/ 10465 h 10465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10000" h="10465">
                  <a:moveTo>
                    <a:pt x="10000" y="10465"/>
                  </a:moveTo>
                  <a:lnTo>
                    <a:pt x="10000" y="8119"/>
                  </a:lnTo>
                  <a:lnTo>
                    <a:pt x="9425" y="6941"/>
                  </a:lnTo>
                  <a:cubicBezTo>
                    <a:pt x="9348" y="6627"/>
                    <a:pt x="9272" y="6314"/>
                    <a:pt x="9195" y="6000"/>
                  </a:cubicBezTo>
                  <a:lnTo>
                    <a:pt x="8046" y="5178"/>
                  </a:lnTo>
                  <a:lnTo>
                    <a:pt x="7356" y="3766"/>
                  </a:lnTo>
                  <a:lnTo>
                    <a:pt x="7011" y="2706"/>
                  </a:lnTo>
                  <a:lnTo>
                    <a:pt x="5057" y="2470"/>
                  </a:lnTo>
                  <a:lnTo>
                    <a:pt x="3333" y="2001"/>
                  </a:lnTo>
                  <a:lnTo>
                    <a:pt x="1610" y="1647"/>
                  </a:lnTo>
                  <a:lnTo>
                    <a:pt x="459" y="706"/>
                  </a:lnTo>
                  <a:lnTo>
                    <a:pt x="0" y="0"/>
                  </a:lnTo>
                </a:path>
              </a:pathLst>
            </a:custGeom>
            <a:noFill/>
            <a:ln w="317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none" lIns="36000" tIns="36000" rIns="36000" bIns="36000" anchor="ctr"/>
            <a:lstStyle/>
            <a:p>
              <a:pPr defTabSz="891045"/>
              <a:endParaRPr lang="en-US" sz="1700" dirty="0">
                <a:solidFill>
                  <a:srgbClr val="003149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366" name="Freeform 695"/>
            <p:cNvSpPr>
              <a:spLocks noChangeAspect="1"/>
            </p:cNvSpPr>
            <p:nvPr>
              <p:custDataLst>
                <p:tags r:id="rId270"/>
              </p:custDataLst>
            </p:nvPr>
          </p:nvSpPr>
          <p:spPr bwMode="gray">
            <a:xfrm>
              <a:off x="6836573" y="8841057"/>
              <a:ext cx="290534" cy="250868"/>
            </a:xfrm>
            <a:custGeom>
              <a:avLst/>
              <a:gdLst>
                <a:gd name="T0" fmla="*/ 2147483647 w 10792"/>
                <a:gd name="T1" fmla="*/ 0 h 10000"/>
                <a:gd name="T2" fmla="*/ 2147483647 w 10792"/>
                <a:gd name="T3" fmla="*/ 2147483647 h 10000"/>
                <a:gd name="T4" fmla="*/ 2147483647 w 10792"/>
                <a:gd name="T5" fmla="*/ 2147483647 h 10000"/>
                <a:gd name="T6" fmla="*/ 0 w 10792"/>
                <a:gd name="T7" fmla="*/ 2147483647 h 10000"/>
                <a:gd name="T8" fmla="*/ 2147483647 w 10792"/>
                <a:gd name="T9" fmla="*/ 2147483647 h 10000"/>
                <a:gd name="T10" fmla="*/ 2147483647 w 10792"/>
                <a:gd name="T11" fmla="*/ 2147483647 h 10000"/>
                <a:gd name="T12" fmla="*/ 2147483647 w 10792"/>
                <a:gd name="T13" fmla="*/ 2147483647 h 10000"/>
                <a:gd name="T14" fmla="*/ 2147483647 w 10792"/>
                <a:gd name="T15" fmla="*/ 2147483647 h 10000"/>
                <a:gd name="T16" fmla="*/ 2147483647 w 10792"/>
                <a:gd name="T17" fmla="*/ 2147483647 h 10000"/>
                <a:gd name="T18" fmla="*/ 2147483647 w 10792"/>
                <a:gd name="T19" fmla="*/ 2147483647 h 10000"/>
                <a:gd name="T20" fmla="*/ 2147483647 w 10792"/>
                <a:gd name="T21" fmla="*/ 2147483647 h 10000"/>
                <a:gd name="T22" fmla="*/ 2147483647 w 10792"/>
                <a:gd name="T23" fmla="*/ 2147483647 h 10000"/>
                <a:gd name="T24" fmla="*/ 2147483647 w 10792"/>
                <a:gd name="T25" fmla="*/ 2147483647 h 10000"/>
                <a:gd name="T26" fmla="*/ 2147483647 w 10792"/>
                <a:gd name="T27" fmla="*/ 2147483647 h 10000"/>
                <a:gd name="T28" fmla="*/ 2147483647 w 10792"/>
                <a:gd name="T29" fmla="*/ 2147483647 h 10000"/>
                <a:gd name="T30" fmla="*/ 2147483647 w 10792"/>
                <a:gd name="T31" fmla="*/ 2147483647 h 10000"/>
                <a:gd name="T32" fmla="*/ 2147483647 w 10792"/>
                <a:gd name="T33" fmla="*/ 2147483647 h 10000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10792"/>
                <a:gd name="T52" fmla="*/ 0 h 10000"/>
                <a:gd name="T53" fmla="*/ 10792 w 10792"/>
                <a:gd name="T54" fmla="*/ 10000 h 10000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10792" h="10000">
                  <a:moveTo>
                    <a:pt x="1130" y="0"/>
                  </a:moveTo>
                  <a:lnTo>
                    <a:pt x="598" y="987"/>
                  </a:lnTo>
                  <a:cubicBezTo>
                    <a:pt x="620" y="1270"/>
                    <a:pt x="643" y="1551"/>
                    <a:pt x="665" y="1833"/>
                  </a:cubicBezTo>
                  <a:lnTo>
                    <a:pt x="0" y="3032"/>
                  </a:lnTo>
                  <a:lnTo>
                    <a:pt x="265" y="3386"/>
                  </a:lnTo>
                  <a:lnTo>
                    <a:pt x="466" y="4090"/>
                  </a:lnTo>
                  <a:lnTo>
                    <a:pt x="2261" y="3948"/>
                  </a:lnTo>
                  <a:lnTo>
                    <a:pt x="2792" y="5006"/>
                  </a:lnTo>
                  <a:lnTo>
                    <a:pt x="3457" y="5853"/>
                  </a:lnTo>
                  <a:lnTo>
                    <a:pt x="4521" y="6275"/>
                  </a:lnTo>
                  <a:lnTo>
                    <a:pt x="5651" y="6699"/>
                  </a:lnTo>
                  <a:lnTo>
                    <a:pt x="6849" y="7545"/>
                  </a:lnTo>
                  <a:lnTo>
                    <a:pt x="7514" y="8321"/>
                  </a:lnTo>
                  <a:lnTo>
                    <a:pt x="8578" y="8955"/>
                  </a:lnTo>
                  <a:lnTo>
                    <a:pt x="8909" y="9590"/>
                  </a:lnTo>
                  <a:cubicBezTo>
                    <a:pt x="9126" y="9669"/>
                    <a:pt x="9667" y="10031"/>
                    <a:pt x="9966" y="9998"/>
                  </a:cubicBezTo>
                  <a:cubicBezTo>
                    <a:pt x="10264" y="9966"/>
                    <a:pt x="10653" y="9118"/>
                    <a:pt x="10792" y="9112"/>
                  </a:cubicBezTo>
                </a:path>
              </a:pathLst>
            </a:custGeom>
            <a:noFill/>
            <a:ln w="317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none" lIns="36000" tIns="36000" rIns="36000" bIns="36000" anchor="ctr"/>
            <a:lstStyle/>
            <a:p>
              <a:pPr defTabSz="891045"/>
              <a:endParaRPr lang="en-US" sz="1700" dirty="0">
                <a:solidFill>
                  <a:srgbClr val="003149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367" name="Freeform 696"/>
            <p:cNvSpPr>
              <a:spLocks noChangeAspect="1"/>
            </p:cNvSpPr>
            <p:nvPr>
              <p:custDataLst>
                <p:tags r:id="rId271"/>
              </p:custDataLst>
            </p:nvPr>
          </p:nvSpPr>
          <p:spPr bwMode="gray">
            <a:xfrm>
              <a:off x="6220625" y="9069657"/>
              <a:ext cx="920748" cy="1155700"/>
            </a:xfrm>
            <a:custGeom>
              <a:avLst/>
              <a:gdLst>
                <a:gd name="T0" fmla="*/ 2147483647 w 10000"/>
                <a:gd name="T1" fmla="*/ 2147483647 h 10000"/>
                <a:gd name="T2" fmla="*/ 2147483647 w 10000"/>
                <a:gd name="T3" fmla="*/ 2147483647 h 10000"/>
                <a:gd name="T4" fmla="*/ 2147483647 w 10000"/>
                <a:gd name="T5" fmla="*/ 2147483647 h 10000"/>
                <a:gd name="T6" fmla="*/ 2147483647 w 10000"/>
                <a:gd name="T7" fmla="*/ 2147483647 h 10000"/>
                <a:gd name="T8" fmla="*/ 2147483647 w 10000"/>
                <a:gd name="T9" fmla="*/ 2147483647 h 10000"/>
                <a:gd name="T10" fmla="*/ 2147483647 w 10000"/>
                <a:gd name="T11" fmla="*/ 2147483647 h 10000"/>
                <a:gd name="T12" fmla="*/ 2147483647 w 10000"/>
                <a:gd name="T13" fmla="*/ 2147483647 h 10000"/>
                <a:gd name="T14" fmla="*/ 2147483647 w 10000"/>
                <a:gd name="T15" fmla="*/ 2147483647 h 10000"/>
                <a:gd name="T16" fmla="*/ 2147483647 w 10000"/>
                <a:gd name="T17" fmla="*/ 2147483647 h 10000"/>
                <a:gd name="T18" fmla="*/ 2147483647 w 10000"/>
                <a:gd name="T19" fmla="*/ 2147483647 h 10000"/>
                <a:gd name="T20" fmla="*/ 2147483647 w 10000"/>
                <a:gd name="T21" fmla="*/ 2147483647 h 10000"/>
                <a:gd name="T22" fmla="*/ 2147483647 w 10000"/>
                <a:gd name="T23" fmla="*/ 2147483647 h 10000"/>
                <a:gd name="T24" fmla="*/ 2147483647 w 10000"/>
                <a:gd name="T25" fmla="*/ 2147483647 h 10000"/>
                <a:gd name="T26" fmla="*/ 2147483647 w 10000"/>
                <a:gd name="T27" fmla="*/ 2147483647 h 10000"/>
                <a:gd name="T28" fmla="*/ 2147483647 w 10000"/>
                <a:gd name="T29" fmla="*/ 2147483647 h 10000"/>
                <a:gd name="T30" fmla="*/ 2147483647 w 10000"/>
                <a:gd name="T31" fmla="*/ 2147483647 h 10000"/>
                <a:gd name="T32" fmla="*/ 2147483647 w 10000"/>
                <a:gd name="T33" fmla="*/ 2147483647 h 10000"/>
                <a:gd name="T34" fmla="*/ 2147483647 w 10000"/>
                <a:gd name="T35" fmla="*/ 2147483647 h 10000"/>
                <a:gd name="T36" fmla="*/ 2147483647 w 10000"/>
                <a:gd name="T37" fmla="*/ 2147483647 h 10000"/>
                <a:gd name="T38" fmla="*/ 2147483647 w 10000"/>
                <a:gd name="T39" fmla="*/ 2147483647 h 10000"/>
                <a:gd name="T40" fmla="*/ 2147483647 w 10000"/>
                <a:gd name="T41" fmla="*/ 2147483647 h 10000"/>
                <a:gd name="T42" fmla="*/ 2147483647 w 10000"/>
                <a:gd name="T43" fmla="*/ 2147483647 h 10000"/>
                <a:gd name="T44" fmla="*/ 2147483647 w 10000"/>
                <a:gd name="T45" fmla="*/ 2147483647 h 10000"/>
                <a:gd name="T46" fmla="*/ 2147483647 w 10000"/>
                <a:gd name="T47" fmla="*/ 2147483647 h 10000"/>
                <a:gd name="T48" fmla="*/ 2147483647 w 10000"/>
                <a:gd name="T49" fmla="*/ 2147483647 h 10000"/>
                <a:gd name="T50" fmla="*/ 2147483647 w 10000"/>
                <a:gd name="T51" fmla="*/ 2147483647 h 10000"/>
                <a:gd name="T52" fmla="*/ 2147483647 w 10000"/>
                <a:gd name="T53" fmla="*/ 2147483647 h 10000"/>
                <a:gd name="T54" fmla="*/ 2147483647 w 10000"/>
                <a:gd name="T55" fmla="*/ 2147483647 h 10000"/>
                <a:gd name="T56" fmla="*/ 2147483647 w 10000"/>
                <a:gd name="T57" fmla="*/ 2147483647 h 10000"/>
                <a:gd name="T58" fmla="*/ 2147483647 w 10000"/>
                <a:gd name="T59" fmla="*/ 2147483647 h 10000"/>
                <a:gd name="T60" fmla="*/ 2147483647 w 10000"/>
                <a:gd name="T61" fmla="*/ 2147483647 h 10000"/>
                <a:gd name="T62" fmla="*/ 2147483647 w 10000"/>
                <a:gd name="T63" fmla="*/ 2147483647 h 10000"/>
                <a:gd name="T64" fmla="*/ 2147483647 w 10000"/>
                <a:gd name="T65" fmla="*/ 2147483647 h 10000"/>
                <a:gd name="T66" fmla="*/ 2147483647 w 10000"/>
                <a:gd name="T67" fmla="*/ 2147483647 h 10000"/>
                <a:gd name="T68" fmla="*/ 2147483647 w 10000"/>
                <a:gd name="T69" fmla="*/ 2147483647 h 10000"/>
                <a:gd name="T70" fmla="*/ 2147483647 w 10000"/>
                <a:gd name="T71" fmla="*/ 2147483647 h 10000"/>
                <a:gd name="T72" fmla="*/ 2147483647 w 10000"/>
                <a:gd name="T73" fmla="*/ 2147483647 h 10000"/>
                <a:gd name="T74" fmla="*/ 2147483647 w 10000"/>
                <a:gd name="T75" fmla="*/ 2147483647 h 10000"/>
                <a:gd name="T76" fmla="*/ 2147483647 w 10000"/>
                <a:gd name="T77" fmla="*/ 2147483647 h 10000"/>
                <a:gd name="T78" fmla="*/ 2147483647 w 10000"/>
                <a:gd name="T79" fmla="*/ 2147483647 h 10000"/>
                <a:gd name="T80" fmla="*/ 2147483647 w 10000"/>
                <a:gd name="T81" fmla="*/ 2147483647 h 10000"/>
                <a:gd name="T82" fmla="*/ 2147483647 w 10000"/>
                <a:gd name="T83" fmla="*/ 2147483647 h 10000"/>
                <a:gd name="T84" fmla="*/ 2147483647 w 10000"/>
                <a:gd name="T85" fmla="*/ 2147483647 h 10000"/>
                <a:gd name="T86" fmla="*/ 2147483647 w 10000"/>
                <a:gd name="T87" fmla="*/ 2147483647 h 10000"/>
                <a:gd name="T88" fmla="*/ 2147483647 w 10000"/>
                <a:gd name="T89" fmla="*/ 2147483647 h 10000"/>
                <a:gd name="T90" fmla="*/ 2147483647 w 10000"/>
                <a:gd name="T91" fmla="*/ 2147483647 h 10000"/>
                <a:gd name="T92" fmla="*/ 2147483647 w 10000"/>
                <a:gd name="T93" fmla="*/ 2147483647 h 10000"/>
                <a:gd name="T94" fmla="*/ 0 w 10000"/>
                <a:gd name="T95" fmla="*/ 2147483647 h 10000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10000"/>
                <a:gd name="T145" fmla="*/ 0 h 10000"/>
                <a:gd name="T146" fmla="*/ 10000 w 10000"/>
                <a:gd name="T147" fmla="*/ 10000 h 10000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10000" h="10000">
                  <a:moveTo>
                    <a:pt x="9825" y="0"/>
                  </a:moveTo>
                  <a:cubicBezTo>
                    <a:pt x="9883" y="180"/>
                    <a:pt x="9942" y="361"/>
                    <a:pt x="10000" y="541"/>
                  </a:cubicBezTo>
                  <a:cubicBezTo>
                    <a:pt x="9974" y="562"/>
                    <a:pt x="9948" y="582"/>
                    <a:pt x="9922" y="603"/>
                  </a:cubicBezTo>
                  <a:lnTo>
                    <a:pt x="9767" y="603"/>
                  </a:lnTo>
                  <a:lnTo>
                    <a:pt x="9591" y="680"/>
                  </a:lnTo>
                  <a:cubicBezTo>
                    <a:pt x="9572" y="716"/>
                    <a:pt x="9552" y="752"/>
                    <a:pt x="9533" y="788"/>
                  </a:cubicBezTo>
                  <a:lnTo>
                    <a:pt x="9572" y="974"/>
                  </a:lnTo>
                  <a:cubicBezTo>
                    <a:pt x="9527" y="995"/>
                    <a:pt x="9481" y="1015"/>
                    <a:pt x="9436" y="1036"/>
                  </a:cubicBezTo>
                  <a:lnTo>
                    <a:pt x="9300" y="1020"/>
                  </a:lnTo>
                  <a:lnTo>
                    <a:pt x="9163" y="1113"/>
                  </a:lnTo>
                  <a:lnTo>
                    <a:pt x="9319" y="1267"/>
                  </a:lnTo>
                  <a:lnTo>
                    <a:pt x="9416" y="1283"/>
                  </a:lnTo>
                  <a:lnTo>
                    <a:pt x="9183" y="1453"/>
                  </a:lnTo>
                  <a:lnTo>
                    <a:pt x="8949" y="1577"/>
                  </a:lnTo>
                  <a:cubicBezTo>
                    <a:pt x="8930" y="1654"/>
                    <a:pt x="8910" y="1731"/>
                    <a:pt x="8891" y="1808"/>
                  </a:cubicBezTo>
                  <a:lnTo>
                    <a:pt x="9183" y="1886"/>
                  </a:lnTo>
                  <a:lnTo>
                    <a:pt x="9377" y="1978"/>
                  </a:lnTo>
                  <a:cubicBezTo>
                    <a:pt x="9338" y="2040"/>
                    <a:pt x="9300" y="2102"/>
                    <a:pt x="9261" y="2164"/>
                  </a:cubicBezTo>
                  <a:lnTo>
                    <a:pt x="8949" y="2195"/>
                  </a:lnTo>
                  <a:cubicBezTo>
                    <a:pt x="8930" y="2154"/>
                    <a:pt x="8910" y="2112"/>
                    <a:pt x="8891" y="2071"/>
                  </a:cubicBezTo>
                  <a:lnTo>
                    <a:pt x="8638" y="2117"/>
                  </a:lnTo>
                  <a:lnTo>
                    <a:pt x="8482" y="2117"/>
                  </a:lnTo>
                  <a:lnTo>
                    <a:pt x="8113" y="2071"/>
                  </a:lnTo>
                  <a:cubicBezTo>
                    <a:pt x="8042" y="2159"/>
                    <a:pt x="7970" y="2246"/>
                    <a:pt x="7899" y="2334"/>
                  </a:cubicBezTo>
                  <a:lnTo>
                    <a:pt x="7335" y="2334"/>
                  </a:lnTo>
                  <a:lnTo>
                    <a:pt x="7335" y="2040"/>
                  </a:lnTo>
                  <a:lnTo>
                    <a:pt x="7082" y="2102"/>
                  </a:lnTo>
                  <a:lnTo>
                    <a:pt x="6848" y="2025"/>
                  </a:lnTo>
                  <a:lnTo>
                    <a:pt x="6751" y="2071"/>
                  </a:lnTo>
                  <a:lnTo>
                    <a:pt x="6790" y="2272"/>
                  </a:lnTo>
                  <a:lnTo>
                    <a:pt x="6556" y="2257"/>
                  </a:lnTo>
                  <a:lnTo>
                    <a:pt x="6401" y="2210"/>
                  </a:lnTo>
                  <a:cubicBezTo>
                    <a:pt x="6381" y="2241"/>
                    <a:pt x="6362" y="2272"/>
                    <a:pt x="6342" y="2303"/>
                  </a:cubicBezTo>
                  <a:lnTo>
                    <a:pt x="6732" y="2581"/>
                  </a:lnTo>
                  <a:cubicBezTo>
                    <a:pt x="6699" y="2689"/>
                    <a:pt x="6667" y="2798"/>
                    <a:pt x="6634" y="2906"/>
                  </a:cubicBezTo>
                  <a:cubicBezTo>
                    <a:pt x="6608" y="2952"/>
                    <a:pt x="6582" y="2999"/>
                    <a:pt x="6556" y="3045"/>
                  </a:cubicBezTo>
                  <a:lnTo>
                    <a:pt x="6187" y="3060"/>
                  </a:lnTo>
                  <a:lnTo>
                    <a:pt x="5817" y="3045"/>
                  </a:lnTo>
                  <a:lnTo>
                    <a:pt x="5700" y="2844"/>
                  </a:lnTo>
                  <a:cubicBezTo>
                    <a:pt x="5726" y="2767"/>
                    <a:pt x="5752" y="2689"/>
                    <a:pt x="5778" y="2612"/>
                  </a:cubicBezTo>
                  <a:lnTo>
                    <a:pt x="5914" y="2504"/>
                  </a:lnTo>
                  <a:lnTo>
                    <a:pt x="5739" y="2380"/>
                  </a:lnTo>
                  <a:cubicBezTo>
                    <a:pt x="5726" y="2318"/>
                    <a:pt x="5713" y="2257"/>
                    <a:pt x="5700" y="2195"/>
                  </a:cubicBezTo>
                  <a:cubicBezTo>
                    <a:pt x="5707" y="2154"/>
                    <a:pt x="5713" y="2112"/>
                    <a:pt x="5720" y="2071"/>
                  </a:cubicBezTo>
                  <a:lnTo>
                    <a:pt x="5642" y="1978"/>
                  </a:lnTo>
                  <a:lnTo>
                    <a:pt x="5292" y="1963"/>
                  </a:lnTo>
                  <a:lnTo>
                    <a:pt x="5117" y="2071"/>
                  </a:lnTo>
                  <a:lnTo>
                    <a:pt x="4942" y="2210"/>
                  </a:lnTo>
                  <a:lnTo>
                    <a:pt x="4767" y="2318"/>
                  </a:lnTo>
                  <a:lnTo>
                    <a:pt x="4455" y="2396"/>
                  </a:lnTo>
                  <a:cubicBezTo>
                    <a:pt x="4423" y="2313"/>
                    <a:pt x="4390" y="2231"/>
                    <a:pt x="4358" y="2148"/>
                  </a:cubicBezTo>
                  <a:lnTo>
                    <a:pt x="4436" y="2025"/>
                  </a:lnTo>
                  <a:lnTo>
                    <a:pt x="4630" y="1886"/>
                  </a:lnTo>
                  <a:cubicBezTo>
                    <a:pt x="4656" y="1798"/>
                    <a:pt x="4682" y="1711"/>
                    <a:pt x="4708" y="1623"/>
                  </a:cubicBezTo>
                  <a:lnTo>
                    <a:pt x="4981" y="1577"/>
                  </a:lnTo>
                  <a:lnTo>
                    <a:pt x="5253" y="1561"/>
                  </a:lnTo>
                  <a:cubicBezTo>
                    <a:pt x="5259" y="1499"/>
                    <a:pt x="5266" y="1438"/>
                    <a:pt x="5272" y="1376"/>
                  </a:cubicBezTo>
                  <a:lnTo>
                    <a:pt x="5097" y="1159"/>
                  </a:lnTo>
                  <a:lnTo>
                    <a:pt x="4825" y="1020"/>
                  </a:lnTo>
                  <a:lnTo>
                    <a:pt x="4630" y="866"/>
                  </a:lnTo>
                  <a:lnTo>
                    <a:pt x="4436" y="742"/>
                  </a:lnTo>
                  <a:lnTo>
                    <a:pt x="4241" y="587"/>
                  </a:lnTo>
                  <a:lnTo>
                    <a:pt x="3949" y="526"/>
                  </a:lnTo>
                  <a:lnTo>
                    <a:pt x="3716" y="572"/>
                  </a:lnTo>
                  <a:lnTo>
                    <a:pt x="3482" y="835"/>
                  </a:lnTo>
                  <a:lnTo>
                    <a:pt x="3327" y="1051"/>
                  </a:lnTo>
                  <a:cubicBezTo>
                    <a:pt x="3314" y="1113"/>
                    <a:pt x="3301" y="1174"/>
                    <a:pt x="3288" y="1236"/>
                  </a:cubicBezTo>
                  <a:cubicBezTo>
                    <a:pt x="3281" y="1303"/>
                    <a:pt x="3275" y="1370"/>
                    <a:pt x="3268" y="1437"/>
                  </a:cubicBezTo>
                  <a:lnTo>
                    <a:pt x="3054" y="1515"/>
                  </a:lnTo>
                  <a:lnTo>
                    <a:pt x="2879" y="1577"/>
                  </a:lnTo>
                  <a:cubicBezTo>
                    <a:pt x="2912" y="1726"/>
                    <a:pt x="2944" y="1876"/>
                    <a:pt x="2977" y="2025"/>
                  </a:cubicBezTo>
                  <a:cubicBezTo>
                    <a:pt x="3009" y="2118"/>
                    <a:pt x="3042" y="2210"/>
                    <a:pt x="3074" y="2303"/>
                  </a:cubicBezTo>
                  <a:cubicBezTo>
                    <a:pt x="3067" y="2365"/>
                    <a:pt x="3061" y="2426"/>
                    <a:pt x="3054" y="2488"/>
                  </a:cubicBezTo>
                  <a:cubicBezTo>
                    <a:pt x="3074" y="2612"/>
                    <a:pt x="3093" y="2735"/>
                    <a:pt x="3113" y="2859"/>
                  </a:cubicBezTo>
                  <a:lnTo>
                    <a:pt x="3113" y="3014"/>
                  </a:lnTo>
                  <a:cubicBezTo>
                    <a:pt x="3100" y="3102"/>
                    <a:pt x="3087" y="3189"/>
                    <a:pt x="3074" y="3277"/>
                  </a:cubicBezTo>
                  <a:cubicBezTo>
                    <a:pt x="3061" y="3303"/>
                    <a:pt x="3048" y="3328"/>
                    <a:pt x="3035" y="3354"/>
                  </a:cubicBezTo>
                  <a:cubicBezTo>
                    <a:pt x="3067" y="3488"/>
                    <a:pt x="3100" y="3622"/>
                    <a:pt x="3132" y="3756"/>
                  </a:cubicBezTo>
                  <a:lnTo>
                    <a:pt x="3424" y="3771"/>
                  </a:lnTo>
                  <a:lnTo>
                    <a:pt x="3716" y="3679"/>
                  </a:lnTo>
                  <a:lnTo>
                    <a:pt x="3891" y="3632"/>
                  </a:lnTo>
                  <a:lnTo>
                    <a:pt x="4358" y="3679"/>
                  </a:lnTo>
                  <a:lnTo>
                    <a:pt x="4514" y="3833"/>
                  </a:lnTo>
                  <a:cubicBezTo>
                    <a:pt x="4540" y="3910"/>
                    <a:pt x="4565" y="3988"/>
                    <a:pt x="4591" y="4065"/>
                  </a:cubicBezTo>
                  <a:lnTo>
                    <a:pt x="4922" y="4173"/>
                  </a:lnTo>
                  <a:lnTo>
                    <a:pt x="5117" y="4096"/>
                  </a:lnTo>
                  <a:lnTo>
                    <a:pt x="5642" y="4158"/>
                  </a:lnTo>
                  <a:lnTo>
                    <a:pt x="5992" y="4189"/>
                  </a:lnTo>
                  <a:lnTo>
                    <a:pt x="6284" y="4297"/>
                  </a:lnTo>
                  <a:lnTo>
                    <a:pt x="6576" y="4235"/>
                  </a:lnTo>
                  <a:lnTo>
                    <a:pt x="7043" y="4065"/>
                  </a:lnTo>
                  <a:lnTo>
                    <a:pt x="7257" y="3957"/>
                  </a:lnTo>
                  <a:lnTo>
                    <a:pt x="7490" y="3957"/>
                  </a:lnTo>
                  <a:lnTo>
                    <a:pt x="7782" y="3833"/>
                  </a:lnTo>
                  <a:lnTo>
                    <a:pt x="8016" y="3879"/>
                  </a:lnTo>
                  <a:lnTo>
                    <a:pt x="8191" y="4080"/>
                  </a:lnTo>
                  <a:lnTo>
                    <a:pt x="8482" y="4250"/>
                  </a:lnTo>
                  <a:cubicBezTo>
                    <a:pt x="8463" y="4353"/>
                    <a:pt x="8443" y="4457"/>
                    <a:pt x="8424" y="4560"/>
                  </a:cubicBezTo>
                  <a:lnTo>
                    <a:pt x="8132" y="4776"/>
                  </a:lnTo>
                  <a:lnTo>
                    <a:pt x="7840" y="4930"/>
                  </a:lnTo>
                  <a:lnTo>
                    <a:pt x="7432" y="5085"/>
                  </a:lnTo>
                  <a:lnTo>
                    <a:pt x="7023" y="5162"/>
                  </a:lnTo>
                  <a:lnTo>
                    <a:pt x="6712" y="5240"/>
                  </a:lnTo>
                  <a:cubicBezTo>
                    <a:pt x="6680" y="5307"/>
                    <a:pt x="6647" y="5373"/>
                    <a:pt x="6615" y="5440"/>
                  </a:cubicBezTo>
                  <a:cubicBezTo>
                    <a:pt x="6608" y="5487"/>
                    <a:pt x="6602" y="5533"/>
                    <a:pt x="6595" y="5580"/>
                  </a:cubicBezTo>
                  <a:cubicBezTo>
                    <a:pt x="6621" y="5642"/>
                    <a:pt x="6647" y="5703"/>
                    <a:pt x="6673" y="5765"/>
                  </a:cubicBezTo>
                  <a:cubicBezTo>
                    <a:pt x="6654" y="5806"/>
                    <a:pt x="6634" y="5848"/>
                    <a:pt x="6615" y="5889"/>
                  </a:cubicBezTo>
                  <a:lnTo>
                    <a:pt x="6459" y="5920"/>
                  </a:lnTo>
                  <a:lnTo>
                    <a:pt x="6284" y="5951"/>
                  </a:lnTo>
                  <a:lnTo>
                    <a:pt x="6284" y="6074"/>
                  </a:lnTo>
                  <a:lnTo>
                    <a:pt x="6109" y="6090"/>
                  </a:lnTo>
                  <a:lnTo>
                    <a:pt x="5953" y="5981"/>
                  </a:lnTo>
                  <a:cubicBezTo>
                    <a:pt x="5927" y="5950"/>
                    <a:pt x="5901" y="5920"/>
                    <a:pt x="5875" y="5889"/>
                  </a:cubicBezTo>
                  <a:lnTo>
                    <a:pt x="5700" y="5842"/>
                  </a:lnTo>
                  <a:lnTo>
                    <a:pt x="5584" y="5734"/>
                  </a:lnTo>
                  <a:lnTo>
                    <a:pt x="5292" y="5657"/>
                  </a:lnTo>
                  <a:lnTo>
                    <a:pt x="5058" y="5719"/>
                  </a:lnTo>
                  <a:lnTo>
                    <a:pt x="4767" y="5796"/>
                  </a:lnTo>
                  <a:lnTo>
                    <a:pt x="4572" y="5827"/>
                  </a:lnTo>
                  <a:lnTo>
                    <a:pt x="4339" y="5904"/>
                  </a:lnTo>
                  <a:lnTo>
                    <a:pt x="4125" y="5966"/>
                  </a:lnTo>
                  <a:lnTo>
                    <a:pt x="3852" y="6059"/>
                  </a:lnTo>
                  <a:lnTo>
                    <a:pt x="3054" y="6491"/>
                  </a:lnTo>
                  <a:lnTo>
                    <a:pt x="2840" y="6662"/>
                  </a:lnTo>
                  <a:cubicBezTo>
                    <a:pt x="2782" y="6724"/>
                    <a:pt x="2723" y="6785"/>
                    <a:pt x="2665" y="6847"/>
                  </a:cubicBezTo>
                  <a:cubicBezTo>
                    <a:pt x="2646" y="6914"/>
                    <a:pt x="2626" y="6981"/>
                    <a:pt x="2607" y="7048"/>
                  </a:cubicBezTo>
                  <a:lnTo>
                    <a:pt x="1946" y="7728"/>
                  </a:lnTo>
                  <a:lnTo>
                    <a:pt x="1946" y="7929"/>
                  </a:lnTo>
                  <a:cubicBezTo>
                    <a:pt x="1913" y="7965"/>
                    <a:pt x="1881" y="8001"/>
                    <a:pt x="1848" y="8037"/>
                  </a:cubicBezTo>
                  <a:lnTo>
                    <a:pt x="1615" y="8053"/>
                  </a:lnTo>
                  <a:lnTo>
                    <a:pt x="1440" y="8192"/>
                  </a:lnTo>
                  <a:lnTo>
                    <a:pt x="1187" y="8284"/>
                  </a:lnTo>
                  <a:lnTo>
                    <a:pt x="1012" y="8470"/>
                  </a:lnTo>
                  <a:cubicBezTo>
                    <a:pt x="966" y="8537"/>
                    <a:pt x="921" y="8604"/>
                    <a:pt x="875" y="8671"/>
                  </a:cubicBezTo>
                  <a:lnTo>
                    <a:pt x="700" y="8794"/>
                  </a:lnTo>
                  <a:lnTo>
                    <a:pt x="564" y="8918"/>
                  </a:lnTo>
                  <a:cubicBezTo>
                    <a:pt x="558" y="8964"/>
                    <a:pt x="551" y="9011"/>
                    <a:pt x="545" y="9057"/>
                  </a:cubicBezTo>
                  <a:cubicBezTo>
                    <a:pt x="571" y="9098"/>
                    <a:pt x="597" y="9140"/>
                    <a:pt x="623" y="9181"/>
                  </a:cubicBezTo>
                  <a:lnTo>
                    <a:pt x="467" y="9274"/>
                  </a:lnTo>
                  <a:lnTo>
                    <a:pt x="370" y="9258"/>
                  </a:lnTo>
                  <a:lnTo>
                    <a:pt x="175" y="9243"/>
                  </a:lnTo>
                  <a:cubicBezTo>
                    <a:pt x="162" y="9294"/>
                    <a:pt x="149" y="9346"/>
                    <a:pt x="136" y="9397"/>
                  </a:cubicBezTo>
                  <a:cubicBezTo>
                    <a:pt x="162" y="9423"/>
                    <a:pt x="188" y="9448"/>
                    <a:pt x="214" y="9474"/>
                  </a:cubicBezTo>
                  <a:lnTo>
                    <a:pt x="0" y="10000"/>
                  </a:lnTo>
                </a:path>
              </a:pathLst>
            </a:custGeom>
            <a:noFill/>
            <a:ln w="317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none" lIns="36000" tIns="36000" rIns="36000" bIns="36000" anchor="ctr"/>
            <a:lstStyle/>
            <a:p>
              <a:pPr defTabSz="891045"/>
              <a:endParaRPr lang="en-US" sz="1700" dirty="0">
                <a:solidFill>
                  <a:srgbClr val="003149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368" name="Freeform 1043"/>
            <p:cNvSpPr>
              <a:spLocks noChangeAspect="1"/>
            </p:cNvSpPr>
            <p:nvPr>
              <p:custDataLst>
                <p:tags r:id="rId272"/>
              </p:custDataLst>
            </p:nvPr>
          </p:nvSpPr>
          <p:spPr bwMode="gray">
            <a:xfrm>
              <a:off x="6077549" y="6326457"/>
              <a:ext cx="400050" cy="350856"/>
            </a:xfrm>
            <a:custGeom>
              <a:avLst/>
              <a:gdLst>
                <a:gd name="T0" fmla="*/ 2147483647 w 10500"/>
                <a:gd name="T1" fmla="*/ 0 h 10425"/>
                <a:gd name="T2" fmla="*/ 2147483647 w 10500"/>
                <a:gd name="T3" fmla="*/ 2147483647 h 10425"/>
                <a:gd name="T4" fmla="*/ 2147483647 w 10500"/>
                <a:gd name="T5" fmla="*/ 2147483647 h 10425"/>
                <a:gd name="T6" fmla="*/ 2147483647 w 10500"/>
                <a:gd name="T7" fmla="*/ 2147483647 h 10425"/>
                <a:gd name="T8" fmla="*/ 2147483647 w 10500"/>
                <a:gd name="T9" fmla="*/ 2147483647 h 10425"/>
                <a:gd name="T10" fmla="*/ 2147483647 w 10500"/>
                <a:gd name="T11" fmla="*/ 2147483647 h 10425"/>
                <a:gd name="T12" fmla="*/ 2147483647 w 10500"/>
                <a:gd name="T13" fmla="*/ 2147483647 h 10425"/>
                <a:gd name="T14" fmla="*/ 2147483647 w 10500"/>
                <a:gd name="T15" fmla="*/ 2147483647 h 10425"/>
                <a:gd name="T16" fmla="*/ 2147483647 w 10500"/>
                <a:gd name="T17" fmla="*/ 2147483647 h 10425"/>
                <a:gd name="T18" fmla="*/ 2147483647 w 10500"/>
                <a:gd name="T19" fmla="*/ 2147483647 h 10425"/>
                <a:gd name="T20" fmla="*/ 2147483647 w 10500"/>
                <a:gd name="T21" fmla="*/ 2147483647 h 10425"/>
                <a:gd name="T22" fmla="*/ 2147483647 w 10500"/>
                <a:gd name="T23" fmla="*/ 2147483647 h 10425"/>
                <a:gd name="T24" fmla="*/ 2147483647 w 10500"/>
                <a:gd name="T25" fmla="*/ 2147483647 h 10425"/>
                <a:gd name="T26" fmla="*/ 2147483647 w 10500"/>
                <a:gd name="T27" fmla="*/ 2147483647 h 10425"/>
                <a:gd name="T28" fmla="*/ 2147483647 w 10500"/>
                <a:gd name="T29" fmla="*/ 2147483647 h 10425"/>
                <a:gd name="T30" fmla="*/ 2147483647 w 10500"/>
                <a:gd name="T31" fmla="*/ 2147483647 h 10425"/>
                <a:gd name="T32" fmla="*/ 0 w 10500"/>
                <a:gd name="T33" fmla="*/ 2147483647 h 10425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10500"/>
                <a:gd name="T52" fmla="*/ 0 h 10425"/>
                <a:gd name="T53" fmla="*/ 10500 w 10500"/>
                <a:gd name="T54" fmla="*/ 10425 h 10425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10500" h="10425">
                  <a:moveTo>
                    <a:pt x="10500" y="0"/>
                  </a:moveTo>
                  <a:lnTo>
                    <a:pt x="9405" y="481"/>
                  </a:lnTo>
                  <a:lnTo>
                    <a:pt x="8262" y="1925"/>
                  </a:lnTo>
                  <a:lnTo>
                    <a:pt x="6786" y="2406"/>
                  </a:lnTo>
                  <a:lnTo>
                    <a:pt x="5833" y="3048"/>
                  </a:lnTo>
                  <a:lnTo>
                    <a:pt x="4262" y="3690"/>
                  </a:lnTo>
                  <a:lnTo>
                    <a:pt x="3405" y="2727"/>
                  </a:lnTo>
                  <a:lnTo>
                    <a:pt x="2500" y="2299"/>
                  </a:lnTo>
                  <a:lnTo>
                    <a:pt x="1929" y="3583"/>
                  </a:lnTo>
                  <a:lnTo>
                    <a:pt x="2786" y="5187"/>
                  </a:lnTo>
                  <a:lnTo>
                    <a:pt x="4452" y="5615"/>
                  </a:lnTo>
                  <a:lnTo>
                    <a:pt x="3405" y="6471"/>
                  </a:lnTo>
                  <a:lnTo>
                    <a:pt x="1929" y="7112"/>
                  </a:lnTo>
                  <a:lnTo>
                    <a:pt x="1071" y="8182"/>
                  </a:lnTo>
                  <a:lnTo>
                    <a:pt x="2214" y="9037"/>
                  </a:lnTo>
                  <a:lnTo>
                    <a:pt x="1548" y="9679"/>
                  </a:lnTo>
                  <a:cubicBezTo>
                    <a:pt x="1199" y="9786"/>
                    <a:pt x="349" y="10318"/>
                    <a:pt x="0" y="10425"/>
                  </a:cubicBezTo>
                </a:path>
              </a:pathLst>
            </a:custGeom>
            <a:noFill/>
            <a:ln w="317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sm" len="sm"/>
            </a:ln>
          </p:spPr>
          <p:txBody>
            <a:bodyPr wrap="none" lIns="36000" tIns="36000" rIns="36000" bIns="36000"/>
            <a:lstStyle/>
            <a:p>
              <a:pPr defTabSz="891045"/>
              <a:endParaRPr lang="en-US" sz="1700" dirty="0">
                <a:solidFill>
                  <a:srgbClr val="003149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369" name="Freeform 1045"/>
            <p:cNvSpPr>
              <a:spLocks noChangeAspect="1"/>
            </p:cNvSpPr>
            <p:nvPr>
              <p:custDataLst>
                <p:tags r:id="rId273"/>
              </p:custDataLst>
            </p:nvPr>
          </p:nvSpPr>
          <p:spPr bwMode="gray">
            <a:xfrm>
              <a:off x="6328573" y="6415357"/>
              <a:ext cx="700912" cy="724723"/>
            </a:xfrm>
            <a:custGeom>
              <a:avLst/>
              <a:gdLst>
                <a:gd name="T0" fmla="*/ 2147483647 w 10295"/>
                <a:gd name="T1" fmla="*/ 0 h 8890"/>
                <a:gd name="T2" fmla="*/ 2147483647 w 10295"/>
                <a:gd name="T3" fmla="*/ 2147483647 h 8890"/>
                <a:gd name="T4" fmla="*/ 2147483647 w 10295"/>
                <a:gd name="T5" fmla="*/ 2147483647 h 8890"/>
                <a:gd name="T6" fmla="*/ 2147483647 w 10295"/>
                <a:gd name="T7" fmla="*/ 2147483647 h 8890"/>
                <a:gd name="T8" fmla="*/ 2147483647 w 10295"/>
                <a:gd name="T9" fmla="*/ 2147483647 h 8890"/>
                <a:gd name="T10" fmla="*/ 2147483647 w 10295"/>
                <a:gd name="T11" fmla="*/ 2147483647 h 8890"/>
                <a:gd name="T12" fmla="*/ 2147483647 w 10295"/>
                <a:gd name="T13" fmla="*/ 2147483647 h 8890"/>
                <a:gd name="T14" fmla="*/ 2147483647 w 10295"/>
                <a:gd name="T15" fmla="*/ 2147483647 h 8890"/>
                <a:gd name="T16" fmla="*/ 2147483647 w 10295"/>
                <a:gd name="T17" fmla="*/ 2147483647 h 8890"/>
                <a:gd name="T18" fmla="*/ 2147483647 w 10295"/>
                <a:gd name="T19" fmla="*/ 2147483647 h 8890"/>
                <a:gd name="T20" fmla="*/ 2147483647 w 10295"/>
                <a:gd name="T21" fmla="*/ 2147483647 h 8890"/>
                <a:gd name="T22" fmla="*/ 2147483647 w 10295"/>
                <a:gd name="T23" fmla="*/ 2147483647 h 8890"/>
                <a:gd name="T24" fmla="*/ 2147483647 w 10295"/>
                <a:gd name="T25" fmla="*/ 2147483647 h 8890"/>
                <a:gd name="T26" fmla="*/ 2147483647 w 10295"/>
                <a:gd name="T27" fmla="*/ 2147483647 h 8890"/>
                <a:gd name="T28" fmla="*/ 2147483647 w 10295"/>
                <a:gd name="T29" fmla="*/ 2147483647 h 8890"/>
                <a:gd name="T30" fmla="*/ 2147483647 w 10295"/>
                <a:gd name="T31" fmla="*/ 2147483647 h 8890"/>
                <a:gd name="T32" fmla="*/ 2147483647 w 10295"/>
                <a:gd name="T33" fmla="*/ 2147483647 h 8890"/>
                <a:gd name="T34" fmla="*/ 2147483647 w 10295"/>
                <a:gd name="T35" fmla="*/ 2147483647 h 8890"/>
                <a:gd name="T36" fmla="*/ 2147483647 w 10295"/>
                <a:gd name="T37" fmla="*/ 2147483647 h 8890"/>
                <a:gd name="T38" fmla="*/ 2147483647 w 10295"/>
                <a:gd name="T39" fmla="*/ 2147483647 h 8890"/>
                <a:gd name="T40" fmla="*/ 0 w 10295"/>
                <a:gd name="T41" fmla="*/ 2147483647 h 8890"/>
                <a:gd name="T42" fmla="*/ 2147483647 w 10295"/>
                <a:gd name="T43" fmla="*/ 2147483647 h 8890"/>
                <a:gd name="T44" fmla="*/ 2147483647 w 10295"/>
                <a:gd name="T45" fmla="*/ 2147483647 h 8890"/>
                <a:gd name="T46" fmla="*/ 2147483647 w 10295"/>
                <a:gd name="T47" fmla="*/ 2147483647 h 8890"/>
                <a:gd name="T48" fmla="*/ 2147483647 w 10295"/>
                <a:gd name="T49" fmla="*/ 2147483647 h 8890"/>
                <a:gd name="T50" fmla="*/ 2147483647 w 10295"/>
                <a:gd name="T51" fmla="*/ 2147483647 h 8890"/>
                <a:gd name="T52" fmla="*/ 2147483647 w 10295"/>
                <a:gd name="T53" fmla="*/ 2147483647 h 8890"/>
                <a:gd name="T54" fmla="*/ 2147483647 w 10295"/>
                <a:gd name="T55" fmla="*/ 2147483647 h 8890"/>
                <a:gd name="T56" fmla="*/ 2147483647 w 10295"/>
                <a:gd name="T57" fmla="*/ 2147483647 h 8890"/>
                <a:gd name="T58" fmla="*/ 2147483647 w 10295"/>
                <a:gd name="T59" fmla="*/ 2147483647 h 8890"/>
                <a:gd name="T60" fmla="*/ 2147483647 w 10295"/>
                <a:gd name="T61" fmla="*/ 2147483647 h 8890"/>
                <a:gd name="T62" fmla="*/ 2147483647 w 10295"/>
                <a:gd name="T63" fmla="*/ 2147483647 h 8890"/>
                <a:gd name="T64" fmla="*/ 2147483647 w 10295"/>
                <a:gd name="T65" fmla="*/ 2147483647 h 8890"/>
                <a:gd name="T66" fmla="*/ 2147483647 w 10295"/>
                <a:gd name="T67" fmla="*/ 2147483647 h 8890"/>
                <a:gd name="T68" fmla="*/ 2147483647 w 10295"/>
                <a:gd name="T69" fmla="*/ 2147483647 h 8890"/>
                <a:gd name="T70" fmla="*/ 2147483647 w 10295"/>
                <a:gd name="T71" fmla="*/ 2147483647 h 8890"/>
                <a:gd name="T72" fmla="*/ 2147483647 w 10295"/>
                <a:gd name="T73" fmla="*/ 2147483647 h 8890"/>
                <a:gd name="T74" fmla="*/ 2147483647 w 10295"/>
                <a:gd name="T75" fmla="*/ 2147483647 h 8890"/>
                <a:gd name="T76" fmla="*/ 2147483647 w 10295"/>
                <a:gd name="T77" fmla="*/ 2147483647 h 8890"/>
                <a:gd name="T78" fmla="*/ 2147483647 w 10295"/>
                <a:gd name="T79" fmla="*/ 2147483647 h 8890"/>
                <a:gd name="T80" fmla="*/ 2147483647 w 10295"/>
                <a:gd name="T81" fmla="*/ 2147483647 h 8890"/>
                <a:gd name="T82" fmla="*/ 2147483647 w 10295"/>
                <a:gd name="T83" fmla="*/ 2147483647 h 8890"/>
                <a:gd name="T84" fmla="*/ 2147483647 w 10295"/>
                <a:gd name="T85" fmla="*/ 2147483647 h 8890"/>
                <a:gd name="T86" fmla="*/ 2147483647 w 10295"/>
                <a:gd name="T87" fmla="*/ 2147483647 h 8890"/>
                <a:gd name="T88" fmla="*/ 2147483647 w 10295"/>
                <a:gd name="T89" fmla="*/ 2147483647 h 8890"/>
                <a:gd name="T90" fmla="*/ 2147483647 w 10295"/>
                <a:gd name="T91" fmla="*/ 2147483647 h 8890"/>
                <a:gd name="T92" fmla="*/ 2147483647 w 10295"/>
                <a:gd name="T93" fmla="*/ 2147483647 h 8890"/>
                <a:gd name="T94" fmla="*/ 2147483647 w 10295"/>
                <a:gd name="T95" fmla="*/ 2147483647 h 8890"/>
                <a:gd name="T96" fmla="*/ 2147483647 w 10295"/>
                <a:gd name="T97" fmla="*/ 2147483647 h 8890"/>
                <a:gd name="T98" fmla="*/ 2147483647 w 10295"/>
                <a:gd name="T99" fmla="*/ 2147483647 h 8890"/>
                <a:gd name="T100" fmla="*/ 2147483647 w 10295"/>
                <a:gd name="T101" fmla="*/ 2147483647 h 8890"/>
                <a:gd name="T102" fmla="*/ 2147483647 w 10295"/>
                <a:gd name="T103" fmla="*/ 2147483647 h 8890"/>
                <a:gd name="T104" fmla="*/ 2147483647 w 10295"/>
                <a:gd name="T105" fmla="*/ 2147483647 h 8890"/>
                <a:gd name="T106" fmla="*/ 2147483647 w 10295"/>
                <a:gd name="T107" fmla="*/ 2147483647 h 8890"/>
                <a:gd name="T108" fmla="*/ 2147483647 w 10295"/>
                <a:gd name="T109" fmla="*/ 2147483647 h 8890"/>
                <a:gd name="T110" fmla="*/ 2147483647 w 10295"/>
                <a:gd name="T111" fmla="*/ 2147483647 h 8890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10295"/>
                <a:gd name="T169" fmla="*/ 0 h 8890"/>
                <a:gd name="T170" fmla="*/ 10295 w 10295"/>
                <a:gd name="T171" fmla="*/ 8890 h 8890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10295" h="8890">
                  <a:moveTo>
                    <a:pt x="3637" y="0"/>
                  </a:moveTo>
                  <a:cubicBezTo>
                    <a:pt x="3606" y="77"/>
                    <a:pt x="3575" y="156"/>
                    <a:pt x="3545" y="233"/>
                  </a:cubicBezTo>
                  <a:lnTo>
                    <a:pt x="3545" y="467"/>
                  </a:lnTo>
                  <a:cubicBezTo>
                    <a:pt x="3606" y="571"/>
                    <a:pt x="3669" y="675"/>
                    <a:pt x="3730" y="779"/>
                  </a:cubicBezTo>
                  <a:lnTo>
                    <a:pt x="3917" y="935"/>
                  </a:lnTo>
                  <a:cubicBezTo>
                    <a:pt x="3948" y="987"/>
                    <a:pt x="3980" y="1039"/>
                    <a:pt x="4010" y="1091"/>
                  </a:cubicBezTo>
                  <a:lnTo>
                    <a:pt x="3545" y="1714"/>
                  </a:lnTo>
                  <a:lnTo>
                    <a:pt x="3171" y="2259"/>
                  </a:lnTo>
                  <a:lnTo>
                    <a:pt x="2704" y="2337"/>
                  </a:lnTo>
                  <a:lnTo>
                    <a:pt x="2704" y="2649"/>
                  </a:lnTo>
                  <a:cubicBezTo>
                    <a:pt x="2767" y="2726"/>
                    <a:pt x="2829" y="2804"/>
                    <a:pt x="2891" y="2882"/>
                  </a:cubicBezTo>
                  <a:lnTo>
                    <a:pt x="2798" y="3116"/>
                  </a:lnTo>
                  <a:lnTo>
                    <a:pt x="2611" y="3272"/>
                  </a:lnTo>
                  <a:lnTo>
                    <a:pt x="1959" y="3272"/>
                  </a:lnTo>
                  <a:lnTo>
                    <a:pt x="1678" y="3428"/>
                  </a:lnTo>
                  <a:lnTo>
                    <a:pt x="1306" y="3428"/>
                  </a:lnTo>
                  <a:lnTo>
                    <a:pt x="1119" y="3583"/>
                  </a:lnTo>
                  <a:lnTo>
                    <a:pt x="839" y="3972"/>
                  </a:lnTo>
                  <a:lnTo>
                    <a:pt x="559" y="4440"/>
                  </a:lnTo>
                  <a:lnTo>
                    <a:pt x="187" y="4596"/>
                  </a:lnTo>
                  <a:cubicBezTo>
                    <a:pt x="124" y="4803"/>
                    <a:pt x="63" y="5011"/>
                    <a:pt x="0" y="5219"/>
                  </a:cubicBezTo>
                  <a:lnTo>
                    <a:pt x="559" y="5764"/>
                  </a:lnTo>
                  <a:cubicBezTo>
                    <a:pt x="590" y="5920"/>
                    <a:pt x="622" y="6076"/>
                    <a:pt x="653" y="6232"/>
                  </a:cubicBezTo>
                  <a:lnTo>
                    <a:pt x="187" y="6388"/>
                  </a:lnTo>
                  <a:lnTo>
                    <a:pt x="187" y="6621"/>
                  </a:lnTo>
                  <a:lnTo>
                    <a:pt x="559" y="7400"/>
                  </a:lnTo>
                  <a:lnTo>
                    <a:pt x="746" y="7634"/>
                  </a:lnTo>
                  <a:cubicBezTo>
                    <a:pt x="715" y="7686"/>
                    <a:pt x="683" y="7738"/>
                    <a:pt x="653" y="7790"/>
                  </a:cubicBezTo>
                  <a:lnTo>
                    <a:pt x="280" y="8101"/>
                  </a:lnTo>
                  <a:lnTo>
                    <a:pt x="187" y="8413"/>
                  </a:lnTo>
                  <a:lnTo>
                    <a:pt x="839" y="8569"/>
                  </a:lnTo>
                  <a:cubicBezTo>
                    <a:pt x="1026" y="8569"/>
                    <a:pt x="1119" y="8490"/>
                    <a:pt x="1213" y="8413"/>
                  </a:cubicBezTo>
                  <a:cubicBezTo>
                    <a:pt x="1306" y="8335"/>
                    <a:pt x="1306" y="8179"/>
                    <a:pt x="1399" y="8023"/>
                  </a:cubicBezTo>
                  <a:lnTo>
                    <a:pt x="1585" y="7634"/>
                  </a:lnTo>
                  <a:lnTo>
                    <a:pt x="2052" y="7478"/>
                  </a:lnTo>
                  <a:lnTo>
                    <a:pt x="2332" y="7167"/>
                  </a:lnTo>
                  <a:cubicBezTo>
                    <a:pt x="2425" y="7167"/>
                    <a:pt x="2704" y="7400"/>
                    <a:pt x="2798" y="7400"/>
                  </a:cubicBezTo>
                  <a:cubicBezTo>
                    <a:pt x="2985" y="7400"/>
                    <a:pt x="3078" y="7088"/>
                    <a:pt x="3171" y="7088"/>
                  </a:cubicBezTo>
                  <a:cubicBezTo>
                    <a:pt x="3358" y="7088"/>
                    <a:pt x="3637" y="7244"/>
                    <a:pt x="3824" y="7322"/>
                  </a:cubicBezTo>
                  <a:lnTo>
                    <a:pt x="4291" y="7400"/>
                  </a:lnTo>
                  <a:lnTo>
                    <a:pt x="4756" y="7556"/>
                  </a:lnTo>
                  <a:lnTo>
                    <a:pt x="5317" y="7711"/>
                  </a:lnTo>
                  <a:lnTo>
                    <a:pt x="5503" y="7711"/>
                  </a:lnTo>
                  <a:lnTo>
                    <a:pt x="6062" y="7711"/>
                  </a:lnTo>
                  <a:lnTo>
                    <a:pt x="6529" y="7711"/>
                  </a:lnTo>
                  <a:lnTo>
                    <a:pt x="6902" y="7867"/>
                  </a:lnTo>
                  <a:lnTo>
                    <a:pt x="7182" y="8179"/>
                  </a:lnTo>
                  <a:cubicBezTo>
                    <a:pt x="7120" y="8309"/>
                    <a:pt x="7057" y="8439"/>
                    <a:pt x="6995" y="8569"/>
                  </a:cubicBezTo>
                  <a:cubicBezTo>
                    <a:pt x="7058" y="8646"/>
                    <a:pt x="7119" y="8725"/>
                    <a:pt x="7182" y="8802"/>
                  </a:cubicBezTo>
                  <a:lnTo>
                    <a:pt x="7462" y="8802"/>
                  </a:lnTo>
                  <a:lnTo>
                    <a:pt x="8114" y="8646"/>
                  </a:lnTo>
                  <a:lnTo>
                    <a:pt x="9234" y="8179"/>
                  </a:lnTo>
                  <a:lnTo>
                    <a:pt x="9886" y="8179"/>
                  </a:lnTo>
                  <a:cubicBezTo>
                    <a:pt x="9917" y="8257"/>
                    <a:pt x="9949" y="8335"/>
                    <a:pt x="9979" y="8413"/>
                  </a:cubicBezTo>
                  <a:lnTo>
                    <a:pt x="9979" y="8802"/>
                  </a:lnTo>
                  <a:cubicBezTo>
                    <a:pt x="10073" y="8802"/>
                    <a:pt x="10201" y="8890"/>
                    <a:pt x="10295" y="8890"/>
                  </a:cubicBezTo>
                </a:path>
              </a:pathLst>
            </a:custGeom>
            <a:noFill/>
            <a:ln w="317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none" lIns="36000" tIns="36000" rIns="36000" bIns="36000" anchor="ctr"/>
            <a:lstStyle/>
            <a:p>
              <a:pPr defTabSz="891045"/>
              <a:endParaRPr lang="en-US" sz="1700" dirty="0">
                <a:solidFill>
                  <a:srgbClr val="003149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370" name="Freeform 662"/>
            <p:cNvSpPr>
              <a:spLocks noChangeAspect="1"/>
            </p:cNvSpPr>
            <p:nvPr>
              <p:custDataLst>
                <p:tags r:id="rId274"/>
              </p:custDataLst>
            </p:nvPr>
          </p:nvSpPr>
          <p:spPr bwMode="gray">
            <a:xfrm>
              <a:off x="2859934" y="4853257"/>
              <a:ext cx="376190" cy="331799"/>
            </a:xfrm>
            <a:custGeom>
              <a:avLst/>
              <a:gdLst>
                <a:gd name="T0" fmla="*/ 0 w 11140"/>
                <a:gd name="T1" fmla="*/ 2147483647 h 8479"/>
                <a:gd name="T2" fmla="*/ 2147483647 w 11140"/>
                <a:gd name="T3" fmla="*/ 2147483647 h 8479"/>
                <a:gd name="T4" fmla="*/ 2147483647 w 11140"/>
                <a:gd name="T5" fmla="*/ 2147483647 h 8479"/>
                <a:gd name="T6" fmla="*/ 2147483647 w 11140"/>
                <a:gd name="T7" fmla="*/ 2147483647 h 8479"/>
                <a:gd name="T8" fmla="*/ 2147483647 w 11140"/>
                <a:gd name="T9" fmla="*/ 2147483647 h 8479"/>
                <a:gd name="T10" fmla="*/ 2147483647 w 11140"/>
                <a:gd name="T11" fmla="*/ 2147483647 h 8479"/>
                <a:gd name="T12" fmla="*/ 2147483647 w 11140"/>
                <a:gd name="T13" fmla="*/ 2147483647 h 8479"/>
                <a:gd name="T14" fmla="*/ 2147483647 w 11140"/>
                <a:gd name="T15" fmla="*/ 2147483647 h 8479"/>
                <a:gd name="T16" fmla="*/ 2147483647 w 11140"/>
                <a:gd name="T17" fmla="*/ 2147483647 h 8479"/>
                <a:gd name="T18" fmla="*/ 2147483647 w 11140"/>
                <a:gd name="T19" fmla="*/ 2147483647 h 8479"/>
                <a:gd name="T20" fmla="*/ 2147483647 w 11140"/>
                <a:gd name="T21" fmla="*/ 2147483647 h 8479"/>
                <a:gd name="T22" fmla="*/ 2147483647 w 11140"/>
                <a:gd name="T23" fmla="*/ 2147483647 h 8479"/>
                <a:gd name="T24" fmla="*/ 2147483647 w 11140"/>
                <a:gd name="T25" fmla="*/ 2147483647 h 8479"/>
                <a:gd name="T26" fmla="*/ 2147483647 w 11140"/>
                <a:gd name="T27" fmla="*/ 2147483647 h 8479"/>
                <a:gd name="T28" fmla="*/ 2147483647 w 11140"/>
                <a:gd name="T29" fmla="*/ 0 h 8479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11140"/>
                <a:gd name="T46" fmla="*/ 0 h 8479"/>
                <a:gd name="T47" fmla="*/ 11140 w 11140"/>
                <a:gd name="T48" fmla="*/ 8479 h 8479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11140" h="8479">
                  <a:moveTo>
                    <a:pt x="0" y="8479"/>
                  </a:moveTo>
                  <a:lnTo>
                    <a:pt x="1140" y="7763"/>
                  </a:lnTo>
                  <a:lnTo>
                    <a:pt x="1570" y="7205"/>
                  </a:lnTo>
                  <a:lnTo>
                    <a:pt x="2744" y="7298"/>
                  </a:lnTo>
                  <a:lnTo>
                    <a:pt x="3494" y="6648"/>
                  </a:lnTo>
                  <a:lnTo>
                    <a:pt x="4457" y="6183"/>
                  </a:lnTo>
                  <a:lnTo>
                    <a:pt x="5740" y="5904"/>
                  </a:lnTo>
                  <a:cubicBezTo>
                    <a:pt x="5703" y="5595"/>
                    <a:pt x="5668" y="5285"/>
                    <a:pt x="5632" y="4975"/>
                  </a:cubicBezTo>
                  <a:lnTo>
                    <a:pt x="6274" y="3952"/>
                  </a:lnTo>
                  <a:cubicBezTo>
                    <a:pt x="6310" y="3579"/>
                    <a:pt x="6345" y="3208"/>
                    <a:pt x="6381" y="2835"/>
                  </a:cubicBezTo>
                  <a:lnTo>
                    <a:pt x="7343" y="2278"/>
                  </a:lnTo>
                  <a:cubicBezTo>
                    <a:pt x="7308" y="1968"/>
                    <a:pt x="7273" y="1658"/>
                    <a:pt x="7237" y="1348"/>
                  </a:cubicBezTo>
                  <a:lnTo>
                    <a:pt x="7878" y="325"/>
                  </a:lnTo>
                  <a:lnTo>
                    <a:pt x="9803" y="790"/>
                  </a:lnTo>
                  <a:lnTo>
                    <a:pt x="11140" y="0"/>
                  </a:lnTo>
                </a:path>
              </a:pathLst>
            </a:custGeom>
            <a:noFill/>
            <a:ln w="317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sm" len="sm"/>
            </a:ln>
          </p:spPr>
          <p:txBody>
            <a:bodyPr wrap="none" lIns="36000" tIns="36000" rIns="36000" bIns="36000" anchor="ctr"/>
            <a:lstStyle/>
            <a:p>
              <a:pPr defTabSz="891045"/>
              <a:endParaRPr lang="en-US" sz="1700" dirty="0">
                <a:solidFill>
                  <a:srgbClr val="003149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371" name="Freeform 663"/>
            <p:cNvSpPr>
              <a:spLocks noChangeAspect="1"/>
            </p:cNvSpPr>
            <p:nvPr>
              <p:custDataLst>
                <p:tags r:id="rId275"/>
              </p:custDataLst>
            </p:nvPr>
          </p:nvSpPr>
          <p:spPr bwMode="gray">
            <a:xfrm>
              <a:off x="4344191" y="5393793"/>
              <a:ext cx="187334" cy="304016"/>
            </a:xfrm>
            <a:custGeom>
              <a:avLst/>
              <a:gdLst>
                <a:gd name="T0" fmla="*/ 0 w 10536"/>
                <a:gd name="T1" fmla="*/ 0 h 9846"/>
                <a:gd name="T2" fmla="*/ 2147483647 w 10536"/>
                <a:gd name="T3" fmla="*/ 2147483647 h 9846"/>
                <a:gd name="T4" fmla="*/ 2147483647 w 10536"/>
                <a:gd name="T5" fmla="*/ 2147483647 h 9846"/>
                <a:gd name="T6" fmla="*/ 2147483647 w 10536"/>
                <a:gd name="T7" fmla="*/ 2147483647 h 9846"/>
                <a:gd name="T8" fmla="*/ 2147483647 w 10536"/>
                <a:gd name="T9" fmla="*/ 2147483647 h 9846"/>
                <a:gd name="T10" fmla="*/ 2147483647 w 10536"/>
                <a:gd name="T11" fmla="*/ 2147483647 h 9846"/>
                <a:gd name="T12" fmla="*/ 2147483647 w 10536"/>
                <a:gd name="T13" fmla="*/ 2147483647 h 9846"/>
                <a:gd name="T14" fmla="*/ 2147483647 w 10536"/>
                <a:gd name="T15" fmla="*/ 2147483647 h 9846"/>
                <a:gd name="T16" fmla="*/ 2147483647 w 10536"/>
                <a:gd name="T17" fmla="*/ 2147483647 h 9846"/>
                <a:gd name="T18" fmla="*/ 2147483647 w 10536"/>
                <a:gd name="T19" fmla="*/ 2147483647 h 9846"/>
                <a:gd name="T20" fmla="*/ 2147483647 w 10536"/>
                <a:gd name="T21" fmla="*/ 2147483647 h 9846"/>
                <a:gd name="T22" fmla="*/ 2147483647 w 10536"/>
                <a:gd name="T23" fmla="*/ 2147483647 h 984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10536"/>
                <a:gd name="T37" fmla="*/ 0 h 9846"/>
                <a:gd name="T38" fmla="*/ 10536 w 10536"/>
                <a:gd name="T39" fmla="*/ 9846 h 984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10536" h="9846">
                  <a:moveTo>
                    <a:pt x="0" y="0"/>
                  </a:moveTo>
                  <a:lnTo>
                    <a:pt x="1276" y="824"/>
                  </a:lnTo>
                  <a:lnTo>
                    <a:pt x="3893" y="824"/>
                  </a:lnTo>
                  <a:lnTo>
                    <a:pt x="6913" y="1175"/>
                  </a:lnTo>
                  <a:lnTo>
                    <a:pt x="9933" y="1175"/>
                  </a:lnTo>
                  <a:lnTo>
                    <a:pt x="10536" y="2463"/>
                  </a:lnTo>
                  <a:lnTo>
                    <a:pt x="8523" y="3519"/>
                  </a:lnTo>
                  <a:lnTo>
                    <a:pt x="8523" y="4691"/>
                  </a:lnTo>
                  <a:lnTo>
                    <a:pt x="7517" y="5979"/>
                  </a:lnTo>
                  <a:lnTo>
                    <a:pt x="8523" y="7385"/>
                  </a:lnTo>
                  <a:lnTo>
                    <a:pt x="9933" y="8557"/>
                  </a:lnTo>
                  <a:lnTo>
                    <a:pt x="8121" y="9846"/>
                  </a:lnTo>
                </a:path>
              </a:pathLst>
            </a:custGeom>
            <a:noFill/>
            <a:ln w="317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sm" len="sm"/>
            </a:ln>
          </p:spPr>
          <p:txBody>
            <a:bodyPr wrap="none" lIns="36000" tIns="36000" rIns="36000" bIns="36000" anchor="ctr"/>
            <a:lstStyle/>
            <a:p>
              <a:pPr defTabSz="891045"/>
              <a:endParaRPr lang="en-US" sz="1700" dirty="0">
                <a:solidFill>
                  <a:srgbClr val="003149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372" name="Freeform 688"/>
            <p:cNvSpPr>
              <a:spLocks noChangeAspect="1"/>
            </p:cNvSpPr>
            <p:nvPr>
              <p:custDataLst>
                <p:tags r:id="rId276"/>
              </p:custDataLst>
            </p:nvPr>
          </p:nvSpPr>
          <p:spPr bwMode="gray">
            <a:xfrm>
              <a:off x="3022996" y="8085509"/>
              <a:ext cx="473476" cy="1006333"/>
            </a:xfrm>
            <a:custGeom>
              <a:avLst/>
              <a:gdLst>
                <a:gd name="T0" fmla="*/ 2147483647 w 10000"/>
                <a:gd name="T1" fmla="*/ 2147483647 h 10071"/>
                <a:gd name="T2" fmla="*/ 2147483647 w 10000"/>
                <a:gd name="T3" fmla="*/ 2147483647 h 10071"/>
                <a:gd name="T4" fmla="*/ 2147483647 w 10000"/>
                <a:gd name="T5" fmla="*/ 2147483647 h 10071"/>
                <a:gd name="T6" fmla="*/ 2147483647 w 10000"/>
                <a:gd name="T7" fmla="*/ 2147483647 h 10071"/>
                <a:gd name="T8" fmla="*/ 2147483647 w 10000"/>
                <a:gd name="T9" fmla="*/ 2147483647 h 10071"/>
                <a:gd name="T10" fmla="*/ 2147483647 w 10000"/>
                <a:gd name="T11" fmla="*/ 2147483647 h 10071"/>
                <a:gd name="T12" fmla="*/ 2147483647 w 10000"/>
                <a:gd name="T13" fmla="*/ 2147483647 h 10071"/>
                <a:gd name="T14" fmla="*/ 2147483647 w 10000"/>
                <a:gd name="T15" fmla="*/ 2147483647 h 10071"/>
                <a:gd name="T16" fmla="*/ 2147483647 w 10000"/>
                <a:gd name="T17" fmla="*/ 2147483647 h 10071"/>
                <a:gd name="T18" fmla="*/ 2147483647 w 10000"/>
                <a:gd name="T19" fmla="*/ 2147483647 h 10071"/>
                <a:gd name="T20" fmla="*/ 2147483647 w 10000"/>
                <a:gd name="T21" fmla="*/ 2147483647 h 10071"/>
                <a:gd name="T22" fmla="*/ 2147483647 w 10000"/>
                <a:gd name="T23" fmla="*/ 2147483647 h 10071"/>
                <a:gd name="T24" fmla="*/ 2147483647 w 10000"/>
                <a:gd name="T25" fmla="*/ 2147483647 h 10071"/>
                <a:gd name="T26" fmla="*/ 2147483647 w 10000"/>
                <a:gd name="T27" fmla="*/ 2147483647 h 10071"/>
                <a:gd name="T28" fmla="*/ 2147483647 w 10000"/>
                <a:gd name="T29" fmla="*/ 2147483647 h 10071"/>
                <a:gd name="T30" fmla="*/ 2147483647 w 10000"/>
                <a:gd name="T31" fmla="*/ 2147483647 h 10071"/>
                <a:gd name="T32" fmla="*/ 2147483647 w 10000"/>
                <a:gd name="T33" fmla="*/ 2147483647 h 10071"/>
                <a:gd name="T34" fmla="*/ 2147483647 w 10000"/>
                <a:gd name="T35" fmla="*/ 2147483647 h 10071"/>
                <a:gd name="T36" fmla="*/ 2147483647 w 10000"/>
                <a:gd name="T37" fmla="*/ 2147483647 h 10071"/>
                <a:gd name="T38" fmla="*/ 2147483647 w 10000"/>
                <a:gd name="T39" fmla="*/ 2147483647 h 10071"/>
                <a:gd name="T40" fmla="*/ 2147483647 w 10000"/>
                <a:gd name="T41" fmla="*/ 2147483647 h 10071"/>
                <a:gd name="T42" fmla="*/ 2147483647 w 10000"/>
                <a:gd name="T43" fmla="*/ 2147483647 h 10071"/>
                <a:gd name="T44" fmla="*/ 2147483647 w 10000"/>
                <a:gd name="T45" fmla="*/ 2147483647 h 10071"/>
                <a:gd name="T46" fmla="*/ 2147483647 w 10000"/>
                <a:gd name="T47" fmla="*/ 2147483647 h 10071"/>
                <a:gd name="T48" fmla="*/ 2147483647 w 10000"/>
                <a:gd name="T49" fmla="*/ 2147483647 h 10071"/>
                <a:gd name="T50" fmla="*/ 2147483647 w 10000"/>
                <a:gd name="T51" fmla="*/ 2147483647 h 10071"/>
                <a:gd name="T52" fmla="*/ 2147483647 w 10000"/>
                <a:gd name="T53" fmla="*/ 2147483647 h 10071"/>
                <a:gd name="T54" fmla="*/ 2147483647 w 10000"/>
                <a:gd name="T55" fmla="*/ 2147483647 h 10071"/>
                <a:gd name="T56" fmla="*/ 2147483647 w 10000"/>
                <a:gd name="T57" fmla="*/ 0 h 10071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w 10000"/>
                <a:gd name="T88" fmla="*/ 0 h 10071"/>
                <a:gd name="T89" fmla="*/ 10000 w 10000"/>
                <a:gd name="T90" fmla="*/ 10071 h 10071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T87" t="T88" r="T89" b="T90"/>
              <a:pathLst>
                <a:path w="10000" h="10071">
                  <a:moveTo>
                    <a:pt x="9585" y="10071"/>
                  </a:moveTo>
                  <a:cubicBezTo>
                    <a:pt x="9610" y="9880"/>
                    <a:pt x="9937" y="9783"/>
                    <a:pt x="9962" y="9592"/>
                  </a:cubicBezTo>
                  <a:lnTo>
                    <a:pt x="9733" y="9323"/>
                  </a:lnTo>
                  <a:lnTo>
                    <a:pt x="9278" y="9305"/>
                  </a:lnTo>
                  <a:cubicBezTo>
                    <a:pt x="9253" y="9179"/>
                    <a:pt x="9227" y="9053"/>
                    <a:pt x="9201" y="8927"/>
                  </a:cubicBezTo>
                  <a:lnTo>
                    <a:pt x="9658" y="8766"/>
                  </a:lnTo>
                  <a:cubicBezTo>
                    <a:pt x="9646" y="8664"/>
                    <a:pt x="9632" y="8562"/>
                    <a:pt x="9620" y="8461"/>
                  </a:cubicBezTo>
                  <a:lnTo>
                    <a:pt x="10000" y="8227"/>
                  </a:lnTo>
                  <a:lnTo>
                    <a:pt x="9658" y="7526"/>
                  </a:lnTo>
                  <a:lnTo>
                    <a:pt x="9315" y="7382"/>
                  </a:lnTo>
                  <a:lnTo>
                    <a:pt x="8479" y="6934"/>
                  </a:lnTo>
                  <a:lnTo>
                    <a:pt x="7909" y="6557"/>
                  </a:lnTo>
                  <a:lnTo>
                    <a:pt x="6769" y="6304"/>
                  </a:lnTo>
                  <a:lnTo>
                    <a:pt x="5286" y="6035"/>
                  </a:lnTo>
                  <a:lnTo>
                    <a:pt x="4450" y="5479"/>
                  </a:lnTo>
                  <a:cubicBezTo>
                    <a:pt x="4462" y="5336"/>
                    <a:pt x="4475" y="5191"/>
                    <a:pt x="4487" y="5047"/>
                  </a:cubicBezTo>
                  <a:lnTo>
                    <a:pt x="5628" y="4795"/>
                  </a:lnTo>
                  <a:lnTo>
                    <a:pt x="6465" y="4417"/>
                  </a:lnTo>
                  <a:lnTo>
                    <a:pt x="6579" y="3932"/>
                  </a:lnTo>
                  <a:lnTo>
                    <a:pt x="6465" y="3232"/>
                  </a:lnTo>
                  <a:lnTo>
                    <a:pt x="6008" y="2784"/>
                  </a:lnTo>
                  <a:lnTo>
                    <a:pt x="5134" y="2262"/>
                  </a:lnTo>
                  <a:lnTo>
                    <a:pt x="4259" y="1759"/>
                  </a:lnTo>
                  <a:lnTo>
                    <a:pt x="3347" y="1489"/>
                  </a:lnTo>
                  <a:lnTo>
                    <a:pt x="2055" y="1131"/>
                  </a:lnTo>
                  <a:lnTo>
                    <a:pt x="1028" y="861"/>
                  </a:lnTo>
                  <a:lnTo>
                    <a:pt x="458" y="699"/>
                  </a:lnTo>
                  <a:cubicBezTo>
                    <a:pt x="420" y="567"/>
                    <a:pt x="130" y="436"/>
                    <a:pt x="93" y="304"/>
                  </a:cubicBezTo>
                  <a:cubicBezTo>
                    <a:pt x="130" y="202"/>
                    <a:pt x="-33" y="102"/>
                    <a:pt x="5" y="0"/>
                  </a:cubicBezTo>
                </a:path>
              </a:pathLst>
            </a:custGeom>
            <a:noFill/>
            <a:ln w="317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none" lIns="36000" tIns="36000" rIns="36000" bIns="36000" anchor="ctr"/>
            <a:lstStyle/>
            <a:p>
              <a:pPr defTabSz="891045"/>
              <a:endParaRPr lang="en-US" sz="1700" dirty="0">
                <a:solidFill>
                  <a:srgbClr val="003149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373" name="Freeform 767"/>
            <p:cNvSpPr>
              <a:spLocks noChangeAspect="1"/>
            </p:cNvSpPr>
            <p:nvPr>
              <p:custDataLst>
                <p:tags r:id="rId277"/>
              </p:custDataLst>
            </p:nvPr>
          </p:nvSpPr>
          <p:spPr bwMode="gray">
            <a:xfrm>
              <a:off x="1166025" y="9025209"/>
              <a:ext cx="387348" cy="260348"/>
            </a:xfrm>
            <a:custGeom>
              <a:avLst/>
              <a:gdLst>
                <a:gd name="T0" fmla="*/ 0 w 627"/>
                <a:gd name="T1" fmla="*/ 0 h 433"/>
                <a:gd name="T2" fmla="*/ 2147483647 w 627"/>
                <a:gd name="T3" fmla="*/ 2147483647 h 433"/>
                <a:gd name="T4" fmla="*/ 2147483647 w 627"/>
                <a:gd name="T5" fmla="*/ 2147483647 h 433"/>
                <a:gd name="T6" fmla="*/ 2147483647 w 627"/>
                <a:gd name="T7" fmla="*/ 2147483647 h 433"/>
                <a:gd name="T8" fmla="*/ 2147483647 w 627"/>
                <a:gd name="T9" fmla="*/ 2147483647 h 433"/>
                <a:gd name="T10" fmla="*/ 2147483647 w 627"/>
                <a:gd name="T11" fmla="*/ 2147483647 h 433"/>
                <a:gd name="T12" fmla="*/ 2147483647 w 627"/>
                <a:gd name="T13" fmla="*/ 2147483647 h 433"/>
                <a:gd name="T14" fmla="*/ 2147483647 w 627"/>
                <a:gd name="T15" fmla="*/ 2147483647 h 433"/>
                <a:gd name="T16" fmla="*/ 2147483647 w 627"/>
                <a:gd name="T17" fmla="*/ 2147483647 h 433"/>
                <a:gd name="T18" fmla="*/ 2147483647 w 627"/>
                <a:gd name="T19" fmla="*/ 2147483647 h 433"/>
                <a:gd name="T20" fmla="*/ 2147483647 w 627"/>
                <a:gd name="T21" fmla="*/ 2147483647 h 433"/>
                <a:gd name="T22" fmla="*/ 2147483647 w 627"/>
                <a:gd name="T23" fmla="*/ 2147483647 h 433"/>
                <a:gd name="T24" fmla="*/ 2147483647 w 627"/>
                <a:gd name="T25" fmla="*/ 2147483647 h 433"/>
                <a:gd name="T26" fmla="*/ 2147483647 w 627"/>
                <a:gd name="T27" fmla="*/ 2147483647 h 433"/>
                <a:gd name="T28" fmla="*/ 2147483647 w 627"/>
                <a:gd name="T29" fmla="*/ 2147483647 h 433"/>
                <a:gd name="T30" fmla="*/ 2147483647 w 627"/>
                <a:gd name="T31" fmla="*/ 2147483647 h 433"/>
                <a:gd name="T32" fmla="*/ 2147483647 w 627"/>
                <a:gd name="T33" fmla="*/ 2147483647 h 433"/>
                <a:gd name="T34" fmla="*/ 2147483647 w 627"/>
                <a:gd name="T35" fmla="*/ 2147483647 h 433"/>
                <a:gd name="T36" fmla="*/ 2147483647 w 627"/>
                <a:gd name="T37" fmla="*/ 2147483647 h 433"/>
                <a:gd name="T38" fmla="*/ 2147483647 w 627"/>
                <a:gd name="T39" fmla="*/ 2147483647 h 433"/>
                <a:gd name="T40" fmla="*/ 2147483647 w 627"/>
                <a:gd name="T41" fmla="*/ 2147483647 h 433"/>
                <a:gd name="T42" fmla="*/ 2147483647 w 627"/>
                <a:gd name="T43" fmla="*/ 2147483647 h 433"/>
                <a:gd name="T44" fmla="*/ 2147483647 w 627"/>
                <a:gd name="T45" fmla="*/ 2147483647 h 433"/>
                <a:gd name="T46" fmla="*/ 2147483647 w 627"/>
                <a:gd name="T47" fmla="*/ 2147483647 h 433"/>
                <a:gd name="T48" fmla="*/ 2147483647 w 627"/>
                <a:gd name="T49" fmla="*/ 2147483647 h 433"/>
                <a:gd name="T50" fmla="*/ 2147483647 w 627"/>
                <a:gd name="T51" fmla="*/ 2147483647 h 433"/>
                <a:gd name="T52" fmla="*/ 2147483647 w 627"/>
                <a:gd name="T53" fmla="*/ 2147483647 h 433"/>
                <a:gd name="T54" fmla="*/ 2147483647 w 627"/>
                <a:gd name="T55" fmla="*/ 2147483647 h 433"/>
                <a:gd name="T56" fmla="*/ 2147483647 w 627"/>
                <a:gd name="T57" fmla="*/ 2147483647 h 433"/>
                <a:gd name="T58" fmla="*/ 2147483647 w 627"/>
                <a:gd name="T59" fmla="*/ 2147483647 h 433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w 627"/>
                <a:gd name="T91" fmla="*/ 0 h 433"/>
                <a:gd name="T92" fmla="*/ 627 w 627"/>
                <a:gd name="T93" fmla="*/ 433 h 433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T90" t="T91" r="T92" b="T93"/>
              <a:pathLst>
                <a:path w="627" h="433">
                  <a:moveTo>
                    <a:pt x="0" y="0"/>
                  </a:moveTo>
                  <a:lnTo>
                    <a:pt x="33" y="30"/>
                  </a:lnTo>
                  <a:lnTo>
                    <a:pt x="60" y="55"/>
                  </a:lnTo>
                  <a:lnTo>
                    <a:pt x="66" y="73"/>
                  </a:lnTo>
                  <a:lnTo>
                    <a:pt x="95" y="73"/>
                  </a:lnTo>
                  <a:lnTo>
                    <a:pt x="123" y="105"/>
                  </a:lnTo>
                  <a:lnTo>
                    <a:pt x="150" y="138"/>
                  </a:lnTo>
                  <a:lnTo>
                    <a:pt x="161" y="157"/>
                  </a:lnTo>
                  <a:lnTo>
                    <a:pt x="180" y="160"/>
                  </a:lnTo>
                  <a:lnTo>
                    <a:pt x="200" y="204"/>
                  </a:lnTo>
                  <a:lnTo>
                    <a:pt x="219" y="238"/>
                  </a:lnTo>
                  <a:lnTo>
                    <a:pt x="261" y="264"/>
                  </a:lnTo>
                  <a:lnTo>
                    <a:pt x="260" y="298"/>
                  </a:lnTo>
                  <a:lnTo>
                    <a:pt x="269" y="318"/>
                  </a:lnTo>
                  <a:lnTo>
                    <a:pt x="284" y="318"/>
                  </a:lnTo>
                  <a:lnTo>
                    <a:pt x="300" y="312"/>
                  </a:lnTo>
                  <a:lnTo>
                    <a:pt x="308" y="282"/>
                  </a:lnTo>
                  <a:lnTo>
                    <a:pt x="327" y="258"/>
                  </a:lnTo>
                  <a:lnTo>
                    <a:pt x="347" y="259"/>
                  </a:lnTo>
                  <a:lnTo>
                    <a:pt x="362" y="271"/>
                  </a:lnTo>
                  <a:lnTo>
                    <a:pt x="371" y="286"/>
                  </a:lnTo>
                  <a:lnTo>
                    <a:pt x="369" y="306"/>
                  </a:lnTo>
                  <a:lnTo>
                    <a:pt x="356" y="337"/>
                  </a:lnTo>
                  <a:lnTo>
                    <a:pt x="351" y="376"/>
                  </a:lnTo>
                  <a:lnTo>
                    <a:pt x="402" y="409"/>
                  </a:lnTo>
                  <a:lnTo>
                    <a:pt x="473" y="433"/>
                  </a:lnTo>
                  <a:lnTo>
                    <a:pt x="546" y="433"/>
                  </a:lnTo>
                  <a:lnTo>
                    <a:pt x="593" y="424"/>
                  </a:lnTo>
                  <a:lnTo>
                    <a:pt x="617" y="424"/>
                  </a:lnTo>
                  <a:lnTo>
                    <a:pt x="627" y="429"/>
                  </a:lnTo>
                </a:path>
              </a:pathLst>
            </a:custGeom>
            <a:noFill/>
            <a:ln w="317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none" lIns="36000" tIns="36000" rIns="36000" bIns="36000" anchor="ctr"/>
            <a:lstStyle/>
            <a:p>
              <a:pPr defTabSz="891045"/>
              <a:endParaRPr lang="en-US" sz="1700" dirty="0">
                <a:solidFill>
                  <a:srgbClr val="003149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374" name="Freeform 772"/>
            <p:cNvSpPr>
              <a:spLocks noChangeAspect="1"/>
            </p:cNvSpPr>
            <p:nvPr>
              <p:custDataLst>
                <p:tags r:id="rId278"/>
              </p:custDataLst>
            </p:nvPr>
          </p:nvSpPr>
          <p:spPr bwMode="gray">
            <a:xfrm>
              <a:off x="835015" y="9025209"/>
              <a:ext cx="331009" cy="342900"/>
            </a:xfrm>
            <a:custGeom>
              <a:avLst/>
              <a:gdLst>
                <a:gd name="T0" fmla="*/ 0 w 10221"/>
                <a:gd name="T1" fmla="*/ 2147483647 h 10000"/>
                <a:gd name="T2" fmla="*/ 2147483647 w 10221"/>
                <a:gd name="T3" fmla="*/ 2147483647 h 10000"/>
                <a:gd name="T4" fmla="*/ 2147483647 w 10221"/>
                <a:gd name="T5" fmla="*/ 2147483647 h 10000"/>
                <a:gd name="T6" fmla="*/ 2147483647 w 10221"/>
                <a:gd name="T7" fmla="*/ 2147483647 h 10000"/>
                <a:gd name="T8" fmla="*/ 2147483647 w 10221"/>
                <a:gd name="T9" fmla="*/ 2147483647 h 10000"/>
                <a:gd name="T10" fmla="*/ 2147483647 w 10221"/>
                <a:gd name="T11" fmla="*/ 2147483647 h 10000"/>
                <a:gd name="T12" fmla="*/ 2147483647 w 10221"/>
                <a:gd name="T13" fmla="*/ 2147483647 h 10000"/>
                <a:gd name="T14" fmla="*/ 2147483647 w 10221"/>
                <a:gd name="T15" fmla="*/ 2147483647 h 10000"/>
                <a:gd name="T16" fmla="*/ 2147483647 w 10221"/>
                <a:gd name="T17" fmla="*/ 2147483647 h 10000"/>
                <a:gd name="T18" fmla="*/ 2147483647 w 10221"/>
                <a:gd name="T19" fmla="*/ 2147483647 h 10000"/>
                <a:gd name="T20" fmla="*/ 2147483647 w 10221"/>
                <a:gd name="T21" fmla="*/ 2147483647 h 10000"/>
                <a:gd name="T22" fmla="*/ 2147483647 w 10221"/>
                <a:gd name="T23" fmla="*/ 2147483647 h 10000"/>
                <a:gd name="T24" fmla="*/ 2147483647 w 10221"/>
                <a:gd name="T25" fmla="*/ 2147483647 h 10000"/>
                <a:gd name="T26" fmla="*/ 2147483647 w 10221"/>
                <a:gd name="T27" fmla="*/ 2147483647 h 10000"/>
                <a:gd name="T28" fmla="*/ 2147483647 w 10221"/>
                <a:gd name="T29" fmla="*/ 2147483647 h 10000"/>
                <a:gd name="T30" fmla="*/ 2147483647 w 10221"/>
                <a:gd name="T31" fmla="*/ 2147483647 h 10000"/>
                <a:gd name="T32" fmla="*/ 2147483647 w 10221"/>
                <a:gd name="T33" fmla="*/ 2147483647 h 10000"/>
                <a:gd name="T34" fmla="*/ 2147483647 w 10221"/>
                <a:gd name="T35" fmla="*/ 2147483647 h 10000"/>
                <a:gd name="T36" fmla="*/ 2147483647 w 10221"/>
                <a:gd name="T37" fmla="*/ 2147483647 h 10000"/>
                <a:gd name="T38" fmla="*/ 2147483647 w 10221"/>
                <a:gd name="T39" fmla="*/ 2147483647 h 10000"/>
                <a:gd name="T40" fmla="*/ 2147483647 w 10221"/>
                <a:gd name="T41" fmla="*/ 2147483647 h 10000"/>
                <a:gd name="T42" fmla="*/ 2147483647 w 10221"/>
                <a:gd name="T43" fmla="*/ 2147483647 h 10000"/>
                <a:gd name="T44" fmla="*/ 2147483647 w 10221"/>
                <a:gd name="T45" fmla="*/ 2147483647 h 10000"/>
                <a:gd name="T46" fmla="*/ 2147483647 w 10221"/>
                <a:gd name="T47" fmla="*/ 2147483647 h 10000"/>
                <a:gd name="T48" fmla="*/ 2147483647 w 10221"/>
                <a:gd name="T49" fmla="*/ 2147483647 h 10000"/>
                <a:gd name="T50" fmla="*/ 2147483647 w 10221"/>
                <a:gd name="T51" fmla="*/ 2147483647 h 10000"/>
                <a:gd name="T52" fmla="*/ 2147483647 w 10221"/>
                <a:gd name="T53" fmla="*/ 2147483647 h 10000"/>
                <a:gd name="T54" fmla="*/ 2147483647 w 10221"/>
                <a:gd name="T55" fmla="*/ 2147483647 h 10000"/>
                <a:gd name="T56" fmla="*/ 2147483647 w 10221"/>
                <a:gd name="T57" fmla="*/ 2147483647 h 10000"/>
                <a:gd name="T58" fmla="*/ 2147483647 w 10221"/>
                <a:gd name="T59" fmla="*/ 2147483647 h 10000"/>
                <a:gd name="T60" fmla="*/ 2147483647 w 10221"/>
                <a:gd name="T61" fmla="*/ 2147483647 h 10000"/>
                <a:gd name="T62" fmla="*/ 2147483647 w 10221"/>
                <a:gd name="T63" fmla="*/ 2147483647 h 10000"/>
                <a:gd name="T64" fmla="*/ 2147483647 w 10221"/>
                <a:gd name="T65" fmla="*/ 2147483647 h 10000"/>
                <a:gd name="T66" fmla="*/ 2147483647 w 10221"/>
                <a:gd name="T67" fmla="*/ 2147483647 h 10000"/>
                <a:gd name="T68" fmla="*/ 2147483647 w 10221"/>
                <a:gd name="T69" fmla="*/ 2147483647 h 10000"/>
                <a:gd name="T70" fmla="*/ 2147483647 w 10221"/>
                <a:gd name="T71" fmla="*/ 2147483647 h 10000"/>
                <a:gd name="T72" fmla="*/ 2147483647 w 10221"/>
                <a:gd name="T73" fmla="*/ 2147483647 h 10000"/>
                <a:gd name="T74" fmla="*/ 2147483647 w 10221"/>
                <a:gd name="T75" fmla="*/ 2147483647 h 10000"/>
                <a:gd name="T76" fmla="*/ 2147483647 w 10221"/>
                <a:gd name="T77" fmla="*/ 2147483647 h 10000"/>
                <a:gd name="T78" fmla="*/ 2147483647 w 10221"/>
                <a:gd name="T79" fmla="*/ 0 h 10000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w 10221"/>
                <a:gd name="T121" fmla="*/ 0 h 10000"/>
                <a:gd name="T122" fmla="*/ 10221 w 10221"/>
                <a:gd name="T123" fmla="*/ 10000 h 10000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T120" t="T121" r="T122" b="T123"/>
              <a:pathLst>
                <a:path w="10221" h="10000">
                  <a:moveTo>
                    <a:pt x="0" y="9614"/>
                  </a:moveTo>
                  <a:lnTo>
                    <a:pt x="871" y="9947"/>
                  </a:lnTo>
                  <a:lnTo>
                    <a:pt x="1483" y="10000"/>
                  </a:lnTo>
                  <a:lnTo>
                    <a:pt x="2248" y="9822"/>
                  </a:lnTo>
                  <a:lnTo>
                    <a:pt x="3051" y="9715"/>
                  </a:lnTo>
                  <a:lnTo>
                    <a:pt x="3376" y="9501"/>
                  </a:lnTo>
                  <a:lnTo>
                    <a:pt x="3433" y="9198"/>
                  </a:lnTo>
                  <a:lnTo>
                    <a:pt x="3051" y="8717"/>
                  </a:lnTo>
                  <a:cubicBezTo>
                    <a:pt x="3013" y="8515"/>
                    <a:pt x="2974" y="8313"/>
                    <a:pt x="2936" y="8111"/>
                  </a:cubicBezTo>
                  <a:lnTo>
                    <a:pt x="2936" y="7683"/>
                  </a:lnTo>
                  <a:lnTo>
                    <a:pt x="3223" y="7308"/>
                  </a:lnTo>
                  <a:lnTo>
                    <a:pt x="3949" y="6631"/>
                  </a:lnTo>
                  <a:cubicBezTo>
                    <a:pt x="3987" y="6465"/>
                    <a:pt x="4026" y="6298"/>
                    <a:pt x="4064" y="6132"/>
                  </a:cubicBezTo>
                  <a:lnTo>
                    <a:pt x="3854" y="5615"/>
                  </a:lnTo>
                  <a:lnTo>
                    <a:pt x="3433" y="5276"/>
                  </a:lnTo>
                  <a:lnTo>
                    <a:pt x="2917" y="4866"/>
                  </a:lnTo>
                  <a:cubicBezTo>
                    <a:pt x="2904" y="4700"/>
                    <a:pt x="2892" y="4533"/>
                    <a:pt x="2879" y="4367"/>
                  </a:cubicBezTo>
                  <a:cubicBezTo>
                    <a:pt x="2892" y="4141"/>
                    <a:pt x="2904" y="3916"/>
                    <a:pt x="2917" y="3690"/>
                  </a:cubicBezTo>
                  <a:lnTo>
                    <a:pt x="3452" y="3458"/>
                  </a:lnTo>
                  <a:lnTo>
                    <a:pt x="3739" y="3155"/>
                  </a:lnTo>
                  <a:lnTo>
                    <a:pt x="4026" y="2727"/>
                  </a:lnTo>
                  <a:lnTo>
                    <a:pt x="4026" y="2353"/>
                  </a:lnTo>
                  <a:lnTo>
                    <a:pt x="4294" y="2014"/>
                  </a:lnTo>
                  <a:lnTo>
                    <a:pt x="4695" y="1979"/>
                  </a:lnTo>
                  <a:lnTo>
                    <a:pt x="5058" y="1444"/>
                  </a:lnTo>
                  <a:lnTo>
                    <a:pt x="5231" y="1052"/>
                  </a:lnTo>
                  <a:cubicBezTo>
                    <a:pt x="5307" y="909"/>
                    <a:pt x="5384" y="767"/>
                    <a:pt x="5460" y="624"/>
                  </a:cubicBezTo>
                  <a:lnTo>
                    <a:pt x="5919" y="303"/>
                  </a:lnTo>
                  <a:lnTo>
                    <a:pt x="6435" y="303"/>
                  </a:lnTo>
                  <a:lnTo>
                    <a:pt x="6875" y="642"/>
                  </a:lnTo>
                  <a:lnTo>
                    <a:pt x="7449" y="1123"/>
                  </a:lnTo>
                  <a:lnTo>
                    <a:pt x="7850" y="1266"/>
                  </a:lnTo>
                  <a:cubicBezTo>
                    <a:pt x="7895" y="1379"/>
                    <a:pt x="7939" y="1491"/>
                    <a:pt x="7984" y="1604"/>
                  </a:cubicBezTo>
                  <a:lnTo>
                    <a:pt x="8443" y="1658"/>
                  </a:lnTo>
                  <a:lnTo>
                    <a:pt x="8615" y="1747"/>
                  </a:lnTo>
                  <a:lnTo>
                    <a:pt x="9533" y="1693"/>
                  </a:lnTo>
                  <a:lnTo>
                    <a:pt x="9972" y="1497"/>
                  </a:lnTo>
                  <a:lnTo>
                    <a:pt x="9858" y="838"/>
                  </a:lnTo>
                  <a:cubicBezTo>
                    <a:pt x="9883" y="666"/>
                    <a:pt x="9909" y="493"/>
                    <a:pt x="9934" y="321"/>
                  </a:cubicBezTo>
                  <a:lnTo>
                    <a:pt x="10221" y="0"/>
                  </a:lnTo>
                </a:path>
              </a:pathLst>
            </a:custGeom>
            <a:noFill/>
            <a:ln w="317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none" lIns="36000" tIns="36000" rIns="36000" bIns="36000" anchor="ctr"/>
            <a:lstStyle/>
            <a:p>
              <a:pPr defTabSz="891045"/>
              <a:endParaRPr lang="en-US" sz="1700" dirty="0">
                <a:solidFill>
                  <a:srgbClr val="003149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375" name="Freeform 779"/>
            <p:cNvSpPr>
              <a:spLocks noChangeAspect="1"/>
            </p:cNvSpPr>
            <p:nvPr>
              <p:custDataLst>
                <p:tags r:id="rId279"/>
              </p:custDataLst>
            </p:nvPr>
          </p:nvSpPr>
          <p:spPr bwMode="gray">
            <a:xfrm>
              <a:off x="277025" y="9228409"/>
              <a:ext cx="558800" cy="165100"/>
            </a:xfrm>
            <a:custGeom>
              <a:avLst/>
              <a:gdLst>
                <a:gd name="T0" fmla="*/ 2147483647 w 313"/>
                <a:gd name="T1" fmla="*/ 2147483647 h 89"/>
                <a:gd name="T2" fmla="*/ 2147483647 w 313"/>
                <a:gd name="T3" fmla="*/ 2147483647 h 89"/>
                <a:gd name="T4" fmla="*/ 2147483647 w 313"/>
                <a:gd name="T5" fmla="*/ 2147483647 h 89"/>
                <a:gd name="T6" fmla="*/ 2147483647 w 313"/>
                <a:gd name="T7" fmla="*/ 2147483647 h 89"/>
                <a:gd name="T8" fmla="*/ 2147483647 w 313"/>
                <a:gd name="T9" fmla="*/ 2147483647 h 89"/>
                <a:gd name="T10" fmla="*/ 2147483647 w 313"/>
                <a:gd name="T11" fmla="*/ 2147483647 h 89"/>
                <a:gd name="T12" fmla="*/ 2147483647 w 313"/>
                <a:gd name="T13" fmla="*/ 2147483647 h 89"/>
                <a:gd name="T14" fmla="*/ 2147483647 w 313"/>
                <a:gd name="T15" fmla="*/ 2147483647 h 89"/>
                <a:gd name="T16" fmla="*/ 2147483647 w 313"/>
                <a:gd name="T17" fmla="*/ 2147483647 h 89"/>
                <a:gd name="T18" fmla="*/ 2147483647 w 313"/>
                <a:gd name="T19" fmla="*/ 2147483647 h 89"/>
                <a:gd name="T20" fmla="*/ 2147483647 w 313"/>
                <a:gd name="T21" fmla="*/ 2147483647 h 89"/>
                <a:gd name="T22" fmla="*/ 2147483647 w 313"/>
                <a:gd name="T23" fmla="*/ 2147483647 h 89"/>
                <a:gd name="T24" fmla="*/ 2147483647 w 313"/>
                <a:gd name="T25" fmla="*/ 2147483647 h 89"/>
                <a:gd name="T26" fmla="*/ 2147483647 w 313"/>
                <a:gd name="T27" fmla="*/ 2147483647 h 89"/>
                <a:gd name="T28" fmla="*/ 2147483647 w 313"/>
                <a:gd name="T29" fmla="*/ 0 h 89"/>
                <a:gd name="T30" fmla="*/ 2147483647 w 313"/>
                <a:gd name="T31" fmla="*/ 2147483647 h 89"/>
                <a:gd name="T32" fmla="*/ 2147483647 w 313"/>
                <a:gd name="T33" fmla="*/ 2147483647 h 89"/>
                <a:gd name="T34" fmla="*/ 2147483647 w 313"/>
                <a:gd name="T35" fmla="*/ 2147483647 h 89"/>
                <a:gd name="T36" fmla="*/ 2147483647 w 313"/>
                <a:gd name="T37" fmla="*/ 2147483647 h 89"/>
                <a:gd name="T38" fmla="*/ 2147483647 w 313"/>
                <a:gd name="T39" fmla="*/ 2147483647 h 89"/>
                <a:gd name="T40" fmla="*/ 2147483647 w 313"/>
                <a:gd name="T41" fmla="*/ 2147483647 h 89"/>
                <a:gd name="T42" fmla="*/ 2147483647 w 313"/>
                <a:gd name="T43" fmla="*/ 2147483647 h 89"/>
                <a:gd name="T44" fmla="*/ 2147483647 w 313"/>
                <a:gd name="T45" fmla="*/ 2147483647 h 89"/>
                <a:gd name="T46" fmla="*/ 2147483647 w 313"/>
                <a:gd name="T47" fmla="*/ 2147483647 h 89"/>
                <a:gd name="T48" fmla="*/ 2147483647 w 313"/>
                <a:gd name="T49" fmla="*/ 2147483647 h 89"/>
                <a:gd name="T50" fmla="*/ 2147483647 w 313"/>
                <a:gd name="T51" fmla="*/ 2147483647 h 89"/>
                <a:gd name="T52" fmla="*/ 2147483647 w 313"/>
                <a:gd name="T53" fmla="*/ 2147483647 h 89"/>
                <a:gd name="T54" fmla="*/ 2147483647 w 313"/>
                <a:gd name="T55" fmla="*/ 2147483647 h 89"/>
                <a:gd name="T56" fmla="*/ 2147483647 w 313"/>
                <a:gd name="T57" fmla="*/ 2147483647 h 89"/>
                <a:gd name="T58" fmla="*/ 0 w 313"/>
                <a:gd name="T59" fmla="*/ 2147483647 h 89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w 313"/>
                <a:gd name="T91" fmla="*/ 0 h 89"/>
                <a:gd name="T92" fmla="*/ 313 w 313"/>
                <a:gd name="T93" fmla="*/ 89 h 89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T90" t="T91" r="T92" b="T93"/>
              <a:pathLst>
                <a:path w="313" h="89">
                  <a:moveTo>
                    <a:pt x="313" y="68"/>
                  </a:moveTo>
                  <a:lnTo>
                    <a:pt x="293" y="62"/>
                  </a:lnTo>
                  <a:lnTo>
                    <a:pt x="275" y="58"/>
                  </a:lnTo>
                  <a:lnTo>
                    <a:pt x="265" y="55"/>
                  </a:lnTo>
                  <a:lnTo>
                    <a:pt x="259" y="57"/>
                  </a:lnTo>
                  <a:lnTo>
                    <a:pt x="247" y="57"/>
                  </a:lnTo>
                  <a:lnTo>
                    <a:pt x="240" y="53"/>
                  </a:lnTo>
                  <a:lnTo>
                    <a:pt x="233" y="48"/>
                  </a:lnTo>
                  <a:lnTo>
                    <a:pt x="225" y="45"/>
                  </a:lnTo>
                  <a:lnTo>
                    <a:pt x="218" y="40"/>
                  </a:lnTo>
                  <a:lnTo>
                    <a:pt x="213" y="32"/>
                  </a:lnTo>
                  <a:lnTo>
                    <a:pt x="205" y="20"/>
                  </a:lnTo>
                  <a:lnTo>
                    <a:pt x="195" y="11"/>
                  </a:lnTo>
                  <a:lnTo>
                    <a:pt x="189" y="3"/>
                  </a:lnTo>
                  <a:lnTo>
                    <a:pt x="184" y="0"/>
                  </a:lnTo>
                  <a:lnTo>
                    <a:pt x="156" y="1"/>
                  </a:lnTo>
                  <a:lnTo>
                    <a:pt x="148" y="10"/>
                  </a:lnTo>
                  <a:lnTo>
                    <a:pt x="135" y="21"/>
                  </a:lnTo>
                  <a:lnTo>
                    <a:pt x="128" y="24"/>
                  </a:lnTo>
                  <a:lnTo>
                    <a:pt x="104" y="24"/>
                  </a:lnTo>
                  <a:lnTo>
                    <a:pt x="90" y="24"/>
                  </a:lnTo>
                  <a:lnTo>
                    <a:pt x="82" y="26"/>
                  </a:lnTo>
                  <a:lnTo>
                    <a:pt x="70" y="34"/>
                  </a:lnTo>
                  <a:lnTo>
                    <a:pt x="56" y="40"/>
                  </a:lnTo>
                  <a:lnTo>
                    <a:pt x="38" y="49"/>
                  </a:lnTo>
                  <a:lnTo>
                    <a:pt x="22" y="55"/>
                  </a:lnTo>
                  <a:lnTo>
                    <a:pt x="8" y="61"/>
                  </a:lnTo>
                  <a:lnTo>
                    <a:pt x="6" y="67"/>
                  </a:lnTo>
                  <a:lnTo>
                    <a:pt x="4" y="75"/>
                  </a:lnTo>
                  <a:lnTo>
                    <a:pt x="0" y="89"/>
                  </a:lnTo>
                </a:path>
              </a:pathLst>
            </a:custGeom>
            <a:noFill/>
            <a:ln w="317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none" lIns="36000" tIns="36000" rIns="36000" bIns="36000" anchor="ctr"/>
            <a:lstStyle/>
            <a:p>
              <a:pPr defTabSz="891045"/>
              <a:endParaRPr lang="en-US" sz="1700" dirty="0">
                <a:solidFill>
                  <a:srgbClr val="003149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376" name="Freeform 789"/>
            <p:cNvSpPr>
              <a:spLocks noChangeAspect="1"/>
            </p:cNvSpPr>
            <p:nvPr>
              <p:custDataLst>
                <p:tags r:id="rId280"/>
              </p:custDataLst>
            </p:nvPr>
          </p:nvSpPr>
          <p:spPr bwMode="gray">
            <a:xfrm>
              <a:off x="2086773" y="7920309"/>
              <a:ext cx="933452" cy="165100"/>
            </a:xfrm>
            <a:custGeom>
              <a:avLst/>
              <a:gdLst>
                <a:gd name="T0" fmla="*/ 0 w 10000"/>
                <a:gd name="T1" fmla="*/ 2147483647 h 10000"/>
                <a:gd name="T2" fmla="*/ 2147483647 w 10000"/>
                <a:gd name="T3" fmla="*/ 2147483647 h 10000"/>
                <a:gd name="T4" fmla="*/ 2147483647 w 10000"/>
                <a:gd name="T5" fmla="*/ 2147483647 h 10000"/>
                <a:gd name="T6" fmla="*/ 2147483647 w 10000"/>
                <a:gd name="T7" fmla="*/ 2147483647 h 10000"/>
                <a:gd name="T8" fmla="*/ 2147483647 w 10000"/>
                <a:gd name="T9" fmla="*/ 2147483647 h 10000"/>
                <a:gd name="T10" fmla="*/ 2147483647 w 10000"/>
                <a:gd name="T11" fmla="*/ 2147483647 h 10000"/>
                <a:gd name="T12" fmla="*/ 2147483647 w 10000"/>
                <a:gd name="T13" fmla="*/ 2147483647 h 10000"/>
                <a:gd name="T14" fmla="*/ 2147483647 w 10000"/>
                <a:gd name="T15" fmla="*/ 2147483647 h 10000"/>
                <a:gd name="T16" fmla="*/ 2147483647 w 10000"/>
                <a:gd name="T17" fmla="*/ 2147483647 h 10000"/>
                <a:gd name="T18" fmla="*/ 2147483647 w 10000"/>
                <a:gd name="T19" fmla="*/ 2147483647 h 10000"/>
                <a:gd name="T20" fmla="*/ 2147483647 w 10000"/>
                <a:gd name="T21" fmla="*/ 2147483647 h 10000"/>
                <a:gd name="T22" fmla="*/ 2147483647 w 10000"/>
                <a:gd name="T23" fmla="*/ 2147483647 h 10000"/>
                <a:gd name="T24" fmla="*/ 2147483647 w 10000"/>
                <a:gd name="T25" fmla="*/ 2147483647 h 10000"/>
                <a:gd name="T26" fmla="*/ 2147483647 w 10000"/>
                <a:gd name="T27" fmla="*/ 2147483647 h 10000"/>
                <a:gd name="T28" fmla="*/ 2147483647 w 10000"/>
                <a:gd name="T29" fmla="*/ 2147483647 h 10000"/>
                <a:gd name="T30" fmla="*/ 2147483647 w 10000"/>
                <a:gd name="T31" fmla="*/ 2147483647 h 10000"/>
                <a:gd name="T32" fmla="*/ 2147483647 w 10000"/>
                <a:gd name="T33" fmla="*/ 0 h 10000"/>
                <a:gd name="T34" fmla="*/ 2147483647 w 10000"/>
                <a:gd name="T35" fmla="*/ 2147483647 h 10000"/>
                <a:gd name="T36" fmla="*/ 2147483647 w 10000"/>
                <a:gd name="T37" fmla="*/ 2147483647 h 10000"/>
                <a:gd name="T38" fmla="*/ 2147483647 w 10000"/>
                <a:gd name="T39" fmla="*/ 2147483647 h 10000"/>
                <a:gd name="T40" fmla="*/ 2147483647 w 10000"/>
                <a:gd name="T41" fmla="*/ 2147483647 h 10000"/>
                <a:gd name="T42" fmla="*/ 2147483647 w 10000"/>
                <a:gd name="T43" fmla="*/ 2147483647 h 10000"/>
                <a:gd name="T44" fmla="*/ 2147483647 w 10000"/>
                <a:gd name="T45" fmla="*/ 2147483647 h 10000"/>
                <a:gd name="T46" fmla="*/ 2147483647 w 10000"/>
                <a:gd name="T47" fmla="*/ 2147483647 h 10000"/>
                <a:gd name="T48" fmla="*/ 2147483647 w 10000"/>
                <a:gd name="T49" fmla="*/ 2147483647 h 10000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10000"/>
                <a:gd name="T76" fmla="*/ 0 h 10000"/>
                <a:gd name="T77" fmla="*/ 10000 w 10000"/>
                <a:gd name="T78" fmla="*/ 10000 h 10000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10000" h="10000">
                  <a:moveTo>
                    <a:pt x="0" y="4239"/>
                  </a:moveTo>
                  <a:lnTo>
                    <a:pt x="270" y="4783"/>
                  </a:lnTo>
                  <a:lnTo>
                    <a:pt x="732" y="6957"/>
                  </a:lnTo>
                  <a:lnTo>
                    <a:pt x="1195" y="7935"/>
                  </a:lnTo>
                  <a:lnTo>
                    <a:pt x="1657" y="8043"/>
                  </a:lnTo>
                  <a:lnTo>
                    <a:pt x="1888" y="9783"/>
                  </a:lnTo>
                  <a:lnTo>
                    <a:pt x="2389" y="9130"/>
                  </a:lnTo>
                  <a:lnTo>
                    <a:pt x="2775" y="7826"/>
                  </a:lnTo>
                  <a:lnTo>
                    <a:pt x="3198" y="8478"/>
                  </a:lnTo>
                  <a:lnTo>
                    <a:pt x="3699" y="9130"/>
                  </a:lnTo>
                  <a:lnTo>
                    <a:pt x="4258" y="9130"/>
                  </a:lnTo>
                  <a:lnTo>
                    <a:pt x="4952" y="8478"/>
                  </a:lnTo>
                  <a:cubicBezTo>
                    <a:pt x="5016" y="7898"/>
                    <a:pt x="5081" y="7319"/>
                    <a:pt x="5145" y="6739"/>
                  </a:cubicBezTo>
                  <a:lnTo>
                    <a:pt x="5742" y="5326"/>
                  </a:lnTo>
                  <a:cubicBezTo>
                    <a:pt x="5761" y="4203"/>
                    <a:pt x="5781" y="3080"/>
                    <a:pt x="5800" y="1957"/>
                  </a:cubicBezTo>
                  <a:cubicBezTo>
                    <a:pt x="5858" y="1413"/>
                    <a:pt x="5915" y="870"/>
                    <a:pt x="5973" y="326"/>
                  </a:cubicBezTo>
                  <a:lnTo>
                    <a:pt x="6301" y="0"/>
                  </a:lnTo>
                  <a:lnTo>
                    <a:pt x="6956" y="870"/>
                  </a:lnTo>
                  <a:lnTo>
                    <a:pt x="7572" y="1304"/>
                  </a:lnTo>
                  <a:lnTo>
                    <a:pt x="8343" y="1304"/>
                  </a:lnTo>
                  <a:cubicBezTo>
                    <a:pt x="8394" y="2029"/>
                    <a:pt x="8446" y="2753"/>
                    <a:pt x="8497" y="3478"/>
                  </a:cubicBezTo>
                  <a:cubicBezTo>
                    <a:pt x="8561" y="4130"/>
                    <a:pt x="8626" y="4783"/>
                    <a:pt x="8690" y="5435"/>
                  </a:cubicBezTo>
                  <a:cubicBezTo>
                    <a:pt x="8806" y="6087"/>
                    <a:pt x="8921" y="6739"/>
                    <a:pt x="9037" y="7391"/>
                  </a:cubicBezTo>
                  <a:lnTo>
                    <a:pt x="9615" y="9130"/>
                  </a:lnTo>
                  <a:lnTo>
                    <a:pt x="10000" y="10000"/>
                  </a:lnTo>
                </a:path>
              </a:pathLst>
            </a:custGeom>
            <a:noFill/>
            <a:ln w="3175" cap="flat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wrap="none" lIns="36000" tIns="36000" rIns="36000" bIns="36000" anchor="ctr"/>
            <a:lstStyle/>
            <a:p>
              <a:pPr defTabSz="891045"/>
              <a:endParaRPr lang="en-US" sz="1700" dirty="0">
                <a:solidFill>
                  <a:srgbClr val="003149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377" name="Freeform 795"/>
            <p:cNvSpPr>
              <a:spLocks noChangeAspect="1"/>
            </p:cNvSpPr>
            <p:nvPr>
              <p:custDataLst>
                <p:tags r:id="rId281"/>
              </p:custDataLst>
            </p:nvPr>
          </p:nvSpPr>
          <p:spPr bwMode="gray">
            <a:xfrm>
              <a:off x="4452161" y="6790009"/>
              <a:ext cx="454012" cy="88900"/>
            </a:xfrm>
            <a:custGeom>
              <a:avLst/>
              <a:gdLst>
                <a:gd name="T0" fmla="*/ 2147483647 w 10214"/>
                <a:gd name="T1" fmla="*/ 2147483647 h 10000"/>
                <a:gd name="T2" fmla="*/ 2147483647 w 10214"/>
                <a:gd name="T3" fmla="*/ 2147483647 h 10000"/>
                <a:gd name="T4" fmla="*/ 2147483647 w 10214"/>
                <a:gd name="T5" fmla="*/ 2147483647 h 10000"/>
                <a:gd name="T6" fmla="*/ 2147483647 w 10214"/>
                <a:gd name="T7" fmla="*/ 2147483647 h 10000"/>
                <a:gd name="T8" fmla="*/ 2147483647 w 10214"/>
                <a:gd name="T9" fmla="*/ 2147483647 h 10000"/>
                <a:gd name="T10" fmla="*/ 2147483647 w 10214"/>
                <a:gd name="T11" fmla="*/ 2147483647 h 10000"/>
                <a:gd name="T12" fmla="*/ 2147483647 w 10214"/>
                <a:gd name="T13" fmla="*/ 0 h 10000"/>
                <a:gd name="T14" fmla="*/ 2147483647 w 10214"/>
                <a:gd name="T15" fmla="*/ 0 h 10000"/>
                <a:gd name="T16" fmla="*/ 2147483647 w 10214"/>
                <a:gd name="T17" fmla="*/ 2147483647 h 10000"/>
                <a:gd name="T18" fmla="*/ 2147483647 w 10214"/>
                <a:gd name="T19" fmla="*/ 2147483647 h 10000"/>
                <a:gd name="T20" fmla="*/ 2147483647 w 10214"/>
                <a:gd name="T21" fmla="*/ 2147483647 h 10000"/>
                <a:gd name="T22" fmla="*/ 2147483647 w 10214"/>
                <a:gd name="T23" fmla="*/ 2147483647 h 10000"/>
                <a:gd name="T24" fmla="*/ 2147483647 w 10214"/>
                <a:gd name="T25" fmla="*/ 2147483647 h 10000"/>
                <a:gd name="T26" fmla="*/ 2147483647 w 10214"/>
                <a:gd name="T27" fmla="*/ 2147483647 h 10000"/>
                <a:gd name="T28" fmla="*/ 2147483647 w 10214"/>
                <a:gd name="T29" fmla="*/ 2147483647 h 10000"/>
                <a:gd name="T30" fmla="*/ 0 w 10214"/>
                <a:gd name="T31" fmla="*/ 2147483647 h 10000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10214"/>
                <a:gd name="T49" fmla="*/ 0 h 10000"/>
                <a:gd name="T50" fmla="*/ 10214 w 10214"/>
                <a:gd name="T51" fmla="*/ 10000 h 10000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10214" h="10000">
                  <a:moveTo>
                    <a:pt x="10214" y="3088"/>
                  </a:moveTo>
                  <a:lnTo>
                    <a:pt x="9310" y="1765"/>
                  </a:lnTo>
                  <a:lnTo>
                    <a:pt x="8587" y="5588"/>
                  </a:lnTo>
                  <a:lnTo>
                    <a:pt x="7865" y="5147"/>
                  </a:lnTo>
                  <a:lnTo>
                    <a:pt x="7051" y="1765"/>
                  </a:lnTo>
                  <a:lnTo>
                    <a:pt x="6268" y="1765"/>
                  </a:lnTo>
                  <a:lnTo>
                    <a:pt x="5455" y="0"/>
                  </a:lnTo>
                  <a:lnTo>
                    <a:pt x="4732" y="0"/>
                  </a:lnTo>
                  <a:cubicBezTo>
                    <a:pt x="4612" y="980"/>
                    <a:pt x="4491" y="1961"/>
                    <a:pt x="4371" y="2941"/>
                  </a:cubicBezTo>
                  <a:lnTo>
                    <a:pt x="3497" y="5147"/>
                  </a:lnTo>
                  <a:cubicBezTo>
                    <a:pt x="3407" y="5980"/>
                    <a:pt x="3316" y="6814"/>
                    <a:pt x="3226" y="7647"/>
                  </a:cubicBezTo>
                  <a:cubicBezTo>
                    <a:pt x="3106" y="8431"/>
                    <a:pt x="2985" y="9216"/>
                    <a:pt x="2865" y="10000"/>
                  </a:cubicBezTo>
                  <a:lnTo>
                    <a:pt x="1931" y="8676"/>
                  </a:lnTo>
                  <a:lnTo>
                    <a:pt x="1419" y="6765"/>
                  </a:lnTo>
                  <a:cubicBezTo>
                    <a:pt x="1298" y="6373"/>
                    <a:pt x="1178" y="5980"/>
                    <a:pt x="1057" y="5588"/>
                  </a:cubicBezTo>
                  <a:cubicBezTo>
                    <a:pt x="776" y="5000"/>
                    <a:pt x="281" y="4412"/>
                    <a:pt x="0" y="3824"/>
                  </a:cubicBezTo>
                </a:path>
              </a:pathLst>
            </a:custGeom>
            <a:noFill/>
            <a:ln w="317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none" lIns="36000" tIns="36000" rIns="36000" bIns="36000" anchor="ctr"/>
            <a:lstStyle/>
            <a:p>
              <a:pPr defTabSz="891045"/>
              <a:endParaRPr lang="en-US" sz="1700" dirty="0">
                <a:solidFill>
                  <a:srgbClr val="003149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378" name="Freeform 1046"/>
            <p:cNvSpPr>
              <a:spLocks noChangeAspect="1"/>
            </p:cNvSpPr>
            <p:nvPr>
              <p:custDataLst>
                <p:tags r:id="rId282"/>
              </p:custDataLst>
            </p:nvPr>
          </p:nvSpPr>
          <p:spPr bwMode="gray">
            <a:xfrm>
              <a:off x="4906173" y="6764609"/>
              <a:ext cx="730252" cy="152400"/>
            </a:xfrm>
            <a:custGeom>
              <a:avLst/>
              <a:gdLst>
                <a:gd name="T0" fmla="*/ 0 w 115"/>
                <a:gd name="T1" fmla="*/ 2147483647 h 24"/>
                <a:gd name="T2" fmla="*/ 2147483647 w 115"/>
                <a:gd name="T3" fmla="*/ 2147483647 h 24"/>
                <a:gd name="T4" fmla="*/ 2147483647 w 115"/>
                <a:gd name="T5" fmla="*/ 2147483647 h 24"/>
                <a:gd name="T6" fmla="*/ 2147483647 w 115"/>
                <a:gd name="T7" fmla="*/ 2147483647 h 24"/>
                <a:gd name="T8" fmla="*/ 2147483647 w 115"/>
                <a:gd name="T9" fmla="*/ 2147483647 h 24"/>
                <a:gd name="T10" fmla="*/ 2147483647 w 115"/>
                <a:gd name="T11" fmla="*/ 2147483647 h 24"/>
                <a:gd name="T12" fmla="*/ 2147483647 w 115"/>
                <a:gd name="T13" fmla="*/ 2147483647 h 24"/>
                <a:gd name="T14" fmla="*/ 2147483647 w 115"/>
                <a:gd name="T15" fmla="*/ 2147483647 h 24"/>
                <a:gd name="T16" fmla="*/ 2147483647 w 115"/>
                <a:gd name="T17" fmla="*/ 0 h 24"/>
                <a:gd name="T18" fmla="*/ 2147483647 w 115"/>
                <a:gd name="T19" fmla="*/ 2147483647 h 24"/>
                <a:gd name="T20" fmla="*/ 2147483647 w 115"/>
                <a:gd name="T21" fmla="*/ 2147483647 h 24"/>
                <a:gd name="T22" fmla="*/ 2147483647 w 115"/>
                <a:gd name="T23" fmla="*/ 2147483647 h 24"/>
                <a:gd name="T24" fmla="*/ 2147483647 w 115"/>
                <a:gd name="T25" fmla="*/ 2147483647 h 24"/>
                <a:gd name="T26" fmla="*/ 2147483647 w 115"/>
                <a:gd name="T27" fmla="*/ 2147483647 h 24"/>
                <a:gd name="T28" fmla="*/ 2147483647 w 115"/>
                <a:gd name="T29" fmla="*/ 2147483647 h 24"/>
                <a:gd name="T30" fmla="*/ 2147483647 w 115"/>
                <a:gd name="T31" fmla="*/ 2147483647 h 24"/>
                <a:gd name="T32" fmla="*/ 2147483647 w 115"/>
                <a:gd name="T33" fmla="*/ 2147483647 h 24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115"/>
                <a:gd name="T52" fmla="*/ 0 h 24"/>
                <a:gd name="T53" fmla="*/ 115 w 115"/>
                <a:gd name="T54" fmla="*/ 24 h 24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115" h="24">
                  <a:moveTo>
                    <a:pt x="0" y="8"/>
                  </a:moveTo>
                  <a:lnTo>
                    <a:pt x="7" y="7"/>
                  </a:lnTo>
                  <a:lnTo>
                    <a:pt x="15" y="9"/>
                  </a:lnTo>
                  <a:lnTo>
                    <a:pt x="24" y="9"/>
                  </a:lnTo>
                  <a:lnTo>
                    <a:pt x="35" y="8"/>
                  </a:lnTo>
                  <a:lnTo>
                    <a:pt x="43" y="8"/>
                  </a:lnTo>
                  <a:lnTo>
                    <a:pt x="51" y="7"/>
                  </a:lnTo>
                  <a:lnTo>
                    <a:pt x="59" y="2"/>
                  </a:lnTo>
                  <a:lnTo>
                    <a:pt x="67" y="0"/>
                  </a:lnTo>
                  <a:lnTo>
                    <a:pt x="71" y="2"/>
                  </a:lnTo>
                  <a:lnTo>
                    <a:pt x="78" y="4"/>
                  </a:lnTo>
                  <a:lnTo>
                    <a:pt x="83" y="8"/>
                  </a:lnTo>
                  <a:lnTo>
                    <a:pt x="89" y="13"/>
                  </a:lnTo>
                  <a:lnTo>
                    <a:pt x="97" y="16"/>
                  </a:lnTo>
                  <a:lnTo>
                    <a:pt x="103" y="18"/>
                  </a:lnTo>
                  <a:lnTo>
                    <a:pt x="108" y="21"/>
                  </a:lnTo>
                  <a:lnTo>
                    <a:pt x="115" y="24"/>
                  </a:lnTo>
                </a:path>
              </a:pathLst>
            </a:custGeom>
            <a:noFill/>
            <a:ln w="317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sm" len="sm"/>
            </a:ln>
          </p:spPr>
          <p:txBody>
            <a:bodyPr wrap="none" lIns="36000" tIns="36000" rIns="36000" bIns="36000" anchor="ctr"/>
            <a:lstStyle/>
            <a:p>
              <a:pPr defTabSz="891045"/>
              <a:endParaRPr lang="en-US" sz="1700" dirty="0">
                <a:solidFill>
                  <a:srgbClr val="003149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379" name="Freeform 678"/>
            <p:cNvSpPr>
              <a:spLocks noChangeAspect="1"/>
            </p:cNvSpPr>
            <p:nvPr>
              <p:custDataLst>
                <p:tags r:id="rId283"/>
              </p:custDataLst>
            </p:nvPr>
          </p:nvSpPr>
          <p:spPr bwMode="gray">
            <a:xfrm>
              <a:off x="2766221" y="5113609"/>
              <a:ext cx="92084" cy="75408"/>
            </a:xfrm>
            <a:custGeom>
              <a:avLst/>
              <a:gdLst>
                <a:gd name="T0" fmla="*/ 0 w 10265"/>
                <a:gd name="T1" fmla="*/ 2147483647 h 10000"/>
                <a:gd name="T2" fmla="*/ 2147483647 w 10265"/>
                <a:gd name="T3" fmla="*/ 0 h 10000"/>
                <a:gd name="T4" fmla="*/ 2147483647 w 10265"/>
                <a:gd name="T5" fmla="*/ 2147483647 h 10000"/>
                <a:gd name="T6" fmla="*/ 2147483647 w 10265"/>
                <a:gd name="T7" fmla="*/ 2147483647 h 10000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0265"/>
                <a:gd name="T13" fmla="*/ 0 h 10000"/>
                <a:gd name="T14" fmla="*/ 10265 w 10265"/>
                <a:gd name="T15" fmla="*/ 10000 h 1000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0265" h="10000">
                  <a:moveTo>
                    <a:pt x="0" y="679"/>
                  </a:moveTo>
                  <a:lnTo>
                    <a:pt x="3877" y="0"/>
                  </a:lnTo>
                  <a:lnTo>
                    <a:pt x="8843" y="3483"/>
                  </a:lnTo>
                  <a:cubicBezTo>
                    <a:pt x="9670" y="5972"/>
                    <a:pt x="9437" y="7512"/>
                    <a:pt x="10265" y="10000"/>
                  </a:cubicBezTo>
                </a:path>
              </a:pathLst>
            </a:custGeom>
            <a:noFill/>
            <a:ln w="317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sm" len="sm"/>
            </a:ln>
          </p:spPr>
          <p:txBody>
            <a:bodyPr wrap="none" lIns="36000" tIns="36000" rIns="36000" bIns="36000"/>
            <a:lstStyle/>
            <a:p>
              <a:pPr defTabSz="891045"/>
              <a:endParaRPr lang="en-US" sz="1700" dirty="0">
                <a:solidFill>
                  <a:srgbClr val="003149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380" name="Freeform 1044"/>
            <p:cNvSpPr>
              <a:spLocks noChangeAspect="1"/>
            </p:cNvSpPr>
            <p:nvPr>
              <p:custDataLst>
                <p:tags r:id="rId284"/>
              </p:custDataLst>
            </p:nvPr>
          </p:nvSpPr>
          <p:spPr bwMode="gray">
            <a:xfrm>
              <a:off x="3236125" y="4853257"/>
              <a:ext cx="1111248" cy="539752"/>
            </a:xfrm>
            <a:custGeom>
              <a:avLst/>
              <a:gdLst>
                <a:gd name="T0" fmla="*/ 0 w 617"/>
                <a:gd name="T1" fmla="*/ 0 h 298"/>
                <a:gd name="T2" fmla="*/ 2147483647 w 617"/>
                <a:gd name="T3" fmla="*/ 2147483647 h 298"/>
                <a:gd name="T4" fmla="*/ 2147483647 w 617"/>
                <a:gd name="T5" fmla="*/ 2147483647 h 298"/>
                <a:gd name="T6" fmla="*/ 2147483647 w 617"/>
                <a:gd name="T7" fmla="*/ 2147483647 h 298"/>
                <a:gd name="T8" fmla="*/ 2147483647 w 617"/>
                <a:gd name="T9" fmla="*/ 2147483647 h 298"/>
                <a:gd name="T10" fmla="*/ 2147483647 w 617"/>
                <a:gd name="T11" fmla="*/ 2147483647 h 298"/>
                <a:gd name="T12" fmla="*/ 2147483647 w 617"/>
                <a:gd name="T13" fmla="*/ 2147483647 h 298"/>
                <a:gd name="T14" fmla="*/ 2147483647 w 617"/>
                <a:gd name="T15" fmla="*/ 2147483647 h 298"/>
                <a:gd name="T16" fmla="*/ 2147483647 w 617"/>
                <a:gd name="T17" fmla="*/ 2147483647 h 298"/>
                <a:gd name="T18" fmla="*/ 2147483647 w 617"/>
                <a:gd name="T19" fmla="*/ 2147483647 h 298"/>
                <a:gd name="T20" fmla="*/ 2147483647 w 617"/>
                <a:gd name="T21" fmla="*/ 2147483647 h 298"/>
                <a:gd name="T22" fmla="*/ 2147483647 w 617"/>
                <a:gd name="T23" fmla="*/ 2147483647 h 298"/>
                <a:gd name="T24" fmla="*/ 2147483647 w 617"/>
                <a:gd name="T25" fmla="*/ 2147483647 h 298"/>
                <a:gd name="T26" fmla="*/ 2147483647 w 617"/>
                <a:gd name="T27" fmla="*/ 2147483647 h 298"/>
                <a:gd name="T28" fmla="*/ 2147483647 w 617"/>
                <a:gd name="T29" fmla="*/ 2147483647 h 298"/>
                <a:gd name="T30" fmla="*/ 2147483647 w 617"/>
                <a:gd name="T31" fmla="*/ 2147483647 h 298"/>
                <a:gd name="T32" fmla="*/ 2147483647 w 617"/>
                <a:gd name="T33" fmla="*/ 2147483647 h 298"/>
                <a:gd name="T34" fmla="*/ 2147483647 w 617"/>
                <a:gd name="T35" fmla="*/ 2147483647 h 298"/>
                <a:gd name="T36" fmla="*/ 2147483647 w 617"/>
                <a:gd name="T37" fmla="*/ 2147483647 h 298"/>
                <a:gd name="T38" fmla="*/ 2147483647 w 617"/>
                <a:gd name="T39" fmla="*/ 2147483647 h 298"/>
                <a:gd name="T40" fmla="*/ 2147483647 w 617"/>
                <a:gd name="T41" fmla="*/ 2147483647 h 298"/>
                <a:gd name="T42" fmla="*/ 2147483647 w 617"/>
                <a:gd name="T43" fmla="*/ 2147483647 h 298"/>
                <a:gd name="T44" fmla="*/ 2147483647 w 617"/>
                <a:gd name="T45" fmla="*/ 2147483647 h 298"/>
                <a:gd name="T46" fmla="*/ 2147483647 w 617"/>
                <a:gd name="T47" fmla="*/ 2147483647 h 298"/>
                <a:gd name="T48" fmla="*/ 2147483647 w 617"/>
                <a:gd name="T49" fmla="*/ 2147483647 h 298"/>
                <a:gd name="T50" fmla="*/ 2147483647 w 617"/>
                <a:gd name="T51" fmla="*/ 2147483647 h 298"/>
                <a:gd name="T52" fmla="*/ 2147483647 w 617"/>
                <a:gd name="T53" fmla="*/ 2147483647 h 298"/>
                <a:gd name="T54" fmla="*/ 2147483647 w 617"/>
                <a:gd name="T55" fmla="*/ 2147483647 h 298"/>
                <a:gd name="T56" fmla="*/ 2147483647 w 617"/>
                <a:gd name="T57" fmla="*/ 2147483647 h 298"/>
                <a:gd name="T58" fmla="*/ 2147483647 w 617"/>
                <a:gd name="T59" fmla="*/ 2147483647 h 298"/>
                <a:gd name="T60" fmla="*/ 2147483647 w 617"/>
                <a:gd name="T61" fmla="*/ 2147483647 h 298"/>
                <a:gd name="T62" fmla="*/ 2147483647 w 617"/>
                <a:gd name="T63" fmla="*/ 2147483647 h 298"/>
                <a:gd name="T64" fmla="*/ 2147483647 w 617"/>
                <a:gd name="T65" fmla="*/ 2147483647 h 298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617"/>
                <a:gd name="T100" fmla="*/ 0 h 298"/>
                <a:gd name="T101" fmla="*/ 617 w 617"/>
                <a:gd name="T102" fmla="*/ 298 h 298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617" h="298">
                  <a:moveTo>
                    <a:pt x="0" y="0"/>
                  </a:moveTo>
                  <a:lnTo>
                    <a:pt x="10" y="48"/>
                  </a:lnTo>
                  <a:lnTo>
                    <a:pt x="22" y="64"/>
                  </a:lnTo>
                  <a:lnTo>
                    <a:pt x="46" y="72"/>
                  </a:lnTo>
                  <a:lnTo>
                    <a:pt x="66" y="72"/>
                  </a:lnTo>
                  <a:lnTo>
                    <a:pt x="84" y="84"/>
                  </a:lnTo>
                  <a:lnTo>
                    <a:pt x="114" y="102"/>
                  </a:lnTo>
                  <a:lnTo>
                    <a:pt x="138" y="100"/>
                  </a:lnTo>
                  <a:lnTo>
                    <a:pt x="154" y="112"/>
                  </a:lnTo>
                  <a:lnTo>
                    <a:pt x="178" y="114"/>
                  </a:lnTo>
                  <a:lnTo>
                    <a:pt x="192" y="120"/>
                  </a:lnTo>
                  <a:lnTo>
                    <a:pt x="204" y="142"/>
                  </a:lnTo>
                  <a:lnTo>
                    <a:pt x="216" y="166"/>
                  </a:lnTo>
                  <a:lnTo>
                    <a:pt x="234" y="150"/>
                  </a:lnTo>
                  <a:lnTo>
                    <a:pt x="264" y="148"/>
                  </a:lnTo>
                  <a:lnTo>
                    <a:pt x="285" y="166"/>
                  </a:lnTo>
                  <a:lnTo>
                    <a:pt x="309" y="156"/>
                  </a:lnTo>
                  <a:lnTo>
                    <a:pt x="339" y="130"/>
                  </a:lnTo>
                  <a:lnTo>
                    <a:pt x="369" y="124"/>
                  </a:lnTo>
                  <a:lnTo>
                    <a:pt x="389" y="136"/>
                  </a:lnTo>
                  <a:lnTo>
                    <a:pt x="407" y="150"/>
                  </a:lnTo>
                  <a:lnTo>
                    <a:pt x="407" y="168"/>
                  </a:lnTo>
                  <a:lnTo>
                    <a:pt x="423" y="180"/>
                  </a:lnTo>
                  <a:lnTo>
                    <a:pt x="429" y="226"/>
                  </a:lnTo>
                  <a:lnTo>
                    <a:pt x="447" y="216"/>
                  </a:lnTo>
                  <a:lnTo>
                    <a:pt x="465" y="214"/>
                  </a:lnTo>
                  <a:lnTo>
                    <a:pt x="473" y="234"/>
                  </a:lnTo>
                  <a:lnTo>
                    <a:pt x="503" y="244"/>
                  </a:lnTo>
                  <a:lnTo>
                    <a:pt x="525" y="234"/>
                  </a:lnTo>
                  <a:lnTo>
                    <a:pt x="555" y="246"/>
                  </a:lnTo>
                  <a:lnTo>
                    <a:pt x="567" y="274"/>
                  </a:lnTo>
                  <a:lnTo>
                    <a:pt x="593" y="286"/>
                  </a:lnTo>
                  <a:lnTo>
                    <a:pt x="617" y="298"/>
                  </a:lnTo>
                </a:path>
              </a:pathLst>
            </a:custGeom>
            <a:noFill/>
            <a:ln w="317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sm" len="sm"/>
            </a:ln>
          </p:spPr>
          <p:txBody>
            <a:bodyPr wrap="none" lIns="36000" tIns="36000" rIns="36000" bIns="36000" anchor="ctr"/>
            <a:lstStyle/>
            <a:p>
              <a:pPr defTabSz="891045"/>
              <a:endParaRPr lang="en-US" sz="1700" dirty="0">
                <a:solidFill>
                  <a:srgbClr val="003149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381" name="Freeform 1047"/>
            <p:cNvSpPr>
              <a:spLocks noChangeAspect="1"/>
            </p:cNvSpPr>
            <p:nvPr>
              <p:custDataLst>
                <p:tags r:id="rId285"/>
              </p:custDataLst>
            </p:nvPr>
          </p:nvSpPr>
          <p:spPr bwMode="gray">
            <a:xfrm>
              <a:off x="3023389" y="7933265"/>
              <a:ext cx="60444" cy="149763"/>
            </a:xfrm>
            <a:custGeom>
              <a:avLst/>
              <a:gdLst>
                <a:gd name="T0" fmla="*/ 0 w 11871"/>
                <a:gd name="T1" fmla="*/ 2147483647 h 9843"/>
                <a:gd name="T2" fmla="*/ 2147483647 w 11871"/>
                <a:gd name="T3" fmla="*/ 2147483647 h 9843"/>
                <a:gd name="T4" fmla="*/ 2147483647 w 11871"/>
                <a:gd name="T5" fmla="*/ 2147483647 h 9843"/>
                <a:gd name="T6" fmla="*/ 2147483647 w 11871"/>
                <a:gd name="T7" fmla="*/ 2147483647 h 9843"/>
                <a:gd name="T8" fmla="*/ 2147483647 w 11871"/>
                <a:gd name="T9" fmla="*/ 0 h 984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1871"/>
                <a:gd name="T16" fmla="*/ 0 h 9843"/>
                <a:gd name="T17" fmla="*/ 11871 w 11871"/>
                <a:gd name="T18" fmla="*/ 9843 h 984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1871" h="9843">
                  <a:moveTo>
                    <a:pt x="0" y="9843"/>
                  </a:moveTo>
                  <a:lnTo>
                    <a:pt x="8066" y="8336"/>
                  </a:lnTo>
                  <a:cubicBezTo>
                    <a:pt x="8519" y="7771"/>
                    <a:pt x="8899" y="7216"/>
                    <a:pt x="9370" y="6658"/>
                  </a:cubicBezTo>
                  <a:cubicBezTo>
                    <a:pt x="9744" y="5411"/>
                    <a:pt x="10221" y="4140"/>
                    <a:pt x="10608" y="2915"/>
                  </a:cubicBezTo>
                  <a:cubicBezTo>
                    <a:pt x="10982" y="1917"/>
                    <a:pt x="11413" y="950"/>
                    <a:pt x="11871" y="0"/>
                  </a:cubicBezTo>
                </a:path>
              </a:pathLst>
            </a:custGeom>
            <a:noFill/>
            <a:ln w="3175" cap="flat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wrap="none" lIns="36000" tIns="36000" rIns="36000" bIns="36000" anchor="ctr"/>
            <a:lstStyle/>
            <a:p>
              <a:pPr defTabSz="891045"/>
              <a:endParaRPr lang="en-US" sz="1700" dirty="0">
                <a:solidFill>
                  <a:srgbClr val="003149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382" name="Freeform 792"/>
            <p:cNvSpPr>
              <a:spLocks noChangeAspect="1"/>
            </p:cNvSpPr>
            <p:nvPr>
              <p:custDataLst>
                <p:tags r:id="rId286"/>
              </p:custDataLst>
            </p:nvPr>
          </p:nvSpPr>
          <p:spPr bwMode="gray">
            <a:xfrm>
              <a:off x="4017173" y="6828109"/>
              <a:ext cx="438152" cy="196848"/>
            </a:xfrm>
            <a:custGeom>
              <a:avLst/>
              <a:gdLst>
                <a:gd name="T0" fmla="*/ 2147483647 w 328"/>
                <a:gd name="T1" fmla="*/ 0 h 148"/>
                <a:gd name="T2" fmla="*/ 2147483647 w 328"/>
                <a:gd name="T3" fmla="*/ 2147483647 h 148"/>
                <a:gd name="T4" fmla="*/ 2147483647 w 328"/>
                <a:gd name="T5" fmla="*/ 2147483647 h 148"/>
                <a:gd name="T6" fmla="*/ 2147483647 w 328"/>
                <a:gd name="T7" fmla="*/ 2147483647 h 148"/>
                <a:gd name="T8" fmla="*/ 2147483647 w 328"/>
                <a:gd name="T9" fmla="*/ 2147483647 h 148"/>
                <a:gd name="T10" fmla="*/ 2147483647 w 328"/>
                <a:gd name="T11" fmla="*/ 2147483647 h 148"/>
                <a:gd name="T12" fmla="*/ 2147483647 w 328"/>
                <a:gd name="T13" fmla="*/ 2147483647 h 148"/>
                <a:gd name="T14" fmla="*/ 2147483647 w 328"/>
                <a:gd name="T15" fmla="*/ 2147483647 h 148"/>
                <a:gd name="T16" fmla="*/ 2147483647 w 328"/>
                <a:gd name="T17" fmla="*/ 2147483647 h 148"/>
                <a:gd name="T18" fmla="*/ 2147483647 w 328"/>
                <a:gd name="T19" fmla="*/ 2147483647 h 148"/>
                <a:gd name="T20" fmla="*/ 2147483647 w 328"/>
                <a:gd name="T21" fmla="*/ 2147483647 h 148"/>
                <a:gd name="T22" fmla="*/ 2147483647 w 328"/>
                <a:gd name="T23" fmla="*/ 2147483647 h 148"/>
                <a:gd name="T24" fmla="*/ 2147483647 w 328"/>
                <a:gd name="T25" fmla="*/ 2147483647 h 148"/>
                <a:gd name="T26" fmla="*/ 2147483647 w 328"/>
                <a:gd name="T27" fmla="*/ 2147483647 h 148"/>
                <a:gd name="T28" fmla="*/ 2147483647 w 328"/>
                <a:gd name="T29" fmla="*/ 2147483647 h 148"/>
                <a:gd name="T30" fmla="*/ 2147483647 w 328"/>
                <a:gd name="T31" fmla="*/ 2147483647 h 148"/>
                <a:gd name="T32" fmla="*/ 0 w 328"/>
                <a:gd name="T33" fmla="*/ 2147483647 h 148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328"/>
                <a:gd name="T52" fmla="*/ 0 h 148"/>
                <a:gd name="T53" fmla="*/ 328 w 328"/>
                <a:gd name="T54" fmla="*/ 148 h 148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328" h="148">
                  <a:moveTo>
                    <a:pt x="328" y="0"/>
                  </a:moveTo>
                  <a:lnTo>
                    <a:pt x="316" y="14"/>
                  </a:lnTo>
                  <a:lnTo>
                    <a:pt x="316" y="35"/>
                  </a:lnTo>
                  <a:lnTo>
                    <a:pt x="310" y="63"/>
                  </a:lnTo>
                  <a:lnTo>
                    <a:pt x="267" y="72"/>
                  </a:lnTo>
                  <a:lnTo>
                    <a:pt x="226" y="89"/>
                  </a:lnTo>
                  <a:lnTo>
                    <a:pt x="200" y="97"/>
                  </a:lnTo>
                  <a:lnTo>
                    <a:pt x="175" y="103"/>
                  </a:lnTo>
                  <a:lnTo>
                    <a:pt x="159" y="132"/>
                  </a:lnTo>
                  <a:lnTo>
                    <a:pt x="138" y="132"/>
                  </a:lnTo>
                  <a:lnTo>
                    <a:pt x="119" y="132"/>
                  </a:lnTo>
                  <a:lnTo>
                    <a:pt x="98" y="132"/>
                  </a:lnTo>
                  <a:lnTo>
                    <a:pt x="78" y="132"/>
                  </a:lnTo>
                  <a:lnTo>
                    <a:pt x="60" y="145"/>
                  </a:lnTo>
                  <a:lnTo>
                    <a:pt x="48" y="135"/>
                  </a:lnTo>
                  <a:lnTo>
                    <a:pt x="29" y="132"/>
                  </a:lnTo>
                  <a:lnTo>
                    <a:pt x="0" y="148"/>
                  </a:lnTo>
                </a:path>
              </a:pathLst>
            </a:custGeom>
            <a:noFill/>
            <a:ln w="317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none" lIns="36000" tIns="36000" rIns="36000" bIns="36000" anchor="ctr"/>
            <a:lstStyle/>
            <a:p>
              <a:pPr defTabSz="891045"/>
              <a:endParaRPr lang="en-US" sz="1700" dirty="0">
                <a:solidFill>
                  <a:srgbClr val="003149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383" name="Freeform 1047"/>
            <p:cNvSpPr>
              <a:spLocks noChangeAspect="1"/>
            </p:cNvSpPr>
            <p:nvPr>
              <p:custDataLst>
                <p:tags r:id="rId287"/>
              </p:custDataLst>
            </p:nvPr>
          </p:nvSpPr>
          <p:spPr bwMode="gray">
            <a:xfrm>
              <a:off x="3670878" y="7028163"/>
              <a:ext cx="416154" cy="354221"/>
            </a:xfrm>
            <a:custGeom>
              <a:avLst/>
              <a:gdLst>
                <a:gd name="T0" fmla="*/ 0 w 10000"/>
                <a:gd name="T1" fmla="*/ 2147483647 h 10000"/>
                <a:gd name="T2" fmla="*/ 2147483647 w 10000"/>
                <a:gd name="T3" fmla="*/ 2147483647 h 10000"/>
                <a:gd name="T4" fmla="*/ 2147483647 w 10000"/>
                <a:gd name="T5" fmla="*/ 2147483647 h 10000"/>
                <a:gd name="T6" fmla="*/ 2147483647 w 10000"/>
                <a:gd name="T7" fmla="*/ 2147483647 h 10000"/>
                <a:gd name="T8" fmla="*/ 2147483647 w 10000"/>
                <a:gd name="T9" fmla="*/ 2147483647 h 10000"/>
                <a:gd name="T10" fmla="*/ 2147483647 w 10000"/>
                <a:gd name="T11" fmla="*/ 2147483647 h 10000"/>
                <a:gd name="T12" fmla="*/ 2147483647 w 10000"/>
                <a:gd name="T13" fmla="*/ 2147483647 h 10000"/>
                <a:gd name="T14" fmla="*/ 2147483647 w 10000"/>
                <a:gd name="T15" fmla="*/ 2147483647 h 10000"/>
                <a:gd name="T16" fmla="*/ 2147483647 w 10000"/>
                <a:gd name="T17" fmla="*/ 2147483647 h 10000"/>
                <a:gd name="T18" fmla="*/ 2147483647 w 10000"/>
                <a:gd name="T19" fmla="*/ 2147483647 h 10000"/>
                <a:gd name="T20" fmla="*/ 2147483647 w 10000"/>
                <a:gd name="T21" fmla="*/ 2147483647 h 10000"/>
                <a:gd name="T22" fmla="*/ 2147483647 w 10000"/>
                <a:gd name="T23" fmla="*/ 2147483647 h 10000"/>
                <a:gd name="T24" fmla="*/ 2147483647 w 10000"/>
                <a:gd name="T25" fmla="*/ 2147483647 h 10000"/>
                <a:gd name="T26" fmla="*/ 2147483647 w 10000"/>
                <a:gd name="T27" fmla="*/ 2147483647 h 10000"/>
                <a:gd name="T28" fmla="*/ 2147483647 w 10000"/>
                <a:gd name="T29" fmla="*/ 2147483647 h 10000"/>
                <a:gd name="T30" fmla="*/ 2147483647 w 10000"/>
                <a:gd name="T31" fmla="*/ 2147483647 h 10000"/>
                <a:gd name="T32" fmla="*/ 2147483647 w 10000"/>
                <a:gd name="T33" fmla="*/ 2147483647 h 10000"/>
                <a:gd name="T34" fmla="*/ 2147483647 w 10000"/>
                <a:gd name="T35" fmla="*/ 2147483647 h 10000"/>
                <a:gd name="T36" fmla="*/ 2147483647 w 10000"/>
                <a:gd name="T37" fmla="*/ 2147483647 h 10000"/>
                <a:gd name="T38" fmla="*/ 2147483647 w 10000"/>
                <a:gd name="T39" fmla="*/ 2147483647 h 10000"/>
                <a:gd name="T40" fmla="*/ 2147483647 w 10000"/>
                <a:gd name="T41" fmla="*/ 2147483647 h 10000"/>
                <a:gd name="T42" fmla="*/ 2147483647 w 10000"/>
                <a:gd name="T43" fmla="*/ 2147483647 h 10000"/>
                <a:gd name="T44" fmla="*/ 2147483647 w 10000"/>
                <a:gd name="T45" fmla="*/ 0 h 10000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w 10000"/>
                <a:gd name="T70" fmla="*/ 0 h 10000"/>
                <a:gd name="T71" fmla="*/ 10000 w 10000"/>
                <a:gd name="T72" fmla="*/ 10000 h 10000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T69" t="T70" r="T71" b="T72"/>
              <a:pathLst>
                <a:path w="10000" h="10000">
                  <a:moveTo>
                    <a:pt x="0" y="10000"/>
                  </a:moveTo>
                  <a:lnTo>
                    <a:pt x="1153" y="9942"/>
                  </a:lnTo>
                  <a:lnTo>
                    <a:pt x="2522" y="9408"/>
                  </a:lnTo>
                  <a:lnTo>
                    <a:pt x="2522" y="8513"/>
                  </a:lnTo>
                  <a:lnTo>
                    <a:pt x="3589" y="8878"/>
                  </a:lnTo>
                  <a:lnTo>
                    <a:pt x="4203" y="9590"/>
                  </a:lnTo>
                  <a:lnTo>
                    <a:pt x="4203" y="8157"/>
                  </a:lnTo>
                  <a:cubicBezTo>
                    <a:pt x="4153" y="7976"/>
                    <a:pt x="4101" y="7798"/>
                    <a:pt x="4052" y="7622"/>
                  </a:cubicBezTo>
                  <a:lnTo>
                    <a:pt x="4812" y="6901"/>
                  </a:lnTo>
                  <a:lnTo>
                    <a:pt x="5880" y="7622"/>
                  </a:lnTo>
                  <a:lnTo>
                    <a:pt x="6947" y="6901"/>
                  </a:lnTo>
                  <a:cubicBezTo>
                    <a:pt x="6991" y="6609"/>
                    <a:pt x="7048" y="6306"/>
                    <a:pt x="7097" y="6005"/>
                  </a:cubicBezTo>
                  <a:lnTo>
                    <a:pt x="7711" y="5466"/>
                  </a:lnTo>
                  <a:cubicBezTo>
                    <a:pt x="7860" y="5288"/>
                    <a:pt x="8019" y="5108"/>
                    <a:pt x="8167" y="4928"/>
                  </a:cubicBezTo>
                  <a:cubicBezTo>
                    <a:pt x="8118" y="4692"/>
                    <a:pt x="8067" y="4451"/>
                    <a:pt x="8019" y="4205"/>
                  </a:cubicBezTo>
                  <a:lnTo>
                    <a:pt x="9389" y="4039"/>
                  </a:lnTo>
                  <a:lnTo>
                    <a:pt x="10000" y="3135"/>
                  </a:lnTo>
                  <a:cubicBezTo>
                    <a:pt x="9945" y="2952"/>
                    <a:pt x="9901" y="2781"/>
                    <a:pt x="9853" y="2596"/>
                  </a:cubicBezTo>
                  <a:lnTo>
                    <a:pt x="9238" y="2063"/>
                  </a:lnTo>
                  <a:lnTo>
                    <a:pt x="8780" y="1882"/>
                  </a:lnTo>
                  <a:cubicBezTo>
                    <a:pt x="8730" y="1702"/>
                    <a:pt x="8682" y="1523"/>
                    <a:pt x="8626" y="1349"/>
                  </a:cubicBezTo>
                  <a:cubicBezTo>
                    <a:pt x="8730" y="1104"/>
                    <a:pt x="8834" y="870"/>
                    <a:pt x="8926" y="623"/>
                  </a:cubicBezTo>
                  <a:lnTo>
                    <a:pt x="8366" y="0"/>
                  </a:lnTo>
                </a:path>
              </a:pathLst>
            </a:custGeom>
            <a:noFill/>
            <a:ln w="3175" cap="flat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wrap="none" lIns="36000" tIns="36000" rIns="36000" bIns="36000" anchor="ctr"/>
            <a:lstStyle/>
            <a:p>
              <a:pPr defTabSz="891045"/>
              <a:endParaRPr lang="en-US" sz="1700" dirty="0">
                <a:solidFill>
                  <a:srgbClr val="003149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384" name="Freeform 1047"/>
            <p:cNvSpPr>
              <a:spLocks noChangeAspect="1"/>
            </p:cNvSpPr>
            <p:nvPr>
              <p:custDataLst>
                <p:tags r:id="rId288"/>
              </p:custDataLst>
            </p:nvPr>
          </p:nvSpPr>
          <p:spPr bwMode="gray">
            <a:xfrm>
              <a:off x="3083806" y="7385071"/>
              <a:ext cx="586901" cy="548132"/>
            </a:xfrm>
            <a:custGeom>
              <a:avLst/>
              <a:gdLst>
                <a:gd name="T0" fmla="*/ 0 w 10000"/>
                <a:gd name="T1" fmla="*/ 2147483647 h 10000"/>
                <a:gd name="T2" fmla="*/ 2147483647 w 10000"/>
                <a:gd name="T3" fmla="*/ 2147483647 h 10000"/>
                <a:gd name="T4" fmla="*/ 2147483647 w 10000"/>
                <a:gd name="T5" fmla="*/ 2147483647 h 10000"/>
                <a:gd name="T6" fmla="*/ 2147483647 w 10000"/>
                <a:gd name="T7" fmla="*/ 2147483647 h 10000"/>
                <a:gd name="T8" fmla="*/ 2147483647 w 10000"/>
                <a:gd name="T9" fmla="*/ 2147483647 h 10000"/>
                <a:gd name="T10" fmla="*/ 2147483647 w 10000"/>
                <a:gd name="T11" fmla="*/ 2147483647 h 10000"/>
                <a:gd name="T12" fmla="*/ 2147483647 w 10000"/>
                <a:gd name="T13" fmla="*/ 2147483647 h 10000"/>
                <a:gd name="T14" fmla="*/ 2147483647 w 10000"/>
                <a:gd name="T15" fmla="*/ 2147483647 h 10000"/>
                <a:gd name="T16" fmla="*/ 2147483647 w 10000"/>
                <a:gd name="T17" fmla="*/ 2147483647 h 10000"/>
                <a:gd name="T18" fmla="*/ 2147483647 w 10000"/>
                <a:gd name="T19" fmla="*/ 2147483647 h 10000"/>
                <a:gd name="T20" fmla="*/ 2147483647 w 10000"/>
                <a:gd name="T21" fmla="*/ 2147483647 h 10000"/>
                <a:gd name="T22" fmla="*/ 2147483647 w 10000"/>
                <a:gd name="T23" fmla="*/ 2147483647 h 10000"/>
                <a:gd name="T24" fmla="*/ 2147483647 w 10000"/>
                <a:gd name="T25" fmla="*/ 2147483647 h 10000"/>
                <a:gd name="T26" fmla="*/ 2147483647 w 10000"/>
                <a:gd name="T27" fmla="*/ 2147483647 h 10000"/>
                <a:gd name="T28" fmla="*/ 2147483647 w 10000"/>
                <a:gd name="T29" fmla="*/ 2147483647 h 10000"/>
                <a:gd name="T30" fmla="*/ 2147483647 w 10000"/>
                <a:gd name="T31" fmla="*/ 2147483647 h 10000"/>
                <a:gd name="T32" fmla="*/ 2147483647 w 10000"/>
                <a:gd name="T33" fmla="*/ 2147483647 h 10000"/>
                <a:gd name="T34" fmla="*/ 2147483647 w 10000"/>
                <a:gd name="T35" fmla="*/ 2147483647 h 10000"/>
                <a:gd name="T36" fmla="*/ 2147483647 w 10000"/>
                <a:gd name="T37" fmla="*/ 2147483647 h 10000"/>
                <a:gd name="T38" fmla="*/ 2147483647 w 10000"/>
                <a:gd name="T39" fmla="*/ 2147483647 h 10000"/>
                <a:gd name="T40" fmla="*/ 2147483647 w 10000"/>
                <a:gd name="T41" fmla="*/ 2147483647 h 10000"/>
                <a:gd name="T42" fmla="*/ 2147483647 w 10000"/>
                <a:gd name="T43" fmla="*/ 2147483647 h 10000"/>
                <a:gd name="T44" fmla="*/ 2147483647 w 10000"/>
                <a:gd name="T45" fmla="*/ 0 h 10000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w 10000"/>
                <a:gd name="T70" fmla="*/ 0 h 10000"/>
                <a:gd name="T71" fmla="*/ 10000 w 10000"/>
                <a:gd name="T72" fmla="*/ 10000 h 10000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T69" t="T70" r="T71" b="T72"/>
              <a:pathLst>
                <a:path w="10000" h="10000">
                  <a:moveTo>
                    <a:pt x="0" y="10000"/>
                  </a:moveTo>
                  <a:lnTo>
                    <a:pt x="756" y="9530"/>
                  </a:lnTo>
                  <a:lnTo>
                    <a:pt x="1297" y="9530"/>
                  </a:lnTo>
                  <a:lnTo>
                    <a:pt x="2270" y="9530"/>
                  </a:lnTo>
                  <a:lnTo>
                    <a:pt x="3134" y="9185"/>
                  </a:lnTo>
                  <a:lnTo>
                    <a:pt x="3783" y="8490"/>
                  </a:lnTo>
                  <a:lnTo>
                    <a:pt x="4760" y="8603"/>
                  </a:lnTo>
                  <a:lnTo>
                    <a:pt x="5124" y="8408"/>
                  </a:lnTo>
                  <a:lnTo>
                    <a:pt x="5736" y="8139"/>
                  </a:lnTo>
                  <a:lnTo>
                    <a:pt x="6601" y="8029"/>
                  </a:lnTo>
                  <a:lnTo>
                    <a:pt x="7353" y="8029"/>
                  </a:lnTo>
                  <a:cubicBezTo>
                    <a:pt x="7500" y="7640"/>
                    <a:pt x="7643" y="7252"/>
                    <a:pt x="7790" y="6871"/>
                  </a:cubicBezTo>
                  <a:cubicBezTo>
                    <a:pt x="7823" y="6484"/>
                    <a:pt x="7860" y="6097"/>
                    <a:pt x="7901" y="5713"/>
                  </a:cubicBezTo>
                  <a:cubicBezTo>
                    <a:pt x="7973" y="5328"/>
                    <a:pt x="8039" y="4940"/>
                    <a:pt x="8110" y="4552"/>
                  </a:cubicBezTo>
                  <a:cubicBezTo>
                    <a:pt x="7973" y="4316"/>
                    <a:pt x="7823" y="4086"/>
                    <a:pt x="7681" y="3856"/>
                  </a:cubicBezTo>
                  <a:lnTo>
                    <a:pt x="8110" y="3628"/>
                  </a:lnTo>
                  <a:lnTo>
                    <a:pt x="8439" y="3163"/>
                  </a:lnTo>
                  <a:cubicBezTo>
                    <a:pt x="8401" y="2929"/>
                    <a:pt x="8365" y="2698"/>
                    <a:pt x="8331" y="2468"/>
                  </a:cubicBezTo>
                  <a:lnTo>
                    <a:pt x="8331" y="1653"/>
                  </a:lnTo>
                  <a:cubicBezTo>
                    <a:pt x="8400" y="1463"/>
                    <a:pt x="8474" y="1269"/>
                    <a:pt x="8544" y="1079"/>
                  </a:cubicBezTo>
                  <a:cubicBezTo>
                    <a:pt x="8508" y="962"/>
                    <a:pt x="8474" y="844"/>
                    <a:pt x="8439" y="734"/>
                  </a:cubicBezTo>
                  <a:lnTo>
                    <a:pt x="9414" y="37"/>
                  </a:lnTo>
                  <a:lnTo>
                    <a:pt x="10000" y="0"/>
                  </a:lnTo>
                </a:path>
              </a:pathLst>
            </a:custGeom>
            <a:noFill/>
            <a:ln w="3175" cap="flat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wrap="none" lIns="36000" tIns="36000" rIns="36000" bIns="36000" anchor="ctr"/>
            <a:lstStyle/>
            <a:p>
              <a:pPr defTabSz="891045"/>
              <a:endParaRPr lang="en-US" sz="1700" dirty="0">
                <a:solidFill>
                  <a:srgbClr val="003149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385" name="Freeform 773"/>
            <p:cNvSpPr>
              <a:spLocks noChangeAspect="1"/>
            </p:cNvSpPr>
            <p:nvPr>
              <p:custDataLst>
                <p:tags r:id="rId289"/>
              </p:custDataLst>
            </p:nvPr>
          </p:nvSpPr>
          <p:spPr bwMode="gray">
            <a:xfrm>
              <a:off x="1699425" y="9945957"/>
              <a:ext cx="184148" cy="400052"/>
            </a:xfrm>
            <a:custGeom>
              <a:avLst/>
              <a:gdLst>
                <a:gd name="T0" fmla="*/ 2147483647 w 104"/>
                <a:gd name="T1" fmla="*/ 2147483647 h 224"/>
                <a:gd name="T2" fmla="*/ 2147483647 w 104"/>
                <a:gd name="T3" fmla="*/ 2147483647 h 224"/>
                <a:gd name="T4" fmla="*/ 2147483647 w 104"/>
                <a:gd name="T5" fmla="*/ 2147483647 h 224"/>
                <a:gd name="T6" fmla="*/ 2147483647 w 104"/>
                <a:gd name="T7" fmla="*/ 2147483647 h 224"/>
                <a:gd name="T8" fmla="*/ 2147483647 w 104"/>
                <a:gd name="T9" fmla="*/ 2147483647 h 224"/>
                <a:gd name="T10" fmla="*/ 2147483647 w 104"/>
                <a:gd name="T11" fmla="*/ 2147483647 h 224"/>
                <a:gd name="T12" fmla="*/ 2147483647 w 104"/>
                <a:gd name="T13" fmla="*/ 2147483647 h 224"/>
                <a:gd name="T14" fmla="*/ 2147483647 w 104"/>
                <a:gd name="T15" fmla="*/ 2147483647 h 224"/>
                <a:gd name="T16" fmla="*/ 2147483647 w 104"/>
                <a:gd name="T17" fmla="*/ 2147483647 h 224"/>
                <a:gd name="T18" fmla="*/ 2147483647 w 104"/>
                <a:gd name="T19" fmla="*/ 2147483647 h 224"/>
                <a:gd name="T20" fmla="*/ 2147483647 w 104"/>
                <a:gd name="T21" fmla="*/ 2147483647 h 224"/>
                <a:gd name="T22" fmla="*/ 2147483647 w 104"/>
                <a:gd name="T23" fmla="*/ 2147483647 h 224"/>
                <a:gd name="T24" fmla="*/ 2147483647 w 104"/>
                <a:gd name="T25" fmla="*/ 2147483647 h 224"/>
                <a:gd name="T26" fmla="*/ 2147483647 w 104"/>
                <a:gd name="T27" fmla="*/ 2147483647 h 224"/>
                <a:gd name="T28" fmla="*/ 2147483647 w 104"/>
                <a:gd name="T29" fmla="*/ 2147483647 h 224"/>
                <a:gd name="T30" fmla="*/ 2147483647 w 104"/>
                <a:gd name="T31" fmla="*/ 2147483647 h 224"/>
                <a:gd name="T32" fmla="*/ 2147483647 w 104"/>
                <a:gd name="T33" fmla="*/ 2147483647 h 224"/>
                <a:gd name="T34" fmla="*/ 2147483647 w 104"/>
                <a:gd name="T35" fmla="*/ 2147483647 h 224"/>
                <a:gd name="T36" fmla="*/ 2147483647 w 104"/>
                <a:gd name="T37" fmla="*/ 2147483647 h 224"/>
                <a:gd name="T38" fmla="*/ 2147483647 w 104"/>
                <a:gd name="T39" fmla="*/ 2147483647 h 224"/>
                <a:gd name="T40" fmla="*/ 0 w 104"/>
                <a:gd name="T41" fmla="*/ 0 h 224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w 104"/>
                <a:gd name="T64" fmla="*/ 0 h 224"/>
                <a:gd name="T65" fmla="*/ 104 w 104"/>
                <a:gd name="T66" fmla="*/ 224 h 224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T63" t="T64" r="T65" b="T66"/>
              <a:pathLst>
                <a:path w="104" h="224">
                  <a:moveTo>
                    <a:pt x="104" y="224"/>
                  </a:moveTo>
                  <a:lnTo>
                    <a:pt x="96" y="197"/>
                  </a:lnTo>
                  <a:lnTo>
                    <a:pt x="93" y="191"/>
                  </a:lnTo>
                  <a:lnTo>
                    <a:pt x="92" y="178"/>
                  </a:lnTo>
                  <a:lnTo>
                    <a:pt x="81" y="171"/>
                  </a:lnTo>
                  <a:lnTo>
                    <a:pt x="72" y="162"/>
                  </a:lnTo>
                  <a:lnTo>
                    <a:pt x="69" y="155"/>
                  </a:lnTo>
                  <a:lnTo>
                    <a:pt x="60" y="152"/>
                  </a:lnTo>
                  <a:lnTo>
                    <a:pt x="51" y="139"/>
                  </a:lnTo>
                  <a:lnTo>
                    <a:pt x="46" y="125"/>
                  </a:lnTo>
                  <a:lnTo>
                    <a:pt x="39" y="121"/>
                  </a:lnTo>
                  <a:lnTo>
                    <a:pt x="15" y="102"/>
                  </a:lnTo>
                  <a:lnTo>
                    <a:pt x="8" y="94"/>
                  </a:lnTo>
                  <a:lnTo>
                    <a:pt x="23" y="82"/>
                  </a:lnTo>
                  <a:lnTo>
                    <a:pt x="24" y="67"/>
                  </a:lnTo>
                  <a:lnTo>
                    <a:pt x="21" y="52"/>
                  </a:lnTo>
                  <a:lnTo>
                    <a:pt x="17" y="44"/>
                  </a:lnTo>
                  <a:lnTo>
                    <a:pt x="11" y="25"/>
                  </a:lnTo>
                  <a:lnTo>
                    <a:pt x="8" y="13"/>
                  </a:lnTo>
                  <a:lnTo>
                    <a:pt x="5" y="4"/>
                  </a:lnTo>
                  <a:lnTo>
                    <a:pt x="0" y="0"/>
                  </a:lnTo>
                </a:path>
              </a:pathLst>
            </a:custGeom>
            <a:noFill/>
            <a:ln w="317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none" lIns="36000" tIns="36000" rIns="36000" bIns="36000" anchor="ctr"/>
            <a:lstStyle/>
            <a:p>
              <a:pPr defTabSz="891045"/>
              <a:endParaRPr lang="en-US" sz="1700" dirty="0">
                <a:solidFill>
                  <a:srgbClr val="003149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386" name="Freeform 774"/>
            <p:cNvSpPr>
              <a:spLocks noChangeAspect="1"/>
            </p:cNvSpPr>
            <p:nvPr>
              <p:custDataLst>
                <p:tags r:id="rId290"/>
              </p:custDataLst>
            </p:nvPr>
          </p:nvSpPr>
          <p:spPr bwMode="gray">
            <a:xfrm>
              <a:off x="1547025" y="9284610"/>
              <a:ext cx="152400" cy="661347"/>
            </a:xfrm>
            <a:custGeom>
              <a:avLst/>
              <a:gdLst>
                <a:gd name="T0" fmla="*/ 2147483647 w 10000"/>
                <a:gd name="T1" fmla="*/ 2147483647 h 9919"/>
                <a:gd name="T2" fmla="*/ 2147483647 w 10000"/>
                <a:gd name="T3" fmla="*/ 2147483647 h 9919"/>
                <a:gd name="T4" fmla="*/ 2147483647 w 10000"/>
                <a:gd name="T5" fmla="*/ 2147483647 h 9919"/>
                <a:gd name="T6" fmla="*/ 2147483647 w 10000"/>
                <a:gd name="T7" fmla="*/ 2147483647 h 9919"/>
                <a:gd name="T8" fmla="*/ 2147483647 w 10000"/>
                <a:gd name="T9" fmla="*/ 2147483647 h 9919"/>
                <a:gd name="T10" fmla="*/ 2147483647 w 10000"/>
                <a:gd name="T11" fmla="*/ 2147483647 h 9919"/>
                <a:gd name="T12" fmla="*/ 2147483647 w 10000"/>
                <a:gd name="T13" fmla="*/ 2147483647 h 9919"/>
                <a:gd name="T14" fmla="*/ 2147483647 w 10000"/>
                <a:gd name="T15" fmla="*/ 2147483647 h 9919"/>
                <a:gd name="T16" fmla="*/ 2147483647 w 10000"/>
                <a:gd name="T17" fmla="*/ 2147483647 h 9919"/>
                <a:gd name="T18" fmla="*/ 2147483647 w 10000"/>
                <a:gd name="T19" fmla="*/ 2147483647 h 9919"/>
                <a:gd name="T20" fmla="*/ 2147483647 w 10000"/>
                <a:gd name="T21" fmla="*/ 2147483647 h 9919"/>
                <a:gd name="T22" fmla="*/ 2147483647 w 10000"/>
                <a:gd name="T23" fmla="*/ 2147483647 h 9919"/>
                <a:gd name="T24" fmla="*/ 2147483647 w 10000"/>
                <a:gd name="T25" fmla="*/ 2147483647 h 9919"/>
                <a:gd name="T26" fmla="*/ 2147483647 w 10000"/>
                <a:gd name="T27" fmla="*/ 2147483647 h 9919"/>
                <a:gd name="T28" fmla="*/ 2147483647 w 10000"/>
                <a:gd name="T29" fmla="*/ 2147483647 h 9919"/>
                <a:gd name="T30" fmla="*/ 2147483647 w 10000"/>
                <a:gd name="T31" fmla="*/ 2147483647 h 9919"/>
                <a:gd name="T32" fmla="*/ 2147483647 w 10000"/>
                <a:gd name="T33" fmla="*/ 2147483647 h 9919"/>
                <a:gd name="T34" fmla="*/ 2147483647 w 10000"/>
                <a:gd name="T35" fmla="*/ 2147483647 h 9919"/>
                <a:gd name="T36" fmla="*/ 2147483647 w 10000"/>
                <a:gd name="T37" fmla="*/ 2147483647 h 9919"/>
                <a:gd name="T38" fmla="*/ 2147483647 w 10000"/>
                <a:gd name="T39" fmla="*/ 2147483647 h 9919"/>
                <a:gd name="T40" fmla="*/ 2147483647 w 10000"/>
                <a:gd name="T41" fmla="*/ 2147483647 h 9919"/>
                <a:gd name="T42" fmla="*/ 2147483647 w 10000"/>
                <a:gd name="T43" fmla="*/ 2147483647 h 9919"/>
                <a:gd name="T44" fmla="*/ 2147483647 w 10000"/>
                <a:gd name="T45" fmla="*/ 2147483647 h 9919"/>
                <a:gd name="T46" fmla="*/ 2147483647 w 10000"/>
                <a:gd name="T47" fmla="*/ 2147483647 h 9919"/>
                <a:gd name="T48" fmla="*/ 2147483647 w 10000"/>
                <a:gd name="T49" fmla="*/ 2147483647 h 9919"/>
                <a:gd name="T50" fmla="*/ 2147483647 w 10000"/>
                <a:gd name="T51" fmla="*/ 2147483647 h 9919"/>
                <a:gd name="T52" fmla="*/ 2147483647 w 10000"/>
                <a:gd name="T53" fmla="*/ 2147483647 h 9919"/>
                <a:gd name="T54" fmla="*/ 2147483647 w 10000"/>
                <a:gd name="T55" fmla="*/ 2147483647 h 9919"/>
                <a:gd name="T56" fmla="*/ 2147483647 w 10000"/>
                <a:gd name="T57" fmla="*/ 2147483647 h 9919"/>
                <a:gd name="T58" fmla="*/ 2147483647 w 10000"/>
                <a:gd name="T59" fmla="*/ 2147483647 h 9919"/>
                <a:gd name="T60" fmla="*/ 2147483647 w 10000"/>
                <a:gd name="T61" fmla="*/ 2147483647 h 9919"/>
                <a:gd name="T62" fmla="*/ 2147483647 w 10000"/>
                <a:gd name="T63" fmla="*/ 2147483647 h 9919"/>
                <a:gd name="T64" fmla="*/ 2147483647 w 10000"/>
                <a:gd name="T65" fmla="*/ 2147483647 h 9919"/>
                <a:gd name="T66" fmla="*/ 0 w 10000"/>
                <a:gd name="T67" fmla="*/ 2147483647 h 9919"/>
                <a:gd name="T68" fmla="*/ 0 w 10000"/>
                <a:gd name="T69" fmla="*/ 2147483647 h 9919"/>
                <a:gd name="T70" fmla="*/ 2147483647 w 10000"/>
                <a:gd name="T71" fmla="*/ 0 h 9919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10000"/>
                <a:gd name="T109" fmla="*/ 0 h 9919"/>
                <a:gd name="T110" fmla="*/ 10000 w 10000"/>
                <a:gd name="T111" fmla="*/ 9919 h 9919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10000" h="9919">
                  <a:moveTo>
                    <a:pt x="10000" y="9919"/>
                  </a:moveTo>
                  <a:lnTo>
                    <a:pt x="9540" y="9622"/>
                  </a:lnTo>
                  <a:lnTo>
                    <a:pt x="8966" y="9216"/>
                  </a:lnTo>
                  <a:lnTo>
                    <a:pt x="8736" y="8703"/>
                  </a:lnTo>
                  <a:lnTo>
                    <a:pt x="8736" y="8514"/>
                  </a:lnTo>
                  <a:lnTo>
                    <a:pt x="9310" y="8351"/>
                  </a:lnTo>
                  <a:lnTo>
                    <a:pt x="8161" y="8162"/>
                  </a:lnTo>
                  <a:lnTo>
                    <a:pt x="7816" y="7838"/>
                  </a:lnTo>
                  <a:lnTo>
                    <a:pt x="7241" y="7676"/>
                  </a:lnTo>
                  <a:lnTo>
                    <a:pt x="6207" y="7568"/>
                  </a:lnTo>
                  <a:lnTo>
                    <a:pt x="5517" y="7270"/>
                  </a:lnTo>
                  <a:lnTo>
                    <a:pt x="4943" y="6973"/>
                  </a:lnTo>
                  <a:lnTo>
                    <a:pt x="4023" y="6595"/>
                  </a:lnTo>
                  <a:lnTo>
                    <a:pt x="4023" y="6108"/>
                  </a:lnTo>
                  <a:lnTo>
                    <a:pt x="4368" y="5568"/>
                  </a:lnTo>
                  <a:lnTo>
                    <a:pt x="5402" y="4973"/>
                  </a:lnTo>
                  <a:lnTo>
                    <a:pt x="6207" y="4514"/>
                  </a:lnTo>
                  <a:cubicBezTo>
                    <a:pt x="6169" y="4424"/>
                    <a:pt x="6130" y="4333"/>
                    <a:pt x="6092" y="4243"/>
                  </a:cubicBezTo>
                  <a:lnTo>
                    <a:pt x="5517" y="4000"/>
                  </a:lnTo>
                  <a:lnTo>
                    <a:pt x="4713" y="3649"/>
                  </a:lnTo>
                  <a:lnTo>
                    <a:pt x="4138" y="3405"/>
                  </a:lnTo>
                  <a:lnTo>
                    <a:pt x="3678" y="3162"/>
                  </a:lnTo>
                  <a:lnTo>
                    <a:pt x="3448" y="2946"/>
                  </a:lnTo>
                  <a:lnTo>
                    <a:pt x="2759" y="2838"/>
                  </a:lnTo>
                  <a:lnTo>
                    <a:pt x="2069" y="2676"/>
                  </a:lnTo>
                  <a:lnTo>
                    <a:pt x="1724" y="2405"/>
                  </a:lnTo>
                  <a:lnTo>
                    <a:pt x="1724" y="2054"/>
                  </a:lnTo>
                  <a:lnTo>
                    <a:pt x="1954" y="1946"/>
                  </a:lnTo>
                  <a:cubicBezTo>
                    <a:pt x="1916" y="1829"/>
                    <a:pt x="1877" y="1712"/>
                    <a:pt x="1839" y="1595"/>
                  </a:cubicBezTo>
                  <a:lnTo>
                    <a:pt x="1379" y="1378"/>
                  </a:lnTo>
                  <a:lnTo>
                    <a:pt x="1149" y="1135"/>
                  </a:lnTo>
                  <a:lnTo>
                    <a:pt x="805" y="892"/>
                  </a:lnTo>
                  <a:lnTo>
                    <a:pt x="230" y="703"/>
                  </a:lnTo>
                  <a:lnTo>
                    <a:pt x="0" y="541"/>
                  </a:lnTo>
                  <a:lnTo>
                    <a:pt x="0" y="216"/>
                  </a:lnTo>
                  <a:cubicBezTo>
                    <a:pt x="38" y="144"/>
                    <a:pt x="77" y="72"/>
                    <a:pt x="115" y="0"/>
                  </a:cubicBezTo>
                </a:path>
              </a:pathLst>
            </a:custGeom>
            <a:noFill/>
            <a:ln w="317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none" lIns="36000" tIns="36000" rIns="36000" bIns="36000" anchor="ctr"/>
            <a:lstStyle/>
            <a:p>
              <a:pPr defTabSz="891045"/>
              <a:endParaRPr lang="en-US" sz="1700" dirty="0">
                <a:solidFill>
                  <a:srgbClr val="003149"/>
                </a:solidFill>
                <a:cs typeface="Arial" panose="020B0604020202020204" pitchFamily="34" charset="0"/>
              </a:endParaRPr>
            </a:p>
          </p:txBody>
        </p:sp>
      </p:grpSp>
      <p:grpSp>
        <p:nvGrpSpPr>
          <p:cNvPr id="387" name="Group 3"/>
          <p:cNvGrpSpPr>
            <a:grpSpLocks/>
          </p:cNvGrpSpPr>
          <p:nvPr/>
        </p:nvGrpSpPr>
        <p:grpSpPr bwMode="gray">
          <a:xfrm>
            <a:off x="4987474" y="3931167"/>
            <a:ext cx="218937" cy="345795"/>
            <a:chOff x="14708418" y="209951"/>
            <a:chExt cx="2055377" cy="2876786"/>
          </a:xfrm>
        </p:grpSpPr>
        <p:sp>
          <p:nvSpPr>
            <p:cNvPr id="388" name="Freeform 1732"/>
            <p:cNvSpPr>
              <a:spLocks/>
            </p:cNvSpPr>
            <p:nvPr/>
          </p:nvSpPr>
          <p:spPr bwMode="gray">
            <a:xfrm>
              <a:off x="14708418" y="209951"/>
              <a:ext cx="2055377" cy="2876786"/>
            </a:xfrm>
            <a:custGeom>
              <a:avLst/>
              <a:gdLst>
                <a:gd name="T0" fmla="*/ 2014917 w 2055377"/>
                <a:gd name="T1" fmla="*/ 1160044 h 2876786"/>
                <a:gd name="T2" fmla="*/ 2055377 w 2055377"/>
                <a:gd name="T3" fmla="*/ 957743 h 2876786"/>
                <a:gd name="T4" fmla="*/ 1982548 w 2055377"/>
                <a:gd name="T5" fmla="*/ 779718 h 2876786"/>
                <a:gd name="T6" fmla="*/ 2031101 w 2055377"/>
                <a:gd name="T7" fmla="*/ 496497 h 2876786"/>
                <a:gd name="T8" fmla="*/ 2031101 w 2055377"/>
                <a:gd name="T9" fmla="*/ 261828 h 2876786"/>
                <a:gd name="T10" fmla="*/ 2031101 w 2055377"/>
                <a:gd name="T11" fmla="*/ 19067 h 2876786"/>
                <a:gd name="T12" fmla="*/ 1861168 w 2055377"/>
                <a:gd name="T13" fmla="*/ 35251 h 2876786"/>
                <a:gd name="T14" fmla="*/ 1828800 w 2055377"/>
                <a:gd name="T15" fmla="*/ 229460 h 2876786"/>
                <a:gd name="T16" fmla="*/ 1788340 w 2055377"/>
                <a:gd name="T17" fmla="*/ 504589 h 2876786"/>
                <a:gd name="T18" fmla="*/ 1634591 w 2055377"/>
                <a:gd name="T19" fmla="*/ 973927 h 2876786"/>
                <a:gd name="T20" fmla="*/ 1561763 w 2055377"/>
                <a:gd name="T21" fmla="*/ 1232872 h 2876786"/>
                <a:gd name="T22" fmla="*/ 1375646 w 2055377"/>
                <a:gd name="T23" fmla="*/ 1443265 h 2876786"/>
                <a:gd name="T24" fmla="*/ 1173345 w 2055377"/>
                <a:gd name="T25" fmla="*/ 1718394 h 2876786"/>
                <a:gd name="T26" fmla="*/ 1140977 w 2055377"/>
                <a:gd name="T27" fmla="*/ 1880235 h 2876786"/>
                <a:gd name="T28" fmla="*/ 841571 w 2055377"/>
                <a:gd name="T29" fmla="*/ 2179640 h 2876786"/>
                <a:gd name="T30" fmla="*/ 712099 w 2055377"/>
                <a:gd name="T31" fmla="*/ 2398124 h 2876786"/>
                <a:gd name="T32" fmla="*/ 509798 w 2055377"/>
                <a:gd name="T33" fmla="*/ 2584242 h 2876786"/>
                <a:gd name="T34" fmla="*/ 331773 w 2055377"/>
                <a:gd name="T35" fmla="*/ 2666044 h 2876786"/>
                <a:gd name="T36" fmla="*/ 72828 w 2055377"/>
                <a:gd name="T37" fmla="*/ 2705622 h 2876786"/>
                <a:gd name="T38" fmla="*/ 80920 w 2055377"/>
                <a:gd name="T39" fmla="*/ 2827002 h 2876786"/>
                <a:gd name="T40" fmla="*/ 404602 w 2055377"/>
                <a:gd name="T41" fmla="*/ 2875554 h 2876786"/>
                <a:gd name="T42" fmla="*/ 509798 w 2055377"/>
                <a:gd name="T43" fmla="*/ 2818910 h 2876786"/>
                <a:gd name="T44" fmla="*/ 728283 w 2055377"/>
                <a:gd name="T45" fmla="*/ 2737990 h 2876786"/>
                <a:gd name="T46" fmla="*/ 898216 w 2055377"/>
                <a:gd name="T47" fmla="*/ 2559966 h 2876786"/>
                <a:gd name="T48" fmla="*/ 987228 w 2055377"/>
                <a:gd name="T49" fmla="*/ 2398124 h 2876786"/>
                <a:gd name="T50" fmla="*/ 954860 w 2055377"/>
                <a:gd name="T51" fmla="*/ 2284836 h 2876786"/>
                <a:gd name="T52" fmla="*/ 1060056 w 2055377"/>
                <a:gd name="T53" fmla="*/ 2244376 h 2876786"/>
                <a:gd name="T54" fmla="*/ 1195296 w 2055377"/>
                <a:gd name="T55" fmla="*/ 2193940 h 2876786"/>
                <a:gd name="T56" fmla="*/ 1343278 w 2055377"/>
                <a:gd name="T57" fmla="*/ 2033984 h 2876786"/>
                <a:gd name="T58" fmla="*/ 1537486 w 2055377"/>
                <a:gd name="T59" fmla="*/ 1961155 h 2876786"/>
                <a:gd name="T60" fmla="*/ 1666959 w 2055377"/>
                <a:gd name="T61" fmla="*/ 1831683 h 2876786"/>
                <a:gd name="T62" fmla="*/ 1658867 w 2055377"/>
                <a:gd name="T63" fmla="*/ 1669842 h 2876786"/>
                <a:gd name="T64" fmla="*/ 1812616 w 2055377"/>
                <a:gd name="T65" fmla="*/ 1605106 h 2876786"/>
                <a:gd name="T66" fmla="*/ 1893536 w 2055377"/>
                <a:gd name="T67" fmla="*/ 1516094 h 2876786"/>
                <a:gd name="T68" fmla="*/ 1853076 w 2055377"/>
                <a:gd name="T69" fmla="*/ 1459449 h 2876786"/>
                <a:gd name="T70" fmla="*/ 1723603 w 2055377"/>
                <a:gd name="T71" fmla="*/ 1410897 h 2876786"/>
                <a:gd name="T72" fmla="*/ 1790224 w 2055377"/>
                <a:gd name="T73" fmla="*/ 1289958 h 2876786"/>
                <a:gd name="T74" fmla="*/ 1883443 w 2055377"/>
                <a:gd name="T75" fmla="*/ 1243289 h 2876786"/>
                <a:gd name="T76" fmla="*/ 1950180 w 2055377"/>
                <a:gd name="T77" fmla="*/ 1305701 h 287678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w 2055377"/>
                <a:gd name="T118" fmla="*/ 0 h 2876786"/>
                <a:gd name="T119" fmla="*/ 2055377 w 2055377"/>
                <a:gd name="T120" fmla="*/ 2876786 h 2876786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T117" t="T118" r="T119" b="T120"/>
              <a:pathLst>
                <a:path w="2055377" h="2876786">
                  <a:moveTo>
                    <a:pt x="1950180" y="1305701"/>
                  </a:moveTo>
                  <a:lnTo>
                    <a:pt x="2014917" y="1160044"/>
                  </a:lnTo>
                  <a:lnTo>
                    <a:pt x="2055377" y="1030571"/>
                  </a:lnTo>
                  <a:lnTo>
                    <a:pt x="2055377" y="957743"/>
                  </a:lnTo>
                  <a:lnTo>
                    <a:pt x="2006825" y="884915"/>
                  </a:lnTo>
                  <a:lnTo>
                    <a:pt x="1982548" y="779718"/>
                  </a:lnTo>
                  <a:lnTo>
                    <a:pt x="2014917" y="650246"/>
                  </a:lnTo>
                  <a:lnTo>
                    <a:pt x="2031101" y="496497"/>
                  </a:lnTo>
                  <a:lnTo>
                    <a:pt x="2031101" y="375117"/>
                  </a:lnTo>
                  <a:lnTo>
                    <a:pt x="2031101" y="261828"/>
                  </a:lnTo>
                  <a:lnTo>
                    <a:pt x="2031101" y="164724"/>
                  </a:lnTo>
                  <a:lnTo>
                    <a:pt x="2031101" y="19067"/>
                  </a:lnTo>
                  <a:lnTo>
                    <a:pt x="1942088" y="0"/>
                  </a:lnTo>
                  <a:lnTo>
                    <a:pt x="1861168" y="35251"/>
                  </a:lnTo>
                  <a:lnTo>
                    <a:pt x="1804524" y="140448"/>
                  </a:lnTo>
                  <a:lnTo>
                    <a:pt x="1828800" y="229460"/>
                  </a:lnTo>
                  <a:lnTo>
                    <a:pt x="1828800" y="326564"/>
                  </a:lnTo>
                  <a:lnTo>
                    <a:pt x="1788340" y="504589"/>
                  </a:lnTo>
                  <a:lnTo>
                    <a:pt x="1723603" y="723074"/>
                  </a:lnTo>
                  <a:lnTo>
                    <a:pt x="1634591" y="973927"/>
                  </a:lnTo>
                  <a:lnTo>
                    <a:pt x="1610315" y="1143860"/>
                  </a:lnTo>
                  <a:lnTo>
                    <a:pt x="1561763" y="1232872"/>
                  </a:lnTo>
                  <a:lnTo>
                    <a:pt x="1448474" y="1329977"/>
                  </a:lnTo>
                  <a:lnTo>
                    <a:pt x="1375646" y="1443265"/>
                  </a:lnTo>
                  <a:lnTo>
                    <a:pt x="1270449" y="1597014"/>
                  </a:lnTo>
                  <a:lnTo>
                    <a:pt x="1173345" y="1718394"/>
                  </a:lnTo>
                  <a:lnTo>
                    <a:pt x="1108609" y="1791223"/>
                  </a:lnTo>
                  <a:lnTo>
                    <a:pt x="1140977" y="1880235"/>
                  </a:lnTo>
                  <a:lnTo>
                    <a:pt x="979136" y="2066352"/>
                  </a:lnTo>
                  <a:lnTo>
                    <a:pt x="841571" y="2179640"/>
                  </a:lnTo>
                  <a:lnTo>
                    <a:pt x="736375" y="2301021"/>
                  </a:lnTo>
                  <a:lnTo>
                    <a:pt x="712099" y="2398125"/>
                  </a:lnTo>
                  <a:lnTo>
                    <a:pt x="639271" y="2503322"/>
                  </a:lnTo>
                  <a:lnTo>
                    <a:pt x="509798" y="2584242"/>
                  </a:lnTo>
                  <a:lnTo>
                    <a:pt x="445062" y="2616610"/>
                  </a:lnTo>
                  <a:lnTo>
                    <a:pt x="331773" y="2666045"/>
                  </a:lnTo>
                  <a:lnTo>
                    <a:pt x="194209" y="2689439"/>
                  </a:lnTo>
                  <a:lnTo>
                    <a:pt x="72828" y="2705623"/>
                  </a:lnTo>
                  <a:lnTo>
                    <a:pt x="0" y="2737991"/>
                  </a:lnTo>
                  <a:lnTo>
                    <a:pt x="80920" y="2827003"/>
                  </a:lnTo>
                  <a:lnTo>
                    <a:pt x="258945" y="2875555"/>
                  </a:lnTo>
                  <a:cubicBezTo>
                    <a:pt x="307497" y="2875555"/>
                    <a:pt x="370719" y="2878326"/>
                    <a:pt x="404602" y="2875555"/>
                  </a:cubicBezTo>
                  <a:cubicBezTo>
                    <a:pt x="438485" y="2872784"/>
                    <a:pt x="443031" y="2864472"/>
                    <a:pt x="462246" y="2858930"/>
                  </a:cubicBezTo>
                  <a:lnTo>
                    <a:pt x="509798" y="2818911"/>
                  </a:lnTo>
                  <a:lnTo>
                    <a:pt x="598810" y="2794635"/>
                  </a:lnTo>
                  <a:lnTo>
                    <a:pt x="728283" y="2737991"/>
                  </a:lnTo>
                  <a:lnTo>
                    <a:pt x="825387" y="2673255"/>
                  </a:lnTo>
                  <a:cubicBezTo>
                    <a:pt x="849663" y="2635492"/>
                    <a:pt x="874421" y="2592020"/>
                    <a:pt x="898216" y="2559966"/>
                  </a:cubicBezTo>
                  <a:cubicBezTo>
                    <a:pt x="922011" y="2527912"/>
                    <a:pt x="944845" y="2507275"/>
                    <a:pt x="968160" y="2480929"/>
                  </a:cubicBezTo>
                  <a:lnTo>
                    <a:pt x="987228" y="2398125"/>
                  </a:lnTo>
                  <a:lnTo>
                    <a:pt x="946768" y="2357665"/>
                  </a:lnTo>
                  <a:lnTo>
                    <a:pt x="954860" y="2284837"/>
                  </a:lnTo>
                  <a:lnTo>
                    <a:pt x="1002412" y="2267653"/>
                  </a:lnTo>
                  <a:lnTo>
                    <a:pt x="1060056" y="2244377"/>
                  </a:lnTo>
                  <a:lnTo>
                    <a:pt x="1164811" y="2253469"/>
                  </a:lnTo>
                  <a:lnTo>
                    <a:pt x="1195296" y="2193941"/>
                  </a:lnTo>
                  <a:lnTo>
                    <a:pt x="1262357" y="2090628"/>
                  </a:lnTo>
                  <a:lnTo>
                    <a:pt x="1343278" y="2033984"/>
                  </a:lnTo>
                  <a:lnTo>
                    <a:pt x="1432290" y="2000616"/>
                  </a:lnTo>
                  <a:lnTo>
                    <a:pt x="1537486" y="1961155"/>
                  </a:lnTo>
                  <a:lnTo>
                    <a:pt x="1610315" y="1896419"/>
                  </a:lnTo>
                  <a:lnTo>
                    <a:pt x="1666959" y="1831683"/>
                  </a:lnTo>
                  <a:lnTo>
                    <a:pt x="1642683" y="1758855"/>
                  </a:lnTo>
                  <a:lnTo>
                    <a:pt x="1658867" y="1669842"/>
                  </a:lnTo>
                  <a:lnTo>
                    <a:pt x="1707419" y="1629382"/>
                  </a:lnTo>
                  <a:lnTo>
                    <a:pt x="1812616" y="1605106"/>
                  </a:lnTo>
                  <a:lnTo>
                    <a:pt x="1869260" y="1580830"/>
                  </a:lnTo>
                  <a:lnTo>
                    <a:pt x="1893536" y="1516094"/>
                  </a:lnTo>
                  <a:lnTo>
                    <a:pt x="1893536" y="1459449"/>
                  </a:lnTo>
                  <a:lnTo>
                    <a:pt x="1853076" y="1459449"/>
                  </a:lnTo>
                  <a:lnTo>
                    <a:pt x="1780248" y="1451357"/>
                  </a:lnTo>
                  <a:lnTo>
                    <a:pt x="1723603" y="1410897"/>
                  </a:lnTo>
                  <a:lnTo>
                    <a:pt x="1750203" y="1351811"/>
                  </a:lnTo>
                  <a:lnTo>
                    <a:pt x="1790224" y="1289958"/>
                  </a:lnTo>
                  <a:lnTo>
                    <a:pt x="1840217" y="1233313"/>
                  </a:lnTo>
                  <a:lnTo>
                    <a:pt x="1883443" y="1243289"/>
                  </a:lnTo>
                  <a:cubicBezTo>
                    <a:pt x="1898362" y="1261935"/>
                    <a:pt x="1909955" y="1323807"/>
                    <a:pt x="1924874" y="1342453"/>
                  </a:cubicBezTo>
                  <a:lnTo>
                    <a:pt x="1950180" y="1305701"/>
                  </a:lnTo>
                  <a:close/>
                </a:path>
              </a:pathLst>
            </a:custGeom>
            <a:solidFill>
              <a:srgbClr val="FFFFF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sm" len="sm"/>
            </a:ln>
          </p:spPr>
          <p:txBody>
            <a:bodyPr lIns="36000" tIns="36000" rIns="36000" bIns="36000"/>
            <a:lstStyle/>
            <a:p>
              <a:pPr defTabSz="891045"/>
              <a:endParaRPr lang="en-US" sz="1700" dirty="0">
                <a:solidFill>
                  <a:srgbClr val="003149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389" name="Freeform 1733"/>
            <p:cNvSpPr>
              <a:spLocks/>
            </p:cNvSpPr>
            <p:nvPr/>
          </p:nvSpPr>
          <p:spPr bwMode="gray">
            <a:xfrm>
              <a:off x="15891797" y="1791810"/>
              <a:ext cx="295933" cy="232756"/>
            </a:xfrm>
            <a:custGeom>
              <a:avLst/>
              <a:gdLst>
                <a:gd name="T0" fmla="*/ 295933 w 295933"/>
                <a:gd name="T1" fmla="*/ 0 h 232756"/>
                <a:gd name="T2" fmla="*/ 266007 w 295933"/>
                <a:gd name="T3" fmla="*/ 66502 h 232756"/>
                <a:gd name="T4" fmla="*/ 236081 w 295933"/>
                <a:gd name="T5" fmla="*/ 86452 h 232756"/>
                <a:gd name="T6" fmla="*/ 199505 w 295933"/>
                <a:gd name="T7" fmla="*/ 123028 h 232756"/>
                <a:gd name="T8" fmla="*/ 159604 w 295933"/>
                <a:gd name="T9" fmla="*/ 156279 h 232756"/>
                <a:gd name="T10" fmla="*/ 129679 w 295933"/>
                <a:gd name="T11" fmla="*/ 179555 h 232756"/>
                <a:gd name="T12" fmla="*/ 93103 w 295933"/>
                <a:gd name="T13" fmla="*/ 209480 h 232756"/>
                <a:gd name="T14" fmla="*/ 53201 w 295933"/>
                <a:gd name="T15" fmla="*/ 229431 h 232756"/>
                <a:gd name="T16" fmla="*/ 13300 w 295933"/>
                <a:gd name="T17" fmla="*/ 232756 h 232756"/>
                <a:gd name="T18" fmla="*/ 0 w 295933"/>
                <a:gd name="T19" fmla="*/ 202830 h 232756"/>
                <a:gd name="T20" fmla="*/ 13300 w 295933"/>
                <a:gd name="T21" fmla="*/ 166254 h 232756"/>
                <a:gd name="T22" fmla="*/ 46551 w 295933"/>
                <a:gd name="T23" fmla="*/ 136328 h 232756"/>
                <a:gd name="T24" fmla="*/ 99753 w 295933"/>
                <a:gd name="T25" fmla="*/ 103078 h 232756"/>
                <a:gd name="T26" fmla="*/ 156279 w 295933"/>
                <a:gd name="T27" fmla="*/ 59851 h 232756"/>
                <a:gd name="T28" fmla="*/ 222781 w 295933"/>
                <a:gd name="T29" fmla="*/ 13300 h 232756"/>
                <a:gd name="T30" fmla="*/ 295933 w 295933"/>
                <a:gd name="T31" fmla="*/ 0 h 23275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295933"/>
                <a:gd name="T49" fmla="*/ 0 h 232756"/>
                <a:gd name="T50" fmla="*/ 295933 w 295933"/>
                <a:gd name="T51" fmla="*/ 232756 h 23275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295933" h="232756">
                  <a:moveTo>
                    <a:pt x="295933" y="0"/>
                  </a:moveTo>
                  <a:lnTo>
                    <a:pt x="266007" y="66502"/>
                  </a:lnTo>
                  <a:lnTo>
                    <a:pt x="236081" y="86452"/>
                  </a:lnTo>
                  <a:lnTo>
                    <a:pt x="199505" y="123028"/>
                  </a:lnTo>
                  <a:lnTo>
                    <a:pt x="159604" y="156279"/>
                  </a:lnTo>
                  <a:lnTo>
                    <a:pt x="129679" y="179555"/>
                  </a:lnTo>
                  <a:lnTo>
                    <a:pt x="93103" y="209480"/>
                  </a:lnTo>
                  <a:lnTo>
                    <a:pt x="53201" y="229431"/>
                  </a:lnTo>
                  <a:lnTo>
                    <a:pt x="13300" y="232756"/>
                  </a:lnTo>
                  <a:lnTo>
                    <a:pt x="0" y="202830"/>
                  </a:lnTo>
                  <a:lnTo>
                    <a:pt x="13300" y="166254"/>
                  </a:lnTo>
                  <a:lnTo>
                    <a:pt x="46551" y="136328"/>
                  </a:lnTo>
                  <a:lnTo>
                    <a:pt x="99753" y="103078"/>
                  </a:lnTo>
                  <a:lnTo>
                    <a:pt x="156279" y="59851"/>
                  </a:lnTo>
                  <a:lnTo>
                    <a:pt x="222781" y="13300"/>
                  </a:lnTo>
                  <a:lnTo>
                    <a:pt x="295933" y="0"/>
                  </a:lnTo>
                  <a:close/>
                </a:path>
              </a:pathLst>
            </a:custGeom>
            <a:solidFill>
              <a:srgbClr val="70B0D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sm" len="sm"/>
            </a:ln>
          </p:spPr>
          <p:txBody>
            <a:bodyPr lIns="36000" tIns="36000" rIns="36000" bIns="36000"/>
            <a:lstStyle/>
            <a:p>
              <a:pPr defTabSz="891045"/>
              <a:endParaRPr lang="en-US" sz="1700" dirty="0">
                <a:solidFill>
                  <a:srgbClr val="003149"/>
                </a:solidFill>
                <a:cs typeface="Arial" panose="020B0604020202020204" pitchFamily="34" charset="0"/>
              </a:endParaRPr>
            </a:p>
          </p:txBody>
        </p:sp>
      </p:grpSp>
      <p:sp>
        <p:nvSpPr>
          <p:cNvPr id="390" name="Line 599"/>
          <p:cNvSpPr>
            <a:spLocks noChangeShapeType="1"/>
          </p:cNvSpPr>
          <p:nvPr/>
        </p:nvSpPr>
        <p:spPr bwMode="gray">
          <a:xfrm flipH="1">
            <a:off x="6667569" y="3162188"/>
            <a:ext cx="594584" cy="0"/>
          </a:xfrm>
          <a:prstGeom prst="line">
            <a:avLst/>
          </a:prstGeom>
          <a:noFill/>
          <a:ln w="9525">
            <a:noFill/>
            <a:round/>
            <a:headEnd/>
            <a:tailEnd/>
          </a:ln>
        </p:spPr>
        <p:txBody>
          <a:bodyPr lIns="82878" tIns="41438" rIns="82878" bIns="41438"/>
          <a:lstStyle/>
          <a:p>
            <a:pPr defTabSz="891045"/>
            <a:endParaRPr lang="en-US" sz="1700" dirty="0">
              <a:solidFill>
                <a:srgbClr val="003149"/>
              </a:solidFill>
              <a:cs typeface="Arial" panose="020B0604020202020204" pitchFamily="34" charset="0"/>
            </a:endParaRPr>
          </a:p>
        </p:txBody>
      </p:sp>
      <p:sp>
        <p:nvSpPr>
          <p:cNvPr id="391" name="Oval 641"/>
          <p:cNvSpPr>
            <a:spLocks noChangeArrowheads="1"/>
          </p:cNvSpPr>
          <p:nvPr/>
        </p:nvSpPr>
        <p:spPr bwMode="gray">
          <a:xfrm>
            <a:off x="5136467" y="2977915"/>
            <a:ext cx="195674" cy="198721"/>
          </a:xfrm>
          <a:prstGeom prst="ellipse">
            <a:avLst/>
          </a:prstGeom>
          <a:solidFill>
            <a:schemeClr val="accent1">
              <a:lumMod val="50000"/>
            </a:schemeClr>
          </a:solidFill>
          <a:ln w="12700">
            <a:solidFill>
              <a:schemeClr val="bg2"/>
            </a:solidFill>
            <a:round/>
            <a:headEnd/>
            <a:tailEnd/>
          </a:ln>
        </p:spPr>
        <p:txBody>
          <a:bodyPr lIns="0" tIns="0" rIns="0" bIns="0" anchor="ctr"/>
          <a:lstStyle/>
          <a:p>
            <a:pPr algn="ctr" defTabSz="891045"/>
            <a:endParaRPr lang="en-US" sz="600" b="1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392" name="Text Box 656"/>
          <p:cNvSpPr txBox="1">
            <a:spLocks noChangeArrowheads="1"/>
          </p:cNvSpPr>
          <p:nvPr/>
        </p:nvSpPr>
        <p:spPr bwMode="gray">
          <a:xfrm>
            <a:off x="3361351" y="3232394"/>
            <a:ext cx="1490794" cy="15388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ctr" defTabSz="891045">
              <a:spcBef>
                <a:spcPct val="50000"/>
              </a:spcBef>
            </a:pPr>
            <a:r>
              <a:rPr lang="ru-RU" sz="1000" b="1" dirty="0">
                <a:solidFill>
                  <a:srgbClr val="003149"/>
                </a:solidFill>
                <a:cs typeface="Arial" panose="020B0604020202020204" pitchFamily="34" charset="0"/>
              </a:rPr>
              <a:t>Российская Федерация</a:t>
            </a:r>
            <a:endParaRPr lang="en-US" sz="1000" b="1" dirty="0">
              <a:solidFill>
                <a:srgbClr val="003149"/>
              </a:solidFill>
              <a:cs typeface="Arial" panose="020B0604020202020204" pitchFamily="34" charset="0"/>
            </a:endParaRPr>
          </a:p>
        </p:txBody>
      </p:sp>
      <p:sp>
        <p:nvSpPr>
          <p:cNvPr id="393" name="AutoShape 430"/>
          <p:cNvSpPr>
            <a:spLocks noChangeArrowheads="1"/>
          </p:cNvSpPr>
          <p:nvPr/>
        </p:nvSpPr>
        <p:spPr bwMode="gray">
          <a:xfrm>
            <a:off x="2691534" y="2826772"/>
            <a:ext cx="199871" cy="191567"/>
          </a:xfrm>
          <a:prstGeom prst="star5">
            <a:avLst/>
          </a:prstGeom>
          <a:solidFill>
            <a:srgbClr val="002766"/>
          </a:solidFill>
          <a:ln w="12700" algn="ctr">
            <a:solidFill>
              <a:schemeClr val="bg2"/>
            </a:solidFill>
            <a:miter lim="800000"/>
            <a:headEnd/>
            <a:tailEnd/>
          </a:ln>
          <a:effectLst/>
        </p:spPr>
        <p:txBody>
          <a:bodyPr lIns="0" tIns="0" rIns="0" bIns="0"/>
          <a:lstStyle/>
          <a:p>
            <a:pPr defTabSz="891045">
              <a:defRPr/>
            </a:pPr>
            <a:endParaRPr lang="en-US" sz="1700" dirty="0">
              <a:solidFill>
                <a:srgbClr val="003149"/>
              </a:solidFill>
              <a:cs typeface="Arial" panose="020B0604020202020204" pitchFamily="34" charset="0"/>
            </a:endParaRPr>
          </a:p>
        </p:txBody>
      </p:sp>
      <p:sp>
        <p:nvSpPr>
          <p:cNvPr id="394" name="Text Box 651"/>
          <p:cNvSpPr txBox="1">
            <a:spLocks noChangeAspect="1" noChangeArrowheads="1"/>
          </p:cNvSpPr>
          <p:nvPr/>
        </p:nvSpPr>
        <p:spPr bwMode="gray">
          <a:xfrm>
            <a:off x="5677079" y="3307523"/>
            <a:ext cx="364545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defTabSz="891045">
              <a:spcBef>
                <a:spcPct val="50000"/>
              </a:spcBef>
              <a:defRPr/>
            </a:pPr>
            <a:r>
              <a:rPr lang="ru-RU" sz="800" i="1" dirty="0">
                <a:solidFill>
                  <a:srgbClr val="003149"/>
                </a:solidFill>
                <a:cs typeface="Arial" panose="020B0604020202020204" pitchFamily="34" charset="0"/>
              </a:rPr>
              <a:t>Якутск</a:t>
            </a:r>
            <a:endParaRPr lang="en-US" sz="800" i="1" dirty="0">
              <a:solidFill>
                <a:srgbClr val="003149"/>
              </a:solidFill>
              <a:cs typeface="Arial" panose="020B0604020202020204" pitchFamily="34" charset="0"/>
            </a:endParaRPr>
          </a:p>
        </p:txBody>
      </p:sp>
      <p:sp>
        <p:nvSpPr>
          <p:cNvPr id="395" name="Text Box 651"/>
          <p:cNvSpPr txBox="1">
            <a:spLocks noChangeAspect="1" noChangeArrowheads="1"/>
          </p:cNvSpPr>
          <p:nvPr/>
        </p:nvSpPr>
        <p:spPr bwMode="gray">
          <a:xfrm>
            <a:off x="2759388" y="3001855"/>
            <a:ext cx="423626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defTabSz="891045">
              <a:spcBef>
                <a:spcPct val="50000"/>
              </a:spcBef>
            </a:pPr>
            <a:r>
              <a:rPr lang="ru-RU" sz="800" i="1" dirty="0">
                <a:solidFill>
                  <a:srgbClr val="003149"/>
                </a:solidFill>
                <a:cs typeface="Arial" panose="020B0604020202020204" pitchFamily="34" charset="0"/>
              </a:rPr>
              <a:t>Москва</a:t>
            </a:r>
            <a:endParaRPr lang="en-US" sz="800" i="1" dirty="0">
              <a:solidFill>
                <a:srgbClr val="003149"/>
              </a:solidFill>
              <a:cs typeface="Arial" panose="020B0604020202020204" pitchFamily="34" charset="0"/>
            </a:endParaRPr>
          </a:p>
        </p:txBody>
      </p:sp>
      <p:sp>
        <p:nvSpPr>
          <p:cNvPr id="396" name="Line 608"/>
          <p:cNvSpPr>
            <a:spLocks noChangeAspect="1" noChangeShapeType="1"/>
          </p:cNvSpPr>
          <p:nvPr/>
        </p:nvSpPr>
        <p:spPr bwMode="gray">
          <a:xfrm flipH="1">
            <a:off x="755667" y="3815049"/>
            <a:ext cx="536760" cy="0"/>
          </a:xfrm>
          <a:prstGeom prst="line">
            <a:avLst/>
          </a:prstGeom>
          <a:noFill/>
          <a:ln w="9525">
            <a:noFill/>
            <a:round/>
            <a:headEnd/>
            <a:tailEnd/>
          </a:ln>
        </p:spPr>
        <p:txBody>
          <a:bodyPr lIns="82878" tIns="41438" rIns="82878" bIns="41438"/>
          <a:lstStyle/>
          <a:p>
            <a:pPr defTabSz="891045"/>
            <a:endParaRPr lang="en-US" sz="1700" dirty="0">
              <a:solidFill>
                <a:srgbClr val="003149"/>
              </a:solidFill>
              <a:cs typeface="Arial" panose="020B0604020202020204" pitchFamily="34" charset="0"/>
            </a:endParaRPr>
          </a:p>
        </p:txBody>
      </p:sp>
      <p:sp>
        <p:nvSpPr>
          <p:cNvPr id="397" name="Rectangle 90"/>
          <p:cNvSpPr>
            <a:spLocks noChangeArrowheads="1"/>
          </p:cNvSpPr>
          <p:nvPr/>
        </p:nvSpPr>
        <p:spPr bwMode="gray">
          <a:xfrm>
            <a:off x="755667" y="1512466"/>
            <a:ext cx="1562498" cy="1776117"/>
          </a:xfrm>
          <a:prstGeom prst="rect">
            <a:avLst/>
          </a:prstGeom>
          <a:solidFill>
            <a:schemeClr val="bg1"/>
          </a:solidFill>
          <a:ln w="12700" algn="ctr">
            <a:solidFill>
              <a:srgbClr val="619BDE"/>
            </a:solidFill>
            <a:miter lim="800000"/>
            <a:headEnd/>
            <a:tailEnd/>
          </a:ln>
        </p:spPr>
        <p:txBody>
          <a:bodyPr lIns="82878" tIns="41438" rIns="82878" bIns="41438"/>
          <a:lstStyle/>
          <a:p>
            <a:pPr marL="161158" indent="-161158" defTabSz="891045"/>
            <a:endParaRPr lang="en-GB" sz="700" dirty="0">
              <a:solidFill>
                <a:srgbClr val="003149"/>
              </a:solidFill>
              <a:ea typeface="LF_Kai"/>
              <a:cs typeface="Arial" panose="020B0604020202020204" pitchFamily="34" charset="0"/>
            </a:endParaRPr>
          </a:p>
        </p:txBody>
      </p:sp>
      <p:sp>
        <p:nvSpPr>
          <p:cNvPr id="398" name="Freeform 201"/>
          <p:cNvSpPr>
            <a:spLocks noChangeAspect="1"/>
          </p:cNvSpPr>
          <p:nvPr>
            <p:custDataLst>
              <p:tags r:id="rId229"/>
            </p:custDataLst>
          </p:nvPr>
        </p:nvSpPr>
        <p:spPr bwMode="gray">
          <a:xfrm>
            <a:off x="1416884" y="2713883"/>
            <a:ext cx="84223" cy="90075"/>
          </a:xfrm>
          <a:custGeom>
            <a:avLst/>
            <a:gdLst>
              <a:gd name="T0" fmla="*/ 2147483647 w 53"/>
              <a:gd name="T1" fmla="*/ 2147483647 h 51"/>
              <a:gd name="T2" fmla="*/ 2147483647 w 53"/>
              <a:gd name="T3" fmla="*/ 2147483647 h 51"/>
              <a:gd name="T4" fmla="*/ 2147483647 w 53"/>
              <a:gd name="T5" fmla="*/ 2147483647 h 51"/>
              <a:gd name="T6" fmla="*/ 2147483647 w 53"/>
              <a:gd name="T7" fmla="*/ 2147483647 h 51"/>
              <a:gd name="T8" fmla="*/ 2147483647 w 53"/>
              <a:gd name="T9" fmla="*/ 2147483647 h 51"/>
              <a:gd name="T10" fmla="*/ 2147483647 w 53"/>
              <a:gd name="T11" fmla="*/ 2147483647 h 51"/>
              <a:gd name="T12" fmla="*/ 2147483647 w 53"/>
              <a:gd name="T13" fmla="*/ 2147483647 h 51"/>
              <a:gd name="T14" fmla="*/ 2147483647 w 53"/>
              <a:gd name="T15" fmla="*/ 2147483647 h 51"/>
              <a:gd name="T16" fmla="*/ 2147483647 w 53"/>
              <a:gd name="T17" fmla="*/ 2147483647 h 51"/>
              <a:gd name="T18" fmla="*/ 2147483647 w 53"/>
              <a:gd name="T19" fmla="*/ 2147483647 h 51"/>
              <a:gd name="T20" fmla="*/ 2147483647 w 53"/>
              <a:gd name="T21" fmla="*/ 2147483647 h 51"/>
              <a:gd name="T22" fmla="*/ 2147483647 w 53"/>
              <a:gd name="T23" fmla="*/ 2147483647 h 51"/>
              <a:gd name="T24" fmla="*/ 2147483647 w 53"/>
              <a:gd name="T25" fmla="*/ 2147483647 h 51"/>
              <a:gd name="T26" fmla="*/ 2147483647 w 53"/>
              <a:gd name="T27" fmla="*/ 2147483647 h 51"/>
              <a:gd name="T28" fmla="*/ 2147483647 w 53"/>
              <a:gd name="T29" fmla="*/ 2147483647 h 51"/>
              <a:gd name="T30" fmla="*/ 2147483647 w 53"/>
              <a:gd name="T31" fmla="*/ 2147483647 h 51"/>
              <a:gd name="T32" fmla="*/ 2147483647 w 53"/>
              <a:gd name="T33" fmla="*/ 2147483647 h 51"/>
              <a:gd name="T34" fmla="*/ 2147483647 w 53"/>
              <a:gd name="T35" fmla="*/ 2147483647 h 51"/>
              <a:gd name="T36" fmla="*/ 0 w 53"/>
              <a:gd name="T37" fmla="*/ 2147483647 h 51"/>
              <a:gd name="T38" fmla="*/ 0 w 53"/>
              <a:gd name="T39" fmla="*/ 2147483647 h 51"/>
              <a:gd name="T40" fmla="*/ 2147483647 w 53"/>
              <a:gd name="T41" fmla="*/ 2147483647 h 51"/>
              <a:gd name="T42" fmla="*/ 2147483647 w 53"/>
              <a:gd name="T43" fmla="*/ 2147483647 h 51"/>
              <a:gd name="T44" fmla="*/ 2147483647 w 53"/>
              <a:gd name="T45" fmla="*/ 2147483647 h 51"/>
              <a:gd name="T46" fmla="*/ 2147483647 w 53"/>
              <a:gd name="T47" fmla="*/ 2147483647 h 51"/>
              <a:gd name="T48" fmla="*/ 2147483647 w 53"/>
              <a:gd name="T49" fmla="*/ 2147483647 h 51"/>
              <a:gd name="T50" fmla="*/ 2147483647 w 53"/>
              <a:gd name="T51" fmla="*/ 2147483647 h 51"/>
              <a:gd name="T52" fmla="*/ 2147483647 w 53"/>
              <a:gd name="T53" fmla="*/ 0 h 51"/>
              <a:gd name="T54" fmla="*/ 2147483647 w 53"/>
              <a:gd name="T55" fmla="*/ 0 h 51"/>
              <a:gd name="T56" fmla="*/ 2147483647 w 53"/>
              <a:gd name="T57" fmla="*/ 0 h 51"/>
              <a:gd name="T58" fmla="*/ 2147483647 w 53"/>
              <a:gd name="T59" fmla="*/ 0 h 51"/>
              <a:gd name="T60" fmla="*/ 2147483647 w 53"/>
              <a:gd name="T61" fmla="*/ 2147483647 h 51"/>
              <a:gd name="T62" fmla="*/ 2147483647 w 53"/>
              <a:gd name="T63" fmla="*/ 2147483647 h 51"/>
              <a:gd name="T64" fmla="*/ 2147483647 w 53"/>
              <a:gd name="T65" fmla="*/ 2147483647 h 51"/>
              <a:gd name="T66" fmla="*/ 2147483647 w 53"/>
              <a:gd name="T67" fmla="*/ 2147483647 h 51"/>
              <a:gd name="T68" fmla="*/ 2147483647 w 53"/>
              <a:gd name="T69" fmla="*/ 2147483647 h 51"/>
              <a:gd name="T70" fmla="*/ 2147483647 w 53"/>
              <a:gd name="T71" fmla="*/ 2147483647 h 51"/>
              <a:gd name="T72" fmla="*/ 2147483647 w 53"/>
              <a:gd name="T73" fmla="*/ 2147483647 h 51"/>
              <a:gd name="T74" fmla="*/ 2147483647 w 53"/>
              <a:gd name="T75" fmla="*/ 2147483647 h 51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w 53"/>
              <a:gd name="T115" fmla="*/ 0 h 51"/>
              <a:gd name="T116" fmla="*/ 53 w 53"/>
              <a:gd name="T117" fmla="*/ 51 h 51"/>
            </a:gdLst>
            <a:ahLst/>
            <a:cxnLst>
              <a:cxn ang="T76">
                <a:pos x="T0" y="T1"/>
              </a:cxn>
              <a:cxn ang="T77">
                <a:pos x="T2" y="T3"/>
              </a:cxn>
              <a:cxn ang="T78">
                <a:pos x="T4" y="T5"/>
              </a:cxn>
              <a:cxn ang="T79">
                <a:pos x="T6" y="T7"/>
              </a:cxn>
              <a:cxn ang="T80">
                <a:pos x="T8" y="T9"/>
              </a:cxn>
              <a:cxn ang="T81">
                <a:pos x="T10" y="T11"/>
              </a:cxn>
              <a:cxn ang="T82">
                <a:pos x="T12" y="T13"/>
              </a:cxn>
              <a:cxn ang="T83">
                <a:pos x="T14" y="T15"/>
              </a:cxn>
              <a:cxn ang="T84">
                <a:pos x="T16" y="T17"/>
              </a:cxn>
              <a:cxn ang="T85">
                <a:pos x="T18" y="T19"/>
              </a:cxn>
              <a:cxn ang="T86">
                <a:pos x="T20" y="T21"/>
              </a:cxn>
              <a:cxn ang="T87">
                <a:pos x="T22" y="T23"/>
              </a:cxn>
              <a:cxn ang="T88">
                <a:pos x="T24" y="T25"/>
              </a:cxn>
              <a:cxn ang="T89">
                <a:pos x="T26" y="T27"/>
              </a:cxn>
              <a:cxn ang="T90">
                <a:pos x="T28" y="T29"/>
              </a:cxn>
              <a:cxn ang="T91">
                <a:pos x="T30" y="T31"/>
              </a:cxn>
              <a:cxn ang="T92">
                <a:pos x="T32" y="T33"/>
              </a:cxn>
              <a:cxn ang="T93">
                <a:pos x="T34" y="T35"/>
              </a:cxn>
              <a:cxn ang="T94">
                <a:pos x="T36" y="T37"/>
              </a:cxn>
              <a:cxn ang="T95">
                <a:pos x="T38" y="T39"/>
              </a:cxn>
              <a:cxn ang="T96">
                <a:pos x="T40" y="T41"/>
              </a:cxn>
              <a:cxn ang="T97">
                <a:pos x="T42" y="T43"/>
              </a:cxn>
              <a:cxn ang="T98">
                <a:pos x="T44" y="T45"/>
              </a:cxn>
              <a:cxn ang="T99">
                <a:pos x="T46" y="T47"/>
              </a:cxn>
              <a:cxn ang="T100">
                <a:pos x="T48" y="T49"/>
              </a:cxn>
              <a:cxn ang="T101">
                <a:pos x="T50" y="T51"/>
              </a:cxn>
              <a:cxn ang="T102">
                <a:pos x="T52" y="T53"/>
              </a:cxn>
              <a:cxn ang="T103">
                <a:pos x="T54" y="T55"/>
              </a:cxn>
              <a:cxn ang="T104">
                <a:pos x="T56" y="T57"/>
              </a:cxn>
              <a:cxn ang="T105">
                <a:pos x="T58" y="T59"/>
              </a:cxn>
              <a:cxn ang="T106">
                <a:pos x="T60" y="T61"/>
              </a:cxn>
              <a:cxn ang="T107">
                <a:pos x="T62" y="T63"/>
              </a:cxn>
              <a:cxn ang="T108">
                <a:pos x="T64" y="T65"/>
              </a:cxn>
              <a:cxn ang="T109">
                <a:pos x="T66" y="T67"/>
              </a:cxn>
              <a:cxn ang="T110">
                <a:pos x="T68" y="T69"/>
              </a:cxn>
              <a:cxn ang="T111">
                <a:pos x="T70" y="T71"/>
              </a:cxn>
              <a:cxn ang="T112">
                <a:pos x="T72" y="T73"/>
              </a:cxn>
              <a:cxn ang="T113">
                <a:pos x="T74" y="T75"/>
              </a:cxn>
            </a:cxnLst>
            <a:rect l="T114" t="T115" r="T116" b="T117"/>
            <a:pathLst>
              <a:path w="53" h="51">
                <a:moveTo>
                  <a:pt x="53" y="25"/>
                </a:moveTo>
                <a:lnTo>
                  <a:pt x="53" y="25"/>
                </a:lnTo>
                <a:lnTo>
                  <a:pt x="52" y="31"/>
                </a:lnTo>
                <a:lnTo>
                  <a:pt x="50" y="36"/>
                </a:lnTo>
                <a:lnTo>
                  <a:pt x="49" y="40"/>
                </a:lnTo>
                <a:lnTo>
                  <a:pt x="45" y="43"/>
                </a:lnTo>
                <a:lnTo>
                  <a:pt x="41" y="47"/>
                </a:lnTo>
                <a:lnTo>
                  <a:pt x="36" y="50"/>
                </a:lnTo>
                <a:lnTo>
                  <a:pt x="31" y="51"/>
                </a:lnTo>
                <a:lnTo>
                  <a:pt x="27" y="51"/>
                </a:lnTo>
                <a:lnTo>
                  <a:pt x="22" y="51"/>
                </a:lnTo>
                <a:lnTo>
                  <a:pt x="17" y="50"/>
                </a:lnTo>
                <a:lnTo>
                  <a:pt x="13" y="47"/>
                </a:lnTo>
                <a:lnTo>
                  <a:pt x="8" y="43"/>
                </a:lnTo>
                <a:lnTo>
                  <a:pt x="5" y="40"/>
                </a:lnTo>
                <a:lnTo>
                  <a:pt x="3" y="36"/>
                </a:lnTo>
                <a:lnTo>
                  <a:pt x="2" y="31"/>
                </a:lnTo>
                <a:lnTo>
                  <a:pt x="0" y="25"/>
                </a:lnTo>
                <a:lnTo>
                  <a:pt x="2" y="20"/>
                </a:lnTo>
                <a:lnTo>
                  <a:pt x="3" y="15"/>
                </a:lnTo>
                <a:lnTo>
                  <a:pt x="5" y="11"/>
                </a:lnTo>
                <a:lnTo>
                  <a:pt x="8" y="6"/>
                </a:lnTo>
                <a:lnTo>
                  <a:pt x="13" y="3"/>
                </a:lnTo>
                <a:lnTo>
                  <a:pt x="17" y="1"/>
                </a:lnTo>
                <a:lnTo>
                  <a:pt x="22" y="0"/>
                </a:lnTo>
                <a:lnTo>
                  <a:pt x="27" y="0"/>
                </a:lnTo>
                <a:lnTo>
                  <a:pt x="31" y="0"/>
                </a:lnTo>
                <a:lnTo>
                  <a:pt x="36" y="1"/>
                </a:lnTo>
                <a:lnTo>
                  <a:pt x="41" y="3"/>
                </a:lnTo>
                <a:lnTo>
                  <a:pt x="45" y="6"/>
                </a:lnTo>
                <a:lnTo>
                  <a:pt x="49" y="11"/>
                </a:lnTo>
                <a:lnTo>
                  <a:pt x="50" y="15"/>
                </a:lnTo>
                <a:lnTo>
                  <a:pt x="52" y="20"/>
                </a:lnTo>
                <a:lnTo>
                  <a:pt x="53" y="25"/>
                </a:lnTo>
                <a:close/>
              </a:path>
            </a:pathLst>
          </a:custGeom>
          <a:solidFill>
            <a:schemeClr val="accent3"/>
          </a:solidFill>
          <a:ln w="9525">
            <a:solidFill>
              <a:schemeClr val="bg1"/>
            </a:solidFill>
            <a:round/>
            <a:headEnd/>
            <a:tailEnd/>
          </a:ln>
        </p:spPr>
        <p:txBody>
          <a:bodyPr lIns="82878" tIns="41438" rIns="82878" bIns="41438"/>
          <a:lstStyle/>
          <a:p>
            <a:pPr defTabSz="891045"/>
            <a:endParaRPr lang="en-US" sz="1700" dirty="0">
              <a:solidFill>
                <a:srgbClr val="003149"/>
              </a:solidFill>
              <a:cs typeface="Arial" panose="020B0604020202020204" pitchFamily="34" charset="0"/>
            </a:endParaRPr>
          </a:p>
        </p:txBody>
      </p:sp>
      <p:grpSp>
        <p:nvGrpSpPr>
          <p:cNvPr id="399" name="Group 203"/>
          <p:cNvGrpSpPr>
            <a:grpSpLocks/>
          </p:cNvGrpSpPr>
          <p:nvPr/>
        </p:nvGrpSpPr>
        <p:grpSpPr bwMode="gray">
          <a:xfrm>
            <a:off x="891430" y="1752237"/>
            <a:ext cx="225012" cy="191567"/>
            <a:chOff x="4047" y="2536"/>
            <a:chExt cx="153" cy="124"/>
          </a:xfrm>
          <a:solidFill>
            <a:schemeClr val="accent3"/>
          </a:solidFill>
        </p:grpSpPr>
        <p:sp>
          <p:nvSpPr>
            <p:cNvPr id="400" name="Freeform 204"/>
            <p:cNvSpPr>
              <a:spLocks/>
            </p:cNvSpPr>
            <p:nvPr/>
          </p:nvSpPr>
          <p:spPr bwMode="gray">
            <a:xfrm>
              <a:off x="4047" y="2536"/>
              <a:ext cx="153" cy="124"/>
            </a:xfrm>
            <a:custGeom>
              <a:avLst/>
              <a:gdLst>
                <a:gd name="T0" fmla="*/ 0 w 1516"/>
                <a:gd name="T1" fmla="*/ 0 h 1233"/>
                <a:gd name="T2" fmla="*/ 0 w 1516"/>
                <a:gd name="T3" fmla="*/ 0 h 1233"/>
                <a:gd name="T4" fmla="*/ 0 w 1516"/>
                <a:gd name="T5" fmla="*/ 0 h 1233"/>
                <a:gd name="T6" fmla="*/ 0 w 1516"/>
                <a:gd name="T7" fmla="*/ 0 h 1233"/>
                <a:gd name="T8" fmla="*/ 0 w 1516"/>
                <a:gd name="T9" fmla="*/ 0 h 1233"/>
                <a:gd name="T10" fmla="*/ 0 w 1516"/>
                <a:gd name="T11" fmla="*/ 0 h 1233"/>
                <a:gd name="T12" fmla="*/ 0 w 1516"/>
                <a:gd name="T13" fmla="*/ 0 h 1233"/>
                <a:gd name="T14" fmla="*/ 0 w 1516"/>
                <a:gd name="T15" fmla="*/ 0 h 1233"/>
                <a:gd name="T16" fmla="*/ 0 w 1516"/>
                <a:gd name="T17" fmla="*/ 0 h 1233"/>
                <a:gd name="T18" fmla="*/ 0 w 1516"/>
                <a:gd name="T19" fmla="*/ 0 h 1233"/>
                <a:gd name="T20" fmla="*/ 0 w 1516"/>
                <a:gd name="T21" fmla="*/ 0 h 1233"/>
                <a:gd name="T22" fmla="*/ 0 w 1516"/>
                <a:gd name="T23" fmla="*/ 0 h 1233"/>
                <a:gd name="T24" fmla="*/ 0 w 1516"/>
                <a:gd name="T25" fmla="*/ 0 h 1233"/>
                <a:gd name="T26" fmla="*/ 0 w 1516"/>
                <a:gd name="T27" fmla="*/ 0 h 1233"/>
                <a:gd name="T28" fmla="*/ 0 w 1516"/>
                <a:gd name="T29" fmla="*/ 0 h 1233"/>
                <a:gd name="T30" fmla="*/ 0 w 1516"/>
                <a:gd name="T31" fmla="*/ 0 h 1233"/>
                <a:gd name="T32" fmla="*/ 0 w 1516"/>
                <a:gd name="T33" fmla="*/ 0 h 1233"/>
                <a:gd name="T34" fmla="*/ 0 w 1516"/>
                <a:gd name="T35" fmla="*/ 0 h 1233"/>
                <a:gd name="T36" fmla="*/ 0 w 1516"/>
                <a:gd name="T37" fmla="*/ 0 h 1233"/>
                <a:gd name="T38" fmla="*/ 0 w 1516"/>
                <a:gd name="T39" fmla="*/ 0 h 1233"/>
                <a:gd name="T40" fmla="*/ 0 w 1516"/>
                <a:gd name="T41" fmla="*/ 0 h 1233"/>
                <a:gd name="T42" fmla="*/ 0 w 1516"/>
                <a:gd name="T43" fmla="*/ 0 h 1233"/>
                <a:gd name="T44" fmla="*/ 0 w 1516"/>
                <a:gd name="T45" fmla="*/ 0 h 1233"/>
                <a:gd name="T46" fmla="*/ 0 w 1516"/>
                <a:gd name="T47" fmla="*/ 0 h 1233"/>
                <a:gd name="T48" fmla="*/ 0 w 1516"/>
                <a:gd name="T49" fmla="*/ 0 h 1233"/>
                <a:gd name="T50" fmla="*/ 0 w 1516"/>
                <a:gd name="T51" fmla="*/ 0 h 1233"/>
                <a:gd name="T52" fmla="*/ 0 w 1516"/>
                <a:gd name="T53" fmla="*/ 0 h 1233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w 1516"/>
                <a:gd name="T82" fmla="*/ 0 h 1233"/>
                <a:gd name="T83" fmla="*/ 1516 w 1516"/>
                <a:gd name="T84" fmla="*/ 1233 h 1233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T81" t="T82" r="T83" b="T84"/>
              <a:pathLst>
                <a:path w="1516" h="1233">
                  <a:moveTo>
                    <a:pt x="1478" y="475"/>
                  </a:moveTo>
                  <a:cubicBezTo>
                    <a:pt x="1440" y="437"/>
                    <a:pt x="1440" y="372"/>
                    <a:pt x="1440" y="334"/>
                  </a:cubicBezTo>
                  <a:cubicBezTo>
                    <a:pt x="1440" y="308"/>
                    <a:pt x="1440" y="270"/>
                    <a:pt x="1427" y="205"/>
                  </a:cubicBezTo>
                  <a:cubicBezTo>
                    <a:pt x="1415" y="141"/>
                    <a:pt x="1376" y="115"/>
                    <a:pt x="1376" y="115"/>
                  </a:cubicBezTo>
                  <a:cubicBezTo>
                    <a:pt x="1376" y="115"/>
                    <a:pt x="1300" y="103"/>
                    <a:pt x="1249" y="115"/>
                  </a:cubicBezTo>
                  <a:cubicBezTo>
                    <a:pt x="1211" y="128"/>
                    <a:pt x="1147" y="128"/>
                    <a:pt x="1070" y="103"/>
                  </a:cubicBezTo>
                  <a:cubicBezTo>
                    <a:pt x="994" y="77"/>
                    <a:pt x="981" y="0"/>
                    <a:pt x="981" y="0"/>
                  </a:cubicBezTo>
                  <a:cubicBezTo>
                    <a:pt x="981" y="0"/>
                    <a:pt x="930" y="13"/>
                    <a:pt x="905" y="51"/>
                  </a:cubicBezTo>
                  <a:cubicBezTo>
                    <a:pt x="866" y="103"/>
                    <a:pt x="828" y="193"/>
                    <a:pt x="803" y="270"/>
                  </a:cubicBezTo>
                  <a:cubicBezTo>
                    <a:pt x="765" y="334"/>
                    <a:pt x="637" y="372"/>
                    <a:pt x="599" y="398"/>
                  </a:cubicBezTo>
                  <a:cubicBezTo>
                    <a:pt x="561" y="424"/>
                    <a:pt x="497" y="514"/>
                    <a:pt x="484" y="565"/>
                  </a:cubicBezTo>
                  <a:cubicBezTo>
                    <a:pt x="471" y="616"/>
                    <a:pt x="420" y="629"/>
                    <a:pt x="408" y="694"/>
                  </a:cubicBezTo>
                  <a:cubicBezTo>
                    <a:pt x="408" y="745"/>
                    <a:pt x="446" y="822"/>
                    <a:pt x="433" y="873"/>
                  </a:cubicBezTo>
                  <a:cubicBezTo>
                    <a:pt x="408" y="925"/>
                    <a:pt x="357" y="1015"/>
                    <a:pt x="293" y="1040"/>
                  </a:cubicBezTo>
                  <a:cubicBezTo>
                    <a:pt x="242" y="1066"/>
                    <a:pt x="191" y="1169"/>
                    <a:pt x="127" y="1169"/>
                  </a:cubicBezTo>
                  <a:cubicBezTo>
                    <a:pt x="64" y="1182"/>
                    <a:pt x="0" y="1233"/>
                    <a:pt x="0" y="1233"/>
                  </a:cubicBezTo>
                  <a:cubicBezTo>
                    <a:pt x="561" y="1220"/>
                    <a:pt x="561" y="1220"/>
                    <a:pt x="561" y="1220"/>
                  </a:cubicBezTo>
                  <a:cubicBezTo>
                    <a:pt x="561" y="1079"/>
                    <a:pt x="561" y="1079"/>
                    <a:pt x="561" y="1079"/>
                  </a:cubicBezTo>
                  <a:cubicBezTo>
                    <a:pt x="561" y="1079"/>
                    <a:pt x="663" y="989"/>
                    <a:pt x="726" y="963"/>
                  </a:cubicBezTo>
                  <a:cubicBezTo>
                    <a:pt x="790" y="938"/>
                    <a:pt x="828" y="976"/>
                    <a:pt x="879" y="938"/>
                  </a:cubicBezTo>
                  <a:cubicBezTo>
                    <a:pt x="943" y="912"/>
                    <a:pt x="1019" y="899"/>
                    <a:pt x="1019" y="848"/>
                  </a:cubicBezTo>
                  <a:cubicBezTo>
                    <a:pt x="1032" y="783"/>
                    <a:pt x="1070" y="783"/>
                    <a:pt x="1147" y="771"/>
                  </a:cubicBezTo>
                  <a:cubicBezTo>
                    <a:pt x="1211" y="758"/>
                    <a:pt x="1185" y="732"/>
                    <a:pt x="1185" y="694"/>
                  </a:cubicBezTo>
                  <a:cubicBezTo>
                    <a:pt x="1185" y="655"/>
                    <a:pt x="1236" y="642"/>
                    <a:pt x="1262" y="629"/>
                  </a:cubicBezTo>
                  <a:cubicBezTo>
                    <a:pt x="1287" y="604"/>
                    <a:pt x="1274" y="604"/>
                    <a:pt x="1313" y="591"/>
                  </a:cubicBezTo>
                  <a:cubicBezTo>
                    <a:pt x="1351" y="565"/>
                    <a:pt x="1465" y="565"/>
                    <a:pt x="1491" y="578"/>
                  </a:cubicBezTo>
                  <a:cubicBezTo>
                    <a:pt x="1516" y="578"/>
                    <a:pt x="1516" y="514"/>
                    <a:pt x="1478" y="475"/>
                  </a:cubicBezTo>
                </a:path>
              </a:pathLst>
            </a:custGeom>
            <a:grpFill/>
            <a:ln w="9525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891045"/>
              <a:endParaRPr lang="en-US" sz="1700" dirty="0">
                <a:solidFill>
                  <a:srgbClr val="003149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401" name="Freeform 205"/>
            <p:cNvSpPr>
              <a:spLocks/>
            </p:cNvSpPr>
            <p:nvPr/>
          </p:nvSpPr>
          <p:spPr bwMode="gray">
            <a:xfrm>
              <a:off x="4047" y="2536"/>
              <a:ext cx="153" cy="124"/>
            </a:xfrm>
            <a:custGeom>
              <a:avLst/>
              <a:gdLst>
                <a:gd name="T0" fmla="*/ 149 w 153"/>
                <a:gd name="T1" fmla="*/ 48 h 124"/>
                <a:gd name="T2" fmla="*/ 145 w 153"/>
                <a:gd name="T3" fmla="*/ 33 h 124"/>
                <a:gd name="T4" fmla="*/ 144 w 153"/>
                <a:gd name="T5" fmla="*/ 20 h 124"/>
                <a:gd name="T6" fmla="*/ 139 w 153"/>
                <a:gd name="T7" fmla="*/ 11 h 124"/>
                <a:gd name="T8" fmla="*/ 126 w 153"/>
                <a:gd name="T9" fmla="*/ 11 h 124"/>
                <a:gd name="T10" fmla="*/ 108 w 153"/>
                <a:gd name="T11" fmla="*/ 10 h 124"/>
                <a:gd name="T12" fmla="*/ 99 w 153"/>
                <a:gd name="T13" fmla="*/ 0 h 124"/>
                <a:gd name="T14" fmla="*/ 91 w 153"/>
                <a:gd name="T15" fmla="*/ 5 h 124"/>
                <a:gd name="T16" fmla="*/ 81 w 153"/>
                <a:gd name="T17" fmla="*/ 27 h 124"/>
                <a:gd name="T18" fmla="*/ 60 w 153"/>
                <a:gd name="T19" fmla="*/ 40 h 124"/>
                <a:gd name="T20" fmla="*/ 49 w 153"/>
                <a:gd name="T21" fmla="*/ 57 h 124"/>
                <a:gd name="T22" fmla="*/ 41 w 153"/>
                <a:gd name="T23" fmla="*/ 70 h 124"/>
                <a:gd name="T24" fmla="*/ 43 w 153"/>
                <a:gd name="T25" fmla="*/ 88 h 124"/>
                <a:gd name="T26" fmla="*/ 29 w 153"/>
                <a:gd name="T27" fmla="*/ 105 h 124"/>
                <a:gd name="T28" fmla="*/ 13 w 153"/>
                <a:gd name="T29" fmla="*/ 118 h 124"/>
                <a:gd name="T30" fmla="*/ 0 w 153"/>
                <a:gd name="T31" fmla="*/ 124 h 124"/>
                <a:gd name="T32" fmla="*/ 56 w 153"/>
                <a:gd name="T33" fmla="*/ 123 h 124"/>
                <a:gd name="T34" fmla="*/ 56 w 153"/>
                <a:gd name="T35" fmla="*/ 109 h 124"/>
                <a:gd name="T36" fmla="*/ 73 w 153"/>
                <a:gd name="T37" fmla="*/ 97 h 124"/>
                <a:gd name="T38" fmla="*/ 88 w 153"/>
                <a:gd name="T39" fmla="*/ 94 h 124"/>
                <a:gd name="T40" fmla="*/ 103 w 153"/>
                <a:gd name="T41" fmla="*/ 85 h 124"/>
                <a:gd name="T42" fmla="*/ 116 w 153"/>
                <a:gd name="T43" fmla="*/ 78 h 124"/>
                <a:gd name="T44" fmla="*/ 119 w 153"/>
                <a:gd name="T45" fmla="*/ 70 h 124"/>
                <a:gd name="T46" fmla="*/ 127 w 153"/>
                <a:gd name="T47" fmla="*/ 63 h 124"/>
                <a:gd name="T48" fmla="*/ 132 w 153"/>
                <a:gd name="T49" fmla="*/ 59 h 124"/>
                <a:gd name="T50" fmla="*/ 150 w 153"/>
                <a:gd name="T51" fmla="*/ 58 h 124"/>
                <a:gd name="T52" fmla="*/ 149 w 153"/>
                <a:gd name="T53" fmla="*/ 48 h 124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w 153"/>
                <a:gd name="T82" fmla="*/ 0 h 124"/>
                <a:gd name="T83" fmla="*/ 153 w 153"/>
                <a:gd name="T84" fmla="*/ 124 h 124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T81" t="T82" r="T83" b="T84"/>
              <a:pathLst>
                <a:path w="153" h="124">
                  <a:moveTo>
                    <a:pt x="149" y="48"/>
                  </a:moveTo>
                  <a:cubicBezTo>
                    <a:pt x="145" y="44"/>
                    <a:pt x="145" y="37"/>
                    <a:pt x="145" y="33"/>
                  </a:cubicBezTo>
                  <a:cubicBezTo>
                    <a:pt x="145" y="31"/>
                    <a:pt x="145" y="27"/>
                    <a:pt x="144" y="20"/>
                  </a:cubicBezTo>
                  <a:cubicBezTo>
                    <a:pt x="143" y="14"/>
                    <a:pt x="139" y="11"/>
                    <a:pt x="139" y="11"/>
                  </a:cubicBezTo>
                  <a:cubicBezTo>
                    <a:pt x="139" y="11"/>
                    <a:pt x="131" y="10"/>
                    <a:pt x="126" y="11"/>
                  </a:cubicBezTo>
                  <a:cubicBezTo>
                    <a:pt x="122" y="13"/>
                    <a:pt x="116" y="13"/>
                    <a:pt x="108" y="10"/>
                  </a:cubicBezTo>
                  <a:cubicBezTo>
                    <a:pt x="100" y="7"/>
                    <a:pt x="99" y="0"/>
                    <a:pt x="99" y="0"/>
                  </a:cubicBezTo>
                  <a:cubicBezTo>
                    <a:pt x="99" y="0"/>
                    <a:pt x="94" y="1"/>
                    <a:pt x="91" y="5"/>
                  </a:cubicBezTo>
                  <a:cubicBezTo>
                    <a:pt x="87" y="10"/>
                    <a:pt x="83" y="19"/>
                    <a:pt x="81" y="27"/>
                  </a:cubicBezTo>
                  <a:cubicBezTo>
                    <a:pt x="77" y="33"/>
                    <a:pt x="64" y="37"/>
                    <a:pt x="60" y="40"/>
                  </a:cubicBezTo>
                  <a:cubicBezTo>
                    <a:pt x="56" y="42"/>
                    <a:pt x="50" y="52"/>
                    <a:pt x="49" y="57"/>
                  </a:cubicBezTo>
                  <a:cubicBezTo>
                    <a:pt x="47" y="62"/>
                    <a:pt x="42" y="63"/>
                    <a:pt x="41" y="70"/>
                  </a:cubicBezTo>
                  <a:cubicBezTo>
                    <a:pt x="41" y="75"/>
                    <a:pt x="45" y="83"/>
                    <a:pt x="43" y="88"/>
                  </a:cubicBezTo>
                  <a:cubicBezTo>
                    <a:pt x="41" y="93"/>
                    <a:pt x="36" y="102"/>
                    <a:pt x="29" y="105"/>
                  </a:cubicBezTo>
                  <a:cubicBezTo>
                    <a:pt x="24" y="107"/>
                    <a:pt x="19" y="118"/>
                    <a:pt x="13" y="118"/>
                  </a:cubicBezTo>
                  <a:cubicBezTo>
                    <a:pt x="6" y="119"/>
                    <a:pt x="0" y="124"/>
                    <a:pt x="0" y="124"/>
                  </a:cubicBezTo>
                  <a:cubicBezTo>
                    <a:pt x="56" y="123"/>
                    <a:pt x="56" y="123"/>
                    <a:pt x="56" y="123"/>
                  </a:cubicBezTo>
                  <a:cubicBezTo>
                    <a:pt x="56" y="109"/>
                    <a:pt x="56" y="109"/>
                    <a:pt x="56" y="109"/>
                  </a:cubicBezTo>
                  <a:cubicBezTo>
                    <a:pt x="56" y="109"/>
                    <a:pt x="67" y="100"/>
                    <a:pt x="73" y="97"/>
                  </a:cubicBezTo>
                  <a:cubicBezTo>
                    <a:pt x="80" y="94"/>
                    <a:pt x="83" y="98"/>
                    <a:pt x="88" y="94"/>
                  </a:cubicBezTo>
                  <a:cubicBezTo>
                    <a:pt x="95" y="92"/>
                    <a:pt x="103" y="90"/>
                    <a:pt x="103" y="85"/>
                  </a:cubicBezTo>
                  <a:cubicBezTo>
                    <a:pt x="104" y="79"/>
                    <a:pt x="108" y="79"/>
                    <a:pt x="116" y="78"/>
                  </a:cubicBezTo>
                  <a:cubicBezTo>
                    <a:pt x="122" y="76"/>
                    <a:pt x="119" y="74"/>
                    <a:pt x="119" y="70"/>
                  </a:cubicBezTo>
                  <a:cubicBezTo>
                    <a:pt x="119" y="66"/>
                    <a:pt x="125" y="64"/>
                    <a:pt x="127" y="63"/>
                  </a:cubicBezTo>
                  <a:cubicBezTo>
                    <a:pt x="130" y="61"/>
                    <a:pt x="128" y="61"/>
                    <a:pt x="132" y="59"/>
                  </a:cubicBezTo>
                  <a:cubicBezTo>
                    <a:pt x="136" y="57"/>
                    <a:pt x="148" y="57"/>
                    <a:pt x="150" y="58"/>
                  </a:cubicBezTo>
                  <a:cubicBezTo>
                    <a:pt x="153" y="58"/>
                    <a:pt x="153" y="52"/>
                    <a:pt x="149" y="48"/>
                  </a:cubicBezTo>
                </a:path>
              </a:pathLst>
            </a:custGeom>
            <a:grpFill/>
            <a:ln w="9525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891045"/>
              <a:endParaRPr lang="en-US" sz="1700" dirty="0">
                <a:solidFill>
                  <a:srgbClr val="003149"/>
                </a:solidFill>
                <a:cs typeface="Arial" panose="020B0604020202020204" pitchFamily="34" charset="0"/>
              </a:endParaRPr>
            </a:p>
          </p:txBody>
        </p:sp>
      </p:grpSp>
      <p:grpSp>
        <p:nvGrpSpPr>
          <p:cNvPr id="402" name="Group 206"/>
          <p:cNvGrpSpPr>
            <a:grpSpLocks/>
          </p:cNvGrpSpPr>
          <p:nvPr/>
        </p:nvGrpSpPr>
        <p:grpSpPr bwMode="gray">
          <a:xfrm>
            <a:off x="836106" y="1950128"/>
            <a:ext cx="228783" cy="263880"/>
            <a:chOff x="3997" y="2664"/>
            <a:chExt cx="156" cy="170"/>
          </a:xfrm>
          <a:solidFill>
            <a:schemeClr val="accent3"/>
          </a:solidFill>
        </p:grpSpPr>
        <p:sp>
          <p:nvSpPr>
            <p:cNvPr id="403" name="Freeform 207"/>
            <p:cNvSpPr>
              <a:spLocks/>
            </p:cNvSpPr>
            <p:nvPr/>
          </p:nvSpPr>
          <p:spPr bwMode="gray">
            <a:xfrm>
              <a:off x="3997" y="2664"/>
              <a:ext cx="156" cy="170"/>
            </a:xfrm>
            <a:custGeom>
              <a:avLst/>
              <a:gdLst>
                <a:gd name="T0" fmla="*/ 0 w 1542"/>
                <a:gd name="T1" fmla="*/ 0 h 1675"/>
                <a:gd name="T2" fmla="*/ 0 w 1542"/>
                <a:gd name="T3" fmla="*/ 0 h 1675"/>
                <a:gd name="T4" fmla="*/ 0 w 1542"/>
                <a:gd name="T5" fmla="*/ 0 h 1675"/>
                <a:gd name="T6" fmla="*/ 0 w 1542"/>
                <a:gd name="T7" fmla="*/ 0 h 1675"/>
                <a:gd name="T8" fmla="*/ 0 w 1542"/>
                <a:gd name="T9" fmla="*/ 0 h 1675"/>
                <a:gd name="T10" fmla="*/ 0 w 1542"/>
                <a:gd name="T11" fmla="*/ 0 h 1675"/>
                <a:gd name="T12" fmla="*/ 0 w 1542"/>
                <a:gd name="T13" fmla="*/ 0 h 1675"/>
                <a:gd name="T14" fmla="*/ 0 w 1542"/>
                <a:gd name="T15" fmla="*/ 0 h 1675"/>
                <a:gd name="T16" fmla="*/ 0 w 1542"/>
                <a:gd name="T17" fmla="*/ 0 h 1675"/>
                <a:gd name="T18" fmla="*/ 0 w 1542"/>
                <a:gd name="T19" fmla="*/ 0 h 1675"/>
                <a:gd name="T20" fmla="*/ 0 w 1542"/>
                <a:gd name="T21" fmla="*/ 0 h 1675"/>
                <a:gd name="T22" fmla="*/ 0 w 1542"/>
                <a:gd name="T23" fmla="*/ 0 h 1675"/>
                <a:gd name="T24" fmla="*/ 0 w 1542"/>
                <a:gd name="T25" fmla="*/ 0 h 1675"/>
                <a:gd name="T26" fmla="*/ 0 w 1542"/>
                <a:gd name="T27" fmla="*/ 0 h 1675"/>
                <a:gd name="T28" fmla="*/ 0 w 1542"/>
                <a:gd name="T29" fmla="*/ 0 h 1675"/>
                <a:gd name="T30" fmla="*/ 0 w 1542"/>
                <a:gd name="T31" fmla="*/ 0 h 1675"/>
                <a:gd name="T32" fmla="*/ 0 w 1542"/>
                <a:gd name="T33" fmla="*/ 0 h 1675"/>
                <a:gd name="T34" fmla="*/ 0 w 1542"/>
                <a:gd name="T35" fmla="*/ 0 h 1675"/>
                <a:gd name="T36" fmla="*/ 0 w 1542"/>
                <a:gd name="T37" fmla="*/ 0 h 1675"/>
                <a:gd name="T38" fmla="*/ 0 w 1542"/>
                <a:gd name="T39" fmla="*/ 0 h 1675"/>
                <a:gd name="T40" fmla="*/ 0 w 1542"/>
                <a:gd name="T41" fmla="*/ 0 h 1675"/>
                <a:gd name="T42" fmla="*/ 0 w 1542"/>
                <a:gd name="T43" fmla="*/ 0 h 1675"/>
                <a:gd name="T44" fmla="*/ 0 w 1542"/>
                <a:gd name="T45" fmla="*/ 0 h 1675"/>
                <a:gd name="T46" fmla="*/ 0 w 1542"/>
                <a:gd name="T47" fmla="*/ 0 h 1675"/>
                <a:gd name="T48" fmla="*/ 0 w 1542"/>
                <a:gd name="T49" fmla="*/ 0 h 1675"/>
                <a:gd name="T50" fmla="*/ 0 w 1542"/>
                <a:gd name="T51" fmla="*/ 0 h 1675"/>
                <a:gd name="T52" fmla="*/ 0 w 1542"/>
                <a:gd name="T53" fmla="*/ 0 h 1675"/>
                <a:gd name="T54" fmla="*/ 0 w 1542"/>
                <a:gd name="T55" fmla="*/ 0 h 1675"/>
                <a:gd name="T56" fmla="*/ 0 w 1542"/>
                <a:gd name="T57" fmla="*/ 0 h 1675"/>
                <a:gd name="T58" fmla="*/ 0 w 1542"/>
                <a:gd name="T59" fmla="*/ 0 h 1675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w 1542"/>
                <a:gd name="T91" fmla="*/ 0 h 1675"/>
                <a:gd name="T92" fmla="*/ 1542 w 1542"/>
                <a:gd name="T93" fmla="*/ 1675 h 1675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T90" t="T91" r="T92" b="T93"/>
              <a:pathLst>
                <a:path w="1542" h="1675">
                  <a:moveTo>
                    <a:pt x="1314" y="317"/>
                  </a:moveTo>
                  <a:cubicBezTo>
                    <a:pt x="1542" y="317"/>
                    <a:pt x="1542" y="317"/>
                    <a:pt x="1542" y="317"/>
                  </a:cubicBezTo>
                  <a:cubicBezTo>
                    <a:pt x="1049" y="0"/>
                    <a:pt x="1049" y="0"/>
                    <a:pt x="1049" y="0"/>
                  </a:cubicBezTo>
                  <a:cubicBezTo>
                    <a:pt x="1049" y="0"/>
                    <a:pt x="1049" y="0"/>
                    <a:pt x="1049" y="0"/>
                  </a:cubicBezTo>
                  <a:cubicBezTo>
                    <a:pt x="1049" y="165"/>
                    <a:pt x="1049" y="165"/>
                    <a:pt x="1049" y="165"/>
                  </a:cubicBezTo>
                  <a:cubicBezTo>
                    <a:pt x="632" y="177"/>
                    <a:pt x="632" y="177"/>
                    <a:pt x="632" y="177"/>
                  </a:cubicBezTo>
                  <a:cubicBezTo>
                    <a:pt x="632" y="520"/>
                    <a:pt x="632" y="520"/>
                    <a:pt x="632" y="520"/>
                  </a:cubicBezTo>
                  <a:cubicBezTo>
                    <a:pt x="632" y="520"/>
                    <a:pt x="531" y="533"/>
                    <a:pt x="518" y="571"/>
                  </a:cubicBezTo>
                  <a:cubicBezTo>
                    <a:pt x="506" y="622"/>
                    <a:pt x="518" y="812"/>
                    <a:pt x="518" y="812"/>
                  </a:cubicBezTo>
                  <a:cubicBezTo>
                    <a:pt x="0" y="825"/>
                    <a:pt x="0" y="825"/>
                    <a:pt x="0" y="825"/>
                  </a:cubicBezTo>
                  <a:cubicBezTo>
                    <a:pt x="0" y="825"/>
                    <a:pt x="25" y="863"/>
                    <a:pt x="76" y="888"/>
                  </a:cubicBezTo>
                  <a:cubicBezTo>
                    <a:pt x="114" y="901"/>
                    <a:pt x="89" y="1002"/>
                    <a:pt x="76" y="1028"/>
                  </a:cubicBezTo>
                  <a:cubicBezTo>
                    <a:pt x="63" y="1053"/>
                    <a:pt x="76" y="1104"/>
                    <a:pt x="114" y="1142"/>
                  </a:cubicBezTo>
                  <a:cubicBezTo>
                    <a:pt x="152" y="1180"/>
                    <a:pt x="139" y="1281"/>
                    <a:pt x="114" y="1332"/>
                  </a:cubicBezTo>
                  <a:cubicBezTo>
                    <a:pt x="89" y="1383"/>
                    <a:pt x="63" y="1497"/>
                    <a:pt x="76" y="1472"/>
                  </a:cubicBezTo>
                  <a:cubicBezTo>
                    <a:pt x="101" y="1459"/>
                    <a:pt x="164" y="1446"/>
                    <a:pt x="202" y="1434"/>
                  </a:cubicBezTo>
                  <a:cubicBezTo>
                    <a:pt x="240" y="1434"/>
                    <a:pt x="329" y="1421"/>
                    <a:pt x="329" y="1421"/>
                  </a:cubicBezTo>
                  <a:cubicBezTo>
                    <a:pt x="392" y="1484"/>
                    <a:pt x="392" y="1484"/>
                    <a:pt x="392" y="1484"/>
                  </a:cubicBezTo>
                  <a:cubicBezTo>
                    <a:pt x="455" y="1484"/>
                    <a:pt x="455" y="1484"/>
                    <a:pt x="455" y="1484"/>
                  </a:cubicBezTo>
                  <a:cubicBezTo>
                    <a:pt x="455" y="1484"/>
                    <a:pt x="493" y="1586"/>
                    <a:pt x="518" y="1611"/>
                  </a:cubicBezTo>
                  <a:cubicBezTo>
                    <a:pt x="544" y="1649"/>
                    <a:pt x="594" y="1675"/>
                    <a:pt x="619" y="1662"/>
                  </a:cubicBezTo>
                  <a:cubicBezTo>
                    <a:pt x="657" y="1662"/>
                    <a:pt x="657" y="1624"/>
                    <a:pt x="657" y="1611"/>
                  </a:cubicBezTo>
                  <a:cubicBezTo>
                    <a:pt x="670" y="1586"/>
                    <a:pt x="695" y="1561"/>
                    <a:pt x="695" y="1561"/>
                  </a:cubicBezTo>
                  <a:cubicBezTo>
                    <a:pt x="695" y="1561"/>
                    <a:pt x="771" y="1637"/>
                    <a:pt x="784" y="1611"/>
                  </a:cubicBezTo>
                  <a:cubicBezTo>
                    <a:pt x="796" y="1586"/>
                    <a:pt x="834" y="1586"/>
                    <a:pt x="859" y="1599"/>
                  </a:cubicBezTo>
                  <a:cubicBezTo>
                    <a:pt x="897" y="1599"/>
                    <a:pt x="961" y="1573"/>
                    <a:pt x="961" y="1573"/>
                  </a:cubicBezTo>
                  <a:cubicBezTo>
                    <a:pt x="1441" y="1573"/>
                    <a:pt x="1441" y="1573"/>
                    <a:pt x="1441" y="1573"/>
                  </a:cubicBezTo>
                  <a:cubicBezTo>
                    <a:pt x="1466" y="1472"/>
                    <a:pt x="1466" y="1472"/>
                    <a:pt x="1466" y="1472"/>
                  </a:cubicBezTo>
                  <a:cubicBezTo>
                    <a:pt x="1415" y="1446"/>
                    <a:pt x="1415" y="1446"/>
                    <a:pt x="1415" y="1446"/>
                  </a:cubicBezTo>
                  <a:lnTo>
                    <a:pt x="1314" y="317"/>
                  </a:lnTo>
                  <a:close/>
                </a:path>
              </a:pathLst>
            </a:custGeom>
            <a:grpFill/>
            <a:ln w="9525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891045"/>
              <a:endParaRPr lang="en-US" sz="1700" dirty="0">
                <a:solidFill>
                  <a:srgbClr val="003149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404" name="Freeform 208"/>
            <p:cNvSpPr>
              <a:spLocks/>
            </p:cNvSpPr>
            <p:nvPr/>
          </p:nvSpPr>
          <p:spPr bwMode="gray">
            <a:xfrm>
              <a:off x="3997" y="2664"/>
              <a:ext cx="156" cy="170"/>
            </a:xfrm>
            <a:custGeom>
              <a:avLst/>
              <a:gdLst>
                <a:gd name="T0" fmla="*/ 0 w 1542"/>
                <a:gd name="T1" fmla="*/ 0 h 1675"/>
                <a:gd name="T2" fmla="*/ 0 w 1542"/>
                <a:gd name="T3" fmla="*/ 0 h 1675"/>
                <a:gd name="T4" fmla="*/ 0 w 1542"/>
                <a:gd name="T5" fmla="*/ 0 h 1675"/>
                <a:gd name="T6" fmla="*/ 0 w 1542"/>
                <a:gd name="T7" fmla="*/ 0 h 1675"/>
                <a:gd name="T8" fmla="*/ 0 w 1542"/>
                <a:gd name="T9" fmla="*/ 0 h 1675"/>
                <a:gd name="T10" fmla="*/ 0 w 1542"/>
                <a:gd name="T11" fmla="*/ 0 h 1675"/>
                <a:gd name="T12" fmla="*/ 0 w 1542"/>
                <a:gd name="T13" fmla="*/ 0 h 1675"/>
                <a:gd name="T14" fmla="*/ 0 w 1542"/>
                <a:gd name="T15" fmla="*/ 0 h 1675"/>
                <a:gd name="T16" fmla="*/ 0 w 1542"/>
                <a:gd name="T17" fmla="*/ 0 h 1675"/>
                <a:gd name="T18" fmla="*/ 0 w 1542"/>
                <a:gd name="T19" fmla="*/ 0 h 1675"/>
                <a:gd name="T20" fmla="*/ 0 w 1542"/>
                <a:gd name="T21" fmla="*/ 0 h 1675"/>
                <a:gd name="T22" fmla="*/ 0 w 1542"/>
                <a:gd name="T23" fmla="*/ 0 h 1675"/>
                <a:gd name="T24" fmla="*/ 0 w 1542"/>
                <a:gd name="T25" fmla="*/ 0 h 1675"/>
                <a:gd name="T26" fmla="*/ 0 w 1542"/>
                <a:gd name="T27" fmla="*/ 0 h 1675"/>
                <a:gd name="T28" fmla="*/ 0 w 1542"/>
                <a:gd name="T29" fmla="*/ 0 h 1675"/>
                <a:gd name="T30" fmla="*/ 0 w 1542"/>
                <a:gd name="T31" fmla="*/ 0 h 1675"/>
                <a:gd name="T32" fmla="*/ 0 w 1542"/>
                <a:gd name="T33" fmla="*/ 0 h 1675"/>
                <a:gd name="T34" fmla="*/ 0 w 1542"/>
                <a:gd name="T35" fmla="*/ 0 h 1675"/>
                <a:gd name="T36" fmla="*/ 0 w 1542"/>
                <a:gd name="T37" fmla="*/ 0 h 1675"/>
                <a:gd name="T38" fmla="*/ 0 w 1542"/>
                <a:gd name="T39" fmla="*/ 0 h 1675"/>
                <a:gd name="T40" fmla="*/ 0 w 1542"/>
                <a:gd name="T41" fmla="*/ 0 h 1675"/>
                <a:gd name="T42" fmla="*/ 0 w 1542"/>
                <a:gd name="T43" fmla="*/ 0 h 1675"/>
                <a:gd name="T44" fmla="*/ 0 w 1542"/>
                <a:gd name="T45" fmla="*/ 0 h 1675"/>
                <a:gd name="T46" fmla="*/ 0 w 1542"/>
                <a:gd name="T47" fmla="*/ 0 h 1675"/>
                <a:gd name="T48" fmla="*/ 0 w 1542"/>
                <a:gd name="T49" fmla="*/ 0 h 1675"/>
                <a:gd name="T50" fmla="*/ 0 w 1542"/>
                <a:gd name="T51" fmla="*/ 0 h 1675"/>
                <a:gd name="T52" fmla="*/ 0 w 1542"/>
                <a:gd name="T53" fmla="*/ 0 h 1675"/>
                <a:gd name="T54" fmla="*/ 0 w 1542"/>
                <a:gd name="T55" fmla="*/ 0 h 1675"/>
                <a:gd name="T56" fmla="*/ 0 w 1542"/>
                <a:gd name="T57" fmla="*/ 0 h 1675"/>
                <a:gd name="T58" fmla="*/ 0 w 1542"/>
                <a:gd name="T59" fmla="*/ 0 h 1675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w 1542"/>
                <a:gd name="T91" fmla="*/ 0 h 1675"/>
                <a:gd name="T92" fmla="*/ 1542 w 1542"/>
                <a:gd name="T93" fmla="*/ 1675 h 1675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T90" t="T91" r="T92" b="T93"/>
              <a:pathLst>
                <a:path w="1542" h="1675">
                  <a:moveTo>
                    <a:pt x="1314" y="317"/>
                  </a:moveTo>
                  <a:cubicBezTo>
                    <a:pt x="1542" y="317"/>
                    <a:pt x="1542" y="317"/>
                    <a:pt x="1542" y="317"/>
                  </a:cubicBezTo>
                  <a:cubicBezTo>
                    <a:pt x="1049" y="0"/>
                    <a:pt x="1049" y="0"/>
                    <a:pt x="1049" y="0"/>
                  </a:cubicBezTo>
                  <a:cubicBezTo>
                    <a:pt x="1049" y="0"/>
                    <a:pt x="1049" y="0"/>
                    <a:pt x="1049" y="0"/>
                  </a:cubicBezTo>
                  <a:cubicBezTo>
                    <a:pt x="1049" y="165"/>
                    <a:pt x="1049" y="165"/>
                    <a:pt x="1049" y="165"/>
                  </a:cubicBezTo>
                  <a:cubicBezTo>
                    <a:pt x="632" y="177"/>
                    <a:pt x="632" y="177"/>
                    <a:pt x="632" y="177"/>
                  </a:cubicBezTo>
                  <a:cubicBezTo>
                    <a:pt x="632" y="520"/>
                    <a:pt x="632" y="520"/>
                    <a:pt x="632" y="520"/>
                  </a:cubicBezTo>
                  <a:cubicBezTo>
                    <a:pt x="632" y="520"/>
                    <a:pt x="531" y="533"/>
                    <a:pt x="518" y="571"/>
                  </a:cubicBezTo>
                  <a:cubicBezTo>
                    <a:pt x="506" y="622"/>
                    <a:pt x="518" y="812"/>
                    <a:pt x="518" y="812"/>
                  </a:cubicBezTo>
                  <a:cubicBezTo>
                    <a:pt x="0" y="825"/>
                    <a:pt x="0" y="825"/>
                    <a:pt x="0" y="825"/>
                  </a:cubicBezTo>
                  <a:cubicBezTo>
                    <a:pt x="0" y="825"/>
                    <a:pt x="25" y="863"/>
                    <a:pt x="76" y="888"/>
                  </a:cubicBezTo>
                  <a:cubicBezTo>
                    <a:pt x="114" y="901"/>
                    <a:pt x="89" y="1002"/>
                    <a:pt x="76" y="1028"/>
                  </a:cubicBezTo>
                  <a:cubicBezTo>
                    <a:pt x="63" y="1053"/>
                    <a:pt x="76" y="1104"/>
                    <a:pt x="114" y="1142"/>
                  </a:cubicBezTo>
                  <a:cubicBezTo>
                    <a:pt x="152" y="1180"/>
                    <a:pt x="139" y="1281"/>
                    <a:pt x="114" y="1332"/>
                  </a:cubicBezTo>
                  <a:cubicBezTo>
                    <a:pt x="89" y="1383"/>
                    <a:pt x="63" y="1497"/>
                    <a:pt x="76" y="1472"/>
                  </a:cubicBezTo>
                  <a:cubicBezTo>
                    <a:pt x="101" y="1459"/>
                    <a:pt x="164" y="1446"/>
                    <a:pt x="202" y="1434"/>
                  </a:cubicBezTo>
                  <a:cubicBezTo>
                    <a:pt x="240" y="1434"/>
                    <a:pt x="329" y="1421"/>
                    <a:pt x="329" y="1421"/>
                  </a:cubicBezTo>
                  <a:cubicBezTo>
                    <a:pt x="392" y="1484"/>
                    <a:pt x="392" y="1484"/>
                    <a:pt x="392" y="1484"/>
                  </a:cubicBezTo>
                  <a:cubicBezTo>
                    <a:pt x="455" y="1484"/>
                    <a:pt x="455" y="1484"/>
                    <a:pt x="455" y="1484"/>
                  </a:cubicBezTo>
                  <a:cubicBezTo>
                    <a:pt x="455" y="1484"/>
                    <a:pt x="493" y="1586"/>
                    <a:pt x="518" y="1611"/>
                  </a:cubicBezTo>
                  <a:cubicBezTo>
                    <a:pt x="544" y="1649"/>
                    <a:pt x="594" y="1675"/>
                    <a:pt x="619" y="1662"/>
                  </a:cubicBezTo>
                  <a:cubicBezTo>
                    <a:pt x="657" y="1662"/>
                    <a:pt x="657" y="1624"/>
                    <a:pt x="657" y="1611"/>
                  </a:cubicBezTo>
                  <a:cubicBezTo>
                    <a:pt x="670" y="1586"/>
                    <a:pt x="695" y="1561"/>
                    <a:pt x="695" y="1561"/>
                  </a:cubicBezTo>
                  <a:cubicBezTo>
                    <a:pt x="695" y="1561"/>
                    <a:pt x="771" y="1637"/>
                    <a:pt x="784" y="1611"/>
                  </a:cubicBezTo>
                  <a:cubicBezTo>
                    <a:pt x="796" y="1586"/>
                    <a:pt x="834" y="1586"/>
                    <a:pt x="859" y="1599"/>
                  </a:cubicBezTo>
                  <a:cubicBezTo>
                    <a:pt x="897" y="1599"/>
                    <a:pt x="961" y="1573"/>
                    <a:pt x="961" y="1573"/>
                  </a:cubicBezTo>
                  <a:cubicBezTo>
                    <a:pt x="1441" y="1573"/>
                    <a:pt x="1441" y="1573"/>
                    <a:pt x="1441" y="1573"/>
                  </a:cubicBezTo>
                  <a:cubicBezTo>
                    <a:pt x="1466" y="1472"/>
                    <a:pt x="1466" y="1472"/>
                    <a:pt x="1466" y="1472"/>
                  </a:cubicBezTo>
                  <a:cubicBezTo>
                    <a:pt x="1415" y="1446"/>
                    <a:pt x="1415" y="1446"/>
                    <a:pt x="1415" y="1446"/>
                  </a:cubicBezTo>
                  <a:lnTo>
                    <a:pt x="1314" y="317"/>
                  </a:lnTo>
                  <a:close/>
                </a:path>
              </a:pathLst>
            </a:custGeom>
            <a:grpFill/>
            <a:ln w="9525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891045"/>
              <a:endParaRPr lang="en-US" sz="1700" dirty="0">
                <a:solidFill>
                  <a:srgbClr val="003149"/>
                </a:solidFill>
                <a:cs typeface="Arial" panose="020B0604020202020204" pitchFamily="34" charset="0"/>
              </a:endParaRPr>
            </a:p>
          </p:txBody>
        </p:sp>
      </p:grpSp>
      <p:grpSp>
        <p:nvGrpSpPr>
          <p:cNvPr id="405" name="Group 209"/>
          <p:cNvGrpSpPr>
            <a:grpSpLocks/>
          </p:cNvGrpSpPr>
          <p:nvPr/>
        </p:nvGrpSpPr>
        <p:grpSpPr bwMode="gray">
          <a:xfrm>
            <a:off x="995748" y="2293932"/>
            <a:ext cx="111878" cy="125597"/>
            <a:chOff x="4106" y="2886"/>
            <a:chExt cx="76" cy="81"/>
          </a:xfrm>
          <a:solidFill>
            <a:schemeClr val="accent3"/>
          </a:solidFill>
        </p:grpSpPr>
        <p:sp>
          <p:nvSpPr>
            <p:cNvPr id="406" name="Freeform 210"/>
            <p:cNvSpPr>
              <a:spLocks/>
            </p:cNvSpPr>
            <p:nvPr/>
          </p:nvSpPr>
          <p:spPr bwMode="gray">
            <a:xfrm>
              <a:off x="4106" y="2886"/>
              <a:ext cx="76" cy="81"/>
            </a:xfrm>
            <a:custGeom>
              <a:avLst/>
              <a:gdLst>
                <a:gd name="T0" fmla="*/ 0 w 758"/>
                <a:gd name="T1" fmla="*/ 0 h 809"/>
                <a:gd name="T2" fmla="*/ 0 w 758"/>
                <a:gd name="T3" fmla="*/ 0 h 809"/>
                <a:gd name="T4" fmla="*/ 0 w 758"/>
                <a:gd name="T5" fmla="*/ 0 h 809"/>
                <a:gd name="T6" fmla="*/ 0 w 758"/>
                <a:gd name="T7" fmla="*/ 0 h 809"/>
                <a:gd name="T8" fmla="*/ 0 w 758"/>
                <a:gd name="T9" fmla="*/ 0 h 809"/>
                <a:gd name="T10" fmla="*/ 0 w 758"/>
                <a:gd name="T11" fmla="*/ 0 h 809"/>
                <a:gd name="T12" fmla="*/ 0 w 758"/>
                <a:gd name="T13" fmla="*/ 0 h 809"/>
                <a:gd name="T14" fmla="*/ 0 w 758"/>
                <a:gd name="T15" fmla="*/ 0 h 809"/>
                <a:gd name="T16" fmla="*/ 0 w 758"/>
                <a:gd name="T17" fmla="*/ 0 h 809"/>
                <a:gd name="T18" fmla="*/ 0 w 758"/>
                <a:gd name="T19" fmla="*/ 0 h 809"/>
                <a:gd name="T20" fmla="*/ 0 w 758"/>
                <a:gd name="T21" fmla="*/ 0 h 809"/>
                <a:gd name="T22" fmla="*/ 0 w 758"/>
                <a:gd name="T23" fmla="*/ 0 h 809"/>
                <a:gd name="T24" fmla="*/ 0 w 758"/>
                <a:gd name="T25" fmla="*/ 0 h 809"/>
                <a:gd name="T26" fmla="*/ 0 w 758"/>
                <a:gd name="T27" fmla="*/ 0 h 809"/>
                <a:gd name="T28" fmla="*/ 0 w 758"/>
                <a:gd name="T29" fmla="*/ 0 h 809"/>
                <a:gd name="T30" fmla="*/ 0 w 758"/>
                <a:gd name="T31" fmla="*/ 0 h 809"/>
                <a:gd name="T32" fmla="*/ 0 w 758"/>
                <a:gd name="T33" fmla="*/ 0 h 809"/>
                <a:gd name="T34" fmla="*/ 0 w 758"/>
                <a:gd name="T35" fmla="*/ 0 h 809"/>
                <a:gd name="T36" fmla="*/ 0 w 758"/>
                <a:gd name="T37" fmla="*/ 0 h 809"/>
                <a:gd name="T38" fmla="*/ 0 w 758"/>
                <a:gd name="T39" fmla="*/ 0 h 809"/>
                <a:gd name="T40" fmla="*/ 0 w 758"/>
                <a:gd name="T41" fmla="*/ 0 h 809"/>
                <a:gd name="T42" fmla="*/ 0 w 758"/>
                <a:gd name="T43" fmla="*/ 0 h 809"/>
                <a:gd name="T44" fmla="*/ 0 w 758"/>
                <a:gd name="T45" fmla="*/ 0 h 809"/>
                <a:gd name="T46" fmla="*/ 0 w 758"/>
                <a:gd name="T47" fmla="*/ 0 h 809"/>
                <a:gd name="T48" fmla="*/ 0 w 758"/>
                <a:gd name="T49" fmla="*/ 0 h 809"/>
                <a:gd name="T50" fmla="*/ 0 w 758"/>
                <a:gd name="T51" fmla="*/ 0 h 809"/>
                <a:gd name="T52" fmla="*/ 0 w 758"/>
                <a:gd name="T53" fmla="*/ 0 h 809"/>
                <a:gd name="T54" fmla="*/ 0 w 758"/>
                <a:gd name="T55" fmla="*/ 0 h 809"/>
                <a:gd name="T56" fmla="*/ 0 w 758"/>
                <a:gd name="T57" fmla="*/ 0 h 809"/>
                <a:gd name="T58" fmla="*/ 0 w 758"/>
                <a:gd name="T59" fmla="*/ 0 h 809"/>
                <a:gd name="T60" fmla="*/ 0 w 758"/>
                <a:gd name="T61" fmla="*/ 0 h 809"/>
                <a:gd name="T62" fmla="*/ 0 w 758"/>
                <a:gd name="T63" fmla="*/ 0 h 809"/>
                <a:gd name="T64" fmla="*/ 0 w 758"/>
                <a:gd name="T65" fmla="*/ 0 h 809"/>
                <a:gd name="T66" fmla="*/ 0 w 758"/>
                <a:gd name="T67" fmla="*/ 0 h 809"/>
                <a:gd name="T68" fmla="*/ 0 w 758"/>
                <a:gd name="T69" fmla="*/ 0 h 809"/>
                <a:gd name="T70" fmla="*/ 0 w 758"/>
                <a:gd name="T71" fmla="*/ 0 h 809"/>
                <a:gd name="T72" fmla="*/ 0 w 758"/>
                <a:gd name="T73" fmla="*/ 0 h 809"/>
                <a:gd name="T74" fmla="*/ 0 w 758"/>
                <a:gd name="T75" fmla="*/ 0 h 809"/>
                <a:gd name="T76" fmla="*/ 0 w 758"/>
                <a:gd name="T77" fmla="*/ 0 h 809"/>
                <a:gd name="T78" fmla="*/ 0 w 758"/>
                <a:gd name="T79" fmla="*/ 0 h 809"/>
                <a:gd name="T80" fmla="*/ 0 w 758"/>
                <a:gd name="T81" fmla="*/ 0 h 809"/>
                <a:gd name="T82" fmla="*/ 0 w 758"/>
                <a:gd name="T83" fmla="*/ 0 h 809"/>
                <a:gd name="T84" fmla="*/ 0 w 758"/>
                <a:gd name="T85" fmla="*/ 0 h 809"/>
                <a:gd name="T86" fmla="*/ 0 w 758"/>
                <a:gd name="T87" fmla="*/ 0 h 809"/>
                <a:gd name="T88" fmla="*/ 0 w 758"/>
                <a:gd name="T89" fmla="*/ 0 h 809"/>
                <a:gd name="T90" fmla="*/ 0 w 758"/>
                <a:gd name="T91" fmla="*/ 0 h 809"/>
                <a:gd name="T92" fmla="*/ 0 w 758"/>
                <a:gd name="T93" fmla="*/ 0 h 809"/>
                <a:gd name="T94" fmla="*/ 0 w 758"/>
                <a:gd name="T95" fmla="*/ 0 h 809"/>
                <a:gd name="T96" fmla="*/ 0 w 758"/>
                <a:gd name="T97" fmla="*/ 0 h 809"/>
                <a:gd name="T98" fmla="*/ 0 w 758"/>
                <a:gd name="T99" fmla="*/ 0 h 809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w 758"/>
                <a:gd name="T151" fmla="*/ 0 h 809"/>
                <a:gd name="T152" fmla="*/ 758 w 758"/>
                <a:gd name="T153" fmla="*/ 809 h 809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T150" t="T151" r="T152" b="T153"/>
              <a:pathLst>
                <a:path w="758" h="809">
                  <a:moveTo>
                    <a:pt x="708" y="657"/>
                  </a:moveTo>
                  <a:cubicBezTo>
                    <a:pt x="695" y="657"/>
                    <a:pt x="683" y="581"/>
                    <a:pt x="670" y="569"/>
                  </a:cubicBezTo>
                  <a:cubicBezTo>
                    <a:pt x="657" y="544"/>
                    <a:pt x="683" y="493"/>
                    <a:pt x="695" y="480"/>
                  </a:cubicBezTo>
                  <a:cubicBezTo>
                    <a:pt x="708" y="468"/>
                    <a:pt x="708" y="417"/>
                    <a:pt x="721" y="379"/>
                  </a:cubicBezTo>
                  <a:cubicBezTo>
                    <a:pt x="746" y="329"/>
                    <a:pt x="758" y="341"/>
                    <a:pt x="758" y="316"/>
                  </a:cubicBezTo>
                  <a:cubicBezTo>
                    <a:pt x="758" y="304"/>
                    <a:pt x="733" y="240"/>
                    <a:pt x="733" y="228"/>
                  </a:cubicBezTo>
                  <a:cubicBezTo>
                    <a:pt x="721" y="215"/>
                    <a:pt x="721" y="215"/>
                    <a:pt x="733" y="190"/>
                  </a:cubicBezTo>
                  <a:cubicBezTo>
                    <a:pt x="733" y="177"/>
                    <a:pt x="695" y="152"/>
                    <a:pt x="683" y="139"/>
                  </a:cubicBezTo>
                  <a:cubicBezTo>
                    <a:pt x="670" y="114"/>
                    <a:pt x="619" y="114"/>
                    <a:pt x="594" y="127"/>
                  </a:cubicBezTo>
                  <a:cubicBezTo>
                    <a:pt x="569" y="139"/>
                    <a:pt x="544" y="152"/>
                    <a:pt x="518" y="165"/>
                  </a:cubicBezTo>
                  <a:cubicBezTo>
                    <a:pt x="506" y="165"/>
                    <a:pt x="480" y="127"/>
                    <a:pt x="455" y="127"/>
                  </a:cubicBezTo>
                  <a:cubicBezTo>
                    <a:pt x="442" y="114"/>
                    <a:pt x="417" y="76"/>
                    <a:pt x="405" y="76"/>
                  </a:cubicBezTo>
                  <a:cubicBezTo>
                    <a:pt x="405" y="76"/>
                    <a:pt x="392" y="51"/>
                    <a:pt x="392" y="51"/>
                  </a:cubicBezTo>
                  <a:cubicBezTo>
                    <a:pt x="392" y="51"/>
                    <a:pt x="379" y="64"/>
                    <a:pt x="354" y="64"/>
                  </a:cubicBezTo>
                  <a:cubicBezTo>
                    <a:pt x="329" y="76"/>
                    <a:pt x="303" y="89"/>
                    <a:pt x="303" y="89"/>
                  </a:cubicBezTo>
                  <a:cubicBezTo>
                    <a:pt x="291" y="13"/>
                    <a:pt x="291" y="13"/>
                    <a:pt x="291" y="13"/>
                  </a:cubicBezTo>
                  <a:cubicBezTo>
                    <a:pt x="291" y="13"/>
                    <a:pt x="278" y="38"/>
                    <a:pt x="278" y="38"/>
                  </a:cubicBezTo>
                  <a:cubicBezTo>
                    <a:pt x="278" y="51"/>
                    <a:pt x="266" y="38"/>
                    <a:pt x="240" y="26"/>
                  </a:cubicBezTo>
                  <a:cubicBezTo>
                    <a:pt x="215" y="0"/>
                    <a:pt x="253" y="76"/>
                    <a:pt x="228" y="64"/>
                  </a:cubicBezTo>
                  <a:cubicBezTo>
                    <a:pt x="202" y="64"/>
                    <a:pt x="202" y="89"/>
                    <a:pt x="202" y="89"/>
                  </a:cubicBezTo>
                  <a:cubicBezTo>
                    <a:pt x="202" y="89"/>
                    <a:pt x="177" y="89"/>
                    <a:pt x="164" y="76"/>
                  </a:cubicBezTo>
                  <a:cubicBezTo>
                    <a:pt x="139" y="51"/>
                    <a:pt x="139" y="51"/>
                    <a:pt x="114" y="64"/>
                  </a:cubicBezTo>
                  <a:cubicBezTo>
                    <a:pt x="101" y="76"/>
                    <a:pt x="89" y="76"/>
                    <a:pt x="76" y="89"/>
                  </a:cubicBezTo>
                  <a:cubicBezTo>
                    <a:pt x="76" y="89"/>
                    <a:pt x="76" y="89"/>
                    <a:pt x="76" y="89"/>
                  </a:cubicBezTo>
                  <a:cubicBezTo>
                    <a:pt x="63" y="114"/>
                    <a:pt x="63" y="114"/>
                    <a:pt x="63" y="114"/>
                  </a:cubicBezTo>
                  <a:cubicBezTo>
                    <a:pt x="63" y="177"/>
                    <a:pt x="63" y="177"/>
                    <a:pt x="63" y="177"/>
                  </a:cubicBezTo>
                  <a:cubicBezTo>
                    <a:pt x="89" y="190"/>
                    <a:pt x="89" y="190"/>
                    <a:pt x="89" y="190"/>
                  </a:cubicBezTo>
                  <a:cubicBezTo>
                    <a:pt x="101" y="228"/>
                    <a:pt x="101" y="228"/>
                    <a:pt x="101" y="228"/>
                  </a:cubicBezTo>
                  <a:cubicBezTo>
                    <a:pt x="101" y="228"/>
                    <a:pt x="63" y="228"/>
                    <a:pt x="76" y="253"/>
                  </a:cubicBezTo>
                  <a:cubicBezTo>
                    <a:pt x="89" y="291"/>
                    <a:pt x="114" y="266"/>
                    <a:pt x="114" y="266"/>
                  </a:cubicBezTo>
                  <a:cubicBezTo>
                    <a:pt x="114" y="316"/>
                    <a:pt x="114" y="316"/>
                    <a:pt x="114" y="316"/>
                  </a:cubicBezTo>
                  <a:cubicBezTo>
                    <a:pt x="63" y="304"/>
                    <a:pt x="63" y="304"/>
                    <a:pt x="63" y="304"/>
                  </a:cubicBezTo>
                  <a:cubicBezTo>
                    <a:pt x="51" y="341"/>
                    <a:pt x="51" y="341"/>
                    <a:pt x="51" y="341"/>
                  </a:cubicBezTo>
                  <a:cubicBezTo>
                    <a:pt x="76" y="354"/>
                    <a:pt x="76" y="354"/>
                    <a:pt x="76" y="354"/>
                  </a:cubicBezTo>
                  <a:cubicBezTo>
                    <a:pt x="63" y="392"/>
                    <a:pt x="63" y="392"/>
                    <a:pt x="63" y="392"/>
                  </a:cubicBezTo>
                  <a:cubicBezTo>
                    <a:pt x="51" y="430"/>
                    <a:pt x="51" y="430"/>
                    <a:pt x="51" y="430"/>
                  </a:cubicBezTo>
                  <a:cubicBezTo>
                    <a:pt x="0" y="405"/>
                    <a:pt x="0" y="405"/>
                    <a:pt x="0" y="405"/>
                  </a:cubicBezTo>
                  <a:cubicBezTo>
                    <a:pt x="0" y="405"/>
                    <a:pt x="51" y="455"/>
                    <a:pt x="38" y="468"/>
                  </a:cubicBezTo>
                  <a:cubicBezTo>
                    <a:pt x="38" y="493"/>
                    <a:pt x="13" y="544"/>
                    <a:pt x="13" y="544"/>
                  </a:cubicBezTo>
                  <a:cubicBezTo>
                    <a:pt x="51" y="581"/>
                    <a:pt x="51" y="581"/>
                    <a:pt x="51" y="581"/>
                  </a:cubicBezTo>
                  <a:cubicBezTo>
                    <a:pt x="89" y="581"/>
                    <a:pt x="89" y="581"/>
                    <a:pt x="89" y="581"/>
                  </a:cubicBezTo>
                  <a:cubicBezTo>
                    <a:pt x="127" y="619"/>
                    <a:pt x="127" y="619"/>
                    <a:pt x="127" y="619"/>
                  </a:cubicBezTo>
                  <a:cubicBezTo>
                    <a:pt x="127" y="619"/>
                    <a:pt x="164" y="657"/>
                    <a:pt x="152" y="695"/>
                  </a:cubicBezTo>
                  <a:cubicBezTo>
                    <a:pt x="139" y="720"/>
                    <a:pt x="127" y="758"/>
                    <a:pt x="127" y="758"/>
                  </a:cubicBezTo>
                  <a:cubicBezTo>
                    <a:pt x="139" y="809"/>
                    <a:pt x="139" y="809"/>
                    <a:pt x="139" y="809"/>
                  </a:cubicBezTo>
                  <a:cubicBezTo>
                    <a:pt x="139" y="809"/>
                    <a:pt x="266" y="771"/>
                    <a:pt x="303" y="758"/>
                  </a:cubicBezTo>
                  <a:cubicBezTo>
                    <a:pt x="341" y="733"/>
                    <a:pt x="480" y="708"/>
                    <a:pt x="531" y="708"/>
                  </a:cubicBezTo>
                  <a:cubicBezTo>
                    <a:pt x="582" y="708"/>
                    <a:pt x="683" y="733"/>
                    <a:pt x="695" y="733"/>
                  </a:cubicBezTo>
                  <a:cubicBezTo>
                    <a:pt x="721" y="733"/>
                    <a:pt x="733" y="720"/>
                    <a:pt x="733" y="695"/>
                  </a:cubicBezTo>
                  <a:cubicBezTo>
                    <a:pt x="733" y="657"/>
                    <a:pt x="721" y="657"/>
                    <a:pt x="708" y="657"/>
                  </a:cubicBezTo>
                </a:path>
              </a:pathLst>
            </a:custGeom>
            <a:grpFill/>
            <a:ln w="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891045"/>
              <a:endParaRPr lang="en-US" sz="1700" dirty="0">
                <a:solidFill>
                  <a:srgbClr val="003149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407" name="Freeform 211"/>
            <p:cNvSpPr>
              <a:spLocks/>
            </p:cNvSpPr>
            <p:nvPr/>
          </p:nvSpPr>
          <p:spPr bwMode="gray">
            <a:xfrm>
              <a:off x="4106" y="2886"/>
              <a:ext cx="76" cy="81"/>
            </a:xfrm>
            <a:custGeom>
              <a:avLst/>
              <a:gdLst>
                <a:gd name="T0" fmla="*/ 71 w 76"/>
                <a:gd name="T1" fmla="*/ 66 h 81"/>
                <a:gd name="T2" fmla="*/ 67 w 76"/>
                <a:gd name="T3" fmla="*/ 57 h 81"/>
                <a:gd name="T4" fmla="*/ 70 w 76"/>
                <a:gd name="T5" fmla="*/ 48 h 81"/>
                <a:gd name="T6" fmla="*/ 72 w 76"/>
                <a:gd name="T7" fmla="*/ 38 h 81"/>
                <a:gd name="T8" fmla="*/ 76 w 76"/>
                <a:gd name="T9" fmla="*/ 32 h 81"/>
                <a:gd name="T10" fmla="*/ 74 w 76"/>
                <a:gd name="T11" fmla="*/ 23 h 81"/>
                <a:gd name="T12" fmla="*/ 74 w 76"/>
                <a:gd name="T13" fmla="*/ 19 h 81"/>
                <a:gd name="T14" fmla="*/ 69 w 76"/>
                <a:gd name="T15" fmla="*/ 14 h 81"/>
                <a:gd name="T16" fmla="*/ 60 w 76"/>
                <a:gd name="T17" fmla="*/ 13 h 81"/>
                <a:gd name="T18" fmla="*/ 52 w 76"/>
                <a:gd name="T19" fmla="*/ 16 h 81"/>
                <a:gd name="T20" fmla="*/ 46 w 76"/>
                <a:gd name="T21" fmla="*/ 13 h 81"/>
                <a:gd name="T22" fmla="*/ 40 w 76"/>
                <a:gd name="T23" fmla="*/ 7 h 81"/>
                <a:gd name="T24" fmla="*/ 39 w 76"/>
                <a:gd name="T25" fmla="*/ 5 h 81"/>
                <a:gd name="T26" fmla="*/ 35 w 76"/>
                <a:gd name="T27" fmla="*/ 6 h 81"/>
                <a:gd name="T28" fmla="*/ 30 w 76"/>
                <a:gd name="T29" fmla="*/ 9 h 81"/>
                <a:gd name="T30" fmla="*/ 29 w 76"/>
                <a:gd name="T31" fmla="*/ 1 h 81"/>
                <a:gd name="T32" fmla="*/ 28 w 76"/>
                <a:gd name="T33" fmla="*/ 4 h 81"/>
                <a:gd name="T34" fmla="*/ 24 w 76"/>
                <a:gd name="T35" fmla="*/ 2 h 81"/>
                <a:gd name="T36" fmla="*/ 23 w 76"/>
                <a:gd name="T37" fmla="*/ 6 h 81"/>
                <a:gd name="T38" fmla="*/ 20 w 76"/>
                <a:gd name="T39" fmla="*/ 9 h 81"/>
                <a:gd name="T40" fmla="*/ 16 w 76"/>
                <a:gd name="T41" fmla="*/ 7 h 81"/>
                <a:gd name="T42" fmla="*/ 11 w 76"/>
                <a:gd name="T43" fmla="*/ 6 h 81"/>
                <a:gd name="T44" fmla="*/ 7 w 76"/>
                <a:gd name="T45" fmla="*/ 9 h 81"/>
                <a:gd name="T46" fmla="*/ 7 w 76"/>
                <a:gd name="T47" fmla="*/ 9 h 81"/>
                <a:gd name="T48" fmla="*/ 6 w 76"/>
                <a:gd name="T49" fmla="*/ 11 h 81"/>
                <a:gd name="T50" fmla="*/ 6 w 76"/>
                <a:gd name="T51" fmla="*/ 18 h 81"/>
                <a:gd name="T52" fmla="*/ 9 w 76"/>
                <a:gd name="T53" fmla="*/ 19 h 81"/>
                <a:gd name="T54" fmla="*/ 10 w 76"/>
                <a:gd name="T55" fmla="*/ 23 h 81"/>
                <a:gd name="T56" fmla="*/ 7 w 76"/>
                <a:gd name="T57" fmla="*/ 25 h 81"/>
                <a:gd name="T58" fmla="*/ 11 w 76"/>
                <a:gd name="T59" fmla="*/ 27 h 81"/>
                <a:gd name="T60" fmla="*/ 11 w 76"/>
                <a:gd name="T61" fmla="*/ 32 h 81"/>
                <a:gd name="T62" fmla="*/ 6 w 76"/>
                <a:gd name="T63" fmla="*/ 30 h 81"/>
                <a:gd name="T64" fmla="*/ 5 w 76"/>
                <a:gd name="T65" fmla="*/ 34 h 81"/>
                <a:gd name="T66" fmla="*/ 7 w 76"/>
                <a:gd name="T67" fmla="*/ 36 h 81"/>
                <a:gd name="T68" fmla="*/ 6 w 76"/>
                <a:gd name="T69" fmla="*/ 39 h 81"/>
                <a:gd name="T70" fmla="*/ 5 w 76"/>
                <a:gd name="T71" fmla="*/ 43 h 81"/>
                <a:gd name="T72" fmla="*/ 0 w 76"/>
                <a:gd name="T73" fmla="*/ 41 h 81"/>
                <a:gd name="T74" fmla="*/ 3 w 76"/>
                <a:gd name="T75" fmla="*/ 47 h 81"/>
                <a:gd name="T76" fmla="*/ 1 w 76"/>
                <a:gd name="T77" fmla="*/ 55 h 81"/>
                <a:gd name="T78" fmla="*/ 5 w 76"/>
                <a:gd name="T79" fmla="*/ 58 h 81"/>
                <a:gd name="T80" fmla="*/ 9 w 76"/>
                <a:gd name="T81" fmla="*/ 58 h 81"/>
                <a:gd name="T82" fmla="*/ 12 w 76"/>
                <a:gd name="T83" fmla="*/ 62 h 81"/>
                <a:gd name="T84" fmla="*/ 15 w 76"/>
                <a:gd name="T85" fmla="*/ 70 h 81"/>
                <a:gd name="T86" fmla="*/ 12 w 76"/>
                <a:gd name="T87" fmla="*/ 76 h 81"/>
                <a:gd name="T88" fmla="*/ 14 w 76"/>
                <a:gd name="T89" fmla="*/ 81 h 81"/>
                <a:gd name="T90" fmla="*/ 30 w 76"/>
                <a:gd name="T91" fmla="*/ 76 h 81"/>
                <a:gd name="T92" fmla="*/ 53 w 76"/>
                <a:gd name="T93" fmla="*/ 71 h 81"/>
                <a:gd name="T94" fmla="*/ 70 w 76"/>
                <a:gd name="T95" fmla="*/ 74 h 81"/>
                <a:gd name="T96" fmla="*/ 74 w 76"/>
                <a:gd name="T97" fmla="*/ 70 h 81"/>
                <a:gd name="T98" fmla="*/ 71 w 76"/>
                <a:gd name="T99" fmla="*/ 66 h 81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w 76"/>
                <a:gd name="T151" fmla="*/ 0 h 81"/>
                <a:gd name="T152" fmla="*/ 76 w 76"/>
                <a:gd name="T153" fmla="*/ 81 h 81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T150" t="T151" r="T152" b="T153"/>
              <a:pathLst>
                <a:path w="76" h="81">
                  <a:moveTo>
                    <a:pt x="71" y="66"/>
                  </a:moveTo>
                  <a:cubicBezTo>
                    <a:pt x="70" y="66"/>
                    <a:pt x="69" y="58"/>
                    <a:pt x="67" y="57"/>
                  </a:cubicBezTo>
                  <a:cubicBezTo>
                    <a:pt x="66" y="55"/>
                    <a:pt x="69" y="50"/>
                    <a:pt x="70" y="48"/>
                  </a:cubicBezTo>
                  <a:cubicBezTo>
                    <a:pt x="71" y="47"/>
                    <a:pt x="71" y="42"/>
                    <a:pt x="72" y="38"/>
                  </a:cubicBezTo>
                  <a:cubicBezTo>
                    <a:pt x="75" y="33"/>
                    <a:pt x="76" y="34"/>
                    <a:pt x="76" y="32"/>
                  </a:cubicBezTo>
                  <a:cubicBezTo>
                    <a:pt x="76" y="30"/>
                    <a:pt x="74" y="24"/>
                    <a:pt x="74" y="23"/>
                  </a:cubicBezTo>
                  <a:cubicBezTo>
                    <a:pt x="72" y="21"/>
                    <a:pt x="72" y="21"/>
                    <a:pt x="74" y="19"/>
                  </a:cubicBezTo>
                  <a:cubicBezTo>
                    <a:pt x="74" y="18"/>
                    <a:pt x="70" y="15"/>
                    <a:pt x="69" y="14"/>
                  </a:cubicBezTo>
                  <a:cubicBezTo>
                    <a:pt x="67" y="11"/>
                    <a:pt x="62" y="11"/>
                    <a:pt x="60" y="13"/>
                  </a:cubicBezTo>
                  <a:cubicBezTo>
                    <a:pt x="57" y="14"/>
                    <a:pt x="55" y="15"/>
                    <a:pt x="52" y="16"/>
                  </a:cubicBezTo>
                  <a:cubicBezTo>
                    <a:pt x="51" y="16"/>
                    <a:pt x="48" y="13"/>
                    <a:pt x="46" y="13"/>
                  </a:cubicBezTo>
                  <a:cubicBezTo>
                    <a:pt x="44" y="11"/>
                    <a:pt x="42" y="7"/>
                    <a:pt x="40" y="7"/>
                  </a:cubicBezTo>
                  <a:cubicBezTo>
                    <a:pt x="40" y="7"/>
                    <a:pt x="39" y="5"/>
                    <a:pt x="39" y="5"/>
                  </a:cubicBezTo>
                  <a:cubicBezTo>
                    <a:pt x="39" y="5"/>
                    <a:pt x="38" y="6"/>
                    <a:pt x="35" y="6"/>
                  </a:cubicBezTo>
                  <a:cubicBezTo>
                    <a:pt x="33" y="7"/>
                    <a:pt x="30" y="9"/>
                    <a:pt x="30" y="9"/>
                  </a:cubicBezTo>
                  <a:cubicBezTo>
                    <a:pt x="29" y="1"/>
                    <a:pt x="29" y="1"/>
                    <a:pt x="29" y="1"/>
                  </a:cubicBezTo>
                  <a:cubicBezTo>
                    <a:pt x="29" y="1"/>
                    <a:pt x="28" y="4"/>
                    <a:pt x="28" y="4"/>
                  </a:cubicBezTo>
                  <a:cubicBezTo>
                    <a:pt x="28" y="5"/>
                    <a:pt x="26" y="4"/>
                    <a:pt x="24" y="2"/>
                  </a:cubicBezTo>
                  <a:cubicBezTo>
                    <a:pt x="21" y="0"/>
                    <a:pt x="25" y="7"/>
                    <a:pt x="23" y="6"/>
                  </a:cubicBezTo>
                  <a:cubicBezTo>
                    <a:pt x="20" y="6"/>
                    <a:pt x="20" y="9"/>
                    <a:pt x="20" y="9"/>
                  </a:cubicBezTo>
                  <a:cubicBezTo>
                    <a:pt x="20" y="9"/>
                    <a:pt x="17" y="9"/>
                    <a:pt x="16" y="7"/>
                  </a:cubicBezTo>
                  <a:cubicBezTo>
                    <a:pt x="14" y="5"/>
                    <a:pt x="14" y="5"/>
                    <a:pt x="11" y="6"/>
                  </a:cubicBezTo>
                  <a:cubicBezTo>
                    <a:pt x="10" y="7"/>
                    <a:pt x="9" y="7"/>
                    <a:pt x="7" y="9"/>
                  </a:cubicBezTo>
                  <a:cubicBezTo>
                    <a:pt x="7" y="9"/>
                    <a:pt x="7" y="9"/>
                    <a:pt x="7" y="9"/>
                  </a:cubicBezTo>
                  <a:cubicBezTo>
                    <a:pt x="6" y="11"/>
                    <a:pt x="6" y="11"/>
                    <a:pt x="6" y="11"/>
                  </a:cubicBezTo>
                  <a:cubicBezTo>
                    <a:pt x="6" y="18"/>
                    <a:pt x="6" y="18"/>
                    <a:pt x="6" y="18"/>
                  </a:cubicBezTo>
                  <a:cubicBezTo>
                    <a:pt x="9" y="19"/>
                    <a:pt x="9" y="19"/>
                    <a:pt x="9" y="19"/>
                  </a:cubicBezTo>
                  <a:cubicBezTo>
                    <a:pt x="10" y="23"/>
                    <a:pt x="10" y="23"/>
                    <a:pt x="10" y="23"/>
                  </a:cubicBezTo>
                  <a:cubicBezTo>
                    <a:pt x="10" y="23"/>
                    <a:pt x="6" y="23"/>
                    <a:pt x="7" y="25"/>
                  </a:cubicBezTo>
                  <a:cubicBezTo>
                    <a:pt x="9" y="29"/>
                    <a:pt x="11" y="27"/>
                    <a:pt x="11" y="27"/>
                  </a:cubicBezTo>
                  <a:cubicBezTo>
                    <a:pt x="11" y="32"/>
                    <a:pt x="11" y="32"/>
                    <a:pt x="11" y="32"/>
                  </a:cubicBezTo>
                  <a:cubicBezTo>
                    <a:pt x="6" y="30"/>
                    <a:pt x="6" y="30"/>
                    <a:pt x="6" y="30"/>
                  </a:cubicBezTo>
                  <a:cubicBezTo>
                    <a:pt x="5" y="34"/>
                    <a:pt x="5" y="34"/>
                    <a:pt x="5" y="34"/>
                  </a:cubicBezTo>
                  <a:cubicBezTo>
                    <a:pt x="7" y="36"/>
                    <a:pt x="7" y="36"/>
                    <a:pt x="7" y="36"/>
                  </a:cubicBezTo>
                  <a:cubicBezTo>
                    <a:pt x="6" y="39"/>
                    <a:pt x="6" y="39"/>
                    <a:pt x="6" y="39"/>
                  </a:cubicBezTo>
                  <a:cubicBezTo>
                    <a:pt x="5" y="43"/>
                    <a:pt x="5" y="43"/>
                    <a:pt x="5" y="43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41"/>
                    <a:pt x="5" y="46"/>
                    <a:pt x="3" y="47"/>
                  </a:cubicBezTo>
                  <a:cubicBezTo>
                    <a:pt x="3" y="50"/>
                    <a:pt x="1" y="55"/>
                    <a:pt x="1" y="55"/>
                  </a:cubicBezTo>
                  <a:cubicBezTo>
                    <a:pt x="5" y="58"/>
                    <a:pt x="5" y="58"/>
                    <a:pt x="5" y="58"/>
                  </a:cubicBezTo>
                  <a:cubicBezTo>
                    <a:pt x="9" y="58"/>
                    <a:pt x="9" y="58"/>
                    <a:pt x="9" y="58"/>
                  </a:cubicBezTo>
                  <a:cubicBezTo>
                    <a:pt x="12" y="62"/>
                    <a:pt x="12" y="62"/>
                    <a:pt x="12" y="62"/>
                  </a:cubicBezTo>
                  <a:cubicBezTo>
                    <a:pt x="12" y="62"/>
                    <a:pt x="16" y="66"/>
                    <a:pt x="15" y="70"/>
                  </a:cubicBezTo>
                  <a:cubicBezTo>
                    <a:pt x="14" y="72"/>
                    <a:pt x="12" y="76"/>
                    <a:pt x="12" y="76"/>
                  </a:cubicBezTo>
                  <a:cubicBezTo>
                    <a:pt x="14" y="81"/>
                    <a:pt x="14" y="81"/>
                    <a:pt x="14" y="81"/>
                  </a:cubicBezTo>
                  <a:cubicBezTo>
                    <a:pt x="14" y="81"/>
                    <a:pt x="26" y="78"/>
                    <a:pt x="30" y="76"/>
                  </a:cubicBezTo>
                  <a:cubicBezTo>
                    <a:pt x="34" y="74"/>
                    <a:pt x="48" y="71"/>
                    <a:pt x="53" y="71"/>
                  </a:cubicBezTo>
                  <a:cubicBezTo>
                    <a:pt x="58" y="71"/>
                    <a:pt x="69" y="74"/>
                    <a:pt x="70" y="74"/>
                  </a:cubicBezTo>
                  <a:cubicBezTo>
                    <a:pt x="72" y="74"/>
                    <a:pt x="74" y="72"/>
                    <a:pt x="74" y="70"/>
                  </a:cubicBezTo>
                  <a:cubicBezTo>
                    <a:pt x="74" y="66"/>
                    <a:pt x="72" y="66"/>
                    <a:pt x="71" y="66"/>
                  </a:cubicBezTo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891045"/>
              <a:endParaRPr lang="en-US" sz="1700" dirty="0">
                <a:solidFill>
                  <a:srgbClr val="003149"/>
                </a:solidFill>
                <a:cs typeface="Arial" panose="020B0604020202020204" pitchFamily="34" charset="0"/>
              </a:endParaRPr>
            </a:p>
          </p:txBody>
        </p:sp>
      </p:grpSp>
      <p:grpSp>
        <p:nvGrpSpPr>
          <p:cNvPr id="408" name="Group 212"/>
          <p:cNvGrpSpPr>
            <a:grpSpLocks/>
          </p:cNvGrpSpPr>
          <p:nvPr/>
        </p:nvGrpSpPr>
        <p:grpSpPr bwMode="gray">
          <a:xfrm>
            <a:off x="1072455" y="2290127"/>
            <a:ext cx="84223" cy="126866"/>
            <a:chOff x="4170" y="2883"/>
            <a:chExt cx="58" cy="82"/>
          </a:xfrm>
          <a:solidFill>
            <a:schemeClr val="accent3"/>
          </a:solidFill>
        </p:grpSpPr>
        <p:sp>
          <p:nvSpPr>
            <p:cNvPr id="409" name="Freeform 213"/>
            <p:cNvSpPr>
              <a:spLocks/>
            </p:cNvSpPr>
            <p:nvPr/>
          </p:nvSpPr>
          <p:spPr bwMode="gray">
            <a:xfrm>
              <a:off x="4170" y="2883"/>
              <a:ext cx="58" cy="82"/>
            </a:xfrm>
            <a:custGeom>
              <a:avLst/>
              <a:gdLst>
                <a:gd name="T0" fmla="*/ 0 w 566"/>
                <a:gd name="T1" fmla="*/ 0 h 809"/>
                <a:gd name="T2" fmla="*/ 0 w 566"/>
                <a:gd name="T3" fmla="*/ 0 h 809"/>
                <a:gd name="T4" fmla="*/ 0 w 566"/>
                <a:gd name="T5" fmla="*/ 0 h 809"/>
                <a:gd name="T6" fmla="*/ 0 w 566"/>
                <a:gd name="T7" fmla="*/ 0 h 809"/>
                <a:gd name="T8" fmla="*/ 0 w 566"/>
                <a:gd name="T9" fmla="*/ 0 h 809"/>
                <a:gd name="T10" fmla="*/ 0 w 566"/>
                <a:gd name="T11" fmla="*/ 0 h 809"/>
                <a:gd name="T12" fmla="*/ 0 w 566"/>
                <a:gd name="T13" fmla="*/ 0 h 809"/>
                <a:gd name="T14" fmla="*/ 0 w 566"/>
                <a:gd name="T15" fmla="*/ 0 h 809"/>
                <a:gd name="T16" fmla="*/ 0 w 566"/>
                <a:gd name="T17" fmla="*/ 0 h 809"/>
                <a:gd name="T18" fmla="*/ 0 w 566"/>
                <a:gd name="T19" fmla="*/ 0 h 809"/>
                <a:gd name="T20" fmla="*/ 0 w 566"/>
                <a:gd name="T21" fmla="*/ 0 h 809"/>
                <a:gd name="T22" fmla="*/ 0 w 566"/>
                <a:gd name="T23" fmla="*/ 0 h 809"/>
                <a:gd name="T24" fmla="*/ 0 w 566"/>
                <a:gd name="T25" fmla="*/ 0 h 809"/>
                <a:gd name="T26" fmla="*/ 0 w 566"/>
                <a:gd name="T27" fmla="*/ 0 h 809"/>
                <a:gd name="T28" fmla="*/ 0 w 566"/>
                <a:gd name="T29" fmla="*/ 0 h 809"/>
                <a:gd name="T30" fmla="*/ 0 w 566"/>
                <a:gd name="T31" fmla="*/ 0 h 809"/>
                <a:gd name="T32" fmla="*/ 0 w 566"/>
                <a:gd name="T33" fmla="*/ 0 h 809"/>
                <a:gd name="T34" fmla="*/ 0 w 566"/>
                <a:gd name="T35" fmla="*/ 0 h 809"/>
                <a:gd name="T36" fmla="*/ 0 w 566"/>
                <a:gd name="T37" fmla="*/ 0 h 809"/>
                <a:gd name="T38" fmla="*/ 0 w 566"/>
                <a:gd name="T39" fmla="*/ 0 h 809"/>
                <a:gd name="T40" fmla="*/ 0 w 566"/>
                <a:gd name="T41" fmla="*/ 0 h 809"/>
                <a:gd name="T42" fmla="*/ 0 w 566"/>
                <a:gd name="T43" fmla="*/ 0 h 809"/>
                <a:gd name="T44" fmla="*/ 0 w 566"/>
                <a:gd name="T45" fmla="*/ 0 h 809"/>
                <a:gd name="T46" fmla="*/ 0 w 566"/>
                <a:gd name="T47" fmla="*/ 0 h 809"/>
                <a:gd name="T48" fmla="*/ 0 w 566"/>
                <a:gd name="T49" fmla="*/ 0 h 809"/>
                <a:gd name="T50" fmla="*/ 0 w 566"/>
                <a:gd name="T51" fmla="*/ 0 h 809"/>
                <a:gd name="T52" fmla="*/ 0 w 566"/>
                <a:gd name="T53" fmla="*/ 0 h 809"/>
                <a:gd name="T54" fmla="*/ 0 w 566"/>
                <a:gd name="T55" fmla="*/ 0 h 809"/>
                <a:gd name="T56" fmla="*/ 0 w 566"/>
                <a:gd name="T57" fmla="*/ 0 h 809"/>
                <a:gd name="T58" fmla="*/ 0 w 566"/>
                <a:gd name="T59" fmla="*/ 0 h 809"/>
                <a:gd name="T60" fmla="*/ 0 w 566"/>
                <a:gd name="T61" fmla="*/ 0 h 809"/>
                <a:gd name="T62" fmla="*/ 0 w 566"/>
                <a:gd name="T63" fmla="*/ 0 h 809"/>
                <a:gd name="T64" fmla="*/ 0 w 566"/>
                <a:gd name="T65" fmla="*/ 0 h 809"/>
                <a:gd name="T66" fmla="*/ 0 w 566"/>
                <a:gd name="T67" fmla="*/ 0 h 809"/>
                <a:gd name="T68" fmla="*/ 0 w 566"/>
                <a:gd name="T69" fmla="*/ 0 h 809"/>
                <a:gd name="T70" fmla="*/ 0 w 566"/>
                <a:gd name="T71" fmla="*/ 0 h 809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566"/>
                <a:gd name="T109" fmla="*/ 0 h 809"/>
                <a:gd name="T110" fmla="*/ 566 w 566"/>
                <a:gd name="T111" fmla="*/ 809 h 809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566" h="809">
                  <a:moveTo>
                    <a:pt x="502" y="569"/>
                  </a:moveTo>
                  <a:cubicBezTo>
                    <a:pt x="489" y="556"/>
                    <a:pt x="489" y="518"/>
                    <a:pt x="489" y="493"/>
                  </a:cubicBezTo>
                  <a:cubicBezTo>
                    <a:pt x="502" y="468"/>
                    <a:pt x="476" y="455"/>
                    <a:pt x="489" y="443"/>
                  </a:cubicBezTo>
                  <a:cubicBezTo>
                    <a:pt x="489" y="430"/>
                    <a:pt x="489" y="417"/>
                    <a:pt x="489" y="392"/>
                  </a:cubicBezTo>
                  <a:cubicBezTo>
                    <a:pt x="489" y="367"/>
                    <a:pt x="528" y="354"/>
                    <a:pt x="502" y="341"/>
                  </a:cubicBezTo>
                  <a:cubicBezTo>
                    <a:pt x="489" y="329"/>
                    <a:pt x="489" y="304"/>
                    <a:pt x="476" y="278"/>
                  </a:cubicBezTo>
                  <a:cubicBezTo>
                    <a:pt x="476" y="240"/>
                    <a:pt x="489" y="215"/>
                    <a:pt x="489" y="215"/>
                  </a:cubicBezTo>
                  <a:cubicBezTo>
                    <a:pt x="451" y="203"/>
                    <a:pt x="451" y="203"/>
                    <a:pt x="451" y="203"/>
                  </a:cubicBezTo>
                  <a:cubicBezTo>
                    <a:pt x="451" y="203"/>
                    <a:pt x="451" y="203"/>
                    <a:pt x="463" y="190"/>
                  </a:cubicBezTo>
                  <a:cubicBezTo>
                    <a:pt x="463" y="165"/>
                    <a:pt x="463" y="114"/>
                    <a:pt x="451" y="89"/>
                  </a:cubicBezTo>
                  <a:cubicBezTo>
                    <a:pt x="438" y="76"/>
                    <a:pt x="399" y="51"/>
                    <a:pt x="399" y="51"/>
                  </a:cubicBezTo>
                  <a:cubicBezTo>
                    <a:pt x="425" y="0"/>
                    <a:pt x="425" y="0"/>
                    <a:pt x="425" y="0"/>
                  </a:cubicBezTo>
                  <a:cubicBezTo>
                    <a:pt x="373" y="0"/>
                    <a:pt x="373" y="0"/>
                    <a:pt x="373" y="0"/>
                  </a:cubicBezTo>
                  <a:cubicBezTo>
                    <a:pt x="335" y="13"/>
                    <a:pt x="335" y="13"/>
                    <a:pt x="335" y="13"/>
                  </a:cubicBezTo>
                  <a:cubicBezTo>
                    <a:pt x="335" y="13"/>
                    <a:pt x="283" y="13"/>
                    <a:pt x="270" y="13"/>
                  </a:cubicBezTo>
                  <a:cubicBezTo>
                    <a:pt x="257" y="13"/>
                    <a:pt x="51" y="13"/>
                    <a:pt x="51" y="13"/>
                  </a:cubicBezTo>
                  <a:cubicBezTo>
                    <a:pt x="38" y="51"/>
                    <a:pt x="38" y="51"/>
                    <a:pt x="38" y="51"/>
                  </a:cubicBezTo>
                  <a:cubicBezTo>
                    <a:pt x="64" y="102"/>
                    <a:pt x="64" y="102"/>
                    <a:pt x="64" y="102"/>
                  </a:cubicBezTo>
                  <a:cubicBezTo>
                    <a:pt x="64" y="190"/>
                    <a:pt x="64" y="190"/>
                    <a:pt x="64" y="190"/>
                  </a:cubicBezTo>
                  <a:cubicBezTo>
                    <a:pt x="64" y="203"/>
                    <a:pt x="77" y="215"/>
                    <a:pt x="77" y="215"/>
                  </a:cubicBezTo>
                  <a:cubicBezTo>
                    <a:pt x="64" y="240"/>
                    <a:pt x="64" y="240"/>
                    <a:pt x="77" y="253"/>
                  </a:cubicBezTo>
                  <a:cubicBezTo>
                    <a:pt x="77" y="266"/>
                    <a:pt x="103" y="329"/>
                    <a:pt x="103" y="341"/>
                  </a:cubicBezTo>
                  <a:cubicBezTo>
                    <a:pt x="103" y="367"/>
                    <a:pt x="90" y="354"/>
                    <a:pt x="64" y="405"/>
                  </a:cubicBezTo>
                  <a:cubicBezTo>
                    <a:pt x="51" y="443"/>
                    <a:pt x="51" y="493"/>
                    <a:pt x="38" y="506"/>
                  </a:cubicBezTo>
                  <a:cubicBezTo>
                    <a:pt x="26" y="518"/>
                    <a:pt x="0" y="569"/>
                    <a:pt x="13" y="594"/>
                  </a:cubicBezTo>
                  <a:cubicBezTo>
                    <a:pt x="26" y="607"/>
                    <a:pt x="38" y="683"/>
                    <a:pt x="51" y="683"/>
                  </a:cubicBezTo>
                  <a:cubicBezTo>
                    <a:pt x="64" y="683"/>
                    <a:pt x="77" y="683"/>
                    <a:pt x="77" y="720"/>
                  </a:cubicBezTo>
                  <a:cubicBezTo>
                    <a:pt x="77" y="746"/>
                    <a:pt x="64" y="758"/>
                    <a:pt x="38" y="758"/>
                  </a:cubicBezTo>
                  <a:cubicBezTo>
                    <a:pt x="38" y="758"/>
                    <a:pt x="116" y="771"/>
                    <a:pt x="129" y="784"/>
                  </a:cubicBezTo>
                  <a:cubicBezTo>
                    <a:pt x="154" y="796"/>
                    <a:pt x="180" y="809"/>
                    <a:pt x="180" y="809"/>
                  </a:cubicBezTo>
                  <a:cubicBezTo>
                    <a:pt x="180" y="809"/>
                    <a:pt x="206" y="784"/>
                    <a:pt x="206" y="771"/>
                  </a:cubicBezTo>
                  <a:cubicBezTo>
                    <a:pt x="206" y="758"/>
                    <a:pt x="245" y="758"/>
                    <a:pt x="270" y="746"/>
                  </a:cubicBezTo>
                  <a:cubicBezTo>
                    <a:pt x="296" y="746"/>
                    <a:pt x="386" y="695"/>
                    <a:pt x="425" y="683"/>
                  </a:cubicBezTo>
                  <a:cubicBezTo>
                    <a:pt x="451" y="670"/>
                    <a:pt x="541" y="670"/>
                    <a:pt x="541" y="670"/>
                  </a:cubicBezTo>
                  <a:cubicBezTo>
                    <a:pt x="566" y="632"/>
                    <a:pt x="566" y="632"/>
                    <a:pt x="566" y="632"/>
                  </a:cubicBezTo>
                  <a:cubicBezTo>
                    <a:pt x="566" y="632"/>
                    <a:pt x="528" y="581"/>
                    <a:pt x="502" y="569"/>
                  </a:cubicBezTo>
                </a:path>
              </a:pathLst>
            </a:custGeom>
            <a:grpFill/>
            <a:ln w="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891045"/>
              <a:endParaRPr lang="en-US" sz="1700" dirty="0">
                <a:solidFill>
                  <a:srgbClr val="003149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410" name="Freeform 214"/>
            <p:cNvSpPr>
              <a:spLocks/>
            </p:cNvSpPr>
            <p:nvPr/>
          </p:nvSpPr>
          <p:spPr bwMode="gray">
            <a:xfrm>
              <a:off x="4170" y="2883"/>
              <a:ext cx="58" cy="82"/>
            </a:xfrm>
            <a:custGeom>
              <a:avLst/>
              <a:gdLst>
                <a:gd name="T0" fmla="*/ 51 w 58"/>
                <a:gd name="T1" fmla="*/ 58 h 82"/>
                <a:gd name="T2" fmla="*/ 50 w 58"/>
                <a:gd name="T3" fmla="*/ 50 h 82"/>
                <a:gd name="T4" fmla="*/ 50 w 58"/>
                <a:gd name="T5" fmla="*/ 45 h 82"/>
                <a:gd name="T6" fmla="*/ 50 w 58"/>
                <a:gd name="T7" fmla="*/ 40 h 82"/>
                <a:gd name="T8" fmla="*/ 51 w 58"/>
                <a:gd name="T9" fmla="*/ 35 h 82"/>
                <a:gd name="T10" fmla="*/ 48 w 58"/>
                <a:gd name="T11" fmla="*/ 28 h 82"/>
                <a:gd name="T12" fmla="*/ 50 w 58"/>
                <a:gd name="T13" fmla="*/ 22 h 82"/>
                <a:gd name="T14" fmla="*/ 46 w 58"/>
                <a:gd name="T15" fmla="*/ 21 h 82"/>
                <a:gd name="T16" fmla="*/ 47 w 58"/>
                <a:gd name="T17" fmla="*/ 19 h 82"/>
                <a:gd name="T18" fmla="*/ 46 w 58"/>
                <a:gd name="T19" fmla="*/ 9 h 82"/>
                <a:gd name="T20" fmla="*/ 41 w 58"/>
                <a:gd name="T21" fmla="*/ 5 h 82"/>
                <a:gd name="T22" fmla="*/ 43 w 58"/>
                <a:gd name="T23" fmla="*/ 0 h 82"/>
                <a:gd name="T24" fmla="*/ 38 w 58"/>
                <a:gd name="T25" fmla="*/ 0 h 82"/>
                <a:gd name="T26" fmla="*/ 34 w 58"/>
                <a:gd name="T27" fmla="*/ 2 h 82"/>
                <a:gd name="T28" fmla="*/ 28 w 58"/>
                <a:gd name="T29" fmla="*/ 2 h 82"/>
                <a:gd name="T30" fmla="*/ 6 w 58"/>
                <a:gd name="T31" fmla="*/ 2 h 82"/>
                <a:gd name="T32" fmla="*/ 4 w 58"/>
                <a:gd name="T33" fmla="*/ 5 h 82"/>
                <a:gd name="T34" fmla="*/ 7 w 58"/>
                <a:gd name="T35" fmla="*/ 11 h 82"/>
                <a:gd name="T36" fmla="*/ 7 w 58"/>
                <a:gd name="T37" fmla="*/ 19 h 82"/>
                <a:gd name="T38" fmla="*/ 8 w 58"/>
                <a:gd name="T39" fmla="*/ 22 h 82"/>
                <a:gd name="T40" fmla="*/ 8 w 58"/>
                <a:gd name="T41" fmla="*/ 26 h 82"/>
                <a:gd name="T42" fmla="*/ 11 w 58"/>
                <a:gd name="T43" fmla="*/ 35 h 82"/>
                <a:gd name="T44" fmla="*/ 7 w 58"/>
                <a:gd name="T45" fmla="*/ 41 h 82"/>
                <a:gd name="T46" fmla="*/ 4 w 58"/>
                <a:gd name="T47" fmla="*/ 51 h 82"/>
                <a:gd name="T48" fmla="*/ 2 w 58"/>
                <a:gd name="T49" fmla="*/ 60 h 82"/>
                <a:gd name="T50" fmla="*/ 6 w 58"/>
                <a:gd name="T51" fmla="*/ 69 h 82"/>
                <a:gd name="T52" fmla="*/ 8 w 58"/>
                <a:gd name="T53" fmla="*/ 73 h 82"/>
                <a:gd name="T54" fmla="*/ 4 w 58"/>
                <a:gd name="T55" fmla="*/ 77 h 82"/>
                <a:gd name="T56" fmla="*/ 13 w 58"/>
                <a:gd name="T57" fmla="*/ 79 h 82"/>
                <a:gd name="T58" fmla="*/ 19 w 58"/>
                <a:gd name="T59" fmla="*/ 82 h 82"/>
                <a:gd name="T60" fmla="*/ 21 w 58"/>
                <a:gd name="T61" fmla="*/ 78 h 82"/>
                <a:gd name="T62" fmla="*/ 28 w 58"/>
                <a:gd name="T63" fmla="*/ 76 h 82"/>
                <a:gd name="T64" fmla="*/ 43 w 58"/>
                <a:gd name="T65" fmla="*/ 69 h 82"/>
                <a:gd name="T66" fmla="*/ 55 w 58"/>
                <a:gd name="T67" fmla="*/ 68 h 82"/>
                <a:gd name="T68" fmla="*/ 58 w 58"/>
                <a:gd name="T69" fmla="*/ 64 h 82"/>
                <a:gd name="T70" fmla="*/ 51 w 58"/>
                <a:gd name="T71" fmla="*/ 58 h 82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58"/>
                <a:gd name="T109" fmla="*/ 0 h 82"/>
                <a:gd name="T110" fmla="*/ 58 w 58"/>
                <a:gd name="T111" fmla="*/ 82 h 82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58" h="82">
                  <a:moveTo>
                    <a:pt x="51" y="58"/>
                  </a:moveTo>
                  <a:cubicBezTo>
                    <a:pt x="50" y="56"/>
                    <a:pt x="50" y="53"/>
                    <a:pt x="50" y="50"/>
                  </a:cubicBezTo>
                  <a:cubicBezTo>
                    <a:pt x="51" y="48"/>
                    <a:pt x="48" y="46"/>
                    <a:pt x="50" y="45"/>
                  </a:cubicBezTo>
                  <a:cubicBezTo>
                    <a:pt x="50" y="44"/>
                    <a:pt x="50" y="42"/>
                    <a:pt x="50" y="40"/>
                  </a:cubicBezTo>
                  <a:cubicBezTo>
                    <a:pt x="50" y="37"/>
                    <a:pt x="54" y="36"/>
                    <a:pt x="51" y="35"/>
                  </a:cubicBezTo>
                  <a:cubicBezTo>
                    <a:pt x="50" y="33"/>
                    <a:pt x="50" y="31"/>
                    <a:pt x="48" y="28"/>
                  </a:cubicBezTo>
                  <a:cubicBezTo>
                    <a:pt x="48" y="24"/>
                    <a:pt x="50" y="22"/>
                    <a:pt x="50" y="22"/>
                  </a:cubicBezTo>
                  <a:cubicBezTo>
                    <a:pt x="46" y="21"/>
                    <a:pt x="46" y="21"/>
                    <a:pt x="46" y="21"/>
                  </a:cubicBezTo>
                  <a:cubicBezTo>
                    <a:pt x="46" y="21"/>
                    <a:pt x="46" y="21"/>
                    <a:pt x="47" y="19"/>
                  </a:cubicBezTo>
                  <a:cubicBezTo>
                    <a:pt x="47" y="17"/>
                    <a:pt x="47" y="12"/>
                    <a:pt x="46" y="9"/>
                  </a:cubicBezTo>
                  <a:cubicBezTo>
                    <a:pt x="45" y="8"/>
                    <a:pt x="41" y="5"/>
                    <a:pt x="41" y="5"/>
                  </a:cubicBezTo>
                  <a:cubicBezTo>
                    <a:pt x="43" y="0"/>
                    <a:pt x="43" y="0"/>
                    <a:pt x="43" y="0"/>
                  </a:cubicBezTo>
                  <a:cubicBezTo>
                    <a:pt x="38" y="0"/>
                    <a:pt x="38" y="0"/>
                    <a:pt x="38" y="0"/>
                  </a:cubicBezTo>
                  <a:cubicBezTo>
                    <a:pt x="34" y="2"/>
                    <a:pt x="34" y="2"/>
                    <a:pt x="34" y="2"/>
                  </a:cubicBezTo>
                  <a:cubicBezTo>
                    <a:pt x="34" y="2"/>
                    <a:pt x="29" y="2"/>
                    <a:pt x="28" y="2"/>
                  </a:cubicBezTo>
                  <a:cubicBezTo>
                    <a:pt x="26" y="2"/>
                    <a:pt x="6" y="2"/>
                    <a:pt x="6" y="2"/>
                  </a:cubicBezTo>
                  <a:cubicBezTo>
                    <a:pt x="4" y="5"/>
                    <a:pt x="4" y="5"/>
                    <a:pt x="4" y="5"/>
                  </a:cubicBezTo>
                  <a:cubicBezTo>
                    <a:pt x="7" y="11"/>
                    <a:pt x="7" y="11"/>
                    <a:pt x="7" y="11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7" y="21"/>
                    <a:pt x="8" y="22"/>
                    <a:pt x="8" y="22"/>
                  </a:cubicBezTo>
                  <a:cubicBezTo>
                    <a:pt x="7" y="24"/>
                    <a:pt x="7" y="24"/>
                    <a:pt x="8" y="26"/>
                  </a:cubicBezTo>
                  <a:cubicBezTo>
                    <a:pt x="8" y="27"/>
                    <a:pt x="11" y="33"/>
                    <a:pt x="11" y="35"/>
                  </a:cubicBezTo>
                  <a:cubicBezTo>
                    <a:pt x="11" y="37"/>
                    <a:pt x="10" y="36"/>
                    <a:pt x="7" y="41"/>
                  </a:cubicBezTo>
                  <a:cubicBezTo>
                    <a:pt x="6" y="45"/>
                    <a:pt x="6" y="50"/>
                    <a:pt x="4" y="51"/>
                  </a:cubicBezTo>
                  <a:cubicBezTo>
                    <a:pt x="3" y="53"/>
                    <a:pt x="0" y="58"/>
                    <a:pt x="2" y="60"/>
                  </a:cubicBezTo>
                  <a:cubicBezTo>
                    <a:pt x="3" y="62"/>
                    <a:pt x="4" y="69"/>
                    <a:pt x="6" y="69"/>
                  </a:cubicBezTo>
                  <a:cubicBezTo>
                    <a:pt x="7" y="69"/>
                    <a:pt x="8" y="69"/>
                    <a:pt x="8" y="73"/>
                  </a:cubicBezTo>
                  <a:cubicBezTo>
                    <a:pt x="8" y="76"/>
                    <a:pt x="7" y="77"/>
                    <a:pt x="4" y="77"/>
                  </a:cubicBezTo>
                  <a:cubicBezTo>
                    <a:pt x="4" y="77"/>
                    <a:pt x="12" y="78"/>
                    <a:pt x="13" y="79"/>
                  </a:cubicBezTo>
                  <a:cubicBezTo>
                    <a:pt x="16" y="81"/>
                    <a:pt x="19" y="82"/>
                    <a:pt x="19" y="82"/>
                  </a:cubicBezTo>
                  <a:cubicBezTo>
                    <a:pt x="19" y="82"/>
                    <a:pt x="21" y="79"/>
                    <a:pt x="21" y="78"/>
                  </a:cubicBezTo>
                  <a:cubicBezTo>
                    <a:pt x="21" y="77"/>
                    <a:pt x="25" y="77"/>
                    <a:pt x="28" y="76"/>
                  </a:cubicBezTo>
                  <a:cubicBezTo>
                    <a:pt x="30" y="76"/>
                    <a:pt x="39" y="70"/>
                    <a:pt x="43" y="69"/>
                  </a:cubicBezTo>
                  <a:cubicBezTo>
                    <a:pt x="46" y="68"/>
                    <a:pt x="55" y="68"/>
                    <a:pt x="55" y="68"/>
                  </a:cubicBezTo>
                  <a:cubicBezTo>
                    <a:pt x="58" y="64"/>
                    <a:pt x="58" y="64"/>
                    <a:pt x="58" y="64"/>
                  </a:cubicBezTo>
                  <a:cubicBezTo>
                    <a:pt x="58" y="64"/>
                    <a:pt x="54" y="59"/>
                    <a:pt x="51" y="58"/>
                  </a:cubicBezTo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891045"/>
              <a:endParaRPr lang="en-US" sz="1700" dirty="0">
                <a:solidFill>
                  <a:srgbClr val="003149"/>
                </a:solidFill>
                <a:cs typeface="Arial" panose="020B0604020202020204" pitchFamily="34" charset="0"/>
              </a:endParaRPr>
            </a:p>
          </p:txBody>
        </p:sp>
      </p:grpSp>
      <p:grpSp>
        <p:nvGrpSpPr>
          <p:cNvPr id="411" name="Group 215"/>
          <p:cNvGrpSpPr>
            <a:grpSpLocks/>
          </p:cNvGrpSpPr>
          <p:nvPr/>
        </p:nvGrpSpPr>
        <p:grpSpPr bwMode="gray">
          <a:xfrm>
            <a:off x="1134026" y="2290127"/>
            <a:ext cx="35197" cy="98956"/>
            <a:chOff x="4212" y="2883"/>
            <a:chExt cx="24" cy="64"/>
          </a:xfrm>
          <a:solidFill>
            <a:schemeClr val="accent3"/>
          </a:solidFill>
        </p:grpSpPr>
        <p:sp>
          <p:nvSpPr>
            <p:cNvPr id="412" name="Freeform 216"/>
            <p:cNvSpPr>
              <a:spLocks/>
            </p:cNvSpPr>
            <p:nvPr/>
          </p:nvSpPr>
          <p:spPr bwMode="gray">
            <a:xfrm>
              <a:off x="4212" y="2883"/>
              <a:ext cx="24" cy="64"/>
            </a:xfrm>
            <a:custGeom>
              <a:avLst/>
              <a:gdLst>
                <a:gd name="T0" fmla="*/ 0 w 242"/>
                <a:gd name="T1" fmla="*/ 0 h 634"/>
                <a:gd name="T2" fmla="*/ 0 w 242"/>
                <a:gd name="T3" fmla="*/ 0 h 634"/>
                <a:gd name="T4" fmla="*/ 0 w 242"/>
                <a:gd name="T5" fmla="*/ 0 h 634"/>
                <a:gd name="T6" fmla="*/ 0 w 242"/>
                <a:gd name="T7" fmla="*/ 0 h 634"/>
                <a:gd name="T8" fmla="*/ 0 w 242"/>
                <a:gd name="T9" fmla="*/ 0 h 634"/>
                <a:gd name="T10" fmla="*/ 0 w 242"/>
                <a:gd name="T11" fmla="*/ 0 h 634"/>
                <a:gd name="T12" fmla="*/ 0 w 242"/>
                <a:gd name="T13" fmla="*/ 0 h 634"/>
                <a:gd name="T14" fmla="*/ 0 w 242"/>
                <a:gd name="T15" fmla="*/ 0 h 634"/>
                <a:gd name="T16" fmla="*/ 0 w 242"/>
                <a:gd name="T17" fmla="*/ 0 h 634"/>
                <a:gd name="T18" fmla="*/ 0 w 242"/>
                <a:gd name="T19" fmla="*/ 0 h 634"/>
                <a:gd name="T20" fmla="*/ 0 w 242"/>
                <a:gd name="T21" fmla="*/ 0 h 634"/>
                <a:gd name="T22" fmla="*/ 0 w 242"/>
                <a:gd name="T23" fmla="*/ 0 h 634"/>
                <a:gd name="T24" fmla="*/ 0 w 242"/>
                <a:gd name="T25" fmla="*/ 0 h 634"/>
                <a:gd name="T26" fmla="*/ 0 w 242"/>
                <a:gd name="T27" fmla="*/ 0 h 634"/>
                <a:gd name="T28" fmla="*/ 0 w 242"/>
                <a:gd name="T29" fmla="*/ 0 h 634"/>
                <a:gd name="T30" fmla="*/ 0 w 242"/>
                <a:gd name="T31" fmla="*/ 0 h 634"/>
                <a:gd name="T32" fmla="*/ 0 w 242"/>
                <a:gd name="T33" fmla="*/ 0 h 634"/>
                <a:gd name="T34" fmla="*/ 0 w 242"/>
                <a:gd name="T35" fmla="*/ 0 h 634"/>
                <a:gd name="T36" fmla="*/ 0 w 242"/>
                <a:gd name="T37" fmla="*/ 0 h 634"/>
                <a:gd name="T38" fmla="*/ 0 w 242"/>
                <a:gd name="T39" fmla="*/ 0 h 634"/>
                <a:gd name="T40" fmla="*/ 0 w 242"/>
                <a:gd name="T41" fmla="*/ 0 h 634"/>
                <a:gd name="T42" fmla="*/ 0 w 242"/>
                <a:gd name="T43" fmla="*/ 0 h 634"/>
                <a:gd name="T44" fmla="*/ 0 w 242"/>
                <a:gd name="T45" fmla="*/ 0 h 634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w 242"/>
                <a:gd name="T70" fmla="*/ 0 h 634"/>
                <a:gd name="T71" fmla="*/ 242 w 242"/>
                <a:gd name="T72" fmla="*/ 634 h 634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T69" t="T70" r="T71" b="T72"/>
              <a:pathLst>
                <a:path w="242" h="634">
                  <a:moveTo>
                    <a:pt x="216" y="545"/>
                  </a:moveTo>
                  <a:cubicBezTo>
                    <a:pt x="204" y="532"/>
                    <a:pt x="229" y="507"/>
                    <a:pt x="229" y="507"/>
                  </a:cubicBezTo>
                  <a:cubicBezTo>
                    <a:pt x="229" y="507"/>
                    <a:pt x="229" y="254"/>
                    <a:pt x="216" y="254"/>
                  </a:cubicBezTo>
                  <a:cubicBezTo>
                    <a:pt x="204" y="241"/>
                    <a:pt x="191" y="203"/>
                    <a:pt x="191" y="203"/>
                  </a:cubicBezTo>
                  <a:cubicBezTo>
                    <a:pt x="191" y="140"/>
                    <a:pt x="191" y="140"/>
                    <a:pt x="191" y="140"/>
                  </a:cubicBezTo>
                  <a:cubicBezTo>
                    <a:pt x="191" y="140"/>
                    <a:pt x="127" y="89"/>
                    <a:pt x="115" y="89"/>
                  </a:cubicBezTo>
                  <a:cubicBezTo>
                    <a:pt x="102" y="89"/>
                    <a:pt x="140" y="13"/>
                    <a:pt x="127" y="26"/>
                  </a:cubicBezTo>
                  <a:cubicBezTo>
                    <a:pt x="115" y="26"/>
                    <a:pt x="89" y="13"/>
                    <a:pt x="89" y="13"/>
                  </a:cubicBezTo>
                  <a:cubicBezTo>
                    <a:pt x="89" y="0"/>
                    <a:pt x="26" y="0"/>
                    <a:pt x="26" y="0"/>
                  </a:cubicBezTo>
                  <a:cubicBezTo>
                    <a:pt x="0" y="51"/>
                    <a:pt x="0" y="51"/>
                    <a:pt x="0" y="51"/>
                  </a:cubicBezTo>
                  <a:cubicBezTo>
                    <a:pt x="0" y="51"/>
                    <a:pt x="38" y="76"/>
                    <a:pt x="51" y="89"/>
                  </a:cubicBezTo>
                  <a:cubicBezTo>
                    <a:pt x="64" y="114"/>
                    <a:pt x="64" y="165"/>
                    <a:pt x="64" y="190"/>
                  </a:cubicBezTo>
                  <a:cubicBezTo>
                    <a:pt x="51" y="203"/>
                    <a:pt x="51" y="203"/>
                    <a:pt x="51" y="203"/>
                  </a:cubicBezTo>
                  <a:cubicBezTo>
                    <a:pt x="89" y="216"/>
                    <a:pt x="89" y="216"/>
                    <a:pt x="89" y="216"/>
                  </a:cubicBezTo>
                  <a:cubicBezTo>
                    <a:pt x="89" y="216"/>
                    <a:pt x="76" y="241"/>
                    <a:pt x="76" y="279"/>
                  </a:cubicBezTo>
                  <a:cubicBezTo>
                    <a:pt x="89" y="304"/>
                    <a:pt x="89" y="330"/>
                    <a:pt x="102" y="342"/>
                  </a:cubicBezTo>
                  <a:cubicBezTo>
                    <a:pt x="127" y="355"/>
                    <a:pt x="89" y="368"/>
                    <a:pt x="89" y="393"/>
                  </a:cubicBezTo>
                  <a:cubicBezTo>
                    <a:pt x="89" y="418"/>
                    <a:pt x="89" y="431"/>
                    <a:pt x="89" y="444"/>
                  </a:cubicBezTo>
                  <a:cubicBezTo>
                    <a:pt x="76" y="456"/>
                    <a:pt x="102" y="469"/>
                    <a:pt x="89" y="494"/>
                  </a:cubicBezTo>
                  <a:cubicBezTo>
                    <a:pt x="89" y="520"/>
                    <a:pt x="89" y="558"/>
                    <a:pt x="102" y="570"/>
                  </a:cubicBezTo>
                  <a:cubicBezTo>
                    <a:pt x="127" y="583"/>
                    <a:pt x="165" y="634"/>
                    <a:pt x="165" y="634"/>
                  </a:cubicBezTo>
                  <a:cubicBezTo>
                    <a:pt x="242" y="608"/>
                    <a:pt x="242" y="608"/>
                    <a:pt x="242" y="608"/>
                  </a:cubicBezTo>
                  <a:cubicBezTo>
                    <a:pt x="242" y="608"/>
                    <a:pt x="229" y="570"/>
                    <a:pt x="216" y="545"/>
                  </a:cubicBezTo>
                </a:path>
              </a:pathLst>
            </a:custGeom>
            <a:grpFill/>
            <a:ln w="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891045"/>
              <a:endParaRPr lang="en-US" sz="1700" dirty="0">
                <a:solidFill>
                  <a:srgbClr val="003149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413" name="Freeform 217"/>
            <p:cNvSpPr>
              <a:spLocks/>
            </p:cNvSpPr>
            <p:nvPr/>
          </p:nvSpPr>
          <p:spPr bwMode="gray">
            <a:xfrm>
              <a:off x="4212" y="2883"/>
              <a:ext cx="24" cy="64"/>
            </a:xfrm>
            <a:custGeom>
              <a:avLst/>
              <a:gdLst>
                <a:gd name="T0" fmla="*/ 21 w 24"/>
                <a:gd name="T1" fmla="*/ 55 h 64"/>
                <a:gd name="T2" fmla="*/ 23 w 24"/>
                <a:gd name="T3" fmla="*/ 51 h 64"/>
                <a:gd name="T4" fmla="*/ 21 w 24"/>
                <a:gd name="T5" fmla="*/ 26 h 64"/>
                <a:gd name="T6" fmla="*/ 19 w 24"/>
                <a:gd name="T7" fmla="*/ 21 h 64"/>
                <a:gd name="T8" fmla="*/ 19 w 24"/>
                <a:gd name="T9" fmla="*/ 14 h 64"/>
                <a:gd name="T10" fmla="*/ 11 w 24"/>
                <a:gd name="T11" fmla="*/ 9 h 64"/>
                <a:gd name="T12" fmla="*/ 12 w 24"/>
                <a:gd name="T13" fmla="*/ 3 h 64"/>
                <a:gd name="T14" fmla="*/ 9 w 24"/>
                <a:gd name="T15" fmla="*/ 2 h 64"/>
                <a:gd name="T16" fmla="*/ 2 w 24"/>
                <a:gd name="T17" fmla="*/ 0 h 64"/>
                <a:gd name="T18" fmla="*/ 0 w 24"/>
                <a:gd name="T19" fmla="*/ 5 h 64"/>
                <a:gd name="T20" fmla="*/ 5 w 24"/>
                <a:gd name="T21" fmla="*/ 9 h 64"/>
                <a:gd name="T22" fmla="*/ 6 w 24"/>
                <a:gd name="T23" fmla="*/ 19 h 64"/>
                <a:gd name="T24" fmla="*/ 5 w 24"/>
                <a:gd name="T25" fmla="*/ 21 h 64"/>
                <a:gd name="T26" fmla="*/ 9 w 24"/>
                <a:gd name="T27" fmla="*/ 22 h 64"/>
                <a:gd name="T28" fmla="*/ 7 w 24"/>
                <a:gd name="T29" fmla="*/ 28 h 64"/>
                <a:gd name="T30" fmla="*/ 10 w 24"/>
                <a:gd name="T31" fmla="*/ 35 h 64"/>
                <a:gd name="T32" fmla="*/ 9 w 24"/>
                <a:gd name="T33" fmla="*/ 40 h 64"/>
                <a:gd name="T34" fmla="*/ 9 w 24"/>
                <a:gd name="T35" fmla="*/ 45 h 64"/>
                <a:gd name="T36" fmla="*/ 9 w 24"/>
                <a:gd name="T37" fmla="*/ 50 h 64"/>
                <a:gd name="T38" fmla="*/ 10 w 24"/>
                <a:gd name="T39" fmla="*/ 58 h 64"/>
                <a:gd name="T40" fmla="*/ 16 w 24"/>
                <a:gd name="T41" fmla="*/ 64 h 64"/>
                <a:gd name="T42" fmla="*/ 24 w 24"/>
                <a:gd name="T43" fmla="*/ 62 h 64"/>
                <a:gd name="T44" fmla="*/ 21 w 24"/>
                <a:gd name="T45" fmla="*/ 55 h 64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w 24"/>
                <a:gd name="T70" fmla="*/ 0 h 64"/>
                <a:gd name="T71" fmla="*/ 24 w 24"/>
                <a:gd name="T72" fmla="*/ 64 h 64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T69" t="T70" r="T71" b="T72"/>
              <a:pathLst>
                <a:path w="24" h="64">
                  <a:moveTo>
                    <a:pt x="21" y="55"/>
                  </a:moveTo>
                  <a:cubicBezTo>
                    <a:pt x="20" y="54"/>
                    <a:pt x="23" y="51"/>
                    <a:pt x="23" y="51"/>
                  </a:cubicBezTo>
                  <a:cubicBezTo>
                    <a:pt x="23" y="51"/>
                    <a:pt x="23" y="26"/>
                    <a:pt x="21" y="26"/>
                  </a:cubicBezTo>
                  <a:cubicBezTo>
                    <a:pt x="20" y="25"/>
                    <a:pt x="19" y="21"/>
                    <a:pt x="19" y="21"/>
                  </a:cubicBezTo>
                  <a:cubicBezTo>
                    <a:pt x="19" y="14"/>
                    <a:pt x="19" y="14"/>
                    <a:pt x="19" y="14"/>
                  </a:cubicBezTo>
                  <a:cubicBezTo>
                    <a:pt x="19" y="14"/>
                    <a:pt x="12" y="9"/>
                    <a:pt x="11" y="9"/>
                  </a:cubicBezTo>
                  <a:cubicBezTo>
                    <a:pt x="10" y="9"/>
                    <a:pt x="14" y="2"/>
                    <a:pt x="12" y="3"/>
                  </a:cubicBezTo>
                  <a:cubicBezTo>
                    <a:pt x="11" y="3"/>
                    <a:pt x="9" y="2"/>
                    <a:pt x="9" y="2"/>
                  </a:cubicBezTo>
                  <a:cubicBezTo>
                    <a:pt x="9" y="0"/>
                    <a:pt x="2" y="0"/>
                    <a:pt x="2" y="0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5"/>
                    <a:pt x="3" y="8"/>
                    <a:pt x="5" y="9"/>
                  </a:cubicBezTo>
                  <a:cubicBezTo>
                    <a:pt x="6" y="12"/>
                    <a:pt x="6" y="17"/>
                    <a:pt x="6" y="19"/>
                  </a:cubicBezTo>
                  <a:cubicBezTo>
                    <a:pt x="5" y="21"/>
                    <a:pt x="5" y="21"/>
                    <a:pt x="5" y="21"/>
                  </a:cubicBezTo>
                  <a:cubicBezTo>
                    <a:pt x="9" y="22"/>
                    <a:pt x="9" y="22"/>
                    <a:pt x="9" y="22"/>
                  </a:cubicBezTo>
                  <a:cubicBezTo>
                    <a:pt x="9" y="22"/>
                    <a:pt x="7" y="25"/>
                    <a:pt x="7" y="28"/>
                  </a:cubicBezTo>
                  <a:cubicBezTo>
                    <a:pt x="9" y="31"/>
                    <a:pt x="9" y="34"/>
                    <a:pt x="10" y="35"/>
                  </a:cubicBezTo>
                  <a:cubicBezTo>
                    <a:pt x="12" y="36"/>
                    <a:pt x="9" y="37"/>
                    <a:pt x="9" y="40"/>
                  </a:cubicBezTo>
                  <a:cubicBezTo>
                    <a:pt x="9" y="42"/>
                    <a:pt x="9" y="44"/>
                    <a:pt x="9" y="45"/>
                  </a:cubicBezTo>
                  <a:cubicBezTo>
                    <a:pt x="7" y="46"/>
                    <a:pt x="10" y="48"/>
                    <a:pt x="9" y="50"/>
                  </a:cubicBezTo>
                  <a:cubicBezTo>
                    <a:pt x="9" y="53"/>
                    <a:pt x="9" y="57"/>
                    <a:pt x="10" y="58"/>
                  </a:cubicBezTo>
                  <a:cubicBezTo>
                    <a:pt x="12" y="59"/>
                    <a:pt x="16" y="64"/>
                    <a:pt x="16" y="64"/>
                  </a:cubicBezTo>
                  <a:cubicBezTo>
                    <a:pt x="24" y="62"/>
                    <a:pt x="24" y="62"/>
                    <a:pt x="24" y="62"/>
                  </a:cubicBezTo>
                  <a:cubicBezTo>
                    <a:pt x="24" y="62"/>
                    <a:pt x="23" y="58"/>
                    <a:pt x="21" y="55"/>
                  </a:cubicBezTo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891045"/>
              <a:endParaRPr lang="en-US" sz="1700" dirty="0">
                <a:solidFill>
                  <a:srgbClr val="003149"/>
                </a:solidFill>
                <a:cs typeface="Arial" panose="020B0604020202020204" pitchFamily="34" charset="0"/>
              </a:endParaRPr>
            </a:p>
          </p:txBody>
        </p:sp>
      </p:grpSp>
      <p:grpSp>
        <p:nvGrpSpPr>
          <p:cNvPr id="414" name="Group 218"/>
          <p:cNvGrpSpPr>
            <a:grpSpLocks/>
          </p:cNvGrpSpPr>
          <p:nvPr/>
        </p:nvGrpSpPr>
        <p:grpSpPr bwMode="gray">
          <a:xfrm>
            <a:off x="1150367" y="2263510"/>
            <a:ext cx="55310" cy="121791"/>
            <a:chOff x="4223" y="2866"/>
            <a:chExt cx="38" cy="79"/>
          </a:xfrm>
          <a:solidFill>
            <a:schemeClr val="accent3"/>
          </a:solidFill>
        </p:grpSpPr>
        <p:sp>
          <p:nvSpPr>
            <p:cNvPr id="415" name="Freeform 219"/>
            <p:cNvSpPr>
              <a:spLocks/>
            </p:cNvSpPr>
            <p:nvPr/>
          </p:nvSpPr>
          <p:spPr bwMode="gray">
            <a:xfrm>
              <a:off x="4223" y="2866"/>
              <a:ext cx="38" cy="79"/>
            </a:xfrm>
            <a:custGeom>
              <a:avLst/>
              <a:gdLst>
                <a:gd name="T0" fmla="*/ 0 w 384"/>
                <a:gd name="T1" fmla="*/ 0 h 784"/>
                <a:gd name="T2" fmla="*/ 0 w 384"/>
                <a:gd name="T3" fmla="*/ 0 h 784"/>
                <a:gd name="T4" fmla="*/ 0 w 384"/>
                <a:gd name="T5" fmla="*/ 0 h 784"/>
                <a:gd name="T6" fmla="*/ 0 w 384"/>
                <a:gd name="T7" fmla="*/ 0 h 784"/>
                <a:gd name="T8" fmla="*/ 0 w 384"/>
                <a:gd name="T9" fmla="*/ 0 h 784"/>
                <a:gd name="T10" fmla="*/ 0 w 384"/>
                <a:gd name="T11" fmla="*/ 0 h 784"/>
                <a:gd name="T12" fmla="*/ 0 w 384"/>
                <a:gd name="T13" fmla="*/ 0 h 784"/>
                <a:gd name="T14" fmla="*/ 0 w 384"/>
                <a:gd name="T15" fmla="*/ 0 h 784"/>
                <a:gd name="T16" fmla="*/ 0 w 384"/>
                <a:gd name="T17" fmla="*/ 0 h 784"/>
                <a:gd name="T18" fmla="*/ 0 w 384"/>
                <a:gd name="T19" fmla="*/ 0 h 784"/>
                <a:gd name="T20" fmla="*/ 0 w 384"/>
                <a:gd name="T21" fmla="*/ 0 h 784"/>
                <a:gd name="T22" fmla="*/ 0 w 384"/>
                <a:gd name="T23" fmla="*/ 0 h 784"/>
                <a:gd name="T24" fmla="*/ 0 w 384"/>
                <a:gd name="T25" fmla="*/ 0 h 784"/>
                <a:gd name="T26" fmla="*/ 0 w 384"/>
                <a:gd name="T27" fmla="*/ 0 h 784"/>
                <a:gd name="T28" fmla="*/ 0 w 384"/>
                <a:gd name="T29" fmla="*/ 0 h 784"/>
                <a:gd name="T30" fmla="*/ 0 w 384"/>
                <a:gd name="T31" fmla="*/ 0 h 784"/>
                <a:gd name="T32" fmla="*/ 0 w 384"/>
                <a:gd name="T33" fmla="*/ 0 h 784"/>
                <a:gd name="T34" fmla="*/ 0 w 384"/>
                <a:gd name="T35" fmla="*/ 0 h 784"/>
                <a:gd name="T36" fmla="*/ 0 w 384"/>
                <a:gd name="T37" fmla="*/ 0 h 784"/>
                <a:gd name="T38" fmla="*/ 0 w 384"/>
                <a:gd name="T39" fmla="*/ 0 h 784"/>
                <a:gd name="T40" fmla="*/ 0 w 384"/>
                <a:gd name="T41" fmla="*/ 0 h 784"/>
                <a:gd name="T42" fmla="*/ 0 w 384"/>
                <a:gd name="T43" fmla="*/ 0 h 784"/>
                <a:gd name="T44" fmla="*/ 0 w 384"/>
                <a:gd name="T45" fmla="*/ 0 h 784"/>
                <a:gd name="T46" fmla="*/ 0 w 384"/>
                <a:gd name="T47" fmla="*/ 0 h 784"/>
                <a:gd name="T48" fmla="*/ 0 w 384"/>
                <a:gd name="T49" fmla="*/ 0 h 784"/>
                <a:gd name="T50" fmla="*/ 0 w 384"/>
                <a:gd name="T51" fmla="*/ 0 h 784"/>
                <a:gd name="T52" fmla="*/ 0 w 384"/>
                <a:gd name="T53" fmla="*/ 0 h 784"/>
                <a:gd name="T54" fmla="*/ 0 w 384"/>
                <a:gd name="T55" fmla="*/ 0 h 784"/>
                <a:gd name="T56" fmla="*/ 0 w 384"/>
                <a:gd name="T57" fmla="*/ 0 h 784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w 384"/>
                <a:gd name="T88" fmla="*/ 0 h 784"/>
                <a:gd name="T89" fmla="*/ 384 w 384"/>
                <a:gd name="T90" fmla="*/ 784 h 784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T87" t="T88" r="T89" b="T90"/>
              <a:pathLst>
                <a:path w="384" h="784">
                  <a:moveTo>
                    <a:pt x="25" y="193"/>
                  </a:moveTo>
                  <a:cubicBezTo>
                    <a:pt x="38" y="180"/>
                    <a:pt x="0" y="257"/>
                    <a:pt x="13" y="257"/>
                  </a:cubicBezTo>
                  <a:cubicBezTo>
                    <a:pt x="25" y="257"/>
                    <a:pt x="87" y="309"/>
                    <a:pt x="87" y="309"/>
                  </a:cubicBezTo>
                  <a:cubicBezTo>
                    <a:pt x="87" y="373"/>
                    <a:pt x="87" y="373"/>
                    <a:pt x="87" y="373"/>
                  </a:cubicBezTo>
                  <a:cubicBezTo>
                    <a:pt x="87" y="373"/>
                    <a:pt x="99" y="411"/>
                    <a:pt x="112" y="424"/>
                  </a:cubicBezTo>
                  <a:cubicBezTo>
                    <a:pt x="124" y="424"/>
                    <a:pt x="124" y="681"/>
                    <a:pt x="124" y="681"/>
                  </a:cubicBezTo>
                  <a:cubicBezTo>
                    <a:pt x="124" y="681"/>
                    <a:pt x="99" y="707"/>
                    <a:pt x="112" y="720"/>
                  </a:cubicBezTo>
                  <a:cubicBezTo>
                    <a:pt x="124" y="745"/>
                    <a:pt x="136" y="784"/>
                    <a:pt x="136" y="784"/>
                  </a:cubicBezTo>
                  <a:cubicBezTo>
                    <a:pt x="260" y="771"/>
                    <a:pt x="260" y="771"/>
                    <a:pt x="260" y="771"/>
                  </a:cubicBezTo>
                  <a:cubicBezTo>
                    <a:pt x="260" y="771"/>
                    <a:pt x="248" y="720"/>
                    <a:pt x="248" y="681"/>
                  </a:cubicBezTo>
                  <a:cubicBezTo>
                    <a:pt x="260" y="655"/>
                    <a:pt x="248" y="630"/>
                    <a:pt x="248" y="604"/>
                  </a:cubicBezTo>
                  <a:cubicBezTo>
                    <a:pt x="248" y="578"/>
                    <a:pt x="248" y="540"/>
                    <a:pt x="248" y="488"/>
                  </a:cubicBezTo>
                  <a:cubicBezTo>
                    <a:pt x="248" y="450"/>
                    <a:pt x="260" y="437"/>
                    <a:pt x="273" y="424"/>
                  </a:cubicBezTo>
                  <a:cubicBezTo>
                    <a:pt x="273" y="424"/>
                    <a:pt x="297" y="424"/>
                    <a:pt x="297" y="411"/>
                  </a:cubicBezTo>
                  <a:cubicBezTo>
                    <a:pt x="310" y="386"/>
                    <a:pt x="297" y="373"/>
                    <a:pt x="310" y="360"/>
                  </a:cubicBezTo>
                  <a:cubicBezTo>
                    <a:pt x="322" y="347"/>
                    <a:pt x="322" y="334"/>
                    <a:pt x="334" y="322"/>
                  </a:cubicBezTo>
                  <a:cubicBezTo>
                    <a:pt x="359" y="322"/>
                    <a:pt x="347" y="334"/>
                    <a:pt x="359" y="283"/>
                  </a:cubicBezTo>
                  <a:cubicBezTo>
                    <a:pt x="371" y="244"/>
                    <a:pt x="359" y="257"/>
                    <a:pt x="371" y="244"/>
                  </a:cubicBezTo>
                  <a:cubicBezTo>
                    <a:pt x="384" y="244"/>
                    <a:pt x="384" y="219"/>
                    <a:pt x="384" y="219"/>
                  </a:cubicBezTo>
                  <a:cubicBezTo>
                    <a:pt x="384" y="219"/>
                    <a:pt x="384" y="193"/>
                    <a:pt x="359" y="167"/>
                  </a:cubicBezTo>
                  <a:cubicBezTo>
                    <a:pt x="347" y="142"/>
                    <a:pt x="347" y="129"/>
                    <a:pt x="347" y="116"/>
                  </a:cubicBezTo>
                  <a:cubicBezTo>
                    <a:pt x="359" y="90"/>
                    <a:pt x="347" y="78"/>
                    <a:pt x="334" y="65"/>
                  </a:cubicBezTo>
                  <a:cubicBezTo>
                    <a:pt x="310" y="52"/>
                    <a:pt x="310" y="52"/>
                    <a:pt x="297" y="26"/>
                  </a:cubicBezTo>
                  <a:cubicBezTo>
                    <a:pt x="285" y="0"/>
                    <a:pt x="260" y="0"/>
                    <a:pt x="248" y="0"/>
                  </a:cubicBezTo>
                  <a:cubicBezTo>
                    <a:pt x="235" y="0"/>
                    <a:pt x="211" y="13"/>
                    <a:pt x="211" y="13"/>
                  </a:cubicBezTo>
                  <a:cubicBezTo>
                    <a:pt x="211" y="13"/>
                    <a:pt x="223" y="52"/>
                    <a:pt x="211" y="65"/>
                  </a:cubicBezTo>
                  <a:cubicBezTo>
                    <a:pt x="198" y="78"/>
                    <a:pt x="174" y="116"/>
                    <a:pt x="161" y="116"/>
                  </a:cubicBezTo>
                  <a:cubicBezTo>
                    <a:pt x="149" y="116"/>
                    <a:pt x="124" y="129"/>
                    <a:pt x="99" y="116"/>
                  </a:cubicBezTo>
                  <a:cubicBezTo>
                    <a:pt x="75" y="116"/>
                    <a:pt x="25" y="180"/>
                    <a:pt x="25" y="180"/>
                  </a:cubicBezTo>
                </a:path>
              </a:pathLst>
            </a:custGeom>
            <a:grpFill/>
            <a:ln w="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891045"/>
              <a:endParaRPr lang="en-US" sz="1700" dirty="0">
                <a:solidFill>
                  <a:srgbClr val="003149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416" name="Freeform 220"/>
            <p:cNvSpPr>
              <a:spLocks/>
            </p:cNvSpPr>
            <p:nvPr/>
          </p:nvSpPr>
          <p:spPr bwMode="gray">
            <a:xfrm>
              <a:off x="4223" y="2866"/>
              <a:ext cx="38" cy="79"/>
            </a:xfrm>
            <a:custGeom>
              <a:avLst/>
              <a:gdLst>
                <a:gd name="T0" fmla="*/ 2 w 38"/>
                <a:gd name="T1" fmla="*/ 19 h 79"/>
                <a:gd name="T2" fmla="*/ 1 w 38"/>
                <a:gd name="T3" fmla="*/ 26 h 79"/>
                <a:gd name="T4" fmla="*/ 8 w 38"/>
                <a:gd name="T5" fmla="*/ 31 h 79"/>
                <a:gd name="T6" fmla="*/ 8 w 38"/>
                <a:gd name="T7" fmla="*/ 37 h 79"/>
                <a:gd name="T8" fmla="*/ 11 w 38"/>
                <a:gd name="T9" fmla="*/ 42 h 79"/>
                <a:gd name="T10" fmla="*/ 12 w 38"/>
                <a:gd name="T11" fmla="*/ 68 h 79"/>
                <a:gd name="T12" fmla="*/ 11 w 38"/>
                <a:gd name="T13" fmla="*/ 72 h 79"/>
                <a:gd name="T14" fmla="*/ 13 w 38"/>
                <a:gd name="T15" fmla="*/ 79 h 79"/>
                <a:gd name="T16" fmla="*/ 26 w 38"/>
                <a:gd name="T17" fmla="*/ 77 h 79"/>
                <a:gd name="T18" fmla="*/ 25 w 38"/>
                <a:gd name="T19" fmla="*/ 68 h 79"/>
                <a:gd name="T20" fmla="*/ 25 w 38"/>
                <a:gd name="T21" fmla="*/ 61 h 79"/>
                <a:gd name="T22" fmla="*/ 25 w 38"/>
                <a:gd name="T23" fmla="*/ 49 h 79"/>
                <a:gd name="T24" fmla="*/ 27 w 38"/>
                <a:gd name="T25" fmla="*/ 42 h 79"/>
                <a:gd name="T26" fmla="*/ 29 w 38"/>
                <a:gd name="T27" fmla="*/ 41 h 79"/>
                <a:gd name="T28" fmla="*/ 31 w 38"/>
                <a:gd name="T29" fmla="*/ 36 h 79"/>
                <a:gd name="T30" fmla="*/ 33 w 38"/>
                <a:gd name="T31" fmla="*/ 32 h 79"/>
                <a:gd name="T32" fmla="*/ 36 w 38"/>
                <a:gd name="T33" fmla="*/ 28 h 79"/>
                <a:gd name="T34" fmla="*/ 37 w 38"/>
                <a:gd name="T35" fmla="*/ 24 h 79"/>
                <a:gd name="T36" fmla="*/ 38 w 38"/>
                <a:gd name="T37" fmla="*/ 22 h 79"/>
                <a:gd name="T38" fmla="*/ 36 w 38"/>
                <a:gd name="T39" fmla="*/ 16 h 79"/>
                <a:gd name="T40" fmla="*/ 35 w 38"/>
                <a:gd name="T41" fmla="*/ 11 h 79"/>
                <a:gd name="T42" fmla="*/ 33 w 38"/>
                <a:gd name="T43" fmla="*/ 6 h 79"/>
                <a:gd name="T44" fmla="*/ 29 w 38"/>
                <a:gd name="T45" fmla="*/ 2 h 79"/>
                <a:gd name="T46" fmla="*/ 25 w 38"/>
                <a:gd name="T47" fmla="*/ 0 h 79"/>
                <a:gd name="T48" fmla="*/ 21 w 38"/>
                <a:gd name="T49" fmla="*/ 1 h 79"/>
                <a:gd name="T50" fmla="*/ 21 w 38"/>
                <a:gd name="T51" fmla="*/ 6 h 79"/>
                <a:gd name="T52" fmla="*/ 16 w 38"/>
                <a:gd name="T53" fmla="*/ 11 h 79"/>
                <a:gd name="T54" fmla="*/ 9 w 38"/>
                <a:gd name="T55" fmla="*/ 11 h 79"/>
                <a:gd name="T56" fmla="*/ 2 w 38"/>
                <a:gd name="T57" fmla="*/ 18 h 79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w 38"/>
                <a:gd name="T88" fmla="*/ 0 h 79"/>
                <a:gd name="T89" fmla="*/ 38 w 38"/>
                <a:gd name="T90" fmla="*/ 79 h 79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T87" t="T88" r="T89" b="T90"/>
              <a:pathLst>
                <a:path w="38" h="79">
                  <a:moveTo>
                    <a:pt x="2" y="19"/>
                  </a:moveTo>
                  <a:cubicBezTo>
                    <a:pt x="3" y="18"/>
                    <a:pt x="0" y="26"/>
                    <a:pt x="1" y="26"/>
                  </a:cubicBezTo>
                  <a:cubicBezTo>
                    <a:pt x="2" y="26"/>
                    <a:pt x="8" y="31"/>
                    <a:pt x="8" y="31"/>
                  </a:cubicBezTo>
                  <a:cubicBezTo>
                    <a:pt x="8" y="37"/>
                    <a:pt x="8" y="37"/>
                    <a:pt x="8" y="37"/>
                  </a:cubicBezTo>
                  <a:cubicBezTo>
                    <a:pt x="8" y="37"/>
                    <a:pt x="9" y="41"/>
                    <a:pt x="11" y="42"/>
                  </a:cubicBezTo>
                  <a:cubicBezTo>
                    <a:pt x="12" y="42"/>
                    <a:pt x="12" y="68"/>
                    <a:pt x="12" y="68"/>
                  </a:cubicBezTo>
                  <a:cubicBezTo>
                    <a:pt x="12" y="68"/>
                    <a:pt x="9" y="71"/>
                    <a:pt x="11" y="72"/>
                  </a:cubicBezTo>
                  <a:cubicBezTo>
                    <a:pt x="12" y="75"/>
                    <a:pt x="13" y="79"/>
                    <a:pt x="13" y="79"/>
                  </a:cubicBezTo>
                  <a:cubicBezTo>
                    <a:pt x="26" y="77"/>
                    <a:pt x="26" y="77"/>
                    <a:pt x="26" y="77"/>
                  </a:cubicBezTo>
                  <a:cubicBezTo>
                    <a:pt x="26" y="77"/>
                    <a:pt x="25" y="72"/>
                    <a:pt x="25" y="68"/>
                  </a:cubicBezTo>
                  <a:cubicBezTo>
                    <a:pt x="26" y="66"/>
                    <a:pt x="25" y="63"/>
                    <a:pt x="25" y="61"/>
                  </a:cubicBezTo>
                  <a:cubicBezTo>
                    <a:pt x="25" y="58"/>
                    <a:pt x="25" y="54"/>
                    <a:pt x="25" y="49"/>
                  </a:cubicBezTo>
                  <a:cubicBezTo>
                    <a:pt x="25" y="45"/>
                    <a:pt x="26" y="44"/>
                    <a:pt x="27" y="42"/>
                  </a:cubicBezTo>
                  <a:cubicBezTo>
                    <a:pt x="27" y="42"/>
                    <a:pt x="29" y="42"/>
                    <a:pt x="29" y="41"/>
                  </a:cubicBezTo>
                  <a:cubicBezTo>
                    <a:pt x="31" y="39"/>
                    <a:pt x="29" y="37"/>
                    <a:pt x="31" y="36"/>
                  </a:cubicBezTo>
                  <a:cubicBezTo>
                    <a:pt x="32" y="35"/>
                    <a:pt x="32" y="33"/>
                    <a:pt x="33" y="32"/>
                  </a:cubicBezTo>
                  <a:cubicBezTo>
                    <a:pt x="36" y="32"/>
                    <a:pt x="35" y="33"/>
                    <a:pt x="36" y="28"/>
                  </a:cubicBezTo>
                  <a:cubicBezTo>
                    <a:pt x="37" y="24"/>
                    <a:pt x="36" y="26"/>
                    <a:pt x="37" y="24"/>
                  </a:cubicBezTo>
                  <a:cubicBezTo>
                    <a:pt x="38" y="24"/>
                    <a:pt x="38" y="22"/>
                    <a:pt x="38" y="22"/>
                  </a:cubicBezTo>
                  <a:cubicBezTo>
                    <a:pt x="38" y="22"/>
                    <a:pt x="38" y="19"/>
                    <a:pt x="36" y="16"/>
                  </a:cubicBezTo>
                  <a:cubicBezTo>
                    <a:pt x="35" y="14"/>
                    <a:pt x="35" y="13"/>
                    <a:pt x="35" y="11"/>
                  </a:cubicBezTo>
                  <a:cubicBezTo>
                    <a:pt x="36" y="9"/>
                    <a:pt x="35" y="7"/>
                    <a:pt x="33" y="6"/>
                  </a:cubicBezTo>
                  <a:cubicBezTo>
                    <a:pt x="31" y="5"/>
                    <a:pt x="31" y="5"/>
                    <a:pt x="29" y="2"/>
                  </a:cubicBezTo>
                  <a:cubicBezTo>
                    <a:pt x="28" y="0"/>
                    <a:pt x="26" y="0"/>
                    <a:pt x="25" y="0"/>
                  </a:cubicBezTo>
                  <a:cubicBezTo>
                    <a:pt x="23" y="0"/>
                    <a:pt x="21" y="1"/>
                    <a:pt x="21" y="1"/>
                  </a:cubicBezTo>
                  <a:cubicBezTo>
                    <a:pt x="21" y="1"/>
                    <a:pt x="22" y="5"/>
                    <a:pt x="21" y="6"/>
                  </a:cubicBezTo>
                  <a:cubicBezTo>
                    <a:pt x="19" y="7"/>
                    <a:pt x="17" y="11"/>
                    <a:pt x="16" y="11"/>
                  </a:cubicBezTo>
                  <a:cubicBezTo>
                    <a:pt x="15" y="11"/>
                    <a:pt x="12" y="13"/>
                    <a:pt x="9" y="11"/>
                  </a:cubicBezTo>
                  <a:cubicBezTo>
                    <a:pt x="7" y="11"/>
                    <a:pt x="2" y="18"/>
                    <a:pt x="2" y="18"/>
                  </a:cubicBezTo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891045"/>
              <a:endParaRPr lang="en-US" sz="1700" dirty="0">
                <a:solidFill>
                  <a:srgbClr val="003149"/>
                </a:solidFill>
                <a:cs typeface="Arial" panose="020B0604020202020204" pitchFamily="34" charset="0"/>
              </a:endParaRPr>
            </a:p>
          </p:txBody>
        </p:sp>
      </p:grpSp>
      <p:grpSp>
        <p:nvGrpSpPr>
          <p:cNvPr id="417" name="Group 221"/>
          <p:cNvGrpSpPr>
            <a:grpSpLocks/>
          </p:cNvGrpSpPr>
          <p:nvPr/>
        </p:nvGrpSpPr>
        <p:grpSpPr bwMode="gray">
          <a:xfrm>
            <a:off x="1186845" y="2230506"/>
            <a:ext cx="221241" cy="196642"/>
            <a:chOff x="4248" y="2845"/>
            <a:chExt cx="151" cy="127"/>
          </a:xfrm>
          <a:solidFill>
            <a:schemeClr val="accent3"/>
          </a:solidFill>
        </p:grpSpPr>
        <p:sp>
          <p:nvSpPr>
            <p:cNvPr id="418" name="Freeform 222"/>
            <p:cNvSpPr>
              <a:spLocks/>
            </p:cNvSpPr>
            <p:nvPr/>
          </p:nvSpPr>
          <p:spPr bwMode="gray">
            <a:xfrm>
              <a:off x="4248" y="2845"/>
              <a:ext cx="151" cy="127"/>
            </a:xfrm>
            <a:custGeom>
              <a:avLst/>
              <a:gdLst>
                <a:gd name="T0" fmla="*/ 0 w 1500"/>
                <a:gd name="T1" fmla="*/ 0 h 1250"/>
                <a:gd name="T2" fmla="*/ 0 w 1500"/>
                <a:gd name="T3" fmla="*/ 0 h 1250"/>
                <a:gd name="T4" fmla="*/ 0 w 1500"/>
                <a:gd name="T5" fmla="*/ 0 h 1250"/>
                <a:gd name="T6" fmla="*/ 0 w 1500"/>
                <a:gd name="T7" fmla="*/ 0 h 1250"/>
                <a:gd name="T8" fmla="*/ 0 w 1500"/>
                <a:gd name="T9" fmla="*/ 0 h 1250"/>
                <a:gd name="T10" fmla="*/ 0 w 1500"/>
                <a:gd name="T11" fmla="*/ 0 h 1250"/>
                <a:gd name="T12" fmla="*/ 0 w 1500"/>
                <a:gd name="T13" fmla="*/ 0 h 1250"/>
                <a:gd name="T14" fmla="*/ 0 w 1500"/>
                <a:gd name="T15" fmla="*/ 0 h 1250"/>
                <a:gd name="T16" fmla="*/ 0 w 1500"/>
                <a:gd name="T17" fmla="*/ 0 h 1250"/>
                <a:gd name="T18" fmla="*/ 0 w 1500"/>
                <a:gd name="T19" fmla="*/ 0 h 1250"/>
                <a:gd name="T20" fmla="*/ 0 w 1500"/>
                <a:gd name="T21" fmla="*/ 0 h 1250"/>
                <a:gd name="T22" fmla="*/ 0 w 1500"/>
                <a:gd name="T23" fmla="*/ 0 h 1250"/>
                <a:gd name="T24" fmla="*/ 0 w 1500"/>
                <a:gd name="T25" fmla="*/ 0 h 1250"/>
                <a:gd name="T26" fmla="*/ 0 w 1500"/>
                <a:gd name="T27" fmla="*/ 0 h 1250"/>
                <a:gd name="T28" fmla="*/ 0 w 1500"/>
                <a:gd name="T29" fmla="*/ 0 h 1250"/>
                <a:gd name="T30" fmla="*/ 0 w 1500"/>
                <a:gd name="T31" fmla="*/ 0 h 1250"/>
                <a:gd name="T32" fmla="*/ 0 w 1500"/>
                <a:gd name="T33" fmla="*/ 0 h 1250"/>
                <a:gd name="T34" fmla="*/ 0 w 1500"/>
                <a:gd name="T35" fmla="*/ 0 h 1250"/>
                <a:gd name="T36" fmla="*/ 0 w 1500"/>
                <a:gd name="T37" fmla="*/ 0 h 1250"/>
                <a:gd name="T38" fmla="*/ 0 w 1500"/>
                <a:gd name="T39" fmla="*/ 0 h 1250"/>
                <a:gd name="T40" fmla="*/ 0 w 1500"/>
                <a:gd name="T41" fmla="*/ 0 h 1250"/>
                <a:gd name="T42" fmla="*/ 0 w 1500"/>
                <a:gd name="T43" fmla="*/ 0 h 1250"/>
                <a:gd name="T44" fmla="*/ 0 w 1500"/>
                <a:gd name="T45" fmla="*/ 0 h 1250"/>
                <a:gd name="T46" fmla="*/ 0 w 1500"/>
                <a:gd name="T47" fmla="*/ 0 h 1250"/>
                <a:gd name="T48" fmla="*/ 0 w 1500"/>
                <a:gd name="T49" fmla="*/ 0 h 1250"/>
                <a:gd name="T50" fmla="*/ 0 w 1500"/>
                <a:gd name="T51" fmla="*/ 0 h 1250"/>
                <a:gd name="T52" fmla="*/ 0 w 1500"/>
                <a:gd name="T53" fmla="*/ 0 h 1250"/>
                <a:gd name="T54" fmla="*/ 0 w 1500"/>
                <a:gd name="T55" fmla="*/ 0 h 1250"/>
                <a:gd name="T56" fmla="*/ 0 w 1500"/>
                <a:gd name="T57" fmla="*/ 0 h 1250"/>
                <a:gd name="T58" fmla="*/ 0 w 1500"/>
                <a:gd name="T59" fmla="*/ 0 h 1250"/>
                <a:gd name="T60" fmla="*/ 0 w 1500"/>
                <a:gd name="T61" fmla="*/ 0 h 1250"/>
                <a:gd name="T62" fmla="*/ 0 w 1500"/>
                <a:gd name="T63" fmla="*/ 0 h 1250"/>
                <a:gd name="T64" fmla="*/ 0 w 1500"/>
                <a:gd name="T65" fmla="*/ 0 h 1250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1500"/>
                <a:gd name="T100" fmla="*/ 0 h 1250"/>
                <a:gd name="T101" fmla="*/ 1500 w 1500"/>
                <a:gd name="T102" fmla="*/ 1250 h 1250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1500" h="1250">
                  <a:moveTo>
                    <a:pt x="1488" y="271"/>
                  </a:moveTo>
                  <a:cubicBezTo>
                    <a:pt x="1488" y="232"/>
                    <a:pt x="1488" y="220"/>
                    <a:pt x="1475" y="194"/>
                  </a:cubicBezTo>
                  <a:cubicBezTo>
                    <a:pt x="1462" y="168"/>
                    <a:pt x="1424" y="181"/>
                    <a:pt x="1424" y="181"/>
                  </a:cubicBezTo>
                  <a:cubicBezTo>
                    <a:pt x="1424" y="116"/>
                    <a:pt x="1424" y="116"/>
                    <a:pt x="1424" y="116"/>
                  </a:cubicBezTo>
                  <a:cubicBezTo>
                    <a:pt x="1373" y="39"/>
                    <a:pt x="1373" y="39"/>
                    <a:pt x="1373" y="39"/>
                  </a:cubicBezTo>
                  <a:cubicBezTo>
                    <a:pt x="1373" y="39"/>
                    <a:pt x="1373" y="39"/>
                    <a:pt x="1335" y="26"/>
                  </a:cubicBezTo>
                  <a:cubicBezTo>
                    <a:pt x="1297" y="26"/>
                    <a:pt x="1323" y="52"/>
                    <a:pt x="1284" y="65"/>
                  </a:cubicBezTo>
                  <a:cubicBezTo>
                    <a:pt x="1259" y="65"/>
                    <a:pt x="1234" y="116"/>
                    <a:pt x="1221" y="116"/>
                  </a:cubicBezTo>
                  <a:cubicBezTo>
                    <a:pt x="1208" y="116"/>
                    <a:pt x="1157" y="104"/>
                    <a:pt x="1132" y="91"/>
                  </a:cubicBezTo>
                  <a:cubicBezTo>
                    <a:pt x="1106" y="91"/>
                    <a:pt x="1030" y="91"/>
                    <a:pt x="992" y="91"/>
                  </a:cubicBezTo>
                  <a:cubicBezTo>
                    <a:pt x="954" y="91"/>
                    <a:pt x="916" y="116"/>
                    <a:pt x="890" y="129"/>
                  </a:cubicBezTo>
                  <a:cubicBezTo>
                    <a:pt x="852" y="142"/>
                    <a:pt x="852" y="155"/>
                    <a:pt x="827" y="155"/>
                  </a:cubicBezTo>
                  <a:cubicBezTo>
                    <a:pt x="789" y="155"/>
                    <a:pt x="750" y="116"/>
                    <a:pt x="700" y="104"/>
                  </a:cubicBezTo>
                  <a:cubicBezTo>
                    <a:pt x="661" y="91"/>
                    <a:pt x="649" y="91"/>
                    <a:pt x="611" y="104"/>
                  </a:cubicBezTo>
                  <a:cubicBezTo>
                    <a:pt x="585" y="116"/>
                    <a:pt x="534" y="129"/>
                    <a:pt x="534" y="129"/>
                  </a:cubicBezTo>
                  <a:cubicBezTo>
                    <a:pt x="534" y="129"/>
                    <a:pt x="509" y="104"/>
                    <a:pt x="484" y="78"/>
                  </a:cubicBezTo>
                  <a:cubicBezTo>
                    <a:pt x="458" y="52"/>
                    <a:pt x="458" y="52"/>
                    <a:pt x="420" y="39"/>
                  </a:cubicBezTo>
                  <a:cubicBezTo>
                    <a:pt x="395" y="13"/>
                    <a:pt x="344" y="0"/>
                    <a:pt x="331" y="26"/>
                  </a:cubicBezTo>
                  <a:cubicBezTo>
                    <a:pt x="318" y="52"/>
                    <a:pt x="280" y="39"/>
                    <a:pt x="267" y="39"/>
                  </a:cubicBezTo>
                  <a:cubicBezTo>
                    <a:pt x="255" y="39"/>
                    <a:pt x="191" y="65"/>
                    <a:pt x="191" y="65"/>
                  </a:cubicBezTo>
                  <a:cubicBezTo>
                    <a:pt x="191" y="65"/>
                    <a:pt x="191" y="104"/>
                    <a:pt x="166" y="129"/>
                  </a:cubicBezTo>
                  <a:cubicBezTo>
                    <a:pt x="140" y="155"/>
                    <a:pt x="128" y="181"/>
                    <a:pt x="128" y="181"/>
                  </a:cubicBezTo>
                  <a:cubicBezTo>
                    <a:pt x="128" y="181"/>
                    <a:pt x="128" y="181"/>
                    <a:pt x="128" y="220"/>
                  </a:cubicBezTo>
                  <a:cubicBezTo>
                    <a:pt x="128" y="245"/>
                    <a:pt x="115" y="284"/>
                    <a:pt x="102" y="310"/>
                  </a:cubicBezTo>
                  <a:cubicBezTo>
                    <a:pt x="102" y="310"/>
                    <a:pt x="102" y="310"/>
                    <a:pt x="102" y="323"/>
                  </a:cubicBezTo>
                  <a:cubicBezTo>
                    <a:pt x="102" y="336"/>
                    <a:pt x="102" y="348"/>
                    <a:pt x="115" y="374"/>
                  </a:cubicBezTo>
                  <a:cubicBezTo>
                    <a:pt x="140" y="400"/>
                    <a:pt x="140" y="426"/>
                    <a:pt x="140" y="426"/>
                  </a:cubicBezTo>
                  <a:cubicBezTo>
                    <a:pt x="140" y="426"/>
                    <a:pt x="140" y="452"/>
                    <a:pt x="128" y="452"/>
                  </a:cubicBezTo>
                  <a:cubicBezTo>
                    <a:pt x="115" y="464"/>
                    <a:pt x="128" y="452"/>
                    <a:pt x="115" y="490"/>
                  </a:cubicBezTo>
                  <a:cubicBezTo>
                    <a:pt x="102" y="542"/>
                    <a:pt x="115" y="529"/>
                    <a:pt x="89" y="529"/>
                  </a:cubicBezTo>
                  <a:cubicBezTo>
                    <a:pt x="77" y="542"/>
                    <a:pt x="77" y="555"/>
                    <a:pt x="64" y="567"/>
                  </a:cubicBezTo>
                  <a:cubicBezTo>
                    <a:pt x="51" y="580"/>
                    <a:pt x="64" y="593"/>
                    <a:pt x="51" y="619"/>
                  </a:cubicBezTo>
                  <a:cubicBezTo>
                    <a:pt x="51" y="632"/>
                    <a:pt x="26" y="632"/>
                    <a:pt x="26" y="632"/>
                  </a:cubicBezTo>
                  <a:cubicBezTo>
                    <a:pt x="13" y="645"/>
                    <a:pt x="0" y="658"/>
                    <a:pt x="0" y="696"/>
                  </a:cubicBezTo>
                  <a:cubicBezTo>
                    <a:pt x="0" y="748"/>
                    <a:pt x="0" y="787"/>
                    <a:pt x="0" y="812"/>
                  </a:cubicBezTo>
                  <a:cubicBezTo>
                    <a:pt x="0" y="838"/>
                    <a:pt x="13" y="864"/>
                    <a:pt x="0" y="890"/>
                  </a:cubicBezTo>
                  <a:cubicBezTo>
                    <a:pt x="0" y="928"/>
                    <a:pt x="13" y="980"/>
                    <a:pt x="13" y="980"/>
                  </a:cubicBezTo>
                  <a:cubicBezTo>
                    <a:pt x="13" y="980"/>
                    <a:pt x="153" y="980"/>
                    <a:pt x="178" y="980"/>
                  </a:cubicBezTo>
                  <a:cubicBezTo>
                    <a:pt x="204" y="980"/>
                    <a:pt x="255" y="993"/>
                    <a:pt x="267" y="1031"/>
                  </a:cubicBezTo>
                  <a:cubicBezTo>
                    <a:pt x="293" y="1057"/>
                    <a:pt x="344" y="1160"/>
                    <a:pt x="356" y="1199"/>
                  </a:cubicBezTo>
                  <a:cubicBezTo>
                    <a:pt x="369" y="1238"/>
                    <a:pt x="407" y="1250"/>
                    <a:pt x="445" y="1238"/>
                  </a:cubicBezTo>
                  <a:cubicBezTo>
                    <a:pt x="484" y="1238"/>
                    <a:pt x="573" y="1225"/>
                    <a:pt x="598" y="1225"/>
                  </a:cubicBezTo>
                  <a:cubicBezTo>
                    <a:pt x="623" y="1225"/>
                    <a:pt x="700" y="1212"/>
                    <a:pt x="700" y="1212"/>
                  </a:cubicBezTo>
                  <a:cubicBezTo>
                    <a:pt x="700" y="1173"/>
                    <a:pt x="700" y="1173"/>
                    <a:pt x="700" y="1173"/>
                  </a:cubicBezTo>
                  <a:cubicBezTo>
                    <a:pt x="725" y="1186"/>
                    <a:pt x="725" y="1186"/>
                    <a:pt x="725" y="1186"/>
                  </a:cubicBezTo>
                  <a:cubicBezTo>
                    <a:pt x="725" y="1186"/>
                    <a:pt x="763" y="1134"/>
                    <a:pt x="763" y="1109"/>
                  </a:cubicBezTo>
                  <a:cubicBezTo>
                    <a:pt x="776" y="1083"/>
                    <a:pt x="763" y="1057"/>
                    <a:pt x="763" y="1057"/>
                  </a:cubicBezTo>
                  <a:cubicBezTo>
                    <a:pt x="763" y="1057"/>
                    <a:pt x="801" y="1006"/>
                    <a:pt x="827" y="993"/>
                  </a:cubicBezTo>
                  <a:cubicBezTo>
                    <a:pt x="852" y="980"/>
                    <a:pt x="865" y="941"/>
                    <a:pt x="878" y="941"/>
                  </a:cubicBezTo>
                  <a:cubicBezTo>
                    <a:pt x="878" y="928"/>
                    <a:pt x="928" y="890"/>
                    <a:pt x="928" y="890"/>
                  </a:cubicBezTo>
                  <a:cubicBezTo>
                    <a:pt x="928" y="890"/>
                    <a:pt x="928" y="915"/>
                    <a:pt x="967" y="915"/>
                  </a:cubicBezTo>
                  <a:cubicBezTo>
                    <a:pt x="1005" y="928"/>
                    <a:pt x="979" y="877"/>
                    <a:pt x="992" y="890"/>
                  </a:cubicBezTo>
                  <a:cubicBezTo>
                    <a:pt x="1017" y="903"/>
                    <a:pt x="1043" y="954"/>
                    <a:pt x="1043" y="954"/>
                  </a:cubicBezTo>
                  <a:cubicBezTo>
                    <a:pt x="1043" y="954"/>
                    <a:pt x="1081" y="967"/>
                    <a:pt x="1106" y="928"/>
                  </a:cubicBezTo>
                  <a:cubicBezTo>
                    <a:pt x="1132" y="903"/>
                    <a:pt x="1132" y="877"/>
                    <a:pt x="1132" y="877"/>
                  </a:cubicBezTo>
                  <a:cubicBezTo>
                    <a:pt x="1132" y="877"/>
                    <a:pt x="1170" y="851"/>
                    <a:pt x="1170" y="838"/>
                  </a:cubicBezTo>
                  <a:cubicBezTo>
                    <a:pt x="1170" y="825"/>
                    <a:pt x="1170" y="799"/>
                    <a:pt x="1183" y="761"/>
                  </a:cubicBezTo>
                  <a:cubicBezTo>
                    <a:pt x="1195" y="735"/>
                    <a:pt x="1208" y="696"/>
                    <a:pt x="1208" y="696"/>
                  </a:cubicBezTo>
                  <a:cubicBezTo>
                    <a:pt x="1208" y="696"/>
                    <a:pt x="1246" y="683"/>
                    <a:pt x="1272" y="645"/>
                  </a:cubicBezTo>
                  <a:cubicBezTo>
                    <a:pt x="1284" y="619"/>
                    <a:pt x="1272" y="593"/>
                    <a:pt x="1272" y="593"/>
                  </a:cubicBezTo>
                  <a:cubicBezTo>
                    <a:pt x="1272" y="593"/>
                    <a:pt x="1310" y="567"/>
                    <a:pt x="1310" y="567"/>
                  </a:cubicBezTo>
                  <a:cubicBezTo>
                    <a:pt x="1323" y="555"/>
                    <a:pt x="1310" y="529"/>
                    <a:pt x="1323" y="503"/>
                  </a:cubicBezTo>
                  <a:cubicBezTo>
                    <a:pt x="1335" y="477"/>
                    <a:pt x="1348" y="452"/>
                    <a:pt x="1361" y="439"/>
                  </a:cubicBezTo>
                  <a:cubicBezTo>
                    <a:pt x="1361" y="413"/>
                    <a:pt x="1399" y="361"/>
                    <a:pt x="1411" y="348"/>
                  </a:cubicBezTo>
                  <a:cubicBezTo>
                    <a:pt x="1411" y="348"/>
                    <a:pt x="1450" y="336"/>
                    <a:pt x="1475" y="323"/>
                  </a:cubicBezTo>
                  <a:cubicBezTo>
                    <a:pt x="1500" y="323"/>
                    <a:pt x="1488" y="297"/>
                    <a:pt x="1488" y="271"/>
                  </a:cubicBezTo>
                </a:path>
              </a:pathLst>
            </a:custGeom>
            <a:grpFill/>
            <a:ln w="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891045"/>
              <a:endParaRPr lang="en-US" sz="1700" dirty="0">
                <a:solidFill>
                  <a:srgbClr val="003149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419" name="Freeform 223"/>
            <p:cNvSpPr>
              <a:spLocks/>
            </p:cNvSpPr>
            <p:nvPr/>
          </p:nvSpPr>
          <p:spPr bwMode="gray">
            <a:xfrm>
              <a:off x="4248" y="2845"/>
              <a:ext cx="151" cy="127"/>
            </a:xfrm>
            <a:custGeom>
              <a:avLst/>
              <a:gdLst>
                <a:gd name="T0" fmla="*/ 149 w 151"/>
                <a:gd name="T1" fmla="*/ 20 h 127"/>
                <a:gd name="T2" fmla="*/ 143 w 151"/>
                <a:gd name="T3" fmla="*/ 12 h 127"/>
                <a:gd name="T4" fmla="*/ 134 w 151"/>
                <a:gd name="T5" fmla="*/ 3 h 127"/>
                <a:gd name="T6" fmla="*/ 123 w 151"/>
                <a:gd name="T7" fmla="*/ 12 h 127"/>
                <a:gd name="T8" fmla="*/ 100 w 151"/>
                <a:gd name="T9" fmla="*/ 10 h 127"/>
                <a:gd name="T10" fmla="*/ 83 w 151"/>
                <a:gd name="T11" fmla="*/ 16 h 127"/>
                <a:gd name="T12" fmla="*/ 61 w 151"/>
                <a:gd name="T13" fmla="*/ 11 h 127"/>
                <a:gd name="T14" fmla="*/ 49 w 151"/>
                <a:gd name="T15" fmla="*/ 8 h 127"/>
                <a:gd name="T16" fmla="*/ 33 w 151"/>
                <a:gd name="T17" fmla="*/ 3 h 127"/>
                <a:gd name="T18" fmla="*/ 19 w 151"/>
                <a:gd name="T19" fmla="*/ 7 h 127"/>
                <a:gd name="T20" fmla="*/ 13 w 151"/>
                <a:gd name="T21" fmla="*/ 19 h 127"/>
                <a:gd name="T22" fmla="*/ 10 w 151"/>
                <a:gd name="T23" fmla="*/ 32 h 127"/>
                <a:gd name="T24" fmla="*/ 11 w 151"/>
                <a:gd name="T25" fmla="*/ 38 h 127"/>
                <a:gd name="T26" fmla="*/ 13 w 151"/>
                <a:gd name="T27" fmla="*/ 46 h 127"/>
                <a:gd name="T28" fmla="*/ 9 w 151"/>
                <a:gd name="T29" fmla="*/ 54 h 127"/>
                <a:gd name="T30" fmla="*/ 5 w 151"/>
                <a:gd name="T31" fmla="*/ 63 h 127"/>
                <a:gd name="T32" fmla="*/ 0 w 151"/>
                <a:gd name="T33" fmla="*/ 71 h 127"/>
                <a:gd name="T34" fmla="*/ 0 w 151"/>
                <a:gd name="T35" fmla="*/ 90 h 127"/>
                <a:gd name="T36" fmla="*/ 18 w 151"/>
                <a:gd name="T37" fmla="*/ 99 h 127"/>
                <a:gd name="T38" fmla="*/ 36 w 151"/>
                <a:gd name="T39" fmla="*/ 121 h 127"/>
                <a:gd name="T40" fmla="*/ 60 w 151"/>
                <a:gd name="T41" fmla="*/ 124 h 127"/>
                <a:gd name="T42" fmla="*/ 70 w 151"/>
                <a:gd name="T43" fmla="*/ 119 h 127"/>
                <a:gd name="T44" fmla="*/ 77 w 151"/>
                <a:gd name="T45" fmla="*/ 112 h 127"/>
                <a:gd name="T46" fmla="*/ 83 w 151"/>
                <a:gd name="T47" fmla="*/ 101 h 127"/>
                <a:gd name="T48" fmla="*/ 93 w 151"/>
                <a:gd name="T49" fmla="*/ 90 h 127"/>
                <a:gd name="T50" fmla="*/ 100 w 151"/>
                <a:gd name="T51" fmla="*/ 90 h 127"/>
                <a:gd name="T52" fmla="*/ 111 w 151"/>
                <a:gd name="T53" fmla="*/ 94 h 127"/>
                <a:gd name="T54" fmla="*/ 118 w 151"/>
                <a:gd name="T55" fmla="*/ 85 h 127"/>
                <a:gd name="T56" fmla="*/ 122 w 151"/>
                <a:gd name="T57" fmla="*/ 71 h 127"/>
                <a:gd name="T58" fmla="*/ 128 w 151"/>
                <a:gd name="T59" fmla="*/ 60 h 127"/>
                <a:gd name="T60" fmla="*/ 133 w 151"/>
                <a:gd name="T61" fmla="*/ 51 h 127"/>
                <a:gd name="T62" fmla="*/ 142 w 151"/>
                <a:gd name="T63" fmla="*/ 36 h 127"/>
                <a:gd name="T64" fmla="*/ 150 w 151"/>
                <a:gd name="T65" fmla="*/ 28 h 127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151"/>
                <a:gd name="T100" fmla="*/ 0 h 127"/>
                <a:gd name="T101" fmla="*/ 151 w 151"/>
                <a:gd name="T102" fmla="*/ 127 h 127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151" h="127">
                  <a:moveTo>
                    <a:pt x="150" y="28"/>
                  </a:moveTo>
                  <a:cubicBezTo>
                    <a:pt x="150" y="24"/>
                    <a:pt x="150" y="23"/>
                    <a:pt x="149" y="20"/>
                  </a:cubicBezTo>
                  <a:cubicBezTo>
                    <a:pt x="147" y="17"/>
                    <a:pt x="143" y="19"/>
                    <a:pt x="143" y="19"/>
                  </a:cubicBezTo>
                  <a:cubicBezTo>
                    <a:pt x="143" y="12"/>
                    <a:pt x="143" y="12"/>
                    <a:pt x="143" y="12"/>
                  </a:cubicBezTo>
                  <a:cubicBezTo>
                    <a:pt x="138" y="4"/>
                    <a:pt x="138" y="4"/>
                    <a:pt x="138" y="4"/>
                  </a:cubicBezTo>
                  <a:cubicBezTo>
                    <a:pt x="138" y="4"/>
                    <a:pt x="138" y="4"/>
                    <a:pt x="134" y="3"/>
                  </a:cubicBezTo>
                  <a:cubicBezTo>
                    <a:pt x="131" y="3"/>
                    <a:pt x="133" y="6"/>
                    <a:pt x="129" y="7"/>
                  </a:cubicBezTo>
                  <a:cubicBezTo>
                    <a:pt x="127" y="7"/>
                    <a:pt x="124" y="12"/>
                    <a:pt x="123" y="12"/>
                  </a:cubicBezTo>
                  <a:cubicBezTo>
                    <a:pt x="122" y="12"/>
                    <a:pt x="117" y="11"/>
                    <a:pt x="114" y="10"/>
                  </a:cubicBezTo>
                  <a:cubicBezTo>
                    <a:pt x="111" y="10"/>
                    <a:pt x="104" y="10"/>
                    <a:pt x="100" y="10"/>
                  </a:cubicBezTo>
                  <a:cubicBezTo>
                    <a:pt x="96" y="10"/>
                    <a:pt x="92" y="12"/>
                    <a:pt x="90" y="13"/>
                  </a:cubicBezTo>
                  <a:cubicBezTo>
                    <a:pt x="86" y="15"/>
                    <a:pt x="86" y="16"/>
                    <a:pt x="83" y="16"/>
                  </a:cubicBezTo>
                  <a:cubicBezTo>
                    <a:pt x="79" y="16"/>
                    <a:pt x="75" y="12"/>
                    <a:pt x="70" y="11"/>
                  </a:cubicBezTo>
                  <a:cubicBezTo>
                    <a:pt x="66" y="10"/>
                    <a:pt x="65" y="10"/>
                    <a:pt x="61" y="11"/>
                  </a:cubicBezTo>
                  <a:cubicBezTo>
                    <a:pt x="59" y="12"/>
                    <a:pt x="54" y="13"/>
                    <a:pt x="54" y="13"/>
                  </a:cubicBezTo>
                  <a:cubicBezTo>
                    <a:pt x="54" y="13"/>
                    <a:pt x="51" y="11"/>
                    <a:pt x="49" y="8"/>
                  </a:cubicBezTo>
                  <a:cubicBezTo>
                    <a:pt x="46" y="6"/>
                    <a:pt x="46" y="6"/>
                    <a:pt x="42" y="4"/>
                  </a:cubicBezTo>
                  <a:cubicBezTo>
                    <a:pt x="40" y="2"/>
                    <a:pt x="34" y="0"/>
                    <a:pt x="33" y="3"/>
                  </a:cubicBezTo>
                  <a:cubicBezTo>
                    <a:pt x="32" y="6"/>
                    <a:pt x="28" y="4"/>
                    <a:pt x="27" y="4"/>
                  </a:cubicBezTo>
                  <a:cubicBezTo>
                    <a:pt x="25" y="4"/>
                    <a:pt x="19" y="7"/>
                    <a:pt x="19" y="7"/>
                  </a:cubicBezTo>
                  <a:cubicBezTo>
                    <a:pt x="19" y="7"/>
                    <a:pt x="19" y="11"/>
                    <a:pt x="16" y="13"/>
                  </a:cubicBezTo>
                  <a:cubicBezTo>
                    <a:pt x="14" y="16"/>
                    <a:pt x="13" y="19"/>
                    <a:pt x="13" y="19"/>
                  </a:cubicBezTo>
                  <a:cubicBezTo>
                    <a:pt x="13" y="19"/>
                    <a:pt x="13" y="19"/>
                    <a:pt x="13" y="23"/>
                  </a:cubicBezTo>
                  <a:cubicBezTo>
                    <a:pt x="13" y="25"/>
                    <a:pt x="11" y="29"/>
                    <a:pt x="10" y="32"/>
                  </a:cubicBezTo>
                  <a:cubicBezTo>
                    <a:pt x="10" y="32"/>
                    <a:pt x="10" y="32"/>
                    <a:pt x="10" y="33"/>
                  </a:cubicBezTo>
                  <a:cubicBezTo>
                    <a:pt x="10" y="34"/>
                    <a:pt x="10" y="36"/>
                    <a:pt x="11" y="38"/>
                  </a:cubicBezTo>
                  <a:cubicBezTo>
                    <a:pt x="14" y="41"/>
                    <a:pt x="14" y="43"/>
                    <a:pt x="14" y="43"/>
                  </a:cubicBezTo>
                  <a:cubicBezTo>
                    <a:pt x="14" y="43"/>
                    <a:pt x="14" y="46"/>
                    <a:pt x="13" y="46"/>
                  </a:cubicBezTo>
                  <a:cubicBezTo>
                    <a:pt x="11" y="47"/>
                    <a:pt x="13" y="46"/>
                    <a:pt x="11" y="50"/>
                  </a:cubicBezTo>
                  <a:cubicBezTo>
                    <a:pt x="10" y="55"/>
                    <a:pt x="11" y="54"/>
                    <a:pt x="9" y="54"/>
                  </a:cubicBezTo>
                  <a:cubicBezTo>
                    <a:pt x="8" y="55"/>
                    <a:pt x="8" y="56"/>
                    <a:pt x="6" y="58"/>
                  </a:cubicBezTo>
                  <a:cubicBezTo>
                    <a:pt x="5" y="59"/>
                    <a:pt x="6" y="60"/>
                    <a:pt x="5" y="63"/>
                  </a:cubicBezTo>
                  <a:cubicBezTo>
                    <a:pt x="5" y="64"/>
                    <a:pt x="2" y="64"/>
                    <a:pt x="2" y="64"/>
                  </a:cubicBezTo>
                  <a:cubicBezTo>
                    <a:pt x="1" y="66"/>
                    <a:pt x="0" y="67"/>
                    <a:pt x="0" y="71"/>
                  </a:cubicBezTo>
                  <a:cubicBezTo>
                    <a:pt x="0" y="76"/>
                    <a:pt x="0" y="80"/>
                    <a:pt x="0" y="82"/>
                  </a:cubicBezTo>
                  <a:cubicBezTo>
                    <a:pt x="0" y="85"/>
                    <a:pt x="1" y="88"/>
                    <a:pt x="0" y="90"/>
                  </a:cubicBezTo>
                  <a:cubicBezTo>
                    <a:pt x="0" y="94"/>
                    <a:pt x="1" y="99"/>
                    <a:pt x="1" y="99"/>
                  </a:cubicBezTo>
                  <a:cubicBezTo>
                    <a:pt x="1" y="99"/>
                    <a:pt x="15" y="99"/>
                    <a:pt x="18" y="99"/>
                  </a:cubicBezTo>
                  <a:cubicBezTo>
                    <a:pt x="20" y="99"/>
                    <a:pt x="25" y="101"/>
                    <a:pt x="27" y="105"/>
                  </a:cubicBezTo>
                  <a:cubicBezTo>
                    <a:pt x="29" y="107"/>
                    <a:pt x="34" y="118"/>
                    <a:pt x="36" y="121"/>
                  </a:cubicBezTo>
                  <a:cubicBezTo>
                    <a:pt x="37" y="125"/>
                    <a:pt x="41" y="127"/>
                    <a:pt x="45" y="125"/>
                  </a:cubicBezTo>
                  <a:cubicBezTo>
                    <a:pt x="49" y="125"/>
                    <a:pt x="58" y="124"/>
                    <a:pt x="60" y="124"/>
                  </a:cubicBezTo>
                  <a:cubicBezTo>
                    <a:pt x="63" y="124"/>
                    <a:pt x="70" y="123"/>
                    <a:pt x="70" y="123"/>
                  </a:cubicBezTo>
                  <a:cubicBezTo>
                    <a:pt x="70" y="119"/>
                    <a:pt x="70" y="119"/>
                    <a:pt x="70" y="119"/>
                  </a:cubicBezTo>
                  <a:cubicBezTo>
                    <a:pt x="73" y="120"/>
                    <a:pt x="73" y="120"/>
                    <a:pt x="73" y="120"/>
                  </a:cubicBezTo>
                  <a:cubicBezTo>
                    <a:pt x="73" y="120"/>
                    <a:pt x="77" y="115"/>
                    <a:pt x="77" y="112"/>
                  </a:cubicBezTo>
                  <a:cubicBezTo>
                    <a:pt x="78" y="110"/>
                    <a:pt x="77" y="107"/>
                    <a:pt x="77" y="107"/>
                  </a:cubicBezTo>
                  <a:cubicBezTo>
                    <a:pt x="77" y="107"/>
                    <a:pt x="81" y="102"/>
                    <a:pt x="83" y="101"/>
                  </a:cubicBezTo>
                  <a:cubicBezTo>
                    <a:pt x="86" y="99"/>
                    <a:pt x="87" y="95"/>
                    <a:pt x="88" y="95"/>
                  </a:cubicBezTo>
                  <a:cubicBezTo>
                    <a:pt x="88" y="94"/>
                    <a:pt x="93" y="90"/>
                    <a:pt x="93" y="90"/>
                  </a:cubicBezTo>
                  <a:cubicBezTo>
                    <a:pt x="93" y="90"/>
                    <a:pt x="93" y="93"/>
                    <a:pt x="97" y="93"/>
                  </a:cubicBezTo>
                  <a:cubicBezTo>
                    <a:pt x="101" y="94"/>
                    <a:pt x="99" y="89"/>
                    <a:pt x="100" y="90"/>
                  </a:cubicBezTo>
                  <a:cubicBezTo>
                    <a:pt x="102" y="92"/>
                    <a:pt x="105" y="97"/>
                    <a:pt x="105" y="97"/>
                  </a:cubicBezTo>
                  <a:cubicBezTo>
                    <a:pt x="105" y="97"/>
                    <a:pt x="109" y="98"/>
                    <a:pt x="111" y="94"/>
                  </a:cubicBezTo>
                  <a:cubicBezTo>
                    <a:pt x="114" y="92"/>
                    <a:pt x="114" y="89"/>
                    <a:pt x="114" y="89"/>
                  </a:cubicBezTo>
                  <a:cubicBezTo>
                    <a:pt x="114" y="89"/>
                    <a:pt x="118" y="86"/>
                    <a:pt x="118" y="85"/>
                  </a:cubicBezTo>
                  <a:cubicBezTo>
                    <a:pt x="118" y="84"/>
                    <a:pt x="118" y="81"/>
                    <a:pt x="119" y="77"/>
                  </a:cubicBezTo>
                  <a:cubicBezTo>
                    <a:pt x="120" y="75"/>
                    <a:pt x="122" y="71"/>
                    <a:pt x="122" y="71"/>
                  </a:cubicBezTo>
                  <a:cubicBezTo>
                    <a:pt x="122" y="71"/>
                    <a:pt x="126" y="69"/>
                    <a:pt x="128" y="66"/>
                  </a:cubicBezTo>
                  <a:cubicBezTo>
                    <a:pt x="129" y="63"/>
                    <a:pt x="128" y="60"/>
                    <a:pt x="128" y="60"/>
                  </a:cubicBezTo>
                  <a:cubicBezTo>
                    <a:pt x="128" y="60"/>
                    <a:pt x="132" y="58"/>
                    <a:pt x="132" y="58"/>
                  </a:cubicBezTo>
                  <a:cubicBezTo>
                    <a:pt x="133" y="56"/>
                    <a:pt x="132" y="54"/>
                    <a:pt x="133" y="51"/>
                  </a:cubicBezTo>
                  <a:cubicBezTo>
                    <a:pt x="134" y="49"/>
                    <a:pt x="136" y="46"/>
                    <a:pt x="137" y="45"/>
                  </a:cubicBezTo>
                  <a:cubicBezTo>
                    <a:pt x="137" y="42"/>
                    <a:pt x="141" y="37"/>
                    <a:pt x="142" y="36"/>
                  </a:cubicBezTo>
                  <a:cubicBezTo>
                    <a:pt x="142" y="36"/>
                    <a:pt x="146" y="34"/>
                    <a:pt x="149" y="33"/>
                  </a:cubicBezTo>
                  <a:cubicBezTo>
                    <a:pt x="151" y="33"/>
                    <a:pt x="150" y="30"/>
                    <a:pt x="150" y="28"/>
                  </a:cubicBezTo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891045"/>
              <a:endParaRPr lang="en-US" sz="1700" dirty="0">
                <a:solidFill>
                  <a:srgbClr val="003149"/>
                </a:solidFill>
                <a:cs typeface="Arial" panose="020B0604020202020204" pitchFamily="34" charset="0"/>
              </a:endParaRPr>
            </a:p>
          </p:txBody>
        </p:sp>
      </p:grpSp>
      <p:grpSp>
        <p:nvGrpSpPr>
          <p:cNvPr id="420" name="Group 224"/>
          <p:cNvGrpSpPr>
            <a:grpSpLocks/>
          </p:cNvGrpSpPr>
          <p:nvPr/>
        </p:nvGrpSpPr>
        <p:grpSpPr bwMode="gray">
          <a:xfrm>
            <a:off x="910270" y="1999620"/>
            <a:ext cx="305464" cy="308284"/>
            <a:chOff x="4060" y="2696"/>
            <a:chExt cx="208" cy="199"/>
          </a:xfrm>
          <a:solidFill>
            <a:schemeClr val="accent3"/>
          </a:solidFill>
        </p:grpSpPr>
        <p:sp>
          <p:nvSpPr>
            <p:cNvPr id="421" name="Freeform 225"/>
            <p:cNvSpPr>
              <a:spLocks noEditPoints="1"/>
            </p:cNvSpPr>
            <p:nvPr/>
          </p:nvSpPr>
          <p:spPr bwMode="gray">
            <a:xfrm>
              <a:off x="4060" y="2696"/>
              <a:ext cx="208" cy="199"/>
            </a:xfrm>
            <a:custGeom>
              <a:avLst/>
              <a:gdLst>
                <a:gd name="T0" fmla="*/ 0 w 2058"/>
                <a:gd name="T1" fmla="*/ 0 h 1967"/>
                <a:gd name="T2" fmla="*/ 0 w 2058"/>
                <a:gd name="T3" fmla="*/ 0 h 1967"/>
                <a:gd name="T4" fmla="*/ 0 w 2058"/>
                <a:gd name="T5" fmla="*/ 0 h 1967"/>
                <a:gd name="T6" fmla="*/ 0 w 2058"/>
                <a:gd name="T7" fmla="*/ 0 h 1967"/>
                <a:gd name="T8" fmla="*/ 0 w 2058"/>
                <a:gd name="T9" fmla="*/ 0 h 1967"/>
                <a:gd name="T10" fmla="*/ 0 w 2058"/>
                <a:gd name="T11" fmla="*/ 0 h 1967"/>
                <a:gd name="T12" fmla="*/ 0 w 2058"/>
                <a:gd name="T13" fmla="*/ 0 h 1967"/>
                <a:gd name="T14" fmla="*/ 0 w 2058"/>
                <a:gd name="T15" fmla="*/ 0 h 1967"/>
                <a:gd name="T16" fmla="*/ 0 w 2058"/>
                <a:gd name="T17" fmla="*/ 0 h 1967"/>
                <a:gd name="T18" fmla="*/ 0 w 2058"/>
                <a:gd name="T19" fmla="*/ 0 h 1967"/>
                <a:gd name="T20" fmla="*/ 0 w 2058"/>
                <a:gd name="T21" fmla="*/ 0 h 1967"/>
                <a:gd name="T22" fmla="*/ 0 w 2058"/>
                <a:gd name="T23" fmla="*/ 0 h 1967"/>
                <a:gd name="T24" fmla="*/ 0 w 2058"/>
                <a:gd name="T25" fmla="*/ 0 h 1967"/>
                <a:gd name="T26" fmla="*/ 0 w 2058"/>
                <a:gd name="T27" fmla="*/ 0 h 1967"/>
                <a:gd name="T28" fmla="*/ 0 w 2058"/>
                <a:gd name="T29" fmla="*/ 0 h 1967"/>
                <a:gd name="T30" fmla="*/ 0 w 2058"/>
                <a:gd name="T31" fmla="*/ 0 h 1967"/>
                <a:gd name="T32" fmla="*/ 0 w 2058"/>
                <a:gd name="T33" fmla="*/ 0 h 1967"/>
                <a:gd name="T34" fmla="*/ 0 w 2058"/>
                <a:gd name="T35" fmla="*/ 0 h 1967"/>
                <a:gd name="T36" fmla="*/ 0 w 2058"/>
                <a:gd name="T37" fmla="*/ 0 h 1967"/>
                <a:gd name="T38" fmla="*/ 0 w 2058"/>
                <a:gd name="T39" fmla="*/ 0 h 1967"/>
                <a:gd name="T40" fmla="*/ 0 w 2058"/>
                <a:gd name="T41" fmla="*/ 0 h 1967"/>
                <a:gd name="T42" fmla="*/ 0 w 2058"/>
                <a:gd name="T43" fmla="*/ 0 h 1967"/>
                <a:gd name="T44" fmla="*/ 0 w 2058"/>
                <a:gd name="T45" fmla="*/ 0 h 1967"/>
                <a:gd name="T46" fmla="*/ 0 w 2058"/>
                <a:gd name="T47" fmla="*/ 0 h 1967"/>
                <a:gd name="T48" fmla="*/ 0 w 2058"/>
                <a:gd name="T49" fmla="*/ 0 h 1967"/>
                <a:gd name="T50" fmla="*/ 0 w 2058"/>
                <a:gd name="T51" fmla="*/ 0 h 1967"/>
                <a:gd name="T52" fmla="*/ 0 w 2058"/>
                <a:gd name="T53" fmla="*/ 0 h 1967"/>
                <a:gd name="T54" fmla="*/ 0 w 2058"/>
                <a:gd name="T55" fmla="*/ 0 h 1967"/>
                <a:gd name="T56" fmla="*/ 0 w 2058"/>
                <a:gd name="T57" fmla="*/ 0 h 1967"/>
                <a:gd name="T58" fmla="*/ 0 w 2058"/>
                <a:gd name="T59" fmla="*/ 0 h 1967"/>
                <a:gd name="T60" fmla="*/ 0 w 2058"/>
                <a:gd name="T61" fmla="*/ 0 h 1967"/>
                <a:gd name="T62" fmla="*/ 0 w 2058"/>
                <a:gd name="T63" fmla="*/ 0 h 1967"/>
                <a:gd name="T64" fmla="*/ 0 w 2058"/>
                <a:gd name="T65" fmla="*/ 0 h 1967"/>
                <a:gd name="T66" fmla="*/ 0 w 2058"/>
                <a:gd name="T67" fmla="*/ 0 h 1967"/>
                <a:gd name="T68" fmla="*/ 0 w 2058"/>
                <a:gd name="T69" fmla="*/ 0 h 1967"/>
                <a:gd name="T70" fmla="*/ 0 w 2058"/>
                <a:gd name="T71" fmla="*/ 0 h 1967"/>
                <a:gd name="T72" fmla="*/ 0 w 2058"/>
                <a:gd name="T73" fmla="*/ 0 h 1967"/>
                <a:gd name="T74" fmla="*/ 0 w 2058"/>
                <a:gd name="T75" fmla="*/ 0 h 1967"/>
                <a:gd name="T76" fmla="*/ 0 w 2058"/>
                <a:gd name="T77" fmla="*/ 0 h 1967"/>
                <a:gd name="T78" fmla="*/ 0 w 2058"/>
                <a:gd name="T79" fmla="*/ 0 h 1967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w 2058"/>
                <a:gd name="T121" fmla="*/ 0 h 1967"/>
                <a:gd name="T122" fmla="*/ 2058 w 2058"/>
                <a:gd name="T123" fmla="*/ 1967 h 1967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T120" t="T121" r="T122" b="T123"/>
              <a:pathLst>
                <a:path w="2058" h="1967">
                  <a:moveTo>
                    <a:pt x="0" y="1697"/>
                  </a:moveTo>
                  <a:cubicBezTo>
                    <a:pt x="0" y="1697"/>
                    <a:pt x="0" y="1697"/>
                    <a:pt x="0" y="1697"/>
                  </a:cubicBezTo>
                  <a:cubicBezTo>
                    <a:pt x="0" y="1697"/>
                    <a:pt x="0" y="1697"/>
                    <a:pt x="0" y="1697"/>
                  </a:cubicBezTo>
                  <a:close/>
                  <a:moveTo>
                    <a:pt x="2046" y="797"/>
                  </a:moveTo>
                  <a:cubicBezTo>
                    <a:pt x="1931" y="823"/>
                    <a:pt x="1931" y="823"/>
                    <a:pt x="1931" y="823"/>
                  </a:cubicBezTo>
                  <a:cubicBezTo>
                    <a:pt x="1906" y="797"/>
                    <a:pt x="1906" y="797"/>
                    <a:pt x="1906" y="797"/>
                  </a:cubicBezTo>
                  <a:cubicBezTo>
                    <a:pt x="1906" y="797"/>
                    <a:pt x="1906" y="797"/>
                    <a:pt x="1919" y="772"/>
                  </a:cubicBezTo>
                  <a:cubicBezTo>
                    <a:pt x="1944" y="746"/>
                    <a:pt x="1931" y="720"/>
                    <a:pt x="1919" y="707"/>
                  </a:cubicBezTo>
                  <a:cubicBezTo>
                    <a:pt x="1906" y="695"/>
                    <a:pt x="1842" y="682"/>
                    <a:pt x="1830" y="682"/>
                  </a:cubicBezTo>
                  <a:cubicBezTo>
                    <a:pt x="1817" y="669"/>
                    <a:pt x="1804" y="643"/>
                    <a:pt x="1792" y="630"/>
                  </a:cubicBezTo>
                  <a:cubicBezTo>
                    <a:pt x="1779" y="630"/>
                    <a:pt x="1766" y="656"/>
                    <a:pt x="1754" y="656"/>
                  </a:cubicBezTo>
                  <a:cubicBezTo>
                    <a:pt x="1741" y="643"/>
                    <a:pt x="1728" y="605"/>
                    <a:pt x="1728" y="605"/>
                  </a:cubicBezTo>
                  <a:cubicBezTo>
                    <a:pt x="1665" y="579"/>
                    <a:pt x="1665" y="579"/>
                    <a:pt x="1665" y="579"/>
                  </a:cubicBezTo>
                  <a:cubicBezTo>
                    <a:pt x="1665" y="527"/>
                    <a:pt x="1665" y="527"/>
                    <a:pt x="1665" y="527"/>
                  </a:cubicBezTo>
                  <a:cubicBezTo>
                    <a:pt x="928" y="0"/>
                    <a:pt x="928" y="0"/>
                    <a:pt x="928" y="0"/>
                  </a:cubicBezTo>
                  <a:cubicBezTo>
                    <a:pt x="699" y="0"/>
                    <a:pt x="699" y="0"/>
                    <a:pt x="699" y="0"/>
                  </a:cubicBezTo>
                  <a:cubicBezTo>
                    <a:pt x="801" y="1144"/>
                    <a:pt x="801" y="1144"/>
                    <a:pt x="801" y="1144"/>
                  </a:cubicBezTo>
                  <a:cubicBezTo>
                    <a:pt x="851" y="1170"/>
                    <a:pt x="851" y="1170"/>
                    <a:pt x="851" y="1170"/>
                  </a:cubicBezTo>
                  <a:cubicBezTo>
                    <a:pt x="826" y="1273"/>
                    <a:pt x="826" y="1273"/>
                    <a:pt x="826" y="1273"/>
                  </a:cubicBezTo>
                  <a:cubicBezTo>
                    <a:pt x="343" y="1273"/>
                    <a:pt x="343" y="1273"/>
                    <a:pt x="343" y="1273"/>
                  </a:cubicBezTo>
                  <a:cubicBezTo>
                    <a:pt x="343" y="1273"/>
                    <a:pt x="280" y="1299"/>
                    <a:pt x="242" y="1299"/>
                  </a:cubicBezTo>
                  <a:cubicBezTo>
                    <a:pt x="216" y="1286"/>
                    <a:pt x="178" y="1286"/>
                    <a:pt x="165" y="1312"/>
                  </a:cubicBezTo>
                  <a:cubicBezTo>
                    <a:pt x="153" y="1337"/>
                    <a:pt x="76" y="1260"/>
                    <a:pt x="76" y="1260"/>
                  </a:cubicBezTo>
                  <a:cubicBezTo>
                    <a:pt x="76" y="1260"/>
                    <a:pt x="51" y="1286"/>
                    <a:pt x="38" y="1312"/>
                  </a:cubicBezTo>
                  <a:cubicBezTo>
                    <a:pt x="38" y="1324"/>
                    <a:pt x="38" y="1363"/>
                    <a:pt x="0" y="1363"/>
                  </a:cubicBezTo>
                  <a:cubicBezTo>
                    <a:pt x="13" y="1479"/>
                    <a:pt x="13" y="1479"/>
                    <a:pt x="13" y="1479"/>
                  </a:cubicBezTo>
                  <a:cubicBezTo>
                    <a:pt x="13" y="1479"/>
                    <a:pt x="51" y="1543"/>
                    <a:pt x="76" y="1556"/>
                  </a:cubicBezTo>
                  <a:cubicBezTo>
                    <a:pt x="114" y="1569"/>
                    <a:pt x="76" y="1607"/>
                    <a:pt x="89" y="1659"/>
                  </a:cubicBezTo>
                  <a:cubicBezTo>
                    <a:pt x="89" y="1684"/>
                    <a:pt x="89" y="1697"/>
                    <a:pt x="89" y="1697"/>
                  </a:cubicBezTo>
                  <a:cubicBezTo>
                    <a:pt x="89" y="1710"/>
                    <a:pt x="102" y="1736"/>
                    <a:pt x="114" y="1736"/>
                  </a:cubicBezTo>
                  <a:cubicBezTo>
                    <a:pt x="127" y="1723"/>
                    <a:pt x="165" y="1697"/>
                    <a:pt x="165" y="1723"/>
                  </a:cubicBezTo>
                  <a:cubicBezTo>
                    <a:pt x="178" y="1736"/>
                    <a:pt x="191" y="1749"/>
                    <a:pt x="216" y="1723"/>
                  </a:cubicBezTo>
                  <a:cubicBezTo>
                    <a:pt x="242" y="1697"/>
                    <a:pt x="267" y="1723"/>
                    <a:pt x="292" y="1723"/>
                  </a:cubicBezTo>
                  <a:cubicBezTo>
                    <a:pt x="318" y="1736"/>
                    <a:pt x="318" y="1710"/>
                    <a:pt x="330" y="1710"/>
                  </a:cubicBezTo>
                  <a:cubicBezTo>
                    <a:pt x="356" y="1697"/>
                    <a:pt x="343" y="1671"/>
                    <a:pt x="343" y="1671"/>
                  </a:cubicBezTo>
                  <a:cubicBezTo>
                    <a:pt x="343" y="1671"/>
                    <a:pt x="407" y="1684"/>
                    <a:pt x="407" y="1710"/>
                  </a:cubicBezTo>
                  <a:cubicBezTo>
                    <a:pt x="407" y="1723"/>
                    <a:pt x="394" y="1749"/>
                    <a:pt x="419" y="1774"/>
                  </a:cubicBezTo>
                  <a:cubicBezTo>
                    <a:pt x="445" y="1813"/>
                    <a:pt x="470" y="1813"/>
                    <a:pt x="470" y="1813"/>
                  </a:cubicBezTo>
                  <a:cubicBezTo>
                    <a:pt x="432" y="1851"/>
                    <a:pt x="432" y="1851"/>
                    <a:pt x="432" y="1851"/>
                  </a:cubicBezTo>
                  <a:cubicBezTo>
                    <a:pt x="445" y="1864"/>
                    <a:pt x="445" y="1864"/>
                    <a:pt x="445" y="1864"/>
                  </a:cubicBezTo>
                  <a:cubicBezTo>
                    <a:pt x="445" y="1864"/>
                    <a:pt x="470" y="1851"/>
                    <a:pt x="483" y="1877"/>
                  </a:cubicBezTo>
                  <a:cubicBezTo>
                    <a:pt x="483" y="1903"/>
                    <a:pt x="496" y="1929"/>
                    <a:pt x="496" y="1929"/>
                  </a:cubicBezTo>
                  <a:cubicBezTo>
                    <a:pt x="521" y="1967"/>
                    <a:pt x="521" y="1967"/>
                    <a:pt x="521" y="1967"/>
                  </a:cubicBezTo>
                  <a:cubicBezTo>
                    <a:pt x="521" y="1967"/>
                    <a:pt x="521" y="1967"/>
                    <a:pt x="521" y="1967"/>
                  </a:cubicBezTo>
                  <a:cubicBezTo>
                    <a:pt x="534" y="1954"/>
                    <a:pt x="546" y="1954"/>
                    <a:pt x="559" y="1941"/>
                  </a:cubicBezTo>
                  <a:cubicBezTo>
                    <a:pt x="585" y="1929"/>
                    <a:pt x="585" y="1929"/>
                    <a:pt x="610" y="1954"/>
                  </a:cubicBezTo>
                  <a:cubicBezTo>
                    <a:pt x="623" y="1967"/>
                    <a:pt x="648" y="1967"/>
                    <a:pt x="648" y="1967"/>
                  </a:cubicBezTo>
                  <a:cubicBezTo>
                    <a:pt x="648" y="1967"/>
                    <a:pt x="648" y="1941"/>
                    <a:pt x="674" y="1941"/>
                  </a:cubicBezTo>
                  <a:cubicBezTo>
                    <a:pt x="699" y="1954"/>
                    <a:pt x="661" y="1877"/>
                    <a:pt x="686" y="1903"/>
                  </a:cubicBezTo>
                  <a:cubicBezTo>
                    <a:pt x="712" y="1916"/>
                    <a:pt x="724" y="1929"/>
                    <a:pt x="724" y="1916"/>
                  </a:cubicBezTo>
                  <a:cubicBezTo>
                    <a:pt x="724" y="1916"/>
                    <a:pt x="737" y="1890"/>
                    <a:pt x="737" y="1890"/>
                  </a:cubicBezTo>
                  <a:cubicBezTo>
                    <a:pt x="750" y="1967"/>
                    <a:pt x="750" y="1967"/>
                    <a:pt x="750" y="1967"/>
                  </a:cubicBezTo>
                  <a:cubicBezTo>
                    <a:pt x="750" y="1967"/>
                    <a:pt x="775" y="1954"/>
                    <a:pt x="801" y="1941"/>
                  </a:cubicBezTo>
                  <a:cubicBezTo>
                    <a:pt x="826" y="1941"/>
                    <a:pt x="839" y="1929"/>
                    <a:pt x="839" y="1929"/>
                  </a:cubicBezTo>
                  <a:cubicBezTo>
                    <a:pt x="826" y="1851"/>
                    <a:pt x="826" y="1851"/>
                    <a:pt x="826" y="1851"/>
                  </a:cubicBezTo>
                  <a:cubicBezTo>
                    <a:pt x="864" y="1813"/>
                    <a:pt x="864" y="1813"/>
                    <a:pt x="864" y="1813"/>
                  </a:cubicBezTo>
                  <a:cubicBezTo>
                    <a:pt x="851" y="1749"/>
                    <a:pt x="851" y="1749"/>
                    <a:pt x="851" y="1749"/>
                  </a:cubicBezTo>
                  <a:cubicBezTo>
                    <a:pt x="928" y="1736"/>
                    <a:pt x="928" y="1736"/>
                    <a:pt x="928" y="1736"/>
                  </a:cubicBezTo>
                  <a:cubicBezTo>
                    <a:pt x="966" y="1684"/>
                    <a:pt x="966" y="1684"/>
                    <a:pt x="966" y="1684"/>
                  </a:cubicBezTo>
                  <a:cubicBezTo>
                    <a:pt x="966" y="1646"/>
                    <a:pt x="966" y="1646"/>
                    <a:pt x="966" y="1646"/>
                  </a:cubicBezTo>
                  <a:cubicBezTo>
                    <a:pt x="966" y="1646"/>
                    <a:pt x="991" y="1646"/>
                    <a:pt x="991" y="1620"/>
                  </a:cubicBezTo>
                  <a:cubicBezTo>
                    <a:pt x="991" y="1607"/>
                    <a:pt x="978" y="1594"/>
                    <a:pt x="978" y="1594"/>
                  </a:cubicBezTo>
                  <a:cubicBezTo>
                    <a:pt x="1017" y="1543"/>
                    <a:pt x="1017" y="1543"/>
                    <a:pt x="1017" y="1543"/>
                  </a:cubicBezTo>
                  <a:cubicBezTo>
                    <a:pt x="1093" y="1594"/>
                    <a:pt x="1093" y="1594"/>
                    <a:pt x="1093" y="1594"/>
                  </a:cubicBezTo>
                  <a:cubicBezTo>
                    <a:pt x="1106" y="1569"/>
                    <a:pt x="1106" y="1569"/>
                    <a:pt x="1106" y="1569"/>
                  </a:cubicBezTo>
                  <a:cubicBezTo>
                    <a:pt x="1106" y="1517"/>
                    <a:pt x="1106" y="1517"/>
                    <a:pt x="1106" y="1517"/>
                  </a:cubicBezTo>
                  <a:cubicBezTo>
                    <a:pt x="1144" y="1517"/>
                    <a:pt x="1144" y="1517"/>
                    <a:pt x="1144" y="1517"/>
                  </a:cubicBezTo>
                  <a:cubicBezTo>
                    <a:pt x="1156" y="1479"/>
                    <a:pt x="1156" y="1479"/>
                    <a:pt x="1156" y="1479"/>
                  </a:cubicBezTo>
                  <a:cubicBezTo>
                    <a:pt x="1245" y="1440"/>
                    <a:pt x="1245" y="1440"/>
                    <a:pt x="1245" y="1440"/>
                  </a:cubicBezTo>
                  <a:cubicBezTo>
                    <a:pt x="1271" y="1389"/>
                    <a:pt x="1271" y="1389"/>
                    <a:pt x="1271" y="1389"/>
                  </a:cubicBezTo>
                  <a:cubicBezTo>
                    <a:pt x="1398" y="1363"/>
                    <a:pt x="1398" y="1363"/>
                    <a:pt x="1398" y="1363"/>
                  </a:cubicBezTo>
                  <a:cubicBezTo>
                    <a:pt x="1449" y="1337"/>
                    <a:pt x="1449" y="1337"/>
                    <a:pt x="1449" y="1337"/>
                  </a:cubicBezTo>
                  <a:cubicBezTo>
                    <a:pt x="1525" y="1350"/>
                    <a:pt x="1525" y="1350"/>
                    <a:pt x="1525" y="1350"/>
                  </a:cubicBezTo>
                  <a:cubicBezTo>
                    <a:pt x="1639" y="1350"/>
                    <a:pt x="1639" y="1350"/>
                    <a:pt x="1639" y="1350"/>
                  </a:cubicBezTo>
                  <a:cubicBezTo>
                    <a:pt x="1677" y="1312"/>
                    <a:pt x="1677" y="1312"/>
                    <a:pt x="1677" y="1312"/>
                  </a:cubicBezTo>
                  <a:cubicBezTo>
                    <a:pt x="1957" y="1299"/>
                    <a:pt x="1957" y="1299"/>
                    <a:pt x="1957" y="1299"/>
                  </a:cubicBezTo>
                  <a:cubicBezTo>
                    <a:pt x="1957" y="1299"/>
                    <a:pt x="1995" y="1260"/>
                    <a:pt x="1995" y="1260"/>
                  </a:cubicBezTo>
                  <a:cubicBezTo>
                    <a:pt x="2008" y="1247"/>
                    <a:pt x="2033" y="1170"/>
                    <a:pt x="2033" y="1170"/>
                  </a:cubicBezTo>
                  <a:cubicBezTo>
                    <a:pt x="2033" y="1170"/>
                    <a:pt x="2020" y="1106"/>
                    <a:pt x="2033" y="1106"/>
                  </a:cubicBezTo>
                  <a:cubicBezTo>
                    <a:pt x="2046" y="1093"/>
                    <a:pt x="2058" y="1080"/>
                    <a:pt x="2058" y="1080"/>
                  </a:cubicBezTo>
                  <a:lnTo>
                    <a:pt x="2046" y="797"/>
                  </a:lnTo>
                  <a:close/>
                </a:path>
              </a:pathLst>
            </a:custGeom>
            <a:grpFill/>
            <a:ln w="9525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891045"/>
              <a:endParaRPr lang="en-US" sz="1700" dirty="0">
                <a:solidFill>
                  <a:srgbClr val="003149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422" name="Freeform 226"/>
            <p:cNvSpPr>
              <a:spLocks noEditPoints="1"/>
            </p:cNvSpPr>
            <p:nvPr/>
          </p:nvSpPr>
          <p:spPr bwMode="gray">
            <a:xfrm>
              <a:off x="4060" y="2696"/>
              <a:ext cx="208" cy="199"/>
            </a:xfrm>
            <a:custGeom>
              <a:avLst/>
              <a:gdLst>
                <a:gd name="T0" fmla="*/ 0 w 2058"/>
                <a:gd name="T1" fmla="*/ 0 h 1967"/>
                <a:gd name="T2" fmla="*/ 0 w 2058"/>
                <a:gd name="T3" fmla="*/ 0 h 1967"/>
                <a:gd name="T4" fmla="*/ 0 w 2058"/>
                <a:gd name="T5" fmla="*/ 0 h 1967"/>
                <a:gd name="T6" fmla="*/ 0 w 2058"/>
                <a:gd name="T7" fmla="*/ 0 h 1967"/>
                <a:gd name="T8" fmla="*/ 0 w 2058"/>
                <a:gd name="T9" fmla="*/ 0 h 1967"/>
                <a:gd name="T10" fmla="*/ 0 w 2058"/>
                <a:gd name="T11" fmla="*/ 0 h 1967"/>
                <a:gd name="T12" fmla="*/ 0 w 2058"/>
                <a:gd name="T13" fmla="*/ 0 h 1967"/>
                <a:gd name="T14" fmla="*/ 0 w 2058"/>
                <a:gd name="T15" fmla="*/ 0 h 1967"/>
                <a:gd name="T16" fmla="*/ 0 w 2058"/>
                <a:gd name="T17" fmla="*/ 0 h 1967"/>
                <a:gd name="T18" fmla="*/ 0 w 2058"/>
                <a:gd name="T19" fmla="*/ 0 h 1967"/>
                <a:gd name="T20" fmla="*/ 0 w 2058"/>
                <a:gd name="T21" fmla="*/ 0 h 1967"/>
                <a:gd name="T22" fmla="*/ 0 w 2058"/>
                <a:gd name="T23" fmla="*/ 0 h 1967"/>
                <a:gd name="T24" fmla="*/ 0 w 2058"/>
                <a:gd name="T25" fmla="*/ 0 h 1967"/>
                <a:gd name="T26" fmla="*/ 0 w 2058"/>
                <a:gd name="T27" fmla="*/ 0 h 1967"/>
                <a:gd name="T28" fmla="*/ 0 w 2058"/>
                <a:gd name="T29" fmla="*/ 0 h 1967"/>
                <a:gd name="T30" fmla="*/ 0 w 2058"/>
                <a:gd name="T31" fmla="*/ 0 h 1967"/>
                <a:gd name="T32" fmla="*/ 0 w 2058"/>
                <a:gd name="T33" fmla="*/ 0 h 1967"/>
                <a:gd name="T34" fmla="*/ 0 w 2058"/>
                <a:gd name="T35" fmla="*/ 0 h 1967"/>
                <a:gd name="T36" fmla="*/ 0 w 2058"/>
                <a:gd name="T37" fmla="*/ 0 h 1967"/>
                <a:gd name="T38" fmla="*/ 0 w 2058"/>
                <a:gd name="T39" fmla="*/ 0 h 1967"/>
                <a:gd name="T40" fmla="*/ 0 w 2058"/>
                <a:gd name="T41" fmla="*/ 0 h 1967"/>
                <a:gd name="T42" fmla="*/ 0 w 2058"/>
                <a:gd name="T43" fmla="*/ 0 h 1967"/>
                <a:gd name="T44" fmla="*/ 0 w 2058"/>
                <a:gd name="T45" fmla="*/ 0 h 1967"/>
                <a:gd name="T46" fmla="*/ 0 w 2058"/>
                <a:gd name="T47" fmla="*/ 0 h 1967"/>
                <a:gd name="T48" fmla="*/ 0 w 2058"/>
                <a:gd name="T49" fmla="*/ 0 h 1967"/>
                <a:gd name="T50" fmla="*/ 0 w 2058"/>
                <a:gd name="T51" fmla="*/ 0 h 1967"/>
                <a:gd name="T52" fmla="*/ 0 w 2058"/>
                <a:gd name="T53" fmla="*/ 0 h 1967"/>
                <a:gd name="T54" fmla="*/ 0 w 2058"/>
                <a:gd name="T55" fmla="*/ 0 h 1967"/>
                <a:gd name="T56" fmla="*/ 0 w 2058"/>
                <a:gd name="T57" fmla="*/ 0 h 1967"/>
                <a:gd name="T58" fmla="*/ 0 w 2058"/>
                <a:gd name="T59" fmla="*/ 0 h 1967"/>
                <a:gd name="T60" fmla="*/ 0 w 2058"/>
                <a:gd name="T61" fmla="*/ 0 h 1967"/>
                <a:gd name="T62" fmla="*/ 0 w 2058"/>
                <a:gd name="T63" fmla="*/ 0 h 1967"/>
                <a:gd name="T64" fmla="*/ 0 w 2058"/>
                <a:gd name="T65" fmla="*/ 0 h 1967"/>
                <a:gd name="T66" fmla="*/ 0 w 2058"/>
                <a:gd name="T67" fmla="*/ 0 h 1967"/>
                <a:gd name="T68" fmla="*/ 0 w 2058"/>
                <a:gd name="T69" fmla="*/ 0 h 1967"/>
                <a:gd name="T70" fmla="*/ 0 w 2058"/>
                <a:gd name="T71" fmla="*/ 0 h 1967"/>
                <a:gd name="T72" fmla="*/ 0 w 2058"/>
                <a:gd name="T73" fmla="*/ 0 h 1967"/>
                <a:gd name="T74" fmla="*/ 0 w 2058"/>
                <a:gd name="T75" fmla="*/ 0 h 1967"/>
                <a:gd name="T76" fmla="*/ 0 w 2058"/>
                <a:gd name="T77" fmla="*/ 0 h 1967"/>
                <a:gd name="T78" fmla="*/ 0 w 2058"/>
                <a:gd name="T79" fmla="*/ 0 h 1967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w 2058"/>
                <a:gd name="T121" fmla="*/ 0 h 1967"/>
                <a:gd name="T122" fmla="*/ 2058 w 2058"/>
                <a:gd name="T123" fmla="*/ 1967 h 1967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T120" t="T121" r="T122" b="T123"/>
              <a:pathLst>
                <a:path w="2058" h="1967">
                  <a:moveTo>
                    <a:pt x="0" y="1697"/>
                  </a:moveTo>
                  <a:cubicBezTo>
                    <a:pt x="0" y="1697"/>
                    <a:pt x="0" y="1697"/>
                    <a:pt x="0" y="1697"/>
                  </a:cubicBezTo>
                  <a:cubicBezTo>
                    <a:pt x="0" y="1697"/>
                    <a:pt x="0" y="1697"/>
                    <a:pt x="0" y="1697"/>
                  </a:cubicBezTo>
                  <a:close/>
                  <a:moveTo>
                    <a:pt x="2046" y="797"/>
                  </a:moveTo>
                  <a:cubicBezTo>
                    <a:pt x="1931" y="823"/>
                    <a:pt x="1931" y="823"/>
                    <a:pt x="1931" y="823"/>
                  </a:cubicBezTo>
                  <a:cubicBezTo>
                    <a:pt x="1906" y="797"/>
                    <a:pt x="1906" y="797"/>
                    <a:pt x="1906" y="797"/>
                  </a:cubicBezTo>
                  <a:cubicBezTo>
                    <a:pt x="1906" y="797"/>
                    <a:pt x="1906" y="797"/>
                    <a:pt x="1919" y="772"/>
                  </a:cubicBezTo>
                  <a:cubicBezTo>
                    <a:pt x="1944" y="746"/>
                    <a:pt x="1931" y="720"/>
                    <a:pt x="1919" y="707"/>
                  </a:cubicBezTo>
                  <a:cubicBezTo>
                    <a:pt x="1906" y="695"/>
                    <a:pt x="1842" y="682"/>
                    <a:pt x="1830" y="682"/>
                  </a:cubicBezTo>
                  <a:cubicBezTo>
                    <a:pt x="1817" y="669"/>
                    <a:pt x="1804" y="643"/>
                    <a:pt x="1792" y="630"/>
                  </a:cubicBezTo>
                  <a:cubicBezTo>
                    <a:pt x="1779" y="630"/>
                    <a:pt x="1766" y="656"/>
                    <a:pt x="1754" y="656"/>
                  </a:cubicBezTo>
                  <a:cubicBezTo>
                    <a:pt x="1741" y="643"/>
                    <a:pt x="1728" y="605"/>
                    <a:pt x="1728" y="605"/>
                  </a:cubicBezTo>
                  <a:cubicBezTo>
                    <a:pt x="1665" y="579"/>
                    <a:pt x="1665" y="579"/>
                    <a:pt x="1665" y="579"/>
                  </a:cubicBezTo>
                  <a:cubicBezTo>
                    <a:pt x="1665" y="527"/>
                    <a:pt x="1665" y="527"/>
                    <a:pt x="1665" y="527"/>
                  </a:cubicBezTo>
                  <a:cubicBezTo>
                    <a:pt x="928" y="0"/>
                    <a:pt x="928" y="0"/>
                    <a:pt x="928" y="0"/>
                  </a:cubicBezTo>
                  <a:cubicBezTo>
                    <a:pt x="699" y="0"/>
                    <a:pt x="699" y="0"/>
                    <a:pt x="699" y="0"/>
                  </a:cubicBezTo>
                  <a:cubicBezTo>
                    <a:pt x="801" y="1144"/>
                    <a:pt x="801" y="1144"/>
                    <a:pt x="801" y="1144"/>
                  </a:cubicBezTo>
                  <a:cubicBezTo>
                    <a:pt x="851" y="1170"/>
                    <a:pt x="851" y="1170"/>
                    <a:pt x="851" y="1170"/>
                  </a:cubicBezTo>
                  <a:cubicBezTo>
                    <a:pt x="826" y="1273"/>
                    <a:pt x="826" y="1273"/>
                    <a:pt x="826" y="1273"/>
                  </a:cubicBezTo>
                  <a:cubicBezTo>
                    <a:pt x="343" y="1273"/>
                    <a:pt x="343" y="1273"/>
                    <a:pt x="343" y="1273"/>
                  </a:cubicBezTo>
                  <a:cubicBezTo>
                    <a:pt x="343" y="1273"/>
                    <a:pt x="280" y="1299"/>
                    <a:pt x="242" y="1299"/>
                  </a:cubicBezTo>
                  <a:cubicBezTo>
                    <a:pt x="216" y="1286"/>
                    <a:pt x="178" y="1286"/>
                    <a:pt x="165" y="1312"/>
                  </a:cubicBezTo>
                  <a:cubicBezTo>
                    <a:pt x="153" y="1337"/>
                    <a:pt x="76" y="1260"/>
                    <a:pt x="76" y="1260"/>
                  </a:cubicBezTo>
                  <a:cubicBezTo>
                    <a:pt x="76" y="1260"/>
                    <a:pt x="51" y="1286"/>
                    <a:pt x="38" y="1312"/>
                  </a:cubicBezTo>
                  <a:cubicBezTo>
                    <a:pt x="38" y="1324"/>
                    <a:pt x="38" y="1363"/>
                    <a:pt x="0" y="1363"/>
                  </a:cubicBezTo>
                  <a:cubicBezTo>
                    <a:pt x="13" y="1479"/>
                    <a:pt x="13" y="1479"/>
                    <a:pt x="13" y="1479"/>
                  </a:cubicBezTo>
                  <a:cubicBezTo>
                    <a:pt x="13" y="1479"/>
                    <a:pt x="51" y="1543"/>
                    <a:pt x="76" y="1556"/>
                  </a:cubicBezTo>
                  <a:cubicBezTo>
                    <a:pt x="114" y="1569"/>
                    <a:pt x="76" y="1607"/>
                    <a:pt x="89" y="1659"/>
                  </a:cubicBezTo>
                  <a:cubicBezTo>
                    <a:pt x="89" y="1684"/>
                    <a:pt x="89" y="1697"/>
                    <a:pt x="89" y="1697"/>
                  </a:cubicBezTo>
                  <a:cubicBezTo>
                    <a:pt x="89" y="1710"/>
                    <a:pt x="102" y="1736"/>
                    <a:pt x="114" y="1736"/>
                  </a:cubicBezTo>
                  <a:cubicBezTo>
                    <a:pt x="127" y="1723"/>
                    <a:pt x="165" y="1697"/>
                    <a:pt x="165" y="1723"/>
                  </a:cubicBezTo>
                  <a:cubicBezTo>
                    <a:pt x="178" y="1736"/>
                    <a:pt x="191" y="1749"/>
                    <a:pt x="216" y="1723"/>
                  </a:cubicBezTo>
                  <a:cubicBezTo>
                    <a:pt x="242" y="1697"/>
                    <a:pt x="267" y="1723"/>
                    <a:pt x="292" y="1723"/>
                  </a:cubicBezTo>
                  <a:cubicBezTo>
                    <a:pt x="318" y="1736"/>
                    <a:pt x="318" y="1710"/>
                    <a:pt x="330" y="1710"/>
                  </a:cubicBezTo>
                  <a:cubicBezTo>
                    <a:pt x="356" y="1697"/>
                    <a:pt x="343" y="1671"/>
                    <a:pt x="343" y="1671"/>
                  </a:cubicBezTo>
                  <a:cubicBezTo>
                    <a:pt x="343" y="1671"/>
                    <a:pt x="407" y="1684"/>
                    <a:pt x="407" y="1710"/>
                  </a:cubicBezTo>
                  <a:cubicBezTo>
                    <a:pt x="407" y="1723"/>
                    <a:pt x="394" y="1749"/>
                    <a:pt x="419" y="1774"/>
                  </a:cubicBezTo>
                  <a:cubicBezTo>
                    <a:pt x="445" y="1813"/>
                    <a:pt x="470" y="1813"/>
                    <a:pt x="470" y="1813"/>
                  </a:cubicBezTo>
                  <a:cubicBezTo>
                    <a:pt x="432" y="1851"/>
                    <a:pt x="432" y="1851"/>
                    <a:pt x="432" y="1851"/>
                  </a:cubicBezTo>
                  <a:cubicBezTo>
                    <a:pt x="445" y="1864"/>
                    <a:pt x="445" y="1864"/>
                    <a:pt x="445" y="1864"/>
                  </a:cubicBezTo>
                  <a:cubicBezTo>
                    <a:pt x="445" y="1864"/>
                    <a:pt x="470" y="1851"/>
                    <a:pt x="483" y="1877"/>
                  </a:cubicBezTo>
                  <a:cubicBezTo>
                    <a:pt x="483" y="1903"/>
                    <a:pt x="496" y="1929"/>
                    <a:pt x="496" y="1929"/>
                  </a:cubicBezTo>
                  <a:cubicBezTo>
                    <a:pt x="521" y="1967"/>
                    <a:pt x="521" y="1967"/>
                    <a:pt x="521" y="1967"/>
                  </a:cubicBezTo>
                  <a:cubicBezTo>
                    <a:pt x="521" y="1967"/>
                    <a:pt x="521" y="1967"/>
                    <a:pt x="521" y="1967"/>
                  </a:cubicBezTo>
                  <a:cubicBezTo>
                    <a:pt x="534" y="1954"/>
                    <a:pt x="546" y="1954"/>
                    <a:pt x="559" y="1941"/>
                  </a:cubicBezTo>
                  <a:cubicBezTo>
                    <a:pt x="585" y="1929"/>
                    <a:pt x="585" y="1929"/>
                    <a:pt x="610" y="1954"/>
                  </a:cubicBezTo>
                  <a:cubicBezTo>
                    <a:pt x="623" y="1967"/>
                    <a:pt x="648" y="1967"/>
                    <a:pt x="648" y="1967"/>
                  </a:cubicBezTo>
                  <a:cubicBezTo>
                    <a:pt x="648" y="1967"/>
                    <a:pt x="648" y="1941"/>
                    <a:pt x="674" y="1941"/>
                  </a:cubicBezTo>
                  <a:cubicBezTo>
                    <a:pt x="699" y="1954"/>
                    <a:pt x="661" y="1877"/>
                    <a:pt x="686" y="1903"/>
                  </a:cubicBezTo>
                  <a:cubicBezTo>
                    <a:pt x="712" y="1916"/>
                    <a:pt x="724" y="1929"/>
                    <a:pt x="724" y="1916"/>
                  </a:cubicBezTo>
                  <a:cubicBezTo>
                    <a:pt x="724" y="1916"/>
                    <a:pt x="737" y="1890"/>
                    <a:pt x="737" y="1890"/>
                  </a:cubicBezTo>
                  <a:cubicBezTo>
                    <a:pt x="750" y="1967"/>
                    <a:pt x="750" y="1967"/>
                    <a:pt x="750" y="1967"/>
                  </a:cubicBezTo>
                  <a:cubicBezTo>
                    <a:pt x="750" y="1967"/>
                    <a:pt x="775" y="1954"/>
                    <a:pt x="801" y="1941"/>
                  </a:cubicBezTo>
                  <a:cubicBezTo>
                    <a:pt x="826" y="1941"/>
                    <a:pt x="839" y="1929"/>
                    <a:pt x="839" y="1929"/>
                  </a:cubicBezTo>
                  <a:cubicBezTo>
                    <a:pt x="826" y="1851"/>
                    <a:pt x="826" y="1851"/>
                    <a:pt x="826" y="1851"/>
                  </a:cubicBezTo>
                  <a:cubicBezTo>
                    <a:pt x="864" y="1813"/>
                    <a:pt x="864" y="1813"/>
                    <a:pt x="864" y="1813"/>
                  </a:cubicBezTo>
                  <a:cubicBezTo>
                    <a:pt x="851" y="1749"/>
                    <a:pt x="851" y="1749"/>
                    <a:pt x="851" y="1749"/>
                  </a:cubicBezTo>
                  <a:cubicBezTo>
                    <a:pt x="928" y="1736"/>
                    <a:pt x="928" y="1736"/>
                    <a:pt x="928" y="1736"/>
                  </a:cubicBezTo>
                  <a:cubicBezTo>
                    <a:pt x="966" y="1684"/>
                    <a:pt x="966" y="1684"/>
                    <a:pt x="966" y="1684"/>
                  </a:cubicBezTo>
                  <a:cubicBezTo>
                    <a:pt x="966" y="1646"/>
                    <a:pt x="966" y="1646"/>
                    <a:pt x="966" y="1646"/>
                  </a:cubicBezTo>
                  <a:cubicBezTo>
                    <a:pt x="966" y="1646"/>
                    <a:pt x="991" y="1646"/>
                    <a:pt x="991" y="1620"/>
                  </a:cubicBezTo>
                  <a:cubicBezTo>
                    <a:pt x="991" y="1607"/>
                    <a:pt x="978" y="1594"/>
                    <a:pt x="978" y="1594"/>
                  </a:cubicBezTo>
                  <a:cubicBezTo>
                    <a:pt x="1017" y="1543"/>
                    <a:pt x="1017" y="1543"/>
                    <a:pt x="1017" y="1543"/>
                  </a:cubicBezTo>
                  <a:cubicBezTo>
                    <a:pt x="1093" y="1594"/>
                    <a:pt x="1093" y="1594"/>
                    <a:pt x="1093" y="1594"/>
                  </a:cubicBezTo>
                  <a:cubicBezTo>
                    <a:pt x="1106" y="1569"/>
                    <a:pt x="1106" y="1569"/>
                    <a:pt x="1106" y="1569"/>
                  </a:cubicBezTo>
                  <a:cubicBezTo>
                    <a:pt x="1106" y="1517"/>
                    <a:pt x="1106" y="1517"/>
                    <a:pt x="1106" y="1517"/>
                  </a:cubicBezTo>
                  <a:cubicBezTo>
                    <a:pt x="1144" y="1517"/>
                    <a:pt x="1144" y="1517"/>
                    <a:pt x="1144" y="1517"/>
                  </a:cubicBezTo>
                  <a:cubicBezTo>
                    <a:pt x="1156" y="1479"/>
                    <a:pt x="1156" y="1479"/>
                    <a:pt x="1156" y="1479"/>
                  </a:cubicBezTo>
                  <a:cubicBezTo>
                    <a:pt x="1245" y="1440"/>
                    <a:pt x="1245" y="1440"/>
                    <a:pt x="1245" y="1440"/>
                  </a:cubicBezTo>
                  <a:cubicBezTo>
                    <a:pt x="1271" y="1389"/>
                    <a:pt x="1271" y="1389"/>
                    <a:pt x="1271" y="1389"/>
                  </a:cubicBezTo>
                  <a:cubicBezTo>
                    <a:pt x="1398" y="1363"/>
                    <a:pt x="1398" y="1363"/>
                    <a:pt x="1398" y="1363"/>
                  </a:cubicBezTo>
                  <a:cubicBezTo>
                    <a:pt x="1449" y="1337"/>
                    <a:pt x="1449" y="1337"/>
                    <a:pt x="1449" y="1337"/>
                  </a:cubicBezTo>
                  <a:cubicBezTo>
                    <a:pt x="1525" y="1350"/>
                    <a:pt x="1525" y="1350"/>
                    <a:pt x="1525" y="1350"/>
                  </a:cubicBezTo>
                  <a:cubicBezTo>
                    <a:pt x="1639" y="1350"/>
                    <a:pt x="1639" y="1350"/>
                    <a:pt x="1639" y="1350"/>
                  </a:cubicBezTo>
                  <a:cubicBezTo>
                    <a:pt x="1677" y="1312"/>
                    <a:pt x="1677" y="1312"/>
                    <a:pt x="1677" y="1312"/>
                  </a:cubicBezTo>
                  <a:cubicBezTo>
                    <a:pt x="1957" y="1299"/>
                    <a:pt x="1957" y="1299"/>
                    <a:pt x="1957" y="1299"/>
                  </a:cubicBezTo>
                  <a:cubicBezTo>
                    <a:pt x="1957" y="1299"/>
                    <a:pt x="1995" y="1260"/>
                    <a:pt x="1995" y="1260"/>
                  </a:cubicBezTo>
                  <a:cubicBezTo>
                    <a:pt x="2008" y="1247"/>
                    <a:pt x="2033" y="1170"/>
                    <a:pt x="2033" y="1170"/>
                  </a:cubicBezTo>
                  <a:cubicBezTo>
                    <a:pt x="2033" y="1170"/>
                    <a:pt x="2020" y="1106"/>
                    <a:pt x="2033" y="1106"/>
                  </a:cubicBezTo>
                  <a:cubicBezTo>
                    <a:pt x="2046" y="1093"/>
                    <a:pt x="2058" y="1080"/>
                    <a:pt x="2058" y="1080"/>
                  </a:cubicBezTo>
                  <a:lnTo>
                    <a:pt x="2046" y="797"/>
                  </a:lnTo>
                  <a:close/>
                </a:path>
              </a:pathLst>
            </a:custGeom>
            <a:grpFill/>
            <a:ln w="9525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891045"/>
              <a:endParaRPr lang="en-US" sz="1700" dirty="0">
                <a:solidFill>
                  <a:srgbClr val="003149"/>
                </a:solidFill>
                <a:cs typeface="Arial" panose="020B0604020202020204" pitchFamily="34" charset="0"/>
              </a:endParaRPr>
            </a:p>
          </p:txBody>
        </p:sp>
      </p:grpSp>
      <p:grpSp>
        <p:nvGrpSpPr>
          <p:cNvPr id="423" name="Group 227"/>
          <p:cNvGrpSpPr>
            <a:grpSpLocks/>
          </p:cNvGrpSpPr>
          <p:nvPr/>
        </p:nvGrpSpPr>
        <p:grpSpPr bwMode="gray">
          <a:xfrm>
            <a:off x="1032202" y="2210209"/>
            <a:ext cx="147075" cy="109104"/>
            <a:chOff x="4143" y="2832"/>
            <a:chExt cx="100" cy="70"/>
          </a:xfrm>
          <a:solidFill>
            <a:schemeClr val="accent3"/>
          </a:solidFill>
        </p:grpSpPr>
        <p:sp>
          <p:nvSpPr>
            <p:cNvPr id="424" name="Freeform 228"/>
            <p:cNvSpPr>
              <a:spLocks/>
            </p:cNvSpPr>
            <p:nvPr/>
          </p:nvSpPr>
          <p:spPr bwMode="gray">
            <a:xfrm>
              <a:off x="4143" y="2832"/>
              <a:ext cx="100" cy="70"/>
            </a:xfrm>
            <a:custGeom>
              <a:avLst/>
              <a:gdLst>
                <a:gd name="T0" fmla="*/ 0 w 983"/>
                <a:gd name="T1" fmla="*/ 0 h 692"/>
                <a:gd name="T2" fmla="*/ 0 w 983"/>
                <a:gd name="T3" fmla="*/ 0 h 692"/>
                <a:gd name="T4" fmla="*/ 0 w 983"/>
                <a:gd name="T5" fmla="*/ 0 h 692"/>
                <a:gd name="T6" fmla="*/ 0 w 983"/>
                <a:gd name="T7" fmla="*/ 0 h 692"/>
                <a:gd name="T8" fmla="*/ 0 w 983"/>
                <a:gd name="T9" fmla="*/ 0 h 692"/>
                <a:gd name="T10" fmla="*/ 0 w 983"/>
                <a:gd name="T11" fmla="*/ 0 h 692"/>
                <a:gd name="T12" fmla="*/ 0 w 983"/>
                <a:gd name="T13" fmla="*/ 0 h 692"/>
                <a:gd name="T14" fmla="*/ 0 w 983"/>
                <a:gd name="T15" fmla="*/ 0 h 692"/>
                <a:gd name="T16" fmla="*/ 0 w 983"/>
                <a:gd name="T17" fmla="*/ 0 h 692"/>
                <a:gd name="T18" fmla="*/ 0 w 983"/>
                <a:gd name="T19" fmla="*/ 0 h 692"/>
                <a:gd name="T20" fmla="*/ 0 w 983"/>
                <a:gd name="T21" fmla="*/ 0 h 692"/>
                <a:gd name="T22" fmla="*/ 0 w 983"/>
                <a:gd name="T23" fmla="*/ 0 h 692"/>
                <a:gd name="T24" fmla="*/ 0 w 983"/>
                <a:gd name="T25" fmla="*/ 0 h 692"/>
                <a:gd name="T26" fmla="*/ 0 w 983"/>
                <a:gd name="T27" fmla="*/ 0 h 692"/>
                <a:gd name="T28" fmla="*/ 0 w 983"/>
                <a:gd name="T29" fmla="*/ 0 h 692"/>
                <a:gd name="T30" fmla="*/ 0 w 983"/>
                <a:gd name="T31" fmla="*/ 0 h 692"/>
                <a:gd name="T32" fmla="*/ 0 w 983"/>
                <a:gd name="T33" fmla="*/ 0 h 692"/>
                <a:gd name="T34" fmla="*/ 0 w 983"/>
                <a:gd name="T35" fmla="*/ 0 h 692"/>
                <a:gd name="T36" fmla="*/ 0 w 983"/>
                <a:gd name="T37" fmla="*/ 0 h 692"/>
                <a:gd name="T38" fmla="*/ 0 w 983"/>
                <a:gd name="T39" fmla="*/ 0 h 692"/>
                <a:gd name="T40" fmla="*/ 0 w 983"/>
                <a:gd name="T41" fmla="*/ 0 h 692"/>
                <a:gd name="T42" fmla="*/ 0 w 983"/>
                <a:gd name="T43" fmla="*/ 0 h 692"/>
                <a:gd name="T44" fmla="*/ 0 w 983"/>
                <a:gd name="T45" fmla="*/ 0 h 692"/>
                <a:gd name="T46" fmla="*/ 0 w 983"/>
                <a:gd name="T47" fmla="*/ 0 h 692"/>
                <a:gd name="T48" fmla="*/ 0 w 983"/>
                <a:gd name="T49" fmla="*/ 0 h 692"/>
                <a:gd name="T50" fmla="*/ 0 w 983"/>
                <a:gd name="T51" fmla="*/ 0 h 692"/>
                <a:gd name="T52" fmla="*/ 0 w 983"/>
                <a:gd name="T53" fmla="*/ 0 h 692"/>
                <a:gd name="T54" fmla="*/ 0 w 983"/>
                <a:gd name="T55" fmla="*/ 0 h 692"/>
                <a:gd name="T56" fmla="*/ 0 w 983"/>
                <a:gd name="T57" fmla="*/ 0 h 692"/>
                <a:gd name="T58" fmla="*/ 0 w 983"/>
                <a:gd name="T59" fmla="*/ 0 h 692"/>
                <a:gd name="T60" fmla="*/ 0 w 983"/>
                <a:gd name="T61" fmla="*/ 0 h 692"/>
                <a:gd name="T62" fmla="*/ 0 w 983"/>
                <a:gd name="T63" fmla="*/ 0 h 692"/>
                <a:gd name="T64" fmla="*/ 0 w 983"/>
                <a:gd name="T65" fmla="*/ 0 h 692"/>
                <a:gd name="T66" fmla="*/ 0 w 983"/>
                <a:gd name="T67" fmla="*/ 0 h 692"/>
                <a:gd name="T68" fmla="*/ 0 w 983"/>
                <a:gd name="T69" fmla="*/ 0 h 692"/>
                <a:gd name="T70" fmla="*/ 0 w 983"/>
                <a:gd name="T71" fmla="*/ 0 h 692"/>
                <a:gd name="T72" fmla="*/ 0 w 983"/>
                <a:gd name="T73" fmla="*/ 0 h 692"/>
                <a:gd name="T74" fmla="*/ 0 w 983"/>
                <a:gd name="T75" fmla="*/ 0 h 692"/>
                <a:gd name="T76" fmla="*/ 0 w 983"/>
                <a:gd name="T77" fmla="*/ 0 h 692"/>
                <a:gd name="T78" fmla="*/ 0 w 983"/>
                <a:gd name="T79" fmla="*/ 0 h 692"/>
                <a:gd name="T80" fmla="*/ 0 w 983"/>
                <a:gd name="T81" fmla="*/ 0 h 692"/>
                <a:gd name="T82" fmla="*/ 0 w 983"/>
                <a:gd name="T83" fmla="*/ 0 h 692"/>
                <a:gd name="T84" fmla="*/ 0 w 983"/>
                <a:gd name="T85" fmla="*/ 0 h 692"/>
                <a:gd name="T86" fmla="*/ 0 w 983"/>
                <a:gd name="T87" fmla="*/ 0 h 692"/>
                <a:gd name="T88" fmla="*/ 0 w 983"/>
                <a:gd name="T89" fmla="*/ 0 h 692"/>
                <a:gd name="T90" fmla="*/ 0 w 983"/>
                <a:gd name="T91" fmla="*/ 0 h 692"/>
                <a:gd name="T92" fmla="*/ 0 w 983"/>
                <a:gd name="T93" fmla="*/ 0 h 692"/>
                <a:gd name="T94" fmla="*/ 0 w 983"/>
                <a:gd name="T95" fmla="*/ 0 h 692"/>
                <a:gd name="T96" fmla="*/ 0 w 983"/>
                <a:gd name="T97" fmla="*/ 0 h 692"/>
                <a:gd name="T98" fmla="*/ 0 w 983"/>
                <a:gd name="T99" fmla="*/ 0 h 692"/>
                <a:gd name="T100" fmla="*/ 0 w 983"/>
                <a:gd name="T101" fmla="*/ 0 h 692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983"/>
                <a:gd name="T154" fmla="*/ 0 h 692"/>
                <a:gd name="T155" fmla="*/ 983 w 983"/>
                <a:gd name="T156" fmla="*/ 692 h 692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983" h="692">
                  <a:moveTo>
                    <a:pt x="946" y="352"/>
                  </a:moveTo>
                  <a:cubicBezTo>
                    <a:pt x="946" y="352"/>
                    <a:pt x="958" y="340"/>
                    <a:pt x="971" y="327"/>
                  </a:cubicBezTo>
                  <a:cubicBezTo>
                    <a:pt x="971" y="315"/>
                    <a:pt x="920" y="302"/>
                    <a:pt x="920" y="302"/>
                  </a:cubicBezTo>
                  <a:cubicBezTo>
                    <a:pt x="883" y="315"/>
                    <a:pt x="883" y="315"/>
                    <a:pt x="883" y="315"/>
                  </a:cubicBezTo>
                  <a:cubicBezTo>
                    <a:pt x="807" y="252"/>
                    <a:pt x="807" y="252"/>
                    <a:pt x="807" y="252"/>
                  </a:cubicBezTo>
                  <a:cubicBezTo>
                    <a:pt x="832" y="214"/>
                    <a:pt x="832" y="214"/>
                    <a:pt x="832" y="214"/>
                  </a:cubicBezTo>
                  <a:cubicBezTo>
                    <a:pt x="832" y="214"/>
                    <a:pt x="757" y="164"/>
                    <a:pt x="744" y="151"/>
                  </a:cubicBezTo>
                  <a:cubicBezTo>
                    <a:pt x="731" y="151"/>
                    <a:pt x="731" y="101"/>
                    <a:pt x="731" y="101"/>
                  </a:cubicBezTo>
                  <a:cubicBezTo>
                    <a:pt x="706" y="76"/>
                    <a:pt x="706" y="76"/>
                    <a:pt x="706" y="76"/>
                  </a:cubicBezTo>
                  <a:cubicBezTo>
                    <a:pt x="719" y="13"/>
                    <a:pt x="719" y="13"/>
                    <a:pt x="719" y="13"/>
                  </a:cubicBezTo>
                  <a:cubicBezTo>
                    <a:pt x="694" y="13"/>
                    <a:pt x="694" y="13"/>
                    <a:pt x="694" y="13"/>
                  </a:cubicBezTo>
                  <a:cubicBezTo>
                    <a:pt x="618" y="0"/>
                    <a:pt x="618" y="0"/>
                    <a:pt x="618" y="0"/>
                  </a:cubicBezTo>
                  <a:cubicBezTo>
                    <a:pt x="567" y="25"/>
                    <a:pt x="567" y="25"/>
                    <a:pt x="567" y="25"/>
                  </a:cubicBezTo>
                  <a:cubicBezTo>
                    <a:pt x="441" y="50"/>
                    <a:pt x="441" y="50"/>
                    <a:pt x="441" y="50"/>
                  </a:cubicBezTo>
                  <a:cubicBezTo>
                    <a:pt x="416" y="101"/>
                    <a:pt x="416" y="101"/>
                    <a:pt x="416" y="101"/>
                  </a:cubicBezTo>
                  <a:cubicBezTo>
                    <a:pt x="328" y="138"/>
                    <a:pt x="328" y="138"/>
                    <a:pt x="328" y="138"/>
                  </a:cubicBezTo>
                  <a:cubicBezTo>
                    <a:pt x="315" y="176"/>
                    <a:pt x="315" y="176"/>
                    <a:pt x="315" y="176"/>
                  </a:cubicBezTo>
                  <a:cubicBezTo>
                    <a:pt x="277" y="176"/>
                    <a:pt x="277" y="176"/>
                    <a:pt x="277" y="176"/>
                  </a:cubicBezTo>
                  <a:cubicBezTo>
                    <a:pt x="277" y="226"/>
                    <a:pt x="277" y="226"/>
                    <a:pt x="277" y="226"/>
                  </a:cubicBezTo>
                  <a:cubicBezTo>
                    <a:pt x="265" y="252"/>
                    <a:pt x="265" y="252"/>
                    <a:pt x="265" y="252"/>
                  </a:cubicBezTo>
                  <a:cubicBezTo>
                    <a:pt x="189" y="201"/>
                    <a:pt x="189" y="201"/>
                    <a:pt x="189" y="201"/>
                  </a:cubicBezTo>
                  <a:cubicBezTo>
                    <a:pt x="151" y="252"/>
                    <a:pt x="151" y="252"/>
                    <a:pt x="151" y="252"/>
                  </a:cubicBezTo>
                  <a:cubicBezTo>
                    <a:pt x="151" y="252"/>
                    <a:pt x="164" y="264"/>
                    <a:pt x="164" y="277"/>
                  </a:cubicBezTo>
                  <a:cubicBezTo>
                    <a:pt x="164" y="302"/>
                    <a:pt x="139" y="302"/>
                    <a:pt x="139" y="302"/>
                  </a:cubicBezTo>
                  <a:cubicBezTo>
                    <a:pt x="139" y="340"/>
                    <a:pt x="139" y="340"/>
                    <a:pt x="139" y="340"/>
                  </a:cubicBezTo>
                  <a:cubicBezTo>
                    <a:pt x="101" y="390"/>
                    <a:pt x="101" y="390"/>
                    <a:pt x="101" y="390"/>
                  </a:cubicBezTo>
                  <a:cubicBezTo>
                    <a:pt x="25" y="403"/>
                    <a:pt x="25" y="403"/>
                    <a:pt x="25" y="403"/>
                  </a:cubicBezTo>
                  <a:cubicBezTo>
                    <a:pt x="38" y="465"/>
                    <a:pt x="38" y="465"/>
                    <a:pt x="38" y="465"/>
                  </a:cubicBezTo>
                  <a:cubicBezTo>
                    <a:pt x="0" y="503"/>
                    <a:pt x="0" y="503"/>
                    <a:pt x="0" y="503"/>
                  </a:cubicBezTo>
                  <a:cubicBezTo>
                    <a:pt x="13" y="579"/>
                    <a:pt x="13" y="579"/>
                    <a:pt x="13" y="579"/>
                  </a:cubicBezTo>
                  <a:cubicBezTo>
                    <a:pt x="13" y="579"/>
                    <a:pt x="25" y="604"/>
                    <a:pt x="25" y="604"/>
                  </a:cubicBezTo>
                  <a:cubicBezTo>
                    <a:pt x="38" y="604"/>
                    <a:pt x="63" y="641"/>
                    <a:pt x="76" y="654"/>
                  </a:cubicBezTo>
                  <a:cubicBezTo>
                    <a:pt x="101" y="654"/>
                    <a:pt x="126" y="692"/>
                    <a:pt x="139" y="692"/>
                  </a:cubicBezTo>
                  <a:cubicBezTo>
                    <a:pt x="164" y="679"/>
                    <a:pt x="189" y="667"/>
                    <a:pt x="214" y="654"/>
                  </a:cubicBezTo>
                  <a:cubicBezTo>
                    <a:pt x="240" y="641"/>
                    <a:pt x="290" y="641"/>
                    <a:pt x="303" y="667"/>
                  </a:cubicBezTo>
                  <a:cubicBezTo>
                    <a:pt x="303" y="667"/>
                    <a:pt x="328" y="679"/>
                    <a:pt x="341" y="692"/>
                  </a:cubicBezTo>
                  <a:cubicBezTo>
                    <a:pt x="341" y="604"/>
                    <a:pt x="341" y="604"/>
                    <a:pt x="341" y="604"/>
                  </a:cubicBezTo>
                  <a:cubicBezTo>
                    <a:pt x="315" y="553"/>
                    <a:pt x="315" y="553"/>
                    <a:pt x="315" y="553"/>
                  </a:cubicBezTo>
                  <a:cubicBezTo>
                    <a:pt x="328" y="516"/>
                    <a:pt x="328" y="516"/>
                    <a:pt x="328" y="516"/>
                  </a:cubicBezTo>
                  <a:cubicBezTo>
                    <a:pt x="328" y="516"/>
                    <a:pt x="530" y="516"/>
                    <a:pt x="542" y="516"/>
                  </a:cubicBezTo>
                  <a:cubicBezTo>
                    <a:pt x="555" y="516"/>
                    <a:pt x="605" y="516"/>
                    <a:pt x="605" y="516"/>
                  </a:cubicBezTo>
                  <a:cubicBezTo>
                    <a:pt x="643" y="503"/>
                    <a:pt x="643" y="503"/>
                    <a:pt x="643" y="503"/>
                  </a:cubicBezTo>
                  <a:cubicBezTo>
                    <a:pt x="694" y="503"/>
                    <a:pt x="694" y="503"/>
                    <a:pt x="694" y="503"/>
                  </a:cubicBezTo>
                  <a:cubicBezTo>
                    <a:pt x="694" y="503"/>
                    <a:pt x="757" y="503"/>
                    <a:pt x="757" y="516"/>
                  </a:cubicBezTo>
                  <a:cubicBezTo>
                    <a:pt x="757" y="516"/>
                    <a:pt x="782" y="528"/>
                    <a:pt x="794" y="528"/>
                  </a:cubicBezTo>
                  <a:cubicBezTo>
                    <a:pt x="794" y="516"/>
                    <a:pt x="794" y="516"/>
                    <a:pt x="794" y="516"/>
                  </a:cubicBezTo>
                  <a:cubicBezTo>
                    <a:pt x="794" y="516"/>
                    <a:pt x="845" y="453"/>
                    <a:pt x="870" y="453"/>
                  </a:cubicBezTo>
                  <a:cubicBezTo>
                    <a:pt x="895" y="465"/>
                    <a:pt x="920" y="453"/>
                    <a:pt x="933" y="453"/>
                  </a:cubicBezTo>
                  <a:cubicBezTo>
                    <a:pt x="946" y="453"/>
                    <a:pt x="971" y="415"/>
                    <a:pt x="983" y="403"/>
                  </a:cubicBezTo>
                  <a:cubicBezTo>
                    <a:pt x="983" y="403"/>
                    <a:pt x="983" y="403"/>
                    <a:pt x="983" y="403"/>
                  </a:cubicBezTo>
                  <a:lnTo>
                    <a:pt x="946" y="352"/>
                  </a:lnTo>
                  <a:close/>
                </a:path>
              </a:pathLst>
            </a:custGeom>
            <a:grpFill/>
            <a:ln w="9525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891045"/>
              <a:endParaRPr lang="en-US" sz="1700" dirty="0">
                <a:solidFill>
                  <a:srgbClr val="003149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425" name="Freeform 229"/>
            <p:cNvSpPr>
              <a:spLocks/>
            </p:cNvSpPr>
            <p:nvPr/>
          </p:nvSpPr>
          <p:spPr bwMode="gray">
            <a:xfrm>
              <a:off x="4143" y="2832"/>
              <a:ext cx="100" cy="70"/>
            </a:xfrm>
            <a:custGeom>
              <a:avLst/>
              <a:gdLst>
                <a:gd name="T0" fmla="*/ 0 w 983"/>
                <a:gd name="T1" fmla="*/ 0 h 692"/>
                <a:gd name="T2" fmla="*/ 0 w 983"/>
                <a:gd name="T3" fmla="*/ 0 h 692"/>
                <a:gd name="T4" fmla="*/ 0 w 983"/>
                <a:gd name="T5" fmla="*/ 0 h 692"/>
                <a:gd name="T6" fmla="*/ 0 w 983"/>
                <a:gd name="T7" fmla="*/ 0 h 692"/>
                <a:gd name="T8" fmla="*/ 0 w 983"/>
                <a:gd name="T9" fmla="*/ 0 h 692"/>
                <a:gd name="T10" fmla="*/ 0 w 983"/>
                <a:gd name="T11" fmla="*/ 0 h 692"/>
                <a:gd name="T12" fmla="*/ 0 w 983"/>
                <a:gd name="T13" fmla="*/ 0 h 692"/>
                <a:gd name="T14" fmla="*/ 0 w 983"/>
                <a:gd name="T15" fmla="*/ 0 h 692"/>
                <a:gd name="T16" fmla="*/ 0 w 983"/>
                <a:gd name="T17" fmla="*/ 0 h 692"/>
                <a:gd name="T18" fmla="*/ 0 w 983"/>
                <a:gd name="T19" fmla="*/ 0 h 692"/>
                <a:gd name="T20" fmla="*/ 0 w 983"/>
                <a:gd name="T21" fmla="*/ 0 h 692"/>
                <a:gd name="T22" fmla="*/ 0 w 983"/>
                <a:gd name="T23" fmla="*/ 0 h 692"/>
                <a:gd name="T24" fmla="*/ 0 w 983"/>
                <a:gd name="T25" fmla="*/ 0 h 692"/>
                <a:gd name="T26" fmla="*/ 0 w 983"/>
                <a:gd name="T27" fmla="*/ 0 h 692"/>
                <a:gd name="T28" fmla="*/ 0 w 983"/>
                <a:gd name="T29" fmla="*/ 0 h 692"/>
                <a:gd name="T30" fmla="*/ 0 w 983"/>
                <a:gd name="T31" fmla="*/ 0 h 692"/>
                <a:gd name="T32" fmla="*/ 0 w 983"/>
                <a:gd name="T33" fmla="*/ 0 h 692"/>
                <a:gd name="T34" fmla="*/ 0 w 983"/>
                <a:gd name="T35" fmla="*/ 0 h 692"/>
                <a:gd name="T36" fmla="*/ 0 w 983"/>
                <a:gd name="T37" fmla="*/ 0 h 692"/>
                <a:gd name="T38" fmla="*/ 0 w 983"/>
                <a:gd name="T39" fmla="*/ 0 h 692"/>
                <a:gd name="T40" fmla="*/ 0 w 983"/>
                <a:gd name="T41" fmla="*/ 0 h 692"/>
                <a:gd name="T42" fmla="*/ 0 w 983"/>
                <a:gd name="T43" fmla="*/ 0 h 692"/>
                <a:gd name="T44" fmla="*/ 0 w 983"/>
                <a:gd name="T45" fmla="*/ 0 h 692"/>
                <a:gd name="T46" fmla="*/ 0 w 983"/>
                <a:gd name="T47" fmla="*/ 0 h 692"/>
                <a:gd name="T48" fmla="*/ 0 w 983"/>
                <a:gd name="T49" fmla="*/ 0 h 692"/>
                <a:gd name="T50" fmla="*/ 0 w 983"/>
                <a:gd name="T51" fmla="*/ 0 h 692"/>
                <a:gd name="T52" fmla="*/ 0 w 983"/>
                <a:gd name="T53" fmla="*/ 0 h 692"/>
                <a:gd name="T54" fmla="*/ 0 w 983"/>
                <a:gd name="T55" fmla="*/ 0 h 692"/>
                <a:gd name="T56" fmla="*/ 0 w 983"/>
                <a:gd name="T57" fmla="*/ 0 h 692"/>
                <a:gd name="T58" fmla="*/ 0 w 983"/>
                <a:gd name="T59" fmla="*/ 0 h 692"/>
                <a:gd name="T60" fmla="*/ 0 w 983"/>
                <a:gd name="T61" fmla="*/ 0 h 692"/>
                <a:gd name="T62" fmla="*/ 0 w 983"/>
                <a:gd name="T63" fmla="*/ 0 h 692"/>
                <a:gd name="T64" fmla="*/ 0 w 983"/>
                <a:gd name="T65" fmla="*/ 0 h 692"/>
                <a:gd name="T66" fmla="*/ 0 w 983"/>
                <a:gd name="T67" fmla="*/ 0 h 692"/>
                <a:gd name="T68" fmla="*/ 0 w 983"/>
                <a:gd name="T69" fmla="*/ 0 h 692"/>
                <a:gd name="T70" fmla="*/ 0 w 983"/>
                <a:gd name="T71" fmla="*/ 0 h 692"/>
                <a:gd name="T72" fmla="*/ 0 w 983"/>
                <a:gd name="T73" fmla="*/ 0 h 692"/>
                <a:gd name="T74" fmla="*/ 0 w 983"/>
                <a:gd name="T75" fmla="*/ 0 h 692"/>
                <a:gd name="T76" fmla="*/ 0 w 983"/>
                <a:gd name="T77" fmla="*/ 0 h 692"/>
                <a:gd name="T78" fmla="*/ 0 w 983"/>
                <a:gd name="T79" fmla="*/ 0 h 692"/>
                <a:gd name="T80" fmla="*/ 0 w 983"/>
                <a:gd name="T81" fmla="*/ 0 h 692"/>
                <a:gd name="T82" fmla="*/ 0 w 983"/>
                <a:gd name="T83" fmla="*/ 0 h 692"/>
                <a:gd name="T84" fmla="*/ 0 w 983"/>
                <a:gd name="T85" fmla="*/ 0 h 692"/>
                <a:gd name="T86" fmla="*/ 0 w 983"/>
                <a:gd name="T87" fmla="*/ 0 h 692"/>
                <a:gd name="T88" fmla="*/ 0 w 983"/>
                <a:gd name="T89" fmla="*/ 0 h 692"/>
                <a:gd name="T90" fmla="*/ 0 w 983"/>
                <a:gd name="T91" fmla="*/ 0 h 692"/>
                <a:gd name="T92" fmla="*/ 0 w 983"/>
                <a:gd name="T93" fmla="*/ 0 h 692"/>
                <a:gd name="T94" fmla="*/ 0 w 983"/>
                <a:gd name="T95" fmla="*/ 0 h 692"/>
                <a:gd name="T96" fmla="*/ 0 w 983"/>
                <a:gd name="T97" fmla="*/ 0 h 692"/>
                <a:gd name="T98" fmla="*/ 0 w 983"/>
                <a:gd name="T99" fmla="*/ 0 h 692"/>
                <a:gd name="T100" fmla="*/ 0 w 983"/>
                <a:gd name="T101" fmla="*/ 0 h 692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983"/>
                <a:gd name="T154" fmla="*/ 0 h 692"/>
                <a:gd name="T155" fmla="*/ 983 w 983"/>
                <a:gd name="T156" fmla="*/ 692 h 692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983" h="692">
                  <a:moveTo>
                    <a:pt x="946" y="352"/>
                  </a:moveTo>
                  <a:cubicBezTo>
                    <a:pt x="946" y="352"/>
                    <a:pt x="958" y="340"/>
                    <a:pt x="971" y="327"/>
                  </a:cubicBezTo>
                  <a:cubicBezTo>
                    <a:pt x="971" y="315"/>
                    <a:pt x="920" y="302"/>
                    <a:pt x="920" y="302"/>
                  </a:cubicBezTo>
                  <a:cubicBezTo>
                    <a:pt x="883" y="315"/>
                    <a:pt x="883" y="315"/>
                    <a:pt x="883" y="315"/>
                  </a:cubicBezTo>
                  <a:cubicBezTo>
                    <a:pt x="807" y="252"/>
                    <a:pt x="807" y="252"/>
                    <a:pt x="807" y="252"/>
                  </a:cubicBezTo>
                  <a:cubicBezTo>
                    <a:pt x="832" y="214"/>
                    <a:pt x="832" y="214"/>
                    <a:pt x="832" y="214"/>
                  </a:cubicBezTo>
                  <a:cubicBezTo>
                    <a:pt x="832" y="214"/>
                    <a:pt x="757" y="164"/>
                    <a:pt x="744" y="151"/>
                  </a:cubicBezTo>
                  <a:cubicBezTo>
                    <a:pt x="731" y="151"/>
                    <a:pt x="731" y="101"/>
                    <a:pt x="731" y="101"/>
                  </a:cubicBezTo>
                  <a:cubicBezTo>
                    <a:pt x="706" y="76"/>
                    <a:pt x="706" y="76"/>
                    <a:pt x="706" y="76"/>
                  </a:cubicBezTo>
                  <a:cubicBezTo>
                    <a:pt x="719" y="13"/>
                    <a:pt x="719" y="13"/>
                    <a:pt x="719" y="13"/>
                  </a:cubicBezTo>
                  <a:cubicBezTo>
                    <a:pt x="694" y="13"/>
                    <a:pt x="694" y="13"/>
                    <a:pt x="694" y="13"/>
                  </a:cubicBezTo>
                  <a:cubicBezTo>
                    <a:pt x="618" y="0"/>
                    <a:pt x="618" y="0"/>
                    <a:pt x="618" y="0"/>
                  </a:cubicBezTo>
                  <a:cubicBezTo>
                    <a:pt x="567" y="25"/>
                    <a:pt x="567" y="25"/>
                    <a:pt x="567" y="25"/>
                  </a:cubicBezTo>
                  <a:cubicBezTo>
                    <a:pt x="441" y="50"/>
                    <a:pt x="441" y="50"/>
                    <a:pt x="441" y="50"/>
                  </a:cubicBezTo>
                  <a:cubicBezTo>
                    <a:pt x="416" y="101"/>
                    <a:pt x="416" y="101"/>
                    <a:pt x="416" y="101"/>
                  </a:cubicBezTo>
                  <a:cubicBezTo>
                    <a:pt x="328" y="138"/>
                    <a:pt x="328" y="138"/>
                    <a:pt x="328" y="138"/>
                  </a:cubicBezTo>
                  <a:cubicBezTo>
                    <a:pt x="315" y="176"/>
                    <a:pt x="315" y="176"/>
                    <a:pt x="315" y="176"/>
                  </a:cubicBezTo>
                  <a:cubicBezTo>
                    <a:pt x="277" y="176"/>
                    <a:pt x="277" y="176"/>
                    <a:pt x="277" y="176"/>
                  </a:cubicBezTo>
                  <a:cubicBezTo>
                    <a:pt x="277" y="226"/>
                    <a:pt x="277" y="226"/>
                    <a:pt x="277" y="226"/>
                  </a:cubicBezTo>
                  <a:cubicBezTo>
                    <a:pt x="265" y="252"/>
                    <a:pt x="265" y="252"/>
                    <a:pt x="265" y="252"/>
                  </a:cubicBezTo>
                  <a:cubicBezTo>
                    <a:pt x="189" y="201"/>
                    <a:pt x="189" y="201"/>
                    <a:pt x="189" y="201"/>
                  </a:cubicBezTo>
                  <a:cubicBezTo>
                    <a:pt x="151" y="252"/>
                    <a:pt x="151" y="252"/>
                    <a:pt x="151" y="252"/>
                  </a:cubicBezTo>
                  <a:cubicBezTo>
                    <a:pt x="151" y="252"/>
                    <a:pt x="164" y="264"/>
                    <a:pt x="164" y="277"/>
                  </a:cubicBezTo>
                  <a:cubicBezTo>
                    <a:pt x="164" y="302"/>
                    <a:pt x="139" y="302"/>
                    <a:pt x="139" y="302"/>
                  </a:cubicBezTo>
                  <a:cubicBezTo>
                    <a:pt x="139" y="340"/>
                    <a:pt x="139" y="340"/>
                    <a:pt x="139" y="340"/>
                  </a:cubicBezTo>
                  <a:cubicBezTo>
                    <a:pt x="101" y="390"/>
                    <a:pt x="101" y="390"/>
                    <a:pt x="101" y="390"/>
                  </a:cubicBezTo>
                  <a:cubicBezTo>
                    <a:pt x="25" y="403"/>
                    <a:pt x="25" y="403"/>
                    <a:pt x="25" y="403"/>
                  </a:cubicBezTo>
                  <a:cubicBezTo>
                    <a:pt x="38" y="465"/>
                    <a:pt x="38" y="465"/>
                    <a:pt x="38" y="465"/>
                  </a:cubicBezTo>
                  <a:cubicBezTo>
                    <a:pt x="0" y="503"/>
                    <a:pt x="0" y="503"/>
                    <a:pt x="0" y="503"/>
                  </a:cubicBezTo>
                  <a:cubicBezTo>
                    <a:pt x="13" y="579"/>
                    <a:pt x="13" y="579"/>
                    <a:pt x="13" y="579"/>
                  </a:cubicBezTo>
                  <a:cubicBezTo>
                    <a:pt x="13" y="579"/>
                    <a:pt x="25" y="604"/>
                    <a:pt x="25" y="604"/>
                  </a:cubicBezTo>
                  <a:cubicBezTo>
                    <a:pt x="38" y="604"/>
                    <a:pt x="63" y="641"/>
                    <a:pt x="76" y="654"/>
                  </a:cubicBezTo>
                  <a:cubicBezTo>
                    <a:pt x="101" y="654"/>
                    <a:pt x="126" y="692"/>
                    <a:pt x="139" y="692"/>
                  </a:cubicBezTo>
                  <a:cubicBezTo>
                    <a:pt x="164" y="679"/>
                    <a:pt x="189" y="667"/>
                    <a:pt x="214" y="654"/>
                  </a:cubicBezTo>
                  <a:cubicBezTo>
                    <a:pt x="240" y="641"/>
                    <a:pt x="290" y="641"/>
                    <a:pt x="303" y="667"/>
                  </a:cubicBezTo>
                  <a:cubicBezTo>
                    <a:pt x="303" y="667"/>
                    <a:pt x="328" y="679"/>
                    <a:pt x="341" y="692"/>
                  </a:cubicBezTo>
                  <a:cubicBezTo>
                    <a:pt x="341" y="604"/>
                    <a:pt x="341" y="604"/>
                    <a:pt x="341" y="604"/>
                  </a:cubicBezTo>
                  <a:cubicBezTo>
                    <a:pt x="315" y="553"/>
                    <a:pt x="315" y="553"/>
                    <a:pt x="315" y="553"/>
                  </a:cubicBezTo>
                  <a:cubicBezTo>
                    <a:pt x="328" y="516"/>
                    <a:pt x="328" y="516"/>
                    <a:pt x="328" y="516"/>
                  </a:cubicBezTo>
                  <a:cubicBezTo>
                    <a:pt x="328" y="516"/>
                    <a:pt x="530" y="516"/>
                    <a:pt x="542" y="516"/>
                  </a:cubicBezTo>
                  <a:cubicBezTo>
                    <a:pt x="555" y="516"/>
                    <a:pt x="605" y="516"/>
                    <a:pt x="605" y="516"/>
                  </a:cubicBezTo>
                  <a:cubicBezTo>
                    <a:pt x="643" y="503"/>
                    <a:pt x="643" y="503"/>
                    <a:pt x="643" y="503"/>
                  </a:cubicBezTo>
                  <a:cubicBezTo>
                    <a:pt x="694" y="503"/>
                    <a:pt x="694" y="503"/>
                    <a:pt x="694" y="503"/>
                  </a:cubicBezTo>
                  <a:cubicBezTo>
                    <a:pt x="694" y="503"/>
                    <a:pt x="757" y="503"/>
                    <a:pt x="757" y="516"/>
                  </a:cubicBezTo>
                  <a:cubicBezTo>
                    <a:pt x="757" y="516"/>
                    <a:pt x="782" y="528"/>
                    <a:pt x="794" y="528"/>
                  </a:cubicBezTo>
                  <a:cubicBezTo>
                    <a:pt x="794" y="516"/>
                    <a:pt x="794" y="516"/>
                    <a:pt x="794" y="516"/>
                  </a:cubicBezTo>
                  <a:cubicBezTo>
                    <a:pt x="794" y="516"/>
                    <a:pt x="845" y="453"/>
                    <a:pt x="870" y="453"/>
                  </a:cubicBezTo>
                  <a:cubicBezTo>
                    <a:pt x="895" y="465"/>
                    <a:pt x="920" y="453"/>
                    <a:pt x="933" y="453"/>
                  </a:cubicBezTo>
                  <a:cubicBezTo>
                    <a:pt x="946" y="453"/>
                    <a:pt x="971" y="415"/>
                    <a:pt x="983" y="403"/>
                  </a:cubicBezTo>
                  <a:cubicBezTo>
                    <a:pt x="983" y="403"/>
                    <a:pt x="983" y="403"/>
                    <a:pt x="983" y="403"/>
                  </a:cubicBezTo>
                  <a:lnTo>
                    <a:pt x="946" y="352"/>
                  </a:lnTo>
                  <a:close/>
                </a:path>
              </a:pathLst>
            </a:custGeom>
            <a:grpFill/>
            <a:ln w="9525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891045"/>
              <a:endParaRPr lang="en-US" sz="1700" dirty="0">
                <a:solidFill>
                  <a:srgbClr val="003149"/>
                </a:solidFill>
                <a:cs typeface="Arial" panose="020B0604020202020204" pitchFamily="34" charset="0"/>
              </a:endParaRPr>
            </a:p>
          </p:txBody>
        </p:sp>
      </p:grpSp>
      <p:grpSp>
        <p:nvGrpSpPr>
          <p:cNvPr id="426" name="Group 230"/>
          <p:cNvGrpSpPr>
            <a:grpSpLocks/>
          </p:cNvGrpSpPr>
          <p:nvPr/>
        </p:nvGrpSpPr>
        <p:grpSpPr bwMode="gray">
          <a:xfrm>
            <a:off x="974404" y="1721772"/>
            <a:ext cx="384657" cy="408507"/>
            <a:chOff x="4103" y="2517"/>
            <a:chExt cx="263" cy="263"/>
          </a:xfrm>
          <a:solidFill>
            <a:schemeClr val="accent3"/>
          </a:solidFill>
        </p:grpSpPr>
        <p:sp>
          <p:nvSpPr>
            <p:cNvPr id="427" name="Freeform 231"/>
            <p:cNvSpPr>
              <a:spLocks/>
            </p:cNvSpPr>
            <p:nvPr/>
          </p:nvSpPr>
          <p:spPr bwMode="gray">
            <a:xfrm>
              <a:off x="4103" y="2517"/>
              <a:ext cx="263" cy="263"/>
            </a:xfrm>
            <a:custGeom>
              <a:avLst/>
              <a:gdLst>
                <a:gd name="T0" fmla="*/ 0 w 2600"/>
                <a:gd name="T1" fmla="*/ 0 h 2600"/>
                <a:gd name="T2" fmla="*/ 0 w 2600"/>
                <a:gd name="T3" fmla="*/ 0 h 2600"/>
                <a:gd name="T4" fmla="*/ 0 w 2600"/>
                <a:gd name="T5" fmla="*/ 0 h 2600"/>
                <a:gd name="T6" fmla="*/ 0 w 2600"/>
                <a:gd name="T7" fmla="*/ 0 h 2600"/>
                <a:gd name="T8" fmla="*/ 0 w 2600"/>
                <a:gd name="T9" fmla="*/ 0 h 2600"/>
                <a:gd name="T10" fmla="*/ 0 w 2600"/>
                <a:gd name="T11" fmla="*/ 0 h 2600"/>
                <a:gd name="T12" fmla="*/ 0 w 2600"/>
                <a:gd name="T13" fmla="*/ 0 h 2600"/>
                <a:gd name="T14" fmla="*/ 0 w 2600"/>
                <a:gd name="T15" fmla="*/ 0 h 2600"/>
                <a:gd name="T16" fmla="*/ 0 w 2600"/>
                <a:gd name="T17" fmla="*/ 0 h 2600"/>
                <a:gd name="T18" fmla="*/ 0 w 2600"/>
                <a:gd name="T19" fmla="*/ 0 h 2600"/>
                <a:gd name="T20" fmla="*/ 0 w 2600"/>
                <a:gd name="T21" fmla="*/ 0 h 2600"/>
                <a:gd name="T22" fmla="*/ 0 w 2600"/>
                <a:gd name="T23" fmla="*/ 0 h 2600"/>
                <a:gd name="T24" fmla="*/ 0 w 2600"/>
                <a:gd name="T25" fmla="*/ 0 h 2600"/>
                <a:gd name="T26" fmla="*/ 0 w 2600"/>
                <a:gd name="T27" fmla="*/ 0 h 2600"/>
                <a:gd name="T28" fmla="*/ 0 w 2600"/>
                <a:gd name="T29" fmla="*/ 0 h 2600"/>
                <a:gd name="T30" fmla="*/ 0 w 2600"/>
                <a:gd name="T31" fmla="*/ 0 h 2600"/>
                <a:gd name="T32" fmla="*/ 0 w 2600"/>
                <a:gd name="T33" fmla="*/ 0 h 2600"/>
                <a:gd name="T34" fmla="*/ 0 w 2600"/>
                <a:gd name="T35" fmla="*/ 0 h 2600"/>
                <a:gd name="T36" fmla="*/ 0 w 2600"/>
                <a:gd name="T37" fmla="*/ 0 h 2600"/>
                <a:gd name="T38" fmla="*/ 0 w 2600"/>
                <a:gd name="T39" fmla="*/ 0 h 2600"/>
                <a:gd name="T40" fmla="*/ 0 w 2600"/>
                <a:gd name="T41" fmla="*/ 0 h 2600"/>
                <a:gd name="T42" fmla="*/ 0 w 2600"/>
                <a:gd name="T43" fmla="*/ 0 h 2600"/>
                <a:gd name="T44" fmla="*/ 0 w 2600"/>
                <a:gd name="T45" fmla="*/ 0 h 2600"/>
                <a:gd name="T46" fmla="*/ 0 w 2600"/>
                <a:gd name="T47" fmla="*/ 0 h 2600"/>
                <a:gd name="T48" fmla="*/ 0 w 2600"/>
                <a:gd name="T49" fmla="*/ 0 h 2600"/>
                <a:gd name="T50" fmla="*/ 0 w 2600"/>
                <a:gd name="T51" fmla="*/ 0 h 2600"/>
                <a:gd name="T52" fmla="*/ 0 w 2600"/>
                <a:gd name="T53" fmla="*/ 0 h 2600"/>
                <a:gd name="T54" fmla="*/ 0 w 2600"/>
                <a:gd name="T55" fmla="*/ 0 h 2600"/>
                <a:gd name="T56" fmla="*/ 0 w 2600"/>
                <a:gd name="T57" fmla="*/ 0 h 2600"/>
                <a:gd name="T58" fmla="*/ 0 w 2600"/>
                <a:gd name="T59" fmla="*/ 0 h 2600"/>
                <a:gd name="T60" fmla="*/ 0 w 2600"/>
                <a:gd name="T61" fmla="*/ 0 h 2600"/>
                <a:gd name="T62" fmla="*/ 0 w 2600"/>
                <a:gd name="T63" fmla="*/ 0 h 2600"/>
                <a:gd name="T64" fmla="*/ 0 w 2600"/>
                <a:gd name="T65" fmla="*/ 0 h 2600"/>
                <a:gd name="T66" fmla="*/ 0 w 2600"/>
                <a:gd name="T67" fmla="*/ 0 h 2600"/>
                <a:gd name="T68" fmla="*/ 0 w 2600"/>
                <a:gd name="T69" fmla="*/ 0 h 2600"/>
                <a:gd name="T70" fmla="*/ 0 w 2600"/>
                <a:gd name="T71" fmla="*/ 0 h 2600"/>
                <a:gd name="T72" fmla="*/ 0 w 2600"/>
                <a:gd name="T73" fmla="*/ 0 h 2600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2600"/>
                <a:gd name="T112" fmla="*/ 0 h 2600"/>
                <a:gd name="T113" fmla="*/ 2600 w 2600"/>
                <a:gd name="T114" fmla="*/ 2600 h 2600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2600" h="2600">
                  <a:moveTo>
                    <a:pt x="2562" y="1883"/>
                  </a:moveTo>
                  <a:cubicBezTo>
                    <a:pt x="2536" y="1896"/>
                    <a:pt x="2536" y="1896"/>
                    <a:pt x="2536" y="1896"/>
                  </a:cubicBezTo>
                  <a:cubicBezTo>
                    <a:pt x="2536" y="1896"/>
                    <a:pt x="2459" y="1845"/>
                    <a:pt x="2446" y="1832"/>
                  </a:cubicBezTo>
                  <a:cubicBezTo>
                    <a:pt x="2434" y="1832"/>
                    <a:pt x="2434" y="1845"/>
                    <a:pt x="2408" y="1845"/>
                  </a:cubicBezTo>
                  <a:cubicBezTo>
                    <a:pt x="2395" y="1858"/>
                    <a:pt x="2382" y="1832"/>
                    <a:pt x="2382" y="1819"/>
                  </a:cubicBezTo>
                  <a:cubicBezTo>
                    <a:pt x="2382" y="1794"/>
                    <a:pt x="2357" y="1806"/>
                    <a:pt x="2357" y="1806"/>
                  </a:cubicBezTo>
                  <a:cubicBezTo>
                    <a:pt x="2357" y="1742"/>
                    <a:pt x="2357" y="1742"/>
                    <a:pt x="2357" y="1742"/>
                  </a:cubicBezTo>
                  <a:cubicBezTo>
                    <a:pt x="2357" y="1742"/>
                    <a:pt x="2267" y="1627"/>
                    <a:pt x="2280" y="1614"/>
                  </a:cubicBezTo>
                  <a:cubicBezTo>
                    <a:pt x="2280" y="1614"/>
                    <a:pt x="2331" y="1576"/>
                    <a:pt x="2344" y="1550"/>
                  </a:cubicBezTo>
                  <a:cubicBezTo>
                    <a:pt x="2344" y="1525"/>
                    <a:pt x="2331" y="1473"/>
                    <a:pt x="2331" y="1435"/>
                  </a:cubicBezTo>
                  <a:cubicBezTo>
                    <a:pt x="2331" y="1409"/>
                    <a:pt x="2357" y="1371"/>
                    <a:pt x="2357" y="1371"/>
                  </a:cubicBezTo>
                  <a:cubicBezTo>
                    <a:pt x="2357" y="1371"/>
                    <a:pt x="2331" y="1332"/>
                    <a:pt x="2331" y="1307"/>
                  </a:cubicBezTo>
                  <a:cubicBezTo>
                    <a:pt x="2344" y="1281"/>
                    <a:pt x="2331" y="1204"/>
                    <a:pt x="2318" y="1153"/>
                  </a:cubicBezTo>
                  <a:cubicBezTo>
                    <a:pt x="2306" y="1089"/>
                    <a:pt x="2280" y="1051"/>
                    <a:pt x="2280" y="1051"/>
                  </a:cubicBezTo>
                  <a:cubicBezTo>
                    <a:pt x="2306" y="1038"/>
                    <a:pt x="2306" y="1038"/>
                    <a:pt x="2306" y="1038"/>
                  </a:cubicBezTo>
                  <a:cubicBezTo>
                    <a:pt x="2242" y="769"/>
                    <a:pt x="2242" y="769"/>
                    <a:pt x="2242" y="769"/>
                  </a:cubicBezTo>
                  <a:cubicBezTo>
                    <a:pt x="2139" y="692"/>
                    <a:pt x="2139" y="692"/>
                    <a:pt x="2139" y="692"/>
                  </a:cubicBezTo>
                  <a:cubicBezTo>
                    <a:pt x="2139" y="692"/>
                    <a:pt x="2139" y="654"/>
                    <a:pt x="2113" y="615"/>
                  </a:cubicBezTo>
                  <a:cubicBezTo>
                    <a:pt x="2101" y="590"/>
                    <a:pt x="2062" y="602"/>
                    <a:pt x="2062" y="602"/>
                  </a:cubicBezTo>
                  <a:cubicBezTo>
                    <a:pt x="2062" y="602"/>
                    <a:pt x="2062" y="590"/>
                    <a:pt x="2062" y="564"/>
                  </a:cubicBezTo>
                  <a:cubicBezTo>
                    <a:pt x="2062" y="538"/>
                    <a:pt x="2049" y="487"/>
                    <a:pt x="2049" y="474"/>
                  </a:cubicBezTo>
                  <a:cubicBezTo>
                    <a:pt x="2049" y="462"/>
                    <a:pt x="2075" y="436"/>
                    <a:pt x="2088" y="423"/>
                  </a:cubicBezTo>
                  <a:cubicBezTo>
                    <a:pt x="2088" y="398"/>
                    <a:pt x="2126" y="372"/>
                    <a:pt x="2139" y="372"/>
                  </a:cubicBezTo>
                  <a:cubicBezTo>
                    <a:pt x="2152" y="372"/>
                    <a:pt x="2139" y="372"/>
                    <a:pt x="2139" y="333"/>
                  </a:cubicBezTo>
                  <a:cubicBezTo>
                    <a:pt x="2139" y="295"/>
                    <a:pt x="2165" y="282"/>
                    <a:pt x="2152" y="282"/>
                  </a:cubicBezTo>
                  <a:cubicBezTo>
                    <a:pt x="2139" y="282"/>
                    <a:pt x="2139" y="269"/>
                    <a:pt x="2126" y="231"/>
                  </a:cubicBezTo>
                  <a:cubicBezTo>
                    <a:pt x="2126" y="193"/>
                    <a:pt x="2139" y="154"/>
                    <a:pt x="2139" y="141"/>
                  </a:cubicBezTo>
                  <a:cubicBezTo>
                    <a:pt x="2152" y="116"/>
                    <a:pt x="2126" y="103"/>
                    <a:pt x="2126" y="103"/>
                  </a:cubicBezTo>
                  <a:cubicBezTo>
                    <a:pt x="2165" y="52"/>
                    <a:pt x="2165" y="52"/>
                    <a:pt x="2165" y="52"/>
                  </a:cubicBezTo>
                  <a:cubicBezTo>
                    <a:pt x="2165" y="26"/>
                    <a:pt x="2165" y="26"/>
                    <a:pt x="2165" y="26"/>
                  </a:cubicBezTo>
                  <a:cubicBezTo>
                    <a:pt x="2165" y="26"/>
                    <a:pt x="2101" y="26"/>
                    <a:pt x="2075" y="13"/>
                  </a:cubicBezTo>
                  <a:cubicBezTo>
                    <a:pt x="2049" y="13"/>
                    <a:pt x="2011" y="0"/>
                    <a:pt x="1985" y="13"/>
                  </a:cubicBezTo>
                  <a:cubicBezTo>
                    <a:pt x="1973" y="26"/>
                    <a:pt x="1960" y="13"/>
                    <a:pt x="1934" y="13"/>
                  </a:cubicBezTo>
                  <a:cubicBezTo>
                    <a:pt x="1909" y="0"/>
                    <a:pt x="1883" y="26"/>
                    <a:pt x="1870" y="26"/>
                  </a:cubicBezTo>
                  <a:cubicBezTo>
                    <a:pt x="1857" y="26"/>
                    <a:pt x="1755" y="39"/>
                    <a:pt x="1716" y="39"/>
                  </a:cubicBezTo>
                  <a:cubicBezTo>
                    <a:pt x="1678" y="39"/>
                    <a:pt x="1588" y="39"/>
                    <a:pt x="1563" y="39"/>
                  </a:cubicBezTo>
                  <a:cubicBezTo>
                    <a:pt x="1524" y="39"/>
                    <a:pt x="1511" y="26"/>
                    <a:pt x="1473" y="39"/>
                  </a:cubicBezTo>
                  <a:cubicBezTo>
                    <a:pt x="1435" y="52"/>
                    <a:pt x="1435" y="77"/>
                    <a:pt x="1358" y="77"/>
                  </a:cubicBezTo>
                  <a:cubicBezTo>
                    <a:pt x="1294" y="77"/>
                    <a:pt x="1217" y="103"/>
                    <a:pt x="1166" y="129"/>
                  </a:cubicBezTo>
                  <a:cubicBezTo>
                    <a:pt x="1102" y="141"/>
                    <a:pt x="1114" y="193"/>
                    <a:pt x="1089" y="205"/>
                  </a:cubicBezTo>
                  <a:cubicBezTo>
                    <a:pt x="1063" y="218"/>
                    <a:pt x="999" y="205"/>
                    <a:pt x="999" y="205"/>
                  </a:cubicBezTo>
                  <a:cubicBezTo>
                    <a:pt x="999" y="205"/>
                    <a:pt x="935" y="269"/>
                    <a:pt x="922" y="269"/>
                  </a:cubicBezTo>
                  <a:cubicBezTo>
                    <a:pt x="922" y="282"/>
                    <a:pt x="820" y="295"/>
                    <a:pt x="820" y="295"/>
                  </a:cubicBezTo>
                  <a:cubicBezTo>
                    <a:pt x="820" y="295"/>
                    <a:pt x="858" y="321"/>
                    <a:pt x="871" y="385"/>
                  </a:cubicBezTo>
                  <a:cubicBezTo>
                    <a:pt x="884" y="449"/>
                    <a:pt x="884" y="487"/>
                    <a:pt x="884" y="513"/>
                  </a:cubicBezTo>
                  <a:cubicBezTo>
                    <a:pt x="884" y="551"/>
                    <a:pt x="884" y="615"/>
                    <a:pt x="922" y="654"/>
                  </a:cubicBezTo>
                  <a:cubicBezTo>
                    <a:pt x="961" y="692"/>
                    <a:pt x="961" y="756"/>
                    <a:pt x="935" y="756"/>
                  </a:cubicBezTo>
                  <a:cubicBezTo>
                    <a:pt x="909" y="743"/>
                    <a:pt x="794" y="743"/>
                    <a:pt x="756" y="769"/>
                  </a:cubicBezTo>
                  <a:cubicBezTo>
                    <a:pt x="717" y="782"/>
                    <a:pt x="730" y="782"/>
                    <a:pt x="705" y="807"/>
                  </a:cubicBezTo>
                  <a:cubicBezTo>
                    <a:pt x="679" y="820"/>
                    <a:pt x="628" y="833"/>
                    <a:pt x="628" y="871"/>
                  </a:cubicBezTo>
                  <a:cubicBezTo>
                    <a:pt x="628" y="910"/>
                    <a:pt x="653" y="935"/>
                    <a:pt x="589" y="948"/>
                  </a:cubicBezTo>
                  <a:cubicBezTo>
                    <a:pt x="512" y="961"/>
                    <a:pt x="474" y="961"/>
                    <a:pt x="461" y="1025"/>
                  </a:cubicBezTo>
                  <a:cubicBezTo>
                    <a:pt x="461" y="1076"/>
                    <a:pt x="384" y="1089"/>
                    <a:pt x="320" y="1115"/>
                  </a:cubicBezTo>
                  <a:cubicBezTo>
                    <a:pt x="269" y="1153"/>
                    <a:pt x="231" y="1115"/>
                    <a:pt x="167" y="1140"/>
                  </a:cubicBezTo>
                  <a:cubicBezTo>
                    <a:pt x="103" y="1166"/>
                    <a:pt x="0" y="1256"/>
                    <a:pt x="0" y="1256"/>
                  </a:cubicBezTo>
                  <a:cubicBezTo>
                    <a:pt x="0" y="1397"/>
                    <a:pt x="0" y="1397"/>
                    <a:pt x="0" y="1397"/>
                  </a:cubicBezTo>
                  <a:cubicBezTo>
                    <a:pt x="0" y="1461"/>
                    <a:pt x="0" y="1461"/>
                    <a:pt x="0" y="1461"/>
                  </a:cubicBezTo>
                  <a:cubicBezTo>
                    <a:pt x="0" y="1461"/>
                    <a:pt x="0" y="1461"/>
                    <a:pt x="0" y="1461"/>
                  </a:cubicBezTo>
                  <a:cubicBezTo>
                    <a:pt x="500" y="1781"/>
                    <a:pt x="500" y="1781"/>
                    <a:pt x="500" y="1781"/>
                  </a:cubicBezTo>
                  <a:cubicBezTo>
                    <a:pt x="1243" y="2306"/>
                    <a:pt x="1243" y="2306"/>
                    <a:pt x="1243" y="2306"/>
                  </a:cubicBezTo>
                  <a:cubicBezTo>
                    <a:pt x="1243" y="2357"/>
                    <a:pt x="1243" y="2357"/>
                    <a:pt x="1243" y="2357"/>
                  </a:cubicBezTo>
                  <a:cubicBezTo>
                    <a:pt x="1307" y="2383"/>
                    <a:pt x="1307" y="2383"/>
                    <a:pt x="1307" y="2383"/>
                  </a:cubicBezTo>
                  <a:cubicBezTo>
                    <a:pt x="1307" y="2383"/>
                    <a:pt x="1319" y="2421"/>
                    <a:pt x="1332" y="2434"/>
                  </a:cubicBezTo>
                  <a:cubicBezTo>
                    <a:pt x="1345" y="2434"/>
                    <a:pt x="1358" y="2408"/>
                    <a:pt x="1371" y="2408"/>
                  </a:cubicBezTo>
                  <a:cubicBezTo>
                    <a:pt x="1383" y="2421"/>
                    <a:pt x="1396" y="2447"/>
                    <a:pt x="1409" y="2460"/>
                  </a:cubicBezTo>
                  <a:cubicBezTo>
                    <a:pt x="1422" y="2460"/>
                    <a:pt x="1486" y="2472"/>
                    <a:pt x="1499" y="2485"/>
                  </a:cubicBezTo>
                  <a:cubicBezTo>
                    <a:pt x="1511" y="2498"/>
                    <a:pt x="1524" y="2524"/>
                    <a:pt x="1499" y="2549"/>
                  </a:cubicBezTo>
                  <a:cubicBezTo>
                    <a:pt x="1486" y="2575"/>
                    <a:pt x="1486" y="2575"/>
                    <a:pt x="1486" y="2575"/>
                  </a:cubicBezTo>
                  <a:cubicBezTo>
                    <a:pt x="1511" y="2600"/>
                    <a:pt x="1511" y="2600"/>
                    <a:pt x="1511" y="2600"/>
                  </a:cubicBezTo>
                  <a:cubicBezTo>
                    <a:pt x="1627" y="2575"/>
                    <a:pt x="1627" y="2575"/>
                    <a:pt x="1627" y="2575"/>
                  </a:cubicBezTo>
                  <a:cubicBezTo>
                    <a:pt x="1832" y="2536"/>
                    <a:pt x="1832" y="2536"/>
                    <a:pt x="1832" y="2536"/>
                  </a:cubicBezTo>
                  <a:cubicBezTo>
                    <a:pt x="2024" y="2357"/>
                    <a:pt x="2024" y="2357"/>
                    <a:pt x="2024" y="2357"/>
                  </a:cubicBezTo>
                  <a:cubicBezTo>
                    <a:pt x="2600" y="1986"/>
                    <a:pt x="2600" y="1986"/>
                    <a:pt x="2600" y="1986"/>
                  </a:cubicBezTo>
                  <a:lnTo>
                    <a:pt x="2562" y="1883"/>
                  </a:lnTo>
                  <a:close/>
                </a:path>
              </a:pathLst>
            </a:custGeom>
            <a:grpFill/>
            <a:ln w="9525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891045"/>
              <a:endParaRPr lang="en-US" sz="1700" dirty="0">
                <a:solidFill>
                  <a:srgbClr val="003149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428" name="Freeform 232"/>
            <p:cNvSpPr>
              <a:spLocks/>
            </p:cNvSpPr>
            <p:nvPr/>
          </p:nvSpPr>
          <p:spPr bwMode="gray">
            <a:xfrm>
              <a:off x="4103" y="2517"/>
              <a:ext cx="263" cy="263"/>
            </a:xfrm>
            <a:custGeom>
              <a:avLst/>
              <a:gdLst>
                <a:gd name="T0" fmla="*/ 0 w 2600"/>
                <a:gd name="T1" fmla="*/ 0 h 2600"/>
                <a:gd name="T2" fmla="*/ 0 w 2600"/>
                <a:gd name="T3" fmla="*/ 0 h 2600"/>
                <a:gd name="T4" fmla="*/ 0 w 2600"/>
                <a:gd name="T5" fmla="*/ 0 h 2600"/>
                <a:gd name="T6" fmla="*/ 0 w 2600"/>
                <a:gd name="T7" fmla="*/ 0 h 2600"/>
                <a:gd name="T8" fmla="*/ 0 w 2600"/>
                <a:gd name="T9" fmla="*/ 0 h 2600"/>
                <a:gd name="T10" fmla="*/ 0 w 2600"/>
                <a:gd name="T11" fmla="*/ 0 h 2600"/>
                <a:gd name="T12" fmla="*/ 0 w 2600"/>
                <a:gd name="T13" fmla="*/ 0 h 2600"/>
                <a:gd name="T14" fmla="*/ 0 w 2600"/>
                <a:gd name="T15" fmla="*/ 0 h 2600"/>
                <a:gd name="T16" fmla="*/ 0 w 2600"/>
                <a:gd name="T17" fmla="*/ 0 h 2600"/>
                <a:gd name="T18" fmla="*/ 0 w 2600"/>
                <a:gd name="T19" fmla="*/ 0 h 2600"/>
                <a:gd name="T20" fmla="*/ 0 w 2600"/>
                <a:gd name="T21" fmla="*/ 0 h 2600"/>
                <a:gd name="T22" fmla="*/ 0 w 2600"/>
                <a:gd name="T23" fmla="*/ 0 h 2600"/>
                <a:gd name="T24" fmla="*/ 0 w 2600"/>
                <a:gd name="T25" fmla="*/ 0 h 2600"/>
                <a:gd name="T26" fmla="*/ 0 w 2600"/>
                <a:gd name="T27" fmla="*/ 0 h 2600"/>
                <a:gd name="T28" fmla="*/ 0 w 2600"/>
                <a:gd name="T29" fmla="*/ 0 h 2600"/>
                <a:gd name="T30" fmla="*/ 0 w 2600"/>
                <a:gd name="T31" fmla="*/ 0 h 2600"/>
                <a:gd name="T32" fmla="*/ 0 w 2600"/>
                <a:gd name="T33" fmla="*/ 0 h 2600"/>
                <a:gd name="T34" fmla="*/ 0 w 2600"/>
                <a:gd name="T35" fmla="*/ 0 h 2600"/>
                <a:gd name="T36" fmla="*/ 0 w 2600"/>
                <a:gd name="T37" fmla="*/ 0 h 2600"/>
                <a:gd name="T38" fmla="*/ 0 w 2600"/>
                <a:gd name="T39" fmla="*/ 0 h 2600"/>
                <a:gd name="T40" fmla="*/ 0 w 2600"/>
                <a:gd name="T41" fmla="*/ 0 h 2600"/>
                <a:gd name="T42" fmla="*/ 0 w 2600"/>
                <a:gd name="T43" fmla="*/ 0 h 2600"/>
                <a:gd name="T44" fmla="*/ 0 w 2600"/>
                <a:gd name="T45" fmla="*/ 0 h 2600"/>
                <a:gd name="T46" fmla="*/ 0 w 2600"/>
                <a:gd name="T47" fmla="*/ 0 h 2600"/>
                <a:gd name="T48" fmla="*/ 0 w 2600"/>
                <a:gd name="T49" fmla="*/ 0 h 2600"/>
                <a:gd name="T50" fmla="*/ 0 w 2600"/>
                <a:gd name="T51" fmla="*/ 0 h 2600"/>
                <a:gd name="T52" fmla="*/ 0 w 2600"/>
                <a:gd name="T53" fmla="*/ 0 h 2600"/>
                <a:gd name="T54" fmla="*/ 0 w 2600"/>
                <a:gd name="T55" fmla="*/ 0 h 2600"/>
                <a:gd name="T56" fmla="*/ 0 w 2600"/>
                <a:gd name="T57" fmla="*/ 0 h 2600"/>
                <a:gd name="T58" fmla="*/ 0 w 2600"/>
                <a:gd name="T59" fmla="*/ 0 h 2600"/>
                <a:gd name="T60" fmla="*/ 0 w 2600"/>
                <a:gd name="T61" fmla="*/ 0 h 2600"/>
                <a:gd name="T62" fmla="*/ 0 w 2600"/>
                <a:gd name="T63" fmla="*/ 0 h 2600"/>
                <a:gd name="T64" fmla="*/ 0 w 2600"/>
                <a:gd name="T65" fmla="*/ 0 h 2600"/>
                <a:gd name="T66" fmla="*/ 0 w 2600"/>
                <a:gd name="T67" fmla="*/ 0 h 2600"/>
                <a:gd name="T68" fmla="*/ 0 w 2600"/>
                <a:gd name="T69" fmla="*/ 0 h 2600"/>
                <a:gd name="T70" fmla="*/ 0 w 2600"/>
                <a:gd name="T71" fmla="*/ 0 h 2600"/>
                <a:gd name="T72" fmla="*/ 0 w 2600"/>
                <a:gd name="T73" fmla="*/ 0 h 2600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2600"/>
                <a:gd name="T112" fmla="*/ 0 h 2600"/>
                <a:gd name="T113" fmla="*/ 2600 w 2600"/>
                <a:gd name="T114" fmla="*/ 2600 h 2600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2600" h="2600">
                  <a:moveTo>
                    <a:pt x="2562" y="1883"/>
                  </a:moveTo>
                  <a:cubicBezTo>
                    <a:pt x="2536" y="1896"/>
                    <a:pt x="2536" y="1896"/>
                    <a:pt x="2536" y="1896"/>
                  </a:cubicBezTo>
                  <a:cubicBezTo>
                    <a:pt x="2536" y="1896"/>
                    <a:pt x="2459" y="1845"/>
                    <a:pt x="2446" y="1832"/>
                  </a:cubicBezTo>
                  <a:cubicBezTo>
                    <a:pt x="2434" y="1832"/>
                    <a:pt x="2434" y="1845"/>
                    <a:pt x="2408" y="1845"/>
                  </a:cubicBezTo>
                  <a:cubicBezTo>
                    <a:pt x="2395" y="1858"/>
                    <a:pt x="2382" y="1832"/>
                    <a:pt x="2382" y="1819"/>
                  </a:cubicBezTo>
                  <a:cubicBezTo>
                    <a:pt x="2382" y="1794"/>
                    <a:pt x="2357" y="1806"/>
                    <a:pt x="2357" y="1806"/>
                  </a:cubicBezTo>
                  <a:cubicBezTo>
                    <a:pt x="2357" y="1742"/>
                    <a:pt x="2357" y="1742"/>
                    <a:pt x="2357" y="1742"/>
                  </a:cubicBezTo>
                  <a:cubicBezTo>
                    <a:pt x="2357" y="1742"/>
                    <a:pt x="2267" y="1627"/>
                    <a:pt x="2280" y="1614"/>
                  </a:cubicBezTo>
                  <a:cubicBezTo>
                    <a:pt x="2280" y="1614"/>
                    <a:pt x="2331" y="1576"/>
                    <a:pt x="2344" y="1550"/>
                  </a:cubicBezTo>
                  <a:cubicBezTo>
                    <a:pt x="2344" y="1525"/>
                    <a:pt x="2331" y="1473"/>
                    <a:pt x="2331" y="1435"/>
                  </a:cubicBezTo>
                  <a:cubicBezTo>
                    <a:pt x="2331" y="1409"/>
                    <a:pt x="2357" y="1371"/>
                    <a:pt x="2357" y="1371"/>
                  </a:cubicBezTo>
                  <a:cubicBezTo>
                    <a:pt x="2357" y="1371"/>
                    <a:pt x="2331" y="1332"/>
                    <a:pt x="2331" y="1307"/>
                  </a:cubicBezTo>
                  <a:cubicBezTo>
                    <a:pt x="2344" y="1281"/>
                    <a:pt x="2331" y="1204"/>
                    <a:pt x="2318" y="1153"/>
                  </a:cubicBezTo>
                  <a:cubicBezTo>
                    <a:pt x="2306" y="1089"/>
                    <a:pt x="2280" y="1051"/>
                    <a:pt x="2280" y="1051"/>
                  </a:cubicBezTo>
                  <a:cubicBezTo>
                    <a:pt x="2306" y="1038"/>
                    <a:pt x="2306" y="1038"/>
                    <a:pt x="2306" y="1038"/>
                  </a:cubicBezTo>
                  <a:cubicBezTo>
                    <a:pt x="2242" y="769"/>
                    <a:pt x="2242" y="769"/>
                    <a:pt x="2242" y="769"/>
                  </a:cubicBezTo>
                  <a:cubicBezTo>
                    <a:pt x="2139" y="692"/>
                    <a:pt x="2139" y="692"/>
                    <a:pt x="2139" y="692"/>
                  </a:cubicBezTo>
                  <a:cubicBezTo>
                    <a:pt x="2139" y="692"/>
                    <a:pt x="2139" y="654"/>
                    <a:pt x="2113" y="615"/>
                  </a:cubicBezTo>
                  <a:cubicBezTo>
                    <a:pt x="2101" y="590"/>
                    <a:pt x="2062" y="602"/>
                    <a:pt x="2062" y="602"/>
                  </a:cubicBezTo>
                  <a:cubicBezTo>
                    <a:pt x="2062" y="602"/>
                    <a:pt x="2062" y="590"/>
                    <a:pt x="2062" y="564"/>
                  </a:cubicBezTo>
                  <a:cubicBezTo>
                    <a:pt x="2062" y="538"/>
                    <a:pt x="2049" y="487"/>
                    <a:pt x="2049" y="474"/>
                  </a:cubicBezTo>
                  <a:cubicBezTo>
                    <a:pt x="2049" y="462"/>
                    <a:pt x="2075" y="436"/>
                    <a:pt x="2088" y="423"/>
                  </a:cubicBezTo>
                  <a:cubicBezTo>
                    <a:pt x="2088" y="398"/>
                    <a:pt x="2126" y="372"/>
                    <a:pt x="2139" y="372"/>
                  </a:cubicBezTo>
                  <a:cubicBezTo>
                    <a:pt x="2152" y="372"/>
                    <a:pt x="2139" y="372"/>
                    <a:pt x="2139" y="333"/>
                  </a:cubicBezTo>
                  <a:cubicBezTo>
                    <a:pt x="2139" y="295"/>
                    <a:pt x="2165" y="282"/>
                    <a:pt x="2152" y="282"/>
                  </a:cubicBezTo>
                  <a:cubicBezTo>
                    <a:pt x="2139" y="282"/>
                    <a:pt x="2139" y="269"/>
                    <a:pt x="2126" y="231"/>
                  </a:cubicBezTo>
                  <a:cubicBezTo>
                    <a:pt x="2126" y="193"/>
                    <a:pt x="2139" y="154"/>
                    <a:pt x="2139" y="141"/>
                  </a:cubicBezTo>
                  <a:cubicBezTo>
                    <a:pt x="2152" y="116"/>
                    <a:pt x="2126" y="103"/>
                    <a:pt x="2126" y="103"/>
                  </a:cubicBezTo>
                  <a:cubicBezTo>
                    <a:pt x="2165" y="52"/>
                    <a:pt x="2165" y="52"/>
                    <a:pt x="2165" y="52"/>
                  </a:cubicBezTo>
                  <a:cubicBezTo>
                    <a:pt x="2165" y="26"/>
                    <a:pt x="2165" y="26"/>
                    <a:pt x="2165" y="26"/>
                  </a:cubicBezTo>
                  <a:cubicBezTo>
                    <a:pt x="2165" y="26"/>
                    <a:pt x="2101" y="26"/>
                    <a:pt x="2075" y="13"/>
                  </a:cubicBezTo>
                  <a:cubicBezTo>
                    <a:pt x="2049" y="13"/>
                    <a:pt x="2011" y="0"/>
                    <a:pt x="1985" y="13"/>
                  </a:cubicBezTo>
                  <a:cubicBezTo>
                    <a:pt x="1973" y="26"/>
                    <a:pt x="1960" y="13"/>
                    <a:pt x="1934" y="13"/>
                  </a:cubicBezTo>
                  <a:cubicBezTo>
                    <a:pt x="1909" y="0"/>
                    <a:pt x="1883" y="26"/>
                    <a:pt x="1870" y="26"/>
                  </a:cubicBezTo>
                  <a:cubicBezTo>
                    <a:pt x="1857" y="26"/>
                    <a:pt x="1755" y="39"/>
                    <a:pt x="1716" y="39"/>
                  </a:cubicBezTo>
                  <a:cubicBezTo>
                    <a:pt x="1678" y="39"/>
                    <a:pt x="1588" y="39"/>
                    <a:pt x="1563" y="39"/>
                  </a:cubicBezTo>
                  <a:cubicBezTo>
                    <a:pt x="1524" y="39"/>
                    <a:pt x="1511" y="26"/>
                    <a:pt x="1473" y="39"/>
                  </a:cubicBezTo>
                  <a:cubicBezTo>
                    <a:pt x="1435" y="52"/>
                    <a:pt x="1435" y="77"/>
                    <a:pt x="1358" y="77"/>
                  </a:cubicBezTo>
                  <a:cubicBezTo>
                    <a:pt x="1294" y="77"/>
                    <a:pt x="1217" y="103"/>
                    <a:pt x="1166" y="129"/>
                  </a:cubicBezTo>
                  <a:cubicBezTo>
                    <a:pt x="1102" y="141"/>
                    <a:pt x="1114" y="193"/>
                    <a:pt x="1089" y="205"/>
                  </a:cubicBezTo>
                  <a:cubicBezTo>
                    <a:pt x="1063" y="218"/>
                    <a:pt x="999" y="205"/>
                    <a:pt x="999" y="205"/>
                  </a:cubicBezTo>
                  <a:cubicBezTo>
                    <a:pt x="999" y="205"/>
                    <a:pt x="935" y="269"/>
                    <a:pt x="922" y="269"/>
                  </a:cubicBezTo>
                  <a:cubicBezTo>
                    <a:pt x="922" y="282"/>
                    <a:pt x="820" y="295"/>
                    <a:pt x="820" y="295"/>
                  </a:cubicBezTo>
                  <a:cubicBezTo>
                    <a:pt x="820" y="295"/>
                    <a:pt x="858" y="321"/>
                    <a:pt x="871" y="385"/>
                  </a:cubicBezTo>
                  <a:cubicBezTo>
                    <a:pt x="884" y="449"/>
                    <a:pt x="884" y="487"/>
                    <a:pt x="884" y="513"/>
                  </a:cubicBezTo>
                  <a:cubicBezTo>
                    <a:pt x="884" y="551"/>
                    <a:pt x="884" y="615"/>
                    <a:pt x="922" y="654"/>
                  </a:cubicBezTo>
                  <a:cubicBezTo>
                    <a:pt x="961" y="692"/>
                    <a:pt x="961" y="756"/>
                    <a:pt x="935" y="756"/>
                  </a:cubicBezTo>
                  <a:cubicBezTo>
                    <a:pt x="909" y="743"/>
                    <a:pt x="794" y="743"/>
                    <a:pt x="756" y="769"/>
                  </a:cubicBezTo>
                  <a:cubicBezTo>
                    <a:pt x="717" y="782"/>
                    <a:pt x="730" y="782"/>
                    <a:pt x="705" y="807"/>
                  </a:cubicBezTo>
                  <a:cubicBezTo>
                    <a:pt x="679" y="820"/>
                    <a:pt x="628" y="833"/>
                    <a:pt x="628" y="871"/>
                  </a:cubicBezTo>
                  <a:cubicBezTo>
                    <a:pt x="628" y="910"/>
                    <a:pt x="653" y="935"/>
                    <a:pt x="589" y="948"/>
                  </a:cubicBezTo>
                  <a:cubicBezTo>
                    <a:pt x="512" y="961"/>
                    <a:pt x="474" y="961"/>
                    <a:pt x="461" y="1025"/>
                  </a:cubicBezTo>
                  <a:cubicBezTo>
                    <a:pt x="461" y="1076"/>
                    <a:pt x="384" y="1089"/>
                    <a:pt x="320" y="1115"/>
                  </a:cubicBezTo>
                  <a:cubicBezTo>
                    <a:pt x="269" y="1153"/>
                    <a:pt x="231" y="1115"/>
                    <a:pt x="167" y="1140"/>
                  </a:cubicBezTo>
                  <a:cubicBezTo>
                    <a:pt x="103" y="1166"/>
                    <a:pt x="0" y="1256"/>
                    <a:pt x="0" y="1256"/>
                  </a:cubicBezTo>
                  <a:cubicBezTo>
                    <a:pt x="0" y="1397"/>
                    <a:pt x="0" y="1397"/>
                    <a:pt x="0" y="1397"/>
                  </a:cubicBezTo>
                  <a:cubicBezTo>
                    <a:pt x="0" y="1461"/>
                    <a:pt x="0" y="1461"/>
                    <a:pt x="0" y="1461"/>
                  </a:cubicBezTo>
                  <a:cubicBezTo>
                    <a:pt x="0" y="1461"/>
                    <a:pt x="0" y="1461"/>
                    <a:pt x="0" y="1461"/>
                  </a:cubicBezTo>
                  <a:cubicBezTo>
                    <a:pt x="500" y="1781"/>
                    <a:pt x="500" y="1781"/>
                    <a:pt x="500" y="1781"/>
                  </a:cubicBezTo>
                  <a:cubicBezTo>
                    <a:pt x="1243" y="2306"/>
                    <a:pt x="1243" y="2306"/>
                    <a:pt x="1243" y="2306"/>
                  </a:cubicBezTo>
                  <a:cubicBezTo>
                    <a:pt x="1243" y="2357"/>
                    <a:pt x="1243" y="2357"/>
                    <a:pt x="1243" y="2357"/>
                  </a:cubicBezTo>
                  <a:cubicBezTo>
                    <a:pt x="1307" y="2383"/>
                    <a:pt x="1307" y="2383"/>
                    <a:pt x="1307" y="2383"/>
                  </a:cubicBezTo>
                  <a:cubicBezTo>
                    <a:pt x="1307" y="2383"/>
                    <a:pt x="1319" y="2421"/>
                    <a:pt x="1332" y="2434"/>
                  </a:cubicBezTo>
                  <a:cubicBezTo>
                    <a:pt x="1345" y="2434"/>
                    <a:pt x="1358" y="2408"/>
                    <a:pt x="1371" y="2408"/>
                  </a:cubicBezTo>
                  <a:cubicBezTo>
                    <a:pt x="1383" y="2421"/>
                    <a:pt x="1396" y="2447"/>
                    <a:pt x="1409" y="2460"/>
                  </a:cubicBezTo>
                  <a:cubicBezTo>
                    <a:pt x="1422" y="2460"/>
                    <a:pt x="1486" y="2472"/>
                    <a:pt x="1499" y="2485"/>
                  </a:cubicBezTo>
                  <a:cubicBezTo>
                    <a:pt x="1511" y="2498"/>
                    <a:pt x="1524" y="2524"/>
                    <a:pt x="1499" y="2549"/>
                  </a:cubicBezTo>
                  <a:cubicBezTo>
                    <a:pt x="1486" y="2575"/>
                    <a:pt x="1486" y="2575"/>
                    <a:pt x="1486" y="2575"/>
                  </a:cubicBezTo>
                  <a:cubicBezTo>
                    <a:pt x="1511" y="2600"/>
                    <a:pt x="1511" y="2600"/>
                    <a:pt x="1511" y="2600"/>
                  </a:cubicBezTo>
                  <a:cubicBezTo>
                    <a:pt x="1627" y="2575"/>
                    <a:pt x="1627" y="2575"/>
                    <a:pt x="1627" y="2575"/>
                  </a:cubicBezTo>
                  <a:cubicBezTo>
                    <a:pt x="1832" y="2536"/>
                    <a:pt x="1832" y="2536"/>
                    <a:pt x="1832" y="2536"/>
                  </a:cubicBezTo>
                  <a:cubicBezTo>
                    <a:pt x="2024" y="2357"/>
                    <a:pt x="2024" y="2357"/>
                    <a:pt x="2024" y="2357"/>
                  </a:cubicBezTo>
                  <a:cubicBezTo>
                    <a:pt x="2600" y="1986"/>
                    <a:pt x="2600" y="1986"/>
                    <a:pt x="2600" y="1986"/>
                  </a:cubicBezTo>
                  <a:lnTo>
                    <a:pt x="2562" y="1883"/>
                  </a:lnTo>
                  <a:close/>
                </a:path>
              </a:pathLst>
            </a:custGeom>
            <a:grpFill/>
            <a:ln w="9525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891045"/>
              <a:endParaRPr lang="en-US" sz="1700" dirty="0">
                <a:solidFill>
                  <a:srgbClr val="003149"/>
                </a:solidFill>
                <a:cs typeface="Arial" panose="020B0604020202020204" pitchFamily="34" charset="0"/>
              </a:endParaRPr>
            </a:p>
          </p:txBody>
        </p:sp>
      </p:grpSp>
      <p:grpSp>
        <p:nvGrpSpPr>
          <p:cNvPr id="429" name="Group 233"/>
          <p:cNvGrpSpPr>
            <a:grpSpLocks/>
          </p:cNvGrpSpPr>
          <p:nvPr/>
        </p:nvGrpSpPr>
        <p:grpSpPr bwMode="gray">
          <a:xfrm>
            <a:off x="1278608" y="1716695"/>
            <a:ext cx="76681" cy="168732"/>
            <a:chOff x="4311" y="2513"/>
            <a:chExt cx="52" cy="109"/>
          </a:xfrm>
          <a:solidFill>
            <a:schemeClr val="accent3"/>
          </a:solidFill>
        </p:grpSpPr>
        <p:sp>
          <p:nvSpPr>
            <p:cNvPr id="430" name="Freeform 234"/>
            <p:cNvSpPr>
              <a:spLocks/>
            </p:cNvSpPr>
            <p:nvPr/>
          </p:nvSpPr>
          <p:spPr bwMode="gray">
            <a:xfrm>
              <a:off x="4311" y="2513"/>
              <a:ext cx="52" cy="109"/>
            </a:xfrm>
            <a:custGeom>
              <a:avLst/>
              <a:gdLst>
                <a:gd name="T0" fmla="*/ 0 w 517"/>
                <a:gd name="T1" fmla="*/ 0 h 1075"/>
                <a:gd name="T2" fmla="*/ 0 w 517"/>
                <a:gd name="T3" fmla="*/ 0 h 1075"/>
                <a:gd name="T4" fmla="*/ 0 w 517"/>
                <a:gd name="T5" fmla="*/ 0 h 1075"/>
                <a:gd name="T6" fmla="*/ 0 w 517"/>
                <a:gd name="T7" fmla="*/ 0 h 1075"/>
                <a:gd name="T8" fmla="*/ 0 w 517"/>
                <a:gd name="T9" fmla="*/ 0 h 1075"/>
                <a:gd name="T10" fmla="*/ 0 w 517"/>
                <a:gd name="T11" fmla="*/ 0 h 1075"/>
                <a:gd name="T12" fmla="*/ 0 w 517"/>
                <a:gd name="T13" fmla="*/ 0 h 1075"/>
                <a:gd name="T14" fmla="*/ 0 w 517"/>
                <a:gd name="T15" fmla="*/ 0 h 1075"/>
                <a:gd name="T16" fmla="*/ 0 w 517"/>
                <a:gd name="T17" fmla="*/ 0 h 1075"/>
                <a:gd name="T18" fmla="*/ 0 w 517"/>
                <a:gd name="T19" fmla="*/ 0 h 1075"/>
                <a:gd name="T20" fmla="*/ 0 w 517"/>
                <a:gd name="T21" fmla="*/ 0 h 1075"/>
                <a:gd name="T22" fmla="*/ 0 w 517"/>
                <a:gd name="T23" fmla="*/ 0 h 1075"/>
                <a:gd name="T24" fmla="*/ 0 w 517"/>
                <a:gd name="T25" fmla="*/ 0 h 1075"/>
                <a:gd name="T26" fmla="*/ 0 w 517"/>
                <a:gd name="T27" fmla="*/ 0 h 1075"/>
                <a:gd name="T28" fmla="*/ 0 w 517"/>
                <a:gd name="T29" fmla="*/ 0 h 1075"/>
                <a:gd name="T30" fmla="*/ 0 w 517"/>
                <a:gd name="T31" fmla="*/ 0 h 1075"/>
                <a:gd name="T32" fmla="*/ 0 w 517"/>
                <a:gd name="T33" fmla="*/ 0 h 1075"/>
                <a:gd name="T34" fmla="*/ 0 w 517"/>
                <a:gd name="T35" fmla="*/ 0 h 1075"/>
                <a:gd name="T36" fmla="*/ 0 w 517"/>
                <a:gd name="T37" fmla="*/ 0 h 1075"/>
                <a:gd name="T38" fmla="*/ 0 w 517"/>
                <a:gd name="T39" fmla="*/ 0 h 1075"/>
                <a:gd name="T40" fmla="*/ 0 w 517"/>
                <a:gd name="T41" fmla="*/ 0 h 1075"/>
                <a:gd name="T42" fmla="*/ 0 w 517"/>
                <a:gd name="T43" fmla="*/ 0 h 1075"/>
                <a:gd name="T44" fmla="*/ 0 w 517"/>
                <a:gd name="T45" fmla="*/ 0 h 1075"/>
                <a:gd name="T46" fmla="*/ 0 w 517"/>
                <a:gd name="T47" fmla="*/ 0 h 1075"/>
                <a:gd name="T48" fmla="*/ 0 w 517"/>
                <a:gd name="T49" fmla="*/ 0 h 1075"/>
                <a:gd name="T50" fmla="*/ 0 w 517"/>
                <a:gd name="T51" fmla="*/ 0 h 1075"/>
                <a:gd name="T52" fmla="*/ 0 w 517"/>
                <a:gd name="T53" fmla="*/ 0 h 1075"/>
                <a:gd name="T54" fmla="*/ 0 w 517"/>
                <a:gd name="T55" fmla="*/ 0 h 1075"/>
                <a:gd name="T56" fmla="*/ 0 w 517"/>
                <a:gd name="T57" fmla="*/ 0 h 1075"/>
                <a:gd name="T58" fmla="*/ 0 w 517"/>
                <a:gd name="T59" fmla="*/ 0 h 1075"/>
                <a:gd name="T60" fmla="*/ 0 w 517"/>
                <a:gd name="T61" fmla="*/ 0 h 1075"/>
                <a:gd name="T62" fmla="*/ 0 w 517"/>
                <a:gd name="T63" fmla="*/ 0 h 1075"/>
                <a:gd name="T64" fmla="*/ 0 w 517"/>
                <a:gd name="T65" fmla="*/ 0 h 1075"/>
                <a:gd name="T66" fmla="*/ 0 w 517"/>
                <a:gd name="T67" fmla="*/ 0 h 1075"/>
                <a:gd name="T68" fmla="*/ 0 w 517"/>
                <a:gd name="T69" fmla="*/ 0 h 1075"/>
                <a:gd name="T70" fmla="*/ 0 w 517"/>
                <a:gd name="T71" fmla="*/ 0 h 1075"/>
                <a:gd name="T72" fmla="*/ 0 w 517"/>
                <a:gd name="T73" fmla="*/ 0 h 1075"/>
                <a:gd name="T74" fmla="*/ 0 w 517"/>
                <a:gd name="T75" fmla="*/ 0 h 1075"/>
                <a:gd name="T76" fmla="*/ 0 w 517"/>
                <a:gd name="T77" fmla="*/ 0 h 1075"/>
                <a:gd name="T78" fmla="*/ 0 w 517"/>
                <a:gd name="T79" fmla="*/ 0 h 1075"/>
                <a:gd name="T80" fmla="*/ 0 w 517"/>
                <a:gd name="T81" fmla="*/ 0 h 1075"/>
                <a:gd name="T82" fmla="*/ 0 w 517"/>
                <a:gd name="T83" fmla="*/ 0 h 1075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517"/>
                <a:gd name="T127" fmla="*/ 0 h 1075"/>
                <a:gd name="T128" fmla="*/ 517 w 517"/>
                <a:gd name="T129" fmla="*/ 1075 h 1075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517" h="1075">
                  <a:moveTo>
                    <a:pt x="353" y="506"/>
                  </a:moveTo>
                  <a:cubicBezTo>
                    <a:pt x="391" y="531"/>
                    <a:pt x="366" y="582"/>
                    <a:pt x="379" y="582"/>
                  </a:cubicBezTo>
                  <a:cubicBezTo>
                    <a:pt x="379" y="569"/>
                    <a:pt x="391" y="518"/>
                    <a:pt x="391" y="518"/>
                  </a:cubicBezTo>
                  <a:cubicBezTo>
                    <a:pt x="442" y="556"/>
                    <a:pt x="442" y="556"/>
                    <a:pt x="442" y="556"/>
                  </a:cubicBezTo>
                  <a:cubicBezTo>
                    <a:pt x="404" y="582"/>
                    <a:pt x="404" y="582"/>
                    <a:pt x="404" y="582"/>
                  </a:cubicBezTo>
                  <a:cubicBezTo>
                    <a:pt x="442" y="582"/>
                    <a:pt x="442" y="582"/>
                    <a:pt x="442" y="582"/>
                  </a:cubicBezTo>
                  <a:cubicBezTo>
                    <a:pt x="442" y="582"/>
                    <a:pt x="429" y="620"/>
                    <a:pt x="442" y="632"/>
                  </a:cubicBezTo>
                  <a:cubicBezTo>
                    <a:pt x="467" y="645"/>
                    <a:pt x="492" y="645"/>
                    <a:pt x="492" y="645"/>
                  </a:cubicBezTo>
                  <a:cubicBezTo>
                    <a:pt x="492" y="645"/>
                    <a:pt x="479" y="695"/>
                    <a:pt x="479" y="708"/>
                  </a:cubicBezTo>
                  <a:cubicBezTo>
                    <a:pt x="479" y="721"/>
                    <a:pt x="517" y="746"/>
                    <a:pt x="479" y="759"/>
                  </a:cubicBezTo>
                  <a:cubicBezTo>
                    <a:pt x="442" y="784"/>
                    <a:pt x="391" y="809"/>
                    <a:pt x="379" y="822"/>
                  </a:cubicBezTo>
                  <a:cubicBezTo>
                    <a:pt x="366" y="835"/>
                    <a:pt x="366" y="847"/>
                    <a:pt x="353" y="860"/>
                  </a:cubicBezTo>
                  <a:cubicBezTo>
                    <a:pt x="341" y="860"/>
                    <a:pt x="316" y="910"/>
                    <a:pt x="316" y="910"/>
                  </a:cubicBezTo>
                  <a:cubicBezTo>
                    <a:pt x="316" y="910"/>
                    <a:pt x="328" y="974"/>
                    <a:pt x="328" y="986"/>
                  </a:cubicBezTo>
                  <a:cubicBezTo>
                    <a:pt x="341" y="999"/>
                    <a:pt x="303" y="1037"/>
                    <a:pt x="290" y="1050"/>
                  </a:cubicBezTo>
                  <a:cubicBezTo>
                    <a:pt x="278" y="1062"/>
                    <a:pt x="253" y="1075"/>
                    <a:pt x="253" y="1075"/>
                  </a:cubicBezTo>
                  <a:cubicBezTo>
                    <a:pt x="189" y="809"/>
                    <a:pt x="189" y="809"/>
                    <a:pt x="189" y="809"/>
                  </a:cubicBezTo>
                  <a:cubicBezTo>
                    <a:pt x="89" y="733"/>
                    <a:pt x="89" y="733"/>
                    <a:pt x="89" y="733"/>
                  </a:cubicBezTo>
                  <a:cubicBezTo>
                    <a:pt x="89" y="733"/>
                    <a:pt x="89" y="695"/>
                    <a:pt x="63" y="657"/>
                  </a:cubicBezTo>
                  <a:cubicBezTo>
                    <a:pt x="51" y="632"/>
                    <a:pt x="13" y="645"/>
                    <a:pt x="13" y="645"/>
                  </a:cubicBezTo>
                  <a:cubicBezTo>
                    <a:pt x="13" y="645"/>
                    <a:pt x="13" y="632"/>
                    <a:pt x="13" y="607"/>
                  </a:cubicBezTo>
                  <a:cubicBezTo>
                    <a:pt x="13" y="582"/>
                    <a:pt x="0" y="531"/>
                    <a:pt x="0" y="518"/>
                  </a:cubicBezTo>
                  <a:cubicBezTo>
                    <a:pt x="0" y="506"/>
                    <a:pt x="26" y="480"/>
                    <a:pt x="38" y="468"/>
                  </a:cubicBezTo>
                  <a:cubicBezTo>
                    <a:pt x="38" y="442"/>
                    <a:pt x="76" y="417"/>
                    <a:pt x="89" y="417"/>
                  </a:cubicBezTo>
                  <a:cubicBezTo>
                    <a:pt x="101" y="417"/>
                    <a:pt x="89" y="417"/>
                    <a:pt x="89" y="379"/>
                  </a:cubicBezTo>
                  <a:cubicBezTo>
                    <a:pt x="89" y="341"/>
                    <a:pt x="114" y="329"/>
                    <a:pt x="101" y="329"/>
                  </a:cubicBezTo>
                  <a:cubicBezTo>
                    <a:pt x="89" y="329"/>
                    <a:pt x="89" y="316"/>
                    <a:pt x="76" y="278"/>
                  </a:cubicBezTo>
                  <a:cubicBezTo>
                    <a:pt x="76" y="240"/>
                    <a:pt x="89" y="202"/>
                    <a:pt x="89" y="190"/>
                  </a:cubicBezTo>
                  <a:cubicBezTo>
                    <a:pt x="101" y="164"/>
                    <a:pt x="76" y="152"/>
                    <a:pt x="76" y="152"/>
                  </a:cubicBezTo>
                  <a:cubicBezTo>
                    <a:pt x="114" y="101"/>
                    <a:pt x="114" y="101"/>
                    <a:pt x="114" y="101"/>
                  </a:cubicBezTo>
                  <a:cubicBezTo>
                    <a:pt x="114" y="76"/>
                    <a:pt x="114" y="76"/>
                    <a:pt x="114" y="76"/>
                  </a:cubicBezTo>
                  <a:cubicBezTo>
                    <a:pt x="114" y="76"/>
                    <a:pt x="215" y="25"/>
                    <a:pt x="240" y="25"/>
                  </a:cubicBezTo>
                  <a:cubicBezTo>
                    <a:pt x="265" y="25"/>
                    <a:pt x="316" y="0"/>
                    <a:pt x="316" y="38"/>
                  </a:cubicBezTo>
                  <a:cubicBezTo>
                    <a:pt x="328" y="63"/>
                    <a:pt x="328" y="88"/>
                    <a:pt x="341" y="88"/>
                  </a:cubicBezTo>
                  <a:cubicBezTo>
                    <a:pt x="366" y="88"/>
                    <a:pt x="379" y="88"/>
                    <a:pt x="391" y="76"/>
                  </a:cubicBezTo>
                  <a:cubicBezTo>
                    <a:pt x="416" y="76"/>
                    <a:pt x="429" y="50"/>
                    <a:pt x="442" y="63"/>
                  </a:cubicBezTo>
                  <a:cubicBezTo>
                    <a:pt x="442" y="76"/>
                    <a:pt x="404" y="139"/>
                    <a:pt x="404" y="139"/>
                  </a:cubicBezTo>
                  <a:cubicBezTo>
                    <a:pt x="404" y="139"/>
                    <a:pt x="366" y="164"/>
                    <a:pt x="366" y="177"/>
                  </a:cubicBezTo>
                  <a:cubicBezTo>
                    <a:pt x="353" y="202"/>
                    <a:pt x="379" y="227"/>
                    <a:pt x="391" y="253"/>
                  </a:cubicBezTo>
                  <a:cubicBezTo>
                    <a:pt x="404" y="265"/>
                    <a:pt x="442" y="265"/>
                    <a:pt x="442" y="303"/>
                  </a:cubicBezTo>
                  <a:cubicBezTo>
                    <a:pt x="429" y="341"/>
                    <a:pt x="391" y="392"/>
                    <a:pt x="379" y="430"/>
                  </a:cubicBezTo>
                  <a:cubicBezTo>
                    <a:pt x="353" y="468"/>
                    <a:pt x="341" y="442"/>
                    <a:pt x="328" y="480"/>
                  </a:cubicBezTo>
                </a:path>
              </a:pathLst>
            </a:custGeom>
            <a:grpFill/>
            <a:ln w="9525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891045"/>
              <a:endParaRPr lang="en-US" sz="1700" dirty="0">
                <a:solidFill>
                  <a:srgbClr val="003149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431" name="Freeform 235"/>
            <p:cNvSpPr>
              <a:spLocks/>
            </p:cNvSpPr>
            <p:nvPr/>
          </p:nvSpPr>
          <p:spPr bwMode="gray">
            <a:xfrm>
              <a:off x="4311" y="2513"/>
              <a:ext cx="52" cy="109"/>
            </a:xfrm>
            <a:custGeom>
              <a:avLst/>
              <a:gdLst>
                <a:gd name="T0" fmla="*/ 35 w 52"/>
                <a:gd name="T1" fmla="*/ 51 h 109"/>
                <a:gd name="T2" fmla="*/ 38 w 52"/>
                <a:gd name="T3" fmla="*/ 59 h 109"/>
                <a:gd name="T4" fmla="*/ 39 w 52"/>
                <a:gd name="T5" fmla="*/ 52 h 109"/>
                <a:gd name="T6" fmla="*/ 44 w 52"/>
                <a:gd name="T7" fmla="*/ 56 h 109"/>
                <a:gd name="T8" fmla="*/ 41 w 52"/>
                <a:gd name="T9" fmla="*/ 59 h 109"/>
                <a:gd name="T10" fmla="*/ 44 w 52"/>
                <a:gd name="T11" fmla="*/ 59 h 109"/>
                <a:gd name="T12" fmla="*/ 44 w 52"/>
                <a:gd name="T13" fmla="*/ 64 h 109"/>
                <a:gd name="T14" fmla="*/ 49 w 52"/>
                <a:gd name="T15" fmla="*/ 65 h 109"/>
                <a:gd name="T16" fmla="*/ 48 w 52"/>
                <a:gd name="T17" fmla="*/ 71 h 109"/>
                <a:gd name="T18" fmla="*/ 48 w 52"/>
                <a:gd name="T19" fmla="*/ 77 h 109"/>
                <a:gd name="T20" fmla="*/ 38 w 52"/>
                <a:gd name="T21" fmla="*/ 83 h 109"/>
                <a:gd name="T22" fmla="*/ 35 w 52"/>
                <a:gd name="T23" fmla="*/ 87 h 109"/>
                <a:gd name="T24" fmla="*/ 32 w 52"/>
                <a:gd name="T25" fmla="*/ 92 h 109"/>
                <a:gd name="T26" fmla="*/ 33 w 52"/>
                <a:gd name="T27" fmla="*/ 100 h 109"/>
                <a:gd name="T28" fmla="*/ 29 w 52"/>
                <a:gd name="T29" fmla="*/ 106 h 109"/>
                <a:gd name="T30" fmla="*/ 25 w 52"/>
                <a:gd name="T31" fmla="*/ 109 h 109"/>
                <a:gd name="T32" fmla="*/ 19 w 52"/>
                <a:gd name="T33" fmla="*/ 82 h 109"/>
                <a:gd name="T34" fmla="*/ 9 w 52"/>
                <a:gd name="T35" fmla="*/ 74 h 109"/>
                <a:gd name="T36" fmla="*/ 6 w 52"/>
                <a:gd name="T37" fmla="*/ 66 h 109"/>
                <a:gd name="T38" fmla="*/ 1 w 52"/>
                <a:gd name="T39" fmla="*/ 65 h 109"/>
                <a:gd name="T40" fmla="*/ 1 w 52"/>
                <a:gd name="T41" fmla="*/ 61 h 109"/>
                <a:gd name="T42" fmla="*/ 0 w 52"/>
                <a:gd name="T43" fmla="*/ 52 h 109"/>
                <a:gd name="T44" fmla="*/ 4 w 52"/>
                <a:gd name="T45" fmla="*/ 47 h 109"/>
                <a:gd name="T46" fmla="*/ 9 w 52"/>
                <a:gd name="T47" fmla="*/ 42 h 109"/>
                <a:gd name="T48" fmla="*/ 9 w 52"/>
                <a:gd name="T49" fmla="*/ 38 h 109"/>
                <a:gd name="T50" fmla="*/ 10 w 52"/>
                <a:gd name="T51" fmla="*/ 33 h 109"/>
                <a:gd name="T52" fmla="*/ 7 w 52"/>
                <a:gd name="T53" fmla="*/ 28 h 109"/>
                <a:gd name="T54" fmla="*/ 9 w 52"/>
                <a:gd name="T55" fmla="*/ 19 h 109"/>
                <a:gd name="T56" fmla="*/ 7 w 52"/>
                <a:gd name="T57" fmla="*/ 15 h 109"/>
                <a:gd name="T58" fmla="*/ 11 w 52"/>
                <a:gd name="T59" fmla="*/ 10 h 109"/>
                <a:gd name="T60" fmla="*/ 11 w 52"/>
                <a:gd name="T61" fmla="*/ 8 h 109"/>
                <a:gd name="T62" fmla="*/ 24 w 52"/>
                <a:gd name="T63" fmla="*/ 2 h 109"/>
                <a:gd name="T64" fmla="*/ 32 w 52"/>
                <a:gd name="T65" fmla="*/ 4 h 109"/>
                <a:gd name="T66" fmla="*/ 34 w 52"/>
                <a:gd name="T67" fmla="*/ 9 h 109"/>
                <a:gd name="T68" fmla="*/ 39 w 52"/>
                <a:gd name="T69" fmla="*/ 8 h 109"/>
                <a:gd name="T70" fmla="*/ 44 w 52"/>
                <a:gd name="T71" fmla="*/ 6 h 109"/>
                <a:gd name="T72" fmla="*/ 41 w 52"/>
                <a:gd name="T73" fmla="*/ 14 h 109"/>
                <a:gd name="T74" fmla="*/ 37 w 52"/>
                <a:gd name="T75" fmla="*/ 18 h 109"/>
                <a:gd name="T76" fmla="*/ 39 w 52"/>
                <a:gd name="T77" fmla="*/ 25 h 109"/>
                <a:gd name="T78" fmla="*/ 44 w 52"/>
                <a:gd name="T79" fmla="*/ 31 h 109"/>
                <a:gd name="T80" fmla="*/ 38 w 52"/>
                <a:gd name="T81" fmla="*/ 43 h 109"/>
                <a:gd name="T82" fmla="*/ 33 w 52"/>
                <a:gd name="T83" fmla="*/ 48 h 109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52"/>
                <a:gd name="T127" fmla="*/ 0 h 109"/>
                <a:gd name="T128" fmla="*/ 52 w 52"/>
                <a:gd name="T129" fmla="*/ 109 h 109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52" h="109">
                  <a:moveTo>
                    <a:pt x="35" y="51"/>
                  </a:moveTo>
                  <a:cubicBezTo>
                    <a:pt x="39" y="54"/>
                    <a:pt x="37" y="59"/>
                    <a:pt x="38" y="59"/>
                  </a:cubicBezTo>
                  <a:cubicBezTo>
                    <a:pt x="38" y="57"/>
                    <a:pt x="39" y="52"/>
                    <a:pt x="39" y="52"/>
                  </a:cubicBezTo>
                  <a:cubicBezTo>
                    <a:pt x="44" y="56"/>
                    <a:pt x="44" y="56"/>
                    <a:pt x="44" y="56"/>
                  </a:cubicBezTo>
                  <a:cubicBezTo>
                    <a:pt x="41" y="59"/>
                    <a:pt x="41" y="59"/>
                    <a:pt x="41" y="59"/>
                  </a:cubicBezTo>
                  <a:cubicBezTo>
                    <a:pt x="44" y="59"/>
                    <a:pt x="44" y="59"/>
                    <a:pt x="44" y="59"/>
                  </a:cubicBezTo>
                  <a:cubicBezTo>
                    <a:pt x="44" y="59"/>
                    <a:pt x="43" y="63"/>
                    <a:pt x="44" y="64"/>
                  </a:cubicBezTo>
                  <a:cubicBezTo>
                    <a:pt x="47" y="65"/>
                    <a:pt x="49" y="65"/>
                    <a:pt x="49" y="65"/>
                  </a:cubicBezTo>
                  <a:cubicBezTo>
                    <a:pt x="49" y="65"/>
                    <a:pt x="48" y="70"/>
                    <a:pt x="48" y="71"/>
                  </a:cubicBezTo>
                  <a:cubicBezTo>
                    <a:pt x="48" y="73"/>
                    <a:pt x="52" y="75"/>
                    <a:pt x="48" y="77"/>
                  </a:cubicBezTo>
                  <a:cubicBezTo>
                    <a:pt x="44" y="79"/>
                    <a:pt x="39" y="82"/>
                    <a:pt x="38" y="83"/>
                  </a:cubicBezTo>
                  <a:cubicBezTo>
                    <a:pt x="37" y="84"/>
                    <a:pt x="37" y="85"/>
                    <a:pt x="35" y="87"/>
                  </a:cubicBezTo>
                  <a:cubicBezTo>
                    <a:pt x="34" y="87"/>
                    <a:pt x="32" y="92"/>
                    <a:pt x="32" y="92"/>
                  </a:cubicBezTo>
                  <a:cubicBezTo>
                    <a:pt x="32" y="92"/>
                    <a:pt x="33" y="98"/>
                    <a:pt x="33" y="100"/>
                  </a:cubicBezTo>
                  <a:cubicBezTo>
                    <a:pt x="34" y="101"/>
                    <a:pt x="30" y="105"/>
                    <a:pt x="29" y="106"/>
                  </a:cubicBezTo>
                  <a:cubicBezTo>
                    <a:pt x="28" y="107"/>
                    <a:pt x="25" y="109"/>
                    <a:pt x="25" y="109"/>
                  </a:cubicBezTo>
                  <a:cubicBezTo>
                    <a:pt x="19" y="82"/>
                    <a:pt x="19" y="82"/>
                    <a:pt x="19" y="82"/>
                  </a:cubicBezTo>
                  <a:cubicBezTo>
                    <a:pt x="9" y="74"/>
                    <a:pt x="9" y="74"/>
                    <a:pt x="9" y="74"/>
                  </a:cubicBezTo>
                  <a:cubicBezTo>
                    <a:pt x="9" y="74"/>
                    <a:pt x="9" y="70"/>
                    <a:pt x="6" y="66"/>
                  </a:cubicBezTo>
                  <a:cubicBezTo>
                    <a:pt x="5" y="64"/>
                    <a:pt x="1" y="65"/>
                    <a:pt x="1" y="65"/>
                  </a:cubicBezTo>
                  <a:cubicBezTo>
                    <a:pt x="1" y="65"/>
                    <a:pt x="1" y="64"/>
                    <a:pt x="1" y="61"/>
                  </a:cubicBezTo>
                  <a:cubicBezTo>
                    <a:pt x="1" y="59"/>
                    <a:pt x="0" y="54"/>
                    <a:pt x="0" y="52"/>
                  </a:cubicBezTo>
                  <a:cubicBezTo>
                    <a:pt x="0" y="51"/>
                    <a:pt x="2" y="48"/>
                    <a:pt x="4" y="47"/>
                  </a:cubicBezTo>
                  <a:cubicBezTo>
                    <a:pt x="4" y="45"/>
                    <a:pt x="7" y="42"/>
                    <a:pt x="9" y="42"/>
                  </a:cubicBezTo>
                  <a:cubicBezTo>
                    <a:pt x="10" y="42"/>
                    <a:pt x="9" y="42"/>
                    <a:pt x="9" y="38"/>
                  </a:cubicBezTo>
                  <a:cubicBezTo>
                    <a:pt x="9" y="34"/>
                    <a:pt x="11" y="33"/>
                    <a:pt x="10" y="33"/>
                  </a:cubicBezTo>
                  <a:cubicBezTo>
                    <a:pt x="9" y="33"/>
                    <a:pt x="9" y="32"/>
                    <a:pt x="7" y="28"/>
                  </a:cubicBezTo>
                  <a:cubicBezTo>
                    <a:pt x="7" y="24"/>
                    <a:pt x="9" y="20"/>
                    <a:pt x="9" y="19"/>
                  </a:cubicBezTo>
                  <a:cubicBezTo>
                    <a:pt x="10" y="16"/>
                    <a:pt x="7" y="15"/>
                    <a:pt x="7" y="15"/>
                  </a:cubicBezTo>
                  <a:cubicBezTo>
                    <a:pt x="11" y="10"/>
                    <a:pt x="11" y="10"/>
                    <a:pt x="11" y="10"/>
                  </a:cubicBezTo>
                  <a:cubicBezTo>
                    <a:pt x="11" y="8"/>
                    <a:pt x="11" y="8"/>
                    <a:pt x="11" y="8"/>
                  </a:cubicBezTo>
                  <a:cubicBezTo>
                    <a:pt x="11" y="8"/>
                    <a:pt x="22" y="2"/>
                    <a:pt x="24" y="2"/>
                  </a:cubicBezTo>
                  <a:cubicBezTo>
                    <a:pt x="27" y="2"/>
                    <a:pt x="32" y="0"/>
                    <a:pt x="32" y="4"/>
                  </a:cubicBezTo>
                  <a:cubicBezTo>
                    <a:pt x="33" y="6"/>
                    <a:pt x="33" y="9"/>
                    <a:pt x="34" y="9"/>
                  </a:cubicBezTo>
                  <a:cubicBezTo>
                    <a:pt x="37" y="9"/>
                    <a:pt x="38" y="9"/>
                    <a:pt x="39" y="8"/>
                  </a:cubicBezTo>
                  <a:cubicBezTo>
                    <a:pt x="42" y="8"/>
                    <a:pt x="43" y="5"/>
                    <a:pt x="44" y="6"/>
                  </a:cubicBezTo>
                  <a:cubicBezTo>
                    <a:pt x="44" y="8"/>
                    <a:pt x="41" y="14"/>
                    <a:pt x="41" y="14"/>
                  </a:cubicBezTo>
                  <a:cubicBezTo>
                    <a:pt x="41" y="14"/>
                    <a:pt x="37" y="16"/>
                    <a:pt x="37" y="18"/>
                  </a:cubicBezTo>
                  <a:cubicBezTo>
                    <a:pt x="35" y="20"/>
                    <a:pt x="38" y="23"/>
                    <a:pt x="39" y="25"/>
                  </a:cubicBezTo>
                  <a:cubicBezTo>
                    <a:pt x="41" y="27"/>
                    <a:pt x="44" y="27"/>
                    <a:pt x="44" y="31"/>
                  </a:cubicBezTo>
                  <a:cubicBezTo>
                    <a:pt x="43" y="34"/>
                    <a:pt x="39" y="40"/>
                    <a:pt x="38" y="43"/>
                  </a:cubicBezTo>
                  <a:cubicBezTo>
                    <a:pt x="35" y="47"/>
                    <a:pt x="34" y="45"/>
                    <a:pt x="33" y="48"/>
                  </a:cubicBezTo>
                </a:path>
              </a:pathLst>
            </a:custGeom>
            <a:grpFill/>
            <a:ln w="9525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891045"/>
              <a:endParaRPr lang="en-US" sz="1700" dirty="0">
                <a:solidFill>
                  <a:srgbClr val="003149"/>
                </a:solidFill>
                <a:cs typeface="Arial" panose="020B0604020202020204" pitchFamily="34" charset="0"/>
              </a:endParaRPr>
            </a:p>
          </p:txBody>
        </p:sp>
      </p:grpSp>
      <p:grpSp>
        <p:nvGrpSpPr>
          <p:cNvPr id="432" name="Group 239"/>
          <p:cNvGrpSpPr>
            <a:grpSpLocks/>
          </p:cNvGrpSpPr>
          <p:nvPr/>
        </p:nvGrpSpPr>
        <p:grpSpPr bwMode="gray">
          <a:xfrm>
            <a:off x="1592849" y="1849905"/>
            <a:ext cx="208670" cy="224553"/>
            <a:chOff x="4525" y="2599"/>
            <a:chExt cx="143" cy="145"/>
          </a:xfrm>
          <a:solidFill>
            <a:schemeClr val="accent3"/>
          </a:solidFill>
        </p:grpSpPr>
        <p:sp>
          <p:nvSpPr>
            <p:cNvPr id="433" name="Freeform 240"/>
            <p:cNvSpPr>
              <a:spLocks/>
            </p:cNvSpPr>
            <p:nvPr/>
          </p:nvSpPr>
          <p:spPr bwMode="gray">
            <a:xfrm>
              <a:off x="4525" y="2599"/>
              <a:ext cx="143" cy="145"/>
            </a:xfrm>
            <a:custGeom>
              <a:avLst/>
              <a:gdLst>
                <a:gd name="T0" fmla="*/ 0 w 1417"/>
                <a:gd name="T1" fmla="*/ 0 h 1433"/>
                <a:gd name="T2" fmla="*/ 0 w 1417"/>
                <a:gd name="T3" fmla="*/ 0 h 1433"/>
                <a:gd name="T4" fmla="*/ 0 w 1417"/>
                <a:gd name="T5" fmla="*/ 0 h 1433"/>
                <a:gd name="T6" fmla="*/ 0 w 1417"/>
                <a:gd name="T7" fmla="*/ 0 h 1433"/>
                <a:gd name="T8" fmla="*/ 0 w 1417"/>
                <a:gd name="T9" fmla="*/ 0 h 1433"/>
                <a:gd name="T10" fmla="*/ 0 w 1417"/>
                <a:gd name="T11" fmla="*/ 0 h 1433"/>
                <a:gd name="T12" fmla="*/ 0 w 1417"/>
                <a:gd name="T13" fmla="*/ 0 h 1433"/>
                <a:gd name="T14" fmla="*/ 0 w 1417"/>
                <a:gd name="T15" fmla="*/ 0 h 1433"/>
                <a:gd name="T16" fmla="*/ 0 w 1417"/>
                <a:gd name="T17" fmla="*/ 0 h 1433"/>
                <a:gd name="T18" fmla="*/ 0 w 1417"/>
                <a:gd name="T19" fmla="*/ 0 h 1433"/>
                <a:gd name="T20" fmla="*/ 0 w 1417"/>
                <a:gd name="T21" fmla="*/ 0 h 1433"/>
                <a:gd name="T22" fmla="*/ 0 w 1417"/>
                <a:gd name="T23" fmla="*/ 0 h 1433"/>
                <a:gd name="T24" fmla="*/ 0 w 1417"/>
                <a:gd name="T25" fmla="*/ 0 h 1433"/>
                <a:gd name="T26" fmla="*/ 0 w 1417"/>
                <a:gd name="T27" fmla="*/ 0 h 1433"/>
                <a:gd name="T28" fmla="*/ 0 w 1417"/>
                <a:gd name="T29" fmla="*/ 0 h 1433"/>
                <a:gd name="T30" fmla="*/ 0 w 1417"/>
                <a:gd name="T31" fmla="*/ 0 h 1433"/>
                <a:gd name="T32" fmla="*/ 0 w 1417"/>
                <a:gd name="T33" fmla="*/ 0 h 1433"/>
                <a:gd name="T34" fmla="*/ 0 w 1417"/>
                <a:gd name="T35" fmla="*/ 0 h 1433"/>
                <a:gd name="T36" fmla="*/ 0 w 1417"/>
                <a:gd name="T37" fmla="*/ 0 h 1433"/>
                <a:gd name="T38" fmla="*/ 0 w 1417"/>
                <a:gd name="T39" fmla="*/ 0 h 1433"/>
                <a:gd name="T40" fmla="*/ 0 w 1417"/>
                <a:gd name="T41" fmla="*/ 0 h 1433"/>
                <a:gd name="T42" fmla="*/ 0 w 1417"/>
                <a:gd name="T43" fmla="*/ 0 h 1433"/>
                <a:gd name="T44" fmla="*/ 0 w 1417"/>
                <a:gd name="T45" fmla="*/ 0 h 1433"/>
                <a:gd name="T46" fmla="*/ 0 w 1417"/>
                <a:gd name="T47" fmla="*/ 0 h 1433"/>
                <a:gd name="T48" fmla="*/ 0 w 1417"/>
                <a:gd name="T49" fmla="*/ 0 h 1433"/>
                <a:gd name="T50" fmla="*/ 0 w 1417"/>
                <a:gd name="T51" fmla="*/ 0 h 1433"/>
                <a:gd name="T52" fmla="*/ 0 w 1417"/>
                <a:gd name="T53" fmla="*/ 0 h 1433"/>
                <a:gd name="T54" fmla="*/ 0 w 1417"/>
                <a:gd name="T55" fmla="*/ 0 h 1433"/>
                <a:gd name="T56" fmla="*/ 0 w 1417"/>
                <a:gd name="T57" fmla="*/ 0 h 1433"/>
                <a:gd name="T58" fmla="*/ 0 w 1417"/>
                <a:gd name="T59" fmla="*/ 0 h 1433"/>
                <a:gd name="T60" fmla="*/ 0 w 1417"/>
                <a:gd name="T61" fmla="*/ 0 h 1433"/>
                <a:gd name="T62" fmla="*/ 0 w 1417"/>
                <a:gd name="T63" fmla="*/ 0 h 1433"/>
                <a:gd name="T64" fmla="*/ 0 w 1417"/>
                <a:gd name="T65" fmla="*/ 0 h 1433"/>
                <a:gd name="T66" fmla="*/ 0 w 1417"/>
                <a:gd name="T67" fmla="*/ 0 h 1433"/>
                <a:gd name="T68" fmla="*/ 0 w 1417"/>
                <a:gd name="T69" fmla="*/ 0 h 1433"/>
                <a:gd name="T70" fmla="*/ 0 w 1417"/>
                <a:gd name="T71" fmla="*/ 0 h 1433"/>
                <a:gd name="T72" fmla="*/ 0 w 1417"/>
                <a:gd name="T73" fmla="*/ 0 h 1433"/>
                <a:gd name="T74" fmla="*/ 0 w 1417"/>
                <a:gd name="T75" fmla="*/ 0 h 1433"/>
                <a:gd name="T76" fmla="*/ 0 w 1417"/>
                <a:gd name="T77" fmla="*/ 0 h 1433"/>
                <a:gd name="T78" fmla="*/ 0 w 1417"/>
                <a:gd name="T79" fmla="*/ 0 h 1433"/>
                <a:gd name="T80" fmla="*/ 0 w 1417"/>
                <a:gd name="T81" fmla="*/ 0 h 1433"/>
                <a:gd name="T82" fmla="*/ 0 w 1417"/>
                <a:gd name="T83" fmla="*/ 0 h 1433"/>
                <a:gd name="T84" fmla="*/ 0 w 1417"/>
                <a:gd name="T85" fmla="*/ 0 h 1433"/>
                <a:gd name="T86" fmla="*/ 0 w 1417"/>
                <a:gd name="T87" fmla="*/ 0 h 1433"/>
                <a:gd name="T88" fmla="*/ 0 w 1417"/>
                <a:gd name="T89" fmla="*/ 0 h 1433"/>
                <a:gd name="T90" fmla="*/ 0 w 1417"/>
                <a:gd name="T91" fmla="*/ 0 h 1433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w 1417"/>
                <a:gd name="T139" fmla="*/ 0 h 1433"/>
                <a:gd name="T140" fmla="*/ 1417 w 1417"/>
                <a:gd name="T141" fmla="*/ 1433 h 1433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T138" t="T139" r="T140" b="T141"/>
              <a:pathLst>
                <a:path w="1417" h="1433">
                  <a:moveTo>
                    <a:pt x="1327" y="1046"/>
                  </a:moveTo>
                  <a:cubicBezTo>
                    <a:pt x="1301" y="1020"/>
                    <a:pt x="1237" y="865"/>
                    <a:pt x="1224" y="839"/>
                  </a:cubicBezTo>
                  <a:cubicBezTo>
                    <a:pt x="1211" y="813"/>
                    <a:pt x="1147" y="671"/>
                    <a:pt x="1134" y="645"/>
                  </a:cubicBezTo>
                  <a:cubicBezTo>
                    <a:pt x="1108" y="607"/>
                    <a:pt x="1121" y="568"/>
                    <a:pt x="1121" y="555"/>
                  </a:cubicBezTo>
                  <a:cubicBezTo>
                    <a:pt x="1108" y="542"/>
                    <a:pt x="1031" y="452"/>
                    <a:pt x="1031" y="452"/>
                  </a:cubicBezTo>
                  <a:cubicBezTo>
                    <a:pt x="1031" y="452"/>
                    <a:pt x="1005" y="400"/>
                    <a:pt x="1005" y="374"/>
                  </a:cubicBezTo>
                  <a:cubicBezTo>
                    <a:pt x="1005" y="361"/>
                    <a:pt x="979" y="336"/>
                    <a:pt x="979" y="336"/>
                  </a:cubicBezTo>
                  <a:cubicBezTo>
                    <a:pt x="979" y="336"/>
                    <a:pt x="966" y="271"/>
                    <a:pt x="979" y="258"/>
                  </a:cubicBezTo>
                  <a:cubicBezTo>
                    <a:pt x="992" y="232"/>
                    <a:pt x="966" y="193"/>
                    <a:pt x="966" y="193"/>
                  </a:cubicBezTo>
                  <a:cubicBezTo>
                    <a:pt x="992" y="219"/>
                    <a:pt x="992" y="219"/>
                    <a:pt x="992" y="219"/>
                  </a:cubicBezTo>
                  <a:cubicBezTo>
                    <a:pt x="992" y="219"/>
                    <a:pt x="1018" y="323"/>
                    <a:pt x="1018" y="336"/>
                  </a:cubicBezTo>
                  <a:cubicBezTo>
                    <a:pt x="1031" y="348"/>
                    <a:pt x="1057" y="387"/>
                    <a:pt x="1069" y="413"/>
                  </a:cubicBezTo>
                  <a:cubicBezTo>
                    <a:pt x="1069" y="426"/>
                    <a:pt x="1069" y="465"/>
                    <a:pt x="1082" y="478"/>
                  </a:cubicBezTo>
                  <a:cubicBezTo>
                    <a:pt x="1082" y="503"/>
                    <a:pt x="1172" y="542"/>
                    <a:pt x="1198" y="568"/>
                  </a:cubicBezTo>
                  <a:cubicBezTo>
                    <a:pt x="1237" y="594"/>
                    <a:pt x="1224" y="529"/>
                    <a:pt x="1224" y="516"/>
                  </a:cubicBezTo>
                  <a:cubicBezTo>
                    <a:pt x="1224" y="503"/>
                    <a:pt x="1250" y="426"/>
                    <a:pt x="1250" y="413"/>
                  </a:cubicBezTo>
                  <a:cubicBezTo>
                    <a:pt x="1250" y="387"/>
                    <a:pt x="1288" y="323"/>
                    <a:pt x="1288" y="323"/>
                  </a:cubicBezTo>
                  <a:cubicBezTo>
                    <a:pt x="1198" y="51"/>
                    <a:pt x="1198" y="51"/>
                    <a:pt x="1198" y="51"/>
                  </a:cubicBezTo>
                  <a:cubicBezTo>
                    <a:pt x="1198" y="51"/>
                    <a:pt x="1121" y="90"/>
                    <a:pt x="1069" y="90"/>
                  </a:cubicBezTo>
                  <a:cubicBezTo>
                    <a:pt x="1031" y="103"/>
                    <a:pt x="966" y="90"/>
                    <a:pt x="928" y="77"/>
                  </a:cubicBezTo>
                  <a:cubicBezTo>
                    <a:pt x="902" y="51"/>
                    <a:pt x="889" y="51"/>
                    <a:pt x="838" y="39"/>
                  </a:cubicBezTo>
                  <a:cubicBezTo>
                    <a:pt x="799" y="26"/>
                    <a:pt x="735" y="51"/>
                    <a:pt x="709" y="64"/>
                  </a:cubicBezTo>
                  <a:cubicBezTo>
                    <a:pt x="683" y="64"/>
                    <a:pt x="644" y="51"/>
                    <a:pt x="606" y="116"/>
                  </a:cubicBezTo>
                  <a:cubicBezTo>
                    <a:pt x="554" y="181"/>
                    <a:pt x="529" y="129"/>
                    <a:pt x="503" y="116"/>
                  </a:cubicBezTo>
                  <a:cubicBezTo>
                    <a:pt x="477" y="90"/>
                    <a:pt x="387" y="77"/>
                    <a:pt x="387" y="77"/>
                  </a:cubicBezTo>
                  <a:cubicBezTo>
                    <a:pt x="387" y="77"/>
                    <a:pt x="232" y="39"/>
                    <a:pt x="207" y="26"/>
                  </a:cubicBezTo>
                  <a:cubicBezTo>
                    <a:pt x="194" y="13"/>
                    <a:pt x="142" y="26"/>
                    <a:pt x="91" y="39"/>
                  </a:cubicBezTo>
                  <a:cubicBezTo>
                    <a:pt x="52" y="51"/>
                    <a:pt x="65" y="0"/>
                    <a:pt x="65" y="0"/>
                  </a:cubicBezTo>
                  <a:cubicBezTo>
                    <a:pt x="26" y="39"/>
                    <a:pt x="26" y="39"/>
                    <a:pt x="26" y="39"/>
                  </a:cubicBezTo>
                  <a:cubicBezTo>
                    <a:pt x="26" y="39"/>
                    <a:pt x="39" y="116"/>
                    <a:pt x="39" y="129"/>
                  </a:cubicBezTo>
                  <a:cubicBezTo>
                    <a:pt x="39" y="142"/>
                    <a:pt x="0" y="232"/>
                    <a:pt x="0" y="232"/>
                  </a:cubicBezTo>
                  <a:cubicBezTo>
                    <a:pt x="0" y="232"/>
                    <a:pt x="13" y="271"/>
                    <a:pt x="26" y="323"/>
                  </a:cubicBezTo>
                  <a:cubicBezTo>
                    <a:pt x="39" y="361"/>
                    <a:pt x="39" y="400"/>
                    <a:pt x="39" y="400"/>
                  </a:cubicBezTo>
                  <a:cubicBezTo>
                    <a:pt x="39" y="1381"/>
                    <a:pt x="39" y="1381"/>
                    <a:pt x="39" y="1381"/>
                  </a:cubicBezTo>
                  <a:cubicBezTo>
                    <a:pt x="39" y="1381"/>
                    <a:pt x="39" y="1381"/>
                    <a:pt x="39" y="1381"/>
                  </a:cubicBezTo>
                  <a:cubicBezTo>
                    <a:pt x="1057" y="1381"/>
                    <a:pt x="1057" y="1381"/>
                    <a:pt x="1057" y="1381"/>
                  </a:cubicBezTo>
                  <a:cubicBezTo>
                    <a:pt x="1057" y="1381"/>
                    <a:pt x="1069" y="1381"/>
                    <a:pt x="1082" y="1394"/>
                  </a:cubicBezTo>
                  <a:cubicBezTo>
                    <a:pt x="1095" y="1407"/>
                    <a:pt x="1160" y="1433"/>
                    <a:pt x="1172" y="1407"/>
                  </a:cubicBezTo>
                  <a:cubicBezTo>
                    <a:pt x="1185" y="1381"/>
                    <a:pt x="1185" y="1369"/>
                    <a:pt x="1211" y="1356"/>
                  </a:cubicBezTo>
                  <a:cubicBezTo>
                    <a:pt x="1237" y="1343"/>
                    <a:pt x="1263" y="1343"/>
                    <a:pt x="1263" y="1330"/>
                  </a:cubicBezTo>
                  <a:cubicBezTo>
                    <a:pt x="1275" y="1304"/>
                    <a:pt x="1288" y="1278"/>
                    <a:pt x="1314" y="1278"/>
                  </a:cubicBezTo>
                  <a:cubicBezTo>
                    <a:pt x="1327" y="1265"/>
                    <a:pt x="1366" y="1252"/>
                    <a:pt x="1366" y="1239"/>
                  </a:cubicBezTo>
                  <a:cubicBezTo>
                    <a:pt x="1379" y="1227"/>
                    <a:pt x="1366" y="1201"/>
                    <a:pt x="1366" y="1201"/>
                  </a:cubicBezTo>
                  <a:cubicBezTo>
                    <a:pt x="1366" y="1123"/>
                    <a:pt x="1366" y="1123"/>
                    <a:pt x="1366" y="1123"/>
                  </a:cubicBezTo>
                  <a:cubicBezTo>
                    <a:pt x="1366" y="1123"/>
                    <a:pt x="1391" y="1123"/>
                    <a:pt x="1404" y="1123"/>
                  </a:cubicBezTo>
                  <a:cubicBezTo>
                    <a:pt x="1417" y="1110"/>
                    <a:pt x="1353" y="1072"/>
                    <a:pt x="1327" y="1046"/>
                  </a:cubicBezTo>
                </a:path>
              </a:pathLst>
            </a:custGeom>
            <a:grpFill/>
            <a:ln w="9525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891045"/>
              <a:endParaRPr lang="en-US" sz="1700" dirty="0">
                <a:solidFill>
                  <a:srgbClr val="003149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434" name="Freeform 241"/>
            <p:cNvSpPr>
              <a:spLocks/>
            </p:cNvSpPr>
            <p:nvPr/>
          </p:nvSpPr>
          <p:spPr bwMode="gray">
            <a:xfrm>
              <a:off x="4525" y="2599"/>
              <a:ext cx="143" cy="145"/>
            </a:xfrm>
            <a:custGeom>
              <a:avLst/>
              <a:gdLst>
                <a:gd name="T0" fmla="*/ 134 w 143"/>
                <a:gd name="T1" fmla="*/ 105 h 145"/>
                <a:gd name="T2" fmla="*/ 124 w 143"/>
                <a:gd name="T3" fmla="*/ 85 h 145"/>
                <a:gd name="T4" fmla="*/ 115 w 143"/>
                <a:gd name="T5" fmla="*/ 65 h 145"/>
                <a:gd name="T6" fmla="*/ 113 w 143"/>
                <a:gd name="T7" fmla="*/ 56 h 145"/>
                <a:gd name="T8" fmla="*/ 104 w 143"/>
                <a:gd name="T9" fmla="*/ 45 h 145"/>
                <a:gd name="T10" fmla="*/ 102 w 143"/>
                <a:gd name="T11" fmla="*/ 38 h 145"/>
                <a:gd name="T12" fmla="*/ 99 w 143"/>
                <a:gd name="T13" fmla="*/ 34 h 145"/>
                <a:gd name="T14" fmla="*/ 99 w 143"/>
                <a:gd name="T15" fmla="*/ 26 h 145"/>
                <a:gd name="T16" fmla="*/ 98 w 143"/>
                <a:gd name="T17" fmla="*/ 19 h 145"/>
                <a:gd name="T18" fmla="*/ 100 w 143"/>
                <a:gd name="T19" fmla="*/ 22 h 145"/>
                <a:gd name="T20" fmla="*/ 103 w 143"/>
                <a:gd name="T21" fmla="*/ 34 h 145"/>
                <a:gd name="T22" fmla="*/ 108 w 143"/>
                <a:gd name="T23" fmla="*/ 42 h 145"/>
                <a:gd name="T24" fmla="*/ 110 w 143"/>
                <a:gd name="T25" fmla="*/ 48 h 145"/>
                <a:gd name="T26" fmla="*/ 121 w 143"/>
                <a:gd name="T27" fmla="*/ 57 h 145"/>
                <a:gd name="T28" fmla="*/ 124 w 143"/>
                <a:gd name="T29" fmla="*/ 52 h 145"/>
                <a:gd name="T30" fmla="*/ 126 w 143"/>
                <a:gd name="T31" fmla="*/ 42 h 145"/>
                <a:gd name="T32" fmla="*/ 130 w 143"/>
                <a:gd name="T33" fmla="*/ 32 h 145"/>
                <a:gd name="T34" fmla="*/ 121 w 143"/>
                <a:gd name="T35" fmla="*/ 5 h 145"/>
                <a:gd name="T36" fmla="*/ 108 w 143"/>
                <a:gd name="T37" fmla="*/ 9 h 145"/>
                <a:gd name="T38" fmla="*/ 94 w 143"/>
                <a:gd name="T39" fmla="*/ 8 h 145"/>
                <a:gd name="T40" fmla="*/ 85 w 143"/>
                <a:gd name="T41" fmla="*/ 4 h 145"/>
                <a:gd name="T42" fmla="*/ 72 w 143"/>
                <a:gd name="T43" fmla="*/ 6 h 145"/>
                <a:gd name="T44" fmla="*/ 61 w 143"/>
                <a:gd name="T45" fmla="*/ 11 h 145"/>
                <a:gd name="T46" fmla="*/ 51 w 143"/>
                <a:gd name="T47" fmla="*/ 11 h 145"/>
                <a:gd name="T48" fmla="*/ 39 w 143"/>
                <a:gd name="T49" fmla="*/ 8 h 145"/>
                <a:gd name="T50" fmla="*/ 21 w 143"/>
                <a:gd name="T51" fmla="*/ 2 h 145"/>
                <a:gd name="T52" fmla="*/ 10 w 143"/>
                <a:gd name="T53" fmla="*/ 4 h 145"/>
                <a:gd name="T54" fmla="*/ 7 w 143"/>
                <a:gd name="T55" fmla="*/ 0 h 145"/>
                <a:gd name="T56" fmla="*/ 3 w 143"/>
                <a:gd name="T57" fmla="*/ 4 h 145"/>
                <a:gd name="T58" fmla="*/ 4 w 143"/>
                <a:gd name="T59" fmla="*/ 13 h 145"/>
                <a:gd name="T60" fmla="*/ 0 w 143"/>
                <a:gd name="T61" fmla="*/ 23 h 145"/>
                <a:gd name="T62" fmla="*/ 3 w 143"/>
                <a:gd name="T63" fmla="*/ 32 h 145"/>
                <a:gd name="T64" fmla="*/ 4 w 143"/>
                <a:gd name="T65" fmla="*/ 40 h 145"/>
                <a:gd name="T66" fmla="*/ 4 w 143"/>
                <a:gd name="T67" fmla="*/ 139 h 145"/>
                <a:gd name="T68" fmla="*/ 4 w 143"/>
                <a:gd name="T69" fmla="*/ 139 h 145"/>
                <a:gd name="T70" fmla="*/ 107 w 143"/>
                <a:gd name="T71" fmla="*/ 139 h 145"/>
                <a:gd name="T72" fmla="*/ 110 w 143"/>
                <a:gd name="T73" fmla="*/ 141 h 145"/>
                <a:gd name="T74" fmla="*/ 119 w 143"/>
                <a:gd name="T75" fmla="*/ 142 h 145"/>
                <a:gd name="T76" fmla="*/ 123 w 143"/>
                <a:gd name="T77" fmla="*/ 137 h 145"/>
                <a:gd name="T78" fmla="*/ 128 w 143"/>
                <a:gd name="T79" fmla="*/ 134 h 145"/>
                <a:gd name="T80" fmla="*/ 133 w 143"/>
                <a:gd name="T81" fmla="*/ 129 h 145"/>
                <a:gd name="T82" fmla="*/ 138 w 143"/>
                <a:gd name="T83" fmla="*/ 125 h 145"/>
                <a:gd name="T84" fmla="*/ 138 w 143"/>
                <a:gd name="T85" fmla="*/ 121 h 145"/>
                <a:gd name="T86" fmla="*/ 138 w 143"/>
                <a:gd name="T87" fmla="*/ 113 h 145"/>
                <a:gd name="T88" fmla="*/ 142 w 143"/>
                <a:gd name="T89" fmla="*/ 113 h 145"/>
                <a:gd name="T90" fmla="*/ 134 w 143"/>
                <a:gd name="T91" fmla="*/ 105 h 145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w 143"/>
                <a:gd name="T139" fmla="*/ 0 h 145"/>
                <a:gd name="T140" fmla="*/ 143 w 143"/>
                <a:gd name="T141" fmla="*/ 145 h 145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T138" t="T139" r="T140" b="T141"/>
              <a:pathLst>
                <a:path w="143" h="145">
                  <a:moveTo>
                    <a:pt x="134" y="105"/>
                  </a:moveTo>
                  <a:cubicBezTo>
                    <a:pt x="132" y="103"/>
                    <a:pt x="125" y="87"/>
                    <a:pt x="124" y="85"/>
                  </a:cubicBezTo>
                  <a:cubicBezTo>
                    <a:pt x="123" y="82"/>
                    <a:pt x="116" y="68"/>
                    <a:pt x="115" y="65"/>
                  </a:cubicBezTo>
                  <a:cubicBezTo>
                    <a:pt x="112" y="61"/>
                    <a:pt x="113" y="57"/>
                    <a:pt x="113" y="56"/>
                  </a:cubicBezTo>
                  <a:cubicBezTo>
                    <a:pt x="112" y="55"/>
                    <a:pt x="104" y="45"/>
                    <a:pt x="104" y="45"/>
                  </a:cubicBezTo>
                  <a:cubicBezTo>
                    <a:pt x="104" y="45"/>
                    <a:pt x="102" y="40"/>
                    <a:pt x="102" y="38"/>
                  </a:cubicBezTo>
                  <a:cubicBezTo>
                    <a:pt x="102" y="36"/>
                    <a:pt x="99" y="34"/>
                    <a:pt x="99" y="34"/>
                  </a:cubicBezTo>
                  <a:cubicBezTo>
                    <a:pt x="99" y="34"/>
                    <a:pt x="98" y="27"/>
                    <a:pt x="99" y="26"/>
                  </a:cubicBezTo>
                  <a:cubicBezTo>
                    <a:pt x="100" y="23"/>
                    <a:pt x="98" y="19"/>
                    <a:pt x="98" y="19"/>
                  </a:cubicBezTo>
                  <a:cubicBezTo>
                    <a:pt x="100" y="22"/>
                    <a:pt x="100" y="22"/>
                    <a:pt x="100" y="22"/>
                  </a:cubicBezTo>
                  <a:cubicBezTo>
                    <a:pt x="100" y="22"/>
                    <a:pt x="103" y="32"/>
                    <a:pt x="103" y="34"/>
                  </a:cubicBezTo>
                  <a:cubicBezTo>
                    <a:pt x="104" y="35"/>
                    <a:pt x="107" y="39"/>
                    <a:pt x="108" y="42"/>
                  </a:cubicBezTo>
                  <a:cubicBezTo>
                    <a:pt x="108" y="43"/>
                    <a:pt x="108" y="47"/>
                    <a:pt x="110" y="48"/>
                  </a:cubicBezTo>
                  <a:cubicBezTo>
                    <a:pt x="110" y="51"/>
                    <a:pt x="119" y="55"/>
                    <a:pt x="121" y="57"/>
                  </a:cubicBezTo>
                  <a:cubicBezTo>
                    <a:pt x="125" y="60"/>
                    <a:pt x="124" y="53"/>
                    <a:pt x="124" y="52"/>
                  </a:cubicBezTo>
                  <a:cubicBezTo>
                    <a:pt x="124" y="51"/>
                    <a:pt x="126" y="43"/>
                    <a:pt x="126" y="42"/>
                  </a:cubicBezTo>
                  <a:cubicBezTo>
                    <a:pt x="126" y="39"/>
                    <a:pt x="130" y="32"/>
                    <a:pt x="130" y="32"/>
                  </a:cubicBezTo>
                  <a:cubicBezTo>
                    <a:pt x="121" y="5"/>
                    <a:pt x="121" y="5"/>
                    <a:pt x="121" y="5"/>
                  </a:cubicBezTo>
                  <a:cubicBezTo>
                    <a:pt x="121" y="5"/>
                    <a:pt x="113" y="9"/>
                    <a:pt x="108" y="9"/>
                  </a:cubicBezTo>
                  <a:cubicBezTo>
                    <a:pt x="104" y="10"/>
                    <a:pt x="98" y="9"/>
                    <a:pt x="94" y="8"/>
                  </a:cubicBezTo>
                  <a:cubicBezTo>
                    <a:pt x="91" y="5"/>
                    <a:pt x="90" y="5"/>
                    <a:pt x="85" y="4"/>
                  </a:cubicBezTo>
                  <a:cubicBezTo>
                    <a:pt x="81" y="2"/>
                    <a:pt x="75" y="5"/>
                    <a:pt x="72" y="6"/>
                  </a:cubicBezTo>
                  <a:cubicBezTo>
                    <a:pt x="69" y="6"/>
                    <a:pt x="65" y="5"/>
                    <a:pt x="61" y="11"/>
                  </a:cubicBezTo>
                  <a:cubicBezTo>
                    <a:pt x="56" y="18"/>
                    <a:pt x="54" y="13"/>
                    <a:pt x="51" y="11"/>
                  </a:cubicBezTo>
                  <a:cubicBezTo>
                    <a:pt x="48" y="9"/>
                    <a:pt x="39" y="8"/>
                    <a:pt x="39" y="8"/>
                  </a:cubicBezTo>
                  <a:cubicBezTo>
                    <a:pt x="39" y="8"/>
                    <a:pt x="24" y="4"/>
                    <a:pt x="21" y="2"/>
                  </a:cubicBezTo>
                  <a:cubicBezTo>
                    <a:pt x="20" y="1"/>
                    <a:pt x="15" y="2"/>
                    <a:pt x="10" y="4"/>
                  </a:cubicBezTo>
                  <a:cubicBezTo>
                    <a:pt x="6" y="5"/>
                    <a:pt x="7" y="0"/>
                    <a:pt x="7" y="0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4"/>
                    <a:pt x="4" y="11"/>
                    <a:pt x="4" y="13"/>
                  </a:cubicBezTo>
                  <a:cubicBezTo>
                    <a:pt x="4" y="14"/>
                    <a:pt x="0" y="23"/>
                    <a:pt x="0" y="23"/>
                  </a:cubicBezTo>
                  <a:cubicBezTo>
                    <a:pt x="0" y="23"/>
                    <a:pt x="2" y="27"/>
                    <a:pt x="3" y="32"/>
                  </a:cubicBezTo>
                  <a:cubicBezTo>
                    <a:pt x="4" y="36"/>
                    <a:pt x="4" y="40"/>
                    <a:pt x="4" y="40"/>
                  </a:cubicBezTo>
                  <a:cubicBezTo>
                    <a:pt x="4" y="139"/>
                    <a:pt x="4" y="139"/>
                    <a:pt x="4" y="139"/>
                  </a:cubicBezTo>
                  <a:cubicBezTo>
                    <a:pt x="4" y="139"/>
                    <a:pt x="4" y="139"/>
                    <a:pt x="4" y="139"/>
                  </a:cubicBezTo>
                  <a:cubicBezTo>
                    <a:pt x="107" y="139"/>
                    <a:pt x="107" y="139"/>
                    <a:pt x="107" y="139"/>
                  </a:cubicBezTo>
                  <a:cubicBezTo>
                    <a:pt x="107" y="139"/>
                    <a:pt x="108" y="139"/>
                    <a:pt x="110" y="141"/>
                  </a:cubicBezTo>
                  <a:cubicBezTo>
                    <a:pt x="111" y="142"/>
                    <a:pt x="117" y="145"/>
                    <a:pt x="119" y="142"/>
                  </a:cubicBezTo>
                  <a:cubicBezTo>
                    <a:pt x="120" y="139"/>
                    <a:pt x="120" y="138"/>
                    <a:pt x="123" y="137"/>
                  </a:cubicBezTo>
                  <a:cubicBezTo>
                    <a:pt x="125" y="135"/>
                    <a:pt x="128" y="135"/>
                    <a:pt x="128" y="134"/>
                  </a:cubicBezTo>
                  <a:cubicBezTo>
                    <a:pt x="129" y="132"/>
                    <a:pt x="130" y="129"/>
                    <a:pt x="133" y="129"/>
                  </a:cubicBezTo>
                  <a:cubicBezTo>
                    <a:pt x="134" y="128"/>
                    <a:pt x="138" y="126"/>
                    <a:pt x="138" y="125"/>
                  </a:cubicBezTo>
                  <a:cubicBezTo>
                    <a:pt x="140" y="124"/>
                    <a:pt x="138" y="121"/>
                    <a:pt x="138" y="121"/>
                  </a:cubicBezTo>
                  <a:cubicBezTo>
                    <a:pt x="138" y="113"/>
                    <a:pt x="138" y="113"/>
                    <a:pt x="138" y="113"/>
                  </a:cubicBezTo>
                  <a:cubicBezTo>
                    <a:pt x="138" y="113"/>
                    <a:pt x="141" y="113"/>
                    <a:pt x="142" y="113"/>
                  </a:cubicBezTo>
                  <a:cubicBezTo>
                    <a:pt x="143" y="112"/>
                    <a:pt x="137" y="108"/>
                    <a:pt x="134" y="105"/>
                  </a:cubicBezTo>
                </a:path>
              </a:pathLst>
            </a:custGeom>
            <a:grpFill/>
            <a:ln w="9525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891045"/>
              <a:endParaRPr lang="en-US" sz="1700" dirty="0">
                <a:solidFill>
                  <a:srgbClr val="003149"/>
                </a:solidFill>
                <a:cs typeface="Arial" panose="020B0604020202020204" pitchFamily="34" charset="0"/>
              </a:endParaRPr>
            </a:p>
          </p:txBody>
        </p:sp>
      </p:grpSp>
      <p:grpSp>
        <p:nvGrpSpPr>
          <p:cNvPr id="435" name="Group 242"/>
          <p:cNvGrpSpPr>
            <a:grpSpLocks/>
          </p:cNvGrpSpPr>
          <p:nvPr/>
        </p:nvGrpSpPr>
        <p:grpSpPr bwMode="gray">
          <a:xfrm>
            <a:off x="1540051" y="2041510"/>
            <a:ext cx="311748" cy="399627"/>
            <a:chOff x="4489" y="2723"/>
            <a:chExt cx="213" cy="258"/>
          </a:xfrm>
          <a:solidFill>
            <a:schemeClr val="accent3"/>
          </a:solidFill>
        </p:grpSpPr>
        <p:sp>
          <p:nvSpPr>
            <p:cNvPr id="436" name="Freeform 243"/>
            <p:cNvSpPr>
              <a:spLocks/>
            </p:cNvSpPr>
            <p:nvPr/>
          </p:nvSpPr>
          <p:spPr bwMode="gray">
            <a:xfrm>
              <a:off x="4489" y="2723"/>
              <a:ext cx="213" cy="258"/>
            </a:xfrm>
            <a:custGeom>
              <a:avLst/>
              <a:gdLst>
                <a:gd name="T0" fmla="*/ 0 w 2108"/>
                <a:gd name="T1" fmla="*/ 0 h 2550"/>
                <a:gd name="T2" fmla="*/ 0 w 2108"/>
                <a:gd name="T3" fmla="*/ 0 h 2550"/>
                <a:gd name="T4" fmla="*/ 0 w 2108"/>
                <a:gd name="T5" fmla="*/ 0 h 2550"/>
                <a:gd name="T6" fmla="*/ 0 w 2108"/>
                <a:gd name="T7" fmla="*/ 0 h 2550"/>
                <a:gd name="T8" fmla="*/ 0 w 2108"/>
                <a:gd name="T9" fmla="*/ 0 h 2550"/>
                <a:gd name="T10" fmla="*/ 0 w 2108"/>
                <a:gd name="T11" fmla="*/ 0 h 2550"/>
                <a:gd name="T12" fmla="*/ 0 w 2108"/>
                <a:gd name="T13" fmla="*/ 0 h 2550"/>
                <a:gd name="T14" fmla="*/ 0 w 2108"/>
                <a:gd name="T15" fmla="*/ 0 h 2550"/>
                <a:gd name="T16" fmla="*/ 0 w 2108"/>
                <a:gd name="T17" fmla="*/ 0 h 2550"/>
                <a:gd name="T18" fmla="*/ 0 w 2108"/>
                <a:gd name="T19" fmla="*/ 0 h 2550"/>
                <a:gd name="T20" fmla="*/ 0 w 2108"/>
                <a:gd name="T21" fmla="*/ 0 h 2550"/>
                <a:gd name="T22" fmla="*/ 0 w 2108"/>
                <a:gd name="T23" fmla="*/ 0 h 2550"/>
                <a:gd name="T24" fmla="*/ 0 w 2108"/>
                <a:gd name="T25" fmla="*/ 0 h 2550"/>
                <a:gd name="T26" fmla="*/ 0 w 2108"/>
                <a:gd name="T27" fmla="*/ 0 h 2550"/>
                <a:gd name="T28" fmla="*/ 0 w 2108"/>
                <a:gd name="T29" fmla="*/ 0 h 2550"/>
                <a:gd name="T30" fmla="*/ 0 w 2108"/>
                <a:gd name="T31" fmla="*/ 0 h 2550"/>
                <a:gd name="T32" fmla="*/ 0 w 2108"/>
                <a:gd name="T33" fmla="*/ 0 h 2550"/>
                <a:gd name="T34" fmla="*/ 0 w 2108"/>
                <a:gd name="T35" fmla="*/ 0 h 2550"/>
                <a:gd name="T36" fmla="*/ 0 w 2108"/>
                <a:gd name="T37" fmla="*/ 0 h 2550"/>
                <a:gd name="T38" fmla="*/ 0 w 2108"/>
                <a:gd name="T39" fmla="*/ 0 h 2550"/>
                <a:gd name="T40" fmla="*/ 0 w 2108"/>
                <a:gd name="T41" fmla="*/ 0 h 2550"/>
                <a:gd name="T42" fmla="*/ 0 w 2108"/>
                <a:gd name="T43" fmla="*/ 0 h 2550"/>
                <a:gd name="T44" fmla="*/ 0 w 2108"/>
                <a:gd name="T45" fmla="*/ 0 h 2550"/>
                <a:gd name="T46" fmla="*/ 0 w 2108"/>
                <a:gd name="T47" fmla="*/ 0 h 2550"/>
                <a:gd name="T48" fmla="*/ 0 w 2108"/>
                <a:gd name="T49" fmla="*/ 0 h 2550"/>
                <a:gd name="T50" fmla="*/ 0 w 2108"/>
                <a:gd name="T51" fmla="*/ 0 h 2550"/>
                <a:gd name="T52" fmla="*/ 0 w 2108"/>
                <a:gd name="T53" fmla="*/ 0 h 2550"/>
                <a:gd name="T54" fmla="*/ 0 w 2108"/>
                <a:gd name="T55" fmla="*/ 0 h 2550"/>
                <a:gd name="T56" fmla="*/ 0 w 2108"/>
                <a:gd name="T57" fmla="*/ 0 h 2550"/>
                <a:gd name="T58" fmla="*/ 0 w 2108"/>
                <a:gd name="T59" fmla="*/ 0 h 2550"/>
                <a:gd name="T60" fmla="*/ 0 w 2108"/>
                <a:gd name="T61" fmla="*/ 0 h 2550"/>
                <a:gd name="T62" fmla="*/ 0 w 2108"/>
                <a:gd name="T63" fmla="*/ 0 h 2550"/>
                <a:gd name="T64" fmla="*/ 0 w 2108"/>
                <a:gd name="T65" fmla="*/ 0 h 2550"/>
                <a:gd name="T66" fmla="*/ 0 w 2108"/>
                <a:gd name="T67" fmla="*/ 0 h 2550"/>
                <a:gd name="T68" fmla="*/ 0 w 2108"/>
                <a:gd name="T69" fmla="*/ 0 h 2550"/>
                <a:gd name="T70" fmla="*/ 0 w 2108"/>
                <a:gd name="T71" fmla="*/ 0 h 2550"/>
                <a:gd name="T72" fmla="*/ 0 w 2108"/>
                <a:gd name="T73" fmla="*/ 0 h 2550"/>
                <a:gd name="T74" fmla="*/ 0 w 2108"/>
                <a:gd name="T75" fmla="*/ 0 h 2550"/>
                <a:gd name="T76" fmla="*/ 0 w 2108"/>
                <a:gd name="T77" fmla="*/ 0 h 2550"/>
                <a:gd name="T78" fmla="*/ 0 w 2108"/>
                <a:gd name="T79" fmla="*/ 0 h 2550"/>
                <a:gd name="T80" fmla="*/ 0 w 2108"/>
                <a:gd name="T81" fmla="*/ 0 h 2550"/>
                <a:gd name="T82" fmla="*/ 0 w 2108"/>
                <a:gd name="T83" fmla="*/ 0 h 2550"/>
                <a:gd name="T84" fmla="*/ 0 w 2108"/>
                <a:gd name="T85" fmla="*/ 0 h 2550"/>
                <a:gd name="T86" fmla="*/ 0 w 2108"/>
                <a:gd name="T87" fmla="*/ 0 h 2550"/>
                <a:gd name="T88" fmla="*/ 0 w 2108"/>
                <a:gd name="T89" fmla="*/ 0 h 2550"/>
                <a:gd name="T90" fmla="*/ 0 w 2108"/>
                <a:gd name="T91" fmla="*/ 0 h 2550"/>
                <a:gd name="T92" fmla="*/ 0 w 2108"/>
                <a:gd name="T93" fmla="*/ 0 h 2550"/>
                <a:gd name="T94" fmla="*/ 0 w 2108"/>
                <a:gd name="T95" fmla="*/ 0 h 2550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2108"/>
                <a:gd name="T145" fmla="*/ 0 h 2550"/>
                <a:gd name="T146" fmla="*/ 2108 w 2108"/>
                <a:gd name="T147" fmla="*/ 2550 h 2550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2108" h="2550">
                  <a:moveTo>
                    <a:pt x="2108" y="679"/>
                  </a:moveTo>
                  <a:cubicBezTo>
                    <a:pt x="2108" y="679"/>
                    <a:pt x="2070" y="641"/>
                    <a:pt x="2070" y="641"/>
                  </a:cubicBezTo>
                  <a:cubicBezTo>
                    <a:pt x="2057" y="628"/>
                    <a:pt x="2057" y="615"/>
                    <a:pt x="2019" y="590"/>
                  </a:cubicBezTo>
                  <a:cubicBezTo>
                    <a:pt x="1981" y="564"/>
                    <a:pt x="1968" y="577"/>
                    <a:pt x="1968" y="538"/>
                  </a:cubicBezTo>
                  <a:cubicBezTo>
                    <a:pt x="1955" y="500"/>
                    <a:pt x="1955" y="372"/>
                    <a:pt x="1955" y="372"/>
                  </a:cubicBezTo>
                  <a:cubicBezTo>
                    <a:pt x="1955" y="372"/>
                    <a:pt x="1942" y="256"/>
                    <a:pt x="1917" y="231"/>
                  </a:cubicBezTo>
                  <a:cubicBezTo>
                    <a:pt x="1904" y="192"/>
                    <a:pt x="1891" y="141"/>
                    <a:pt x="1866" y="115"/>
                  </a:cubicBezTo>
                  <a:cubicBezTo>
                    <a:pt x="1853" y="90"/>
                    <a:pt x="1815" y="51"/>
                    <a:pt x="1776" y="39"/>
                  </a:cubicBezTo>
                  <a:cubicBezTo>
                    <a:pt x="1751" y="39"/>
                    <a:pt x="1725" y="0"/>
                    <a:pt x="1725" y="0"/>
                  </a:cubicBezTo>
                  <a:cubicBezTo>
                    <a:pt x="1725" y="13"/>
                    <a:pt x="1687" y="26"/>
                    <a:pt x="1674" y="39"/>
                  </a:cubicBezTo>
                  <a:cubicBezTo>
                    <a:pt x="1648" y="39"/>
                    <a:pt x="1636" y="64"/>
                    <a:pt x="1623" y="90"/>
                  </a:cubicBezTo>
                  <a:cubicBezTo>
                    <a:pt x="1623" y="103"/>
                    <a:pt x="1597" y="103"/>
                    <a:pt x="1572" y="115"/>
                  </a:cubicBezTo>
                  <a:cubicBezTo>
                    <a:pt x="1546" y="128"/>
                    <a:pt x="1546" y="141"/>
                    <a:pt x="1533" y="167"/>
                  </a:cubicBezTo>
                  <a:cubicBezTo>
                    <a:pt x="1521" y="192"/>
                    <a:pt x="1457" y="167"/>
                    <a:pt x="1444" y="154"/>
                  </a:cubicBezTo>
                  <a:cubicBezTo>
                    <a:pt x="1431" y="141"/>
                    <a:pt x="1418" y="141"/>
                    <a:pt x="1418" y="141"/>
                  </a:cubicBezTo>
                  <a:cubicBezTo>
                    <a:pt x="409" y="141"/>
                    <a:pt x="409" y="141"/>
                    <a:pt x="409" y="141"/>
                  </a:cubicBezTo>
                  <a:cubicBezTo>
                    <a:pt x="409" y="141"/>
                    <a:pt x="409" y="141"/>
                    <a:pt x="409" y="141"/>
                  </a:cubicBezTo>
                  <a:cubicBezTo>
                    <a:pt x="409" y="410"/>
                    <a:pt x="409" y="410"/>
                    <a:pt x="409" y="410"/>
                  </a:cubicBezTo>
                  <a:cubicBezTo>
                    <a:pt x="281" y="410"/>
                    <a:pt x="281" y="410"/>
                    <a:pt x="281" y="410"/>
                  </a:cubicBezTo>
                  <a:cubicBezTo>
                    <a:pt x="281" y="474"/>
                    <a:pt x="281" y="474"/>
                    <a:pt x="281" y="474"/>
                  </a:cubicBezTo>
                  <a:cubicBezTo>
                    <a:pt x="281" y="474"/>
                    <a:pt x="281" y="474"/>
                    <a:pt x="281" y="474"/>
                  </a:cubicBezTo>
                  <a:cubicBezTo>
                    <a:pt x="281" y="974"/>
                    <a:pt x="281" y="974"/>
                    <a:pt x="281" y="974"/>
                  </a:cubicBezTo>
                  <a:cubicBezTo>
                    <a:pt x="281" y="974"/>
                    <a:pt x="230" y="974"/>
                    <a:pt x="205" y="974"/>
                  </a:cubicBezTo>
                  <a:cubicBezTo>
                    <a:pt x="192" y="974"/>
                    <a:pt x="153" y="1000"/>
                    <a:pt x="153" y="1000"/>
                  </a:cubicBezTo>
                  <a:cubicBezTo>
                    <a:pt x="153" y="1000"/>
                    <a:pt x="166" y="1038"/>
                    <a:pt x="153" y="1051"/>
                  </a:cubicBezTo>
                  <a:cubicBezTo>
                    <a:pt x="128" y="1064"/>
                    <a:pt x="128" y="1102"/>
                    <a:pt x="128" y="1102"/>
                  </a:cubicBezTo>
                  <a:cubicBezTo>
                    <a:pt x="115" y="1115"/>
                    <a:pt x="90" y="1128"/>
                    <a:pt x="90" y="1128"/>
                  </a:cubicBezTo>
                  <a:cubicBezTo>
                    <a:pt x="102" y="1192"/>
                    <a:pt x="102" y="1192"/>
                    <a:pt x="102" y="1192"/>
                  </a:cubicBezTo>
                  <a:cubicBezTo>
                    <a:pt x="51" y="1217"/>
                    <a:pt x="51" y="1217"/>
                    <a:pt x="51" y="1217"/>
                  </a:cubicBezTo>
                  <a:cubicBezTo>
                    <a:pt x="64" y="1282"/>
                    <a:pt x="64" y="1282"/>
                    <a:pt x="64" y="1282"/>
                  </a:cubicBezTo>
                  <a:cubicBezTo>
                    <a:pt x="64" y="1282"/>
                    <a:pt x="51" y="1282"/>
                    <a:pt x="26" y="1333"/>
                  </a:cubicBezTo>
                  <a:cubicBezTo>
                    <a:pt x="0" y="1384"/>
                    <a:pt x="51" y="1371"/>
                    <a:pt x="64" y="1358"/>
                  </a:cubicBezTo>
                  <a:cubicBezTo>
                    <a:pt x="77" y="1358"/>
                    <a:pt x="77" y="1384"/>
                    <a:pt x="90" y="1410"/>
                  </a:cubicBezTo>
                  <a:cubicBezTo>
                    <a:pt x="90" y="1435"/>
                    <a:pt x="115" y="1448"/>
                    <a:pt x="102" y="1474"/>
                  </a:cubicBezTo>
                  <a:cubicBezTo>
                    <a:pt x="90" y="1499"/>
                    <a:pt x="102" y="1512"/>
                    <a:pt x="128" y="1512"/>
                  </a:cubicBezTo>
                  <a:cubicBezTo>
                    <a:pt x="153" y="1525"/>
                    <a:pt x="141" y="1576"/>
                    <a:pt x="141" y="1576"/>
                  </a:cubicBezTo>
                  <a:cubicBezTo>
                    <a:pt x="141" y="1576"/>
                    <a:pt x="179" y="1640"/>
                    <a:pt x="205" y="1679"/>
                  </a:cubicBezTo>
                  <a:cubicBezTo>
                    <a:pt x="243" y="1704"/>
                    <a:pt x="243" y="1756"/>
                    <a:pt x="243" y="1794"/>
                  </a:cubicBezTo>
                  <a:cubicBezTo>
                    <a:pt x="243" y="1820"/>
                    <a:pt x="230" y="1833"/>
                    <a:pt x="217" y="1858"/>
                  </a:cubicBezTo>
                  <a:cubicBezTo>
                    <a:pt x="217" y="1884"/>
                    <a:pt x="268" y="1884"/>
                    <a:pt x="281" y="1884"/>
                  </a:cubicBezTo>
                  <a:cubicBezTo>
                    <a:pt x="307" y="1871"/>
                    <a:pt x="320" y="1897"/>
                    <a:pt x="307" y="1909"/>
                  </a:cubicBezTo>
                  <a:cubicBezTo>
                    <a:pt x="281" y="1922"/>
                    <a:pt x="358" y="1935"/>
                    <a:pt x="371" y="1935"/>
                  </a:cubicBezTo>
                  <a:cubicBezTo>
                    <a:pt x="383" y="1935"/>
                    <a:pt x="396" y="1961"/>
                    <a:pt x="435" y="1974"/>
                  </a:cubicBezTo>
                  <a:cubicBezTo>
                    <a:pt x="473" y="1999"/>
                    <a:pt x="435" y="2025"/>
                    <a:pt x="447" y="2038"/>
                  </a:cubicBezTo>
                  <a:cubicBezTo>
                    <a:pt x="447" y="2063"/>
                    <a:pt x="511" y="2102"/>
                    <a:pt x="550" y="2114"/>
                  </a:cubicBezTo>
                  <a:cubicBezTo>
                    <a:pt x="588" y="2140"/>
                    <a:pt x="575" y="2153"/>
                    <a:pt x="575" y="2153"/>
                  </a:cubicBezTo>
                  <a:cubicBezTo>
                    <a:pt x="588" y="2217"/>
                    <a:pt x="588" y="2217"/>
                    <a:pt x="588" y="2217"/>
                  </a:cubicBezTo>
                  <a:cubicBezTo>
                    <a:pt x="665" y="2243"/>
                    <a:pt x="665" y="2243"/>
                    <a:pt x="665" y="2243"/>
                  </a:cubicBezTo>
                  <a:cubicBezTo>
                    <a:pt x="665" y="2243"/>
                    <a:pt x="690" y="2307"/>
                    <a:pt x="690" y="2319"/>
                  </a:cubicBezTo>
                  <a:cubicBezTo>
                    <a:pt x="703" y="2332"/>
                    <a:pt x="741" y="2358"/>
                    <a:pt x="754" y="2384"/>
                  </a:cubicBezTo>
                  <a:cubicBezTo>
                    <a:pt x="754" y="2409"/>
                    <a:pt x="805" y="2435"/>
                    <a:pt x="831" y="2435"/>
                  </a:cubicBezTo>
                  <a:cubicBezTo>
                    <a:pt x="856" y="2448"/>
                    <a:pt x="869" y="2409"/>
                    <a:pt x="869" y="2409"/>
                  </a:cubicBezTo>
                  <a:cubicBezTo>
                    <a:pt x="946" y="2435"/>
                    <a:pt x="946" y="2435"/>
                    <a:pt x="946" y="2435"/>
                  </a:cubicBezTo>
                  <a:cubicBezTo>
                    <a:pt x="946" y="2435"/>
                    <a:pt x="958" y="2396"/>
                    <a:pt x="984" y="2396"/>
                  </a:cubicBezTo>
                  <a:cubicBezTo>
                    <a:pt x="1010" y="2396"/>
                    <a:pt x="1035" y="2448"/>
                    <a:pt x="1035" y="2460"/>
                  </a:cubicBezTo>
                  <a:cubicBezTo>
                    <a:pt x="1048" y="2473"/>
                    <a:pt x="1099" y="2499"/>
                    <a:pt x="1112" y="2512"/>
                  </a:cubicBezTo>
                  <a:cubicBezTo>
                    <a:pt x="1112" y="2512"/>
                    <a:pt x="1137" y="2537"/>
                    <a:pt x="1137" y="2537"/>
                  </a:cubicBezTo>
                  <a:cubicBezTo>
                    <a:pt x="1137" y="2537"/>
                    <a:pt x="1188" y="2512"/>
                    <a:pt x="1201" y="2512"/>
                  </a:cubicBezTo>
                  <a:cubicBezTo>
                    <a:pt x="1227" y="2525"/>
                    <a:pt x="1240" y="2512"/>
                    <a:pt x="1252" y="2512"/>
                  </a:cubicBezTo>
                  <a:cubicBezTo>
                    <a:pt x="1265" y="2512"/>
                    <a:pt x="1291" y="2537"/>
                    <a:pt x="1303" y="2537"/>
                  </a:cubicBezTo>
                  <a:cubicBezTo>
                    <a:pt x="1329" y="2550"/>
                    <a:pt x="1342" y="2512"/>
                    <a:pt x="1342" y="2512"/>
                  </a:cubicBezTo>
                  <a:cubicBezTo>
                    <a:pt x="1342" y="2512"/>
                    <a:pt x="1406" y="2499"/>
                    <a:pt x="1418" y="2499"/>
                  </a:cubicBezTo>
                  <a:cubicBezTo>
                    <a:pt x="1418" y="2499"/>
                    <a:pt x="1482" y="2512"/>
                    <a:pt x="1482" y="2512"/>
                  </a:cubicBezTo>
                  <a:cubicBezTo>
                    <a:pt x="1585" y="2396"/>
                    <a:pt x="1585" y="2396"/>
                    <a:pt x="1585" y="2396"/>
                  </a:cubicBezTo>
                  <a:cubicBezTo>
                    <a:pt x="1789" y="2396"/>
                    <a:pt x="1789" y="2396"/>
                    <a:pt x="1789" y="2396"/>
                  </a:cubicBezTo>
                  <a:cubicBezTo>
                    <a:pt x="1789" y="2396"/>
                    <a:pt x="1763" y="2371"/>
                    <a:pt x="1763" y="2358"/>
                  </a:cubicBezTo>
                  <a:cubicBezTo>
                    <a:pt x="1763" y="2345"/>
                    <a:pt x="1763" y="2307"/>
                    <a:pt x="1763" y="2307"/>
                  </a:cubicBezTo>
                  <a:cubicBezTo>
                    <a:pt x="1700" y="2294"/>
                    <a:pt x="1700" y="2294"/>
                    <a:pt x="1700" y="2294"/>
                  </a:cubicBezTo>
                  <a:cubicBezTo>
                    <a:pt x="1700" y="2294"/>
                    <a:pt x="1674" y="2255"/>
                    <a:pt x="1661" y="2230"/>
                  </a:cubicBezTo>
                  <a:cubicBezTo>
                    <a:pt x="1648" y="2191"/>
                    <a:pt x="1661" y="2179"/>
                    <a:pt x="1648" y="2153"/>
                  </a:cubicBezTo>
                  <a:cubicBezTo>
                    <a:pt x="1636" y="2140"/>
                    <a:pt x="1610" y="2127"/>
                    <a:pt x="1585" y="2114"/>
                  </a:cubicBezTo>
                  <a:cubicBezTo>
                    <a:pt x="1572" y="2114"/>
                    <a:pt x="1533" y="2038"/>
                    <a:pt x="1533" y="2038"/>
                  </a:cubicBezTo>
                  <a:cubicBezTo>
                    <a:pt x="1533" y="2038"/>
                    <a:pt x="1470" y="2012"/>
                    <a:pt x="1444" y="1999"/>
                  </a:cubicBezTo>
                  <a:cubicBezTo>
                    <a:pt x="1406" y="1986"/>
                    <a:pt x="1418" y="1986"/>
                    <a:pt x="1418" y="1974"/>
                  </a:cubicBezTo>
                  <a:cubicBezTo>
                    <a:pt x="1431" y="1961"/>
                    <a:pt x="1431" y="1935"/>
                    <a:pt x="1444" y="1922"/>
                  </a:cubicBezTo>
                  <a:cubicBezTo>
                    <a:pt x="1444" y="1909"/>
                    <a:pt x="1495" y="1935"/>
                    <a:pt x="1508" y="1935"/>
                  </a:cubicBezTo>
                  <a:cubicBezTo>
                    <a:pt x="1508" y="1935"/>
                    <a:pt x="1546" y="1897"/>
                    <a:pt x="1546" y="1897"/>
                  </a:cubicBezTo>
                  <a:cubicBezTo>
                    <a:pt x="1546" y="1897"/>
                    <a:pt x="1559" y="1768"/>
                    <a:pt x="1559" y="1743"/>
                  </a:cubicBezTo>
                  <a:cubicBezTo>
                    <a:pt x="1572" y="1704"/>
                    <a:pt x="1585" y="1704"/>
                    <a:pt x="1572" y="1679"/>
                  </a:cubicBezTo>
                  <a:cubicBezTo>
                    <a:pt x="1572" y="1666"/>
                    <a:pt x="1572" y="1640"/>
                    <a:pt x="1597" y="1615"/>
                  </a:cubicBezTo>
                  <a:cubicBezTo>
                    <a:pt x="1610" y="1589"/>
                    <a:pt x="1623" y="1602"/>
                    <a:pt x="1648" y="1628"/>
                  </a:cubicBezTo>
                  <a:cubicBezTo>
                    <a:pt x="1661" y="1640"/>
                    <a:pt x="1661" y="1589"/>
                    <a:pt x="1661" y="1563"/>
                  </a:cubicBezTo>
                  <a:cubicBezTo>
                    <a:pt x="1661" y="1525"/>
                    <a:pt x="1674" y="1499"/>
                    <a:pt x="1674" y="1487"/>
                  </a:cubicBezTo>
                  <a:cubicBezTo>
                    <a:pt x="1687" y="1474"/>
                    <a:pt x="1712" y="1410"/>
                    <a:pt x="1738" y="1397"/>
                  </a:cubicBezTo>
                  <a:cubicBezTo>
                    <a:pt x="1763" y="1371"/>
                    <a:pt x="1802" y="1371"/>
                    <a:pt x="1802" y="1371"/>
                  </a:cubicBezTo>
                  <a:cubicBezTo>
                    <a:pt x="1802" y="1371"/>
                    <a:pt x="1815" y="1320"/>
                    <a:pt x="1815" y="1320"/>
                  </a:cubicBezTo>
                  <a:cubicBezTo>
                    <a:pt x="1815" y="1307"/>
                    <a:pt x="1815" y="1294"/>
                    <a:pt x="1840" y="1269"/>
                  </a:cubicBezTo>
                  <a:cubicBezTo>
                    <a:pt x="1853" y="1243"/>
                    <a:pt x="1853" y="1153"/>
                    <a:pt x="1853" y="1153"/>
                  </a:cubicBezTo>
                  <a:cubicBezTo>
                    <a:pt x="1840" y="1051"/>
                    <a:pt x="1840" y="1051"/>
                    <a:pt x="1840" y="1051"/>
                  </a:cubicBezTo>
                  <a:cubicBezTo>
                    <a:pt x="1840" y="1051"/>
                    <a:pt x="1866" y="1012"/>
                    <a:pt x="1866" y="1000"/>
                  </a:cubicBezTo>
                  <a:cubicBezTo>
                    <a:pt x="1878" y="987"/>
                    <a:pt x="1904" y="910"/>
                    <a:pt x="1904" y="897"/>
                  </a:cubicBezTo>
                  <a:cubicBezTo>
                    <a:pt x="1904" y="871"/>
                    <a:pt x="1891" y="859"/>
                    <a:pt x="1904" y="846"/>
                  </a:cubicBezTo>
                  <a:cubicBezTo>
                    <a:pt x="1917" y="833"/>
                    <a:pt x="1917" y="807"/>
                    <a:pt x="1917" y="807"/>
                  </a:cubicBezTo>
                  <a:cubicBezTo>
                    <a:pt x="1917" y="807"/>
                    <a:pt x="1930" y="795"/>
                    <a:pt x="1955" y="795"/>
                  </a:cubicBezTo>
                  <a:cubicBezTo>
                    <a:pt x="1981" y="795"/>
                    <a:pt x="1968" y="782"/>
                    <a:pt x="1981" y="769"/>
                  </a:cubicBezTo>
                  <a:cubicBezTo>
                    <a:pt x="1993" y="743"/>
                    <a:pt x="2032" y="756"/>
                    <a:pt x="2070" y="731"/>
                  </a:cubicBezTo>
                  <a:cubicBezTo>
                    <a:pt x="2108" y="718"/>
                    <a:pt x="2108" y="679"/>
                    <a:pt x="2108" y="679"/>
                  </a:cubicBezTo>
                </a:path>
              </a:pathLst>
            </a:custGeom>
            <a:grpFill/>
            <a:ln w="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891045"/>
              <a:endParaRPr lang="en-US" sz="1700" dirty="0">
                <a:solidFill>
                  <a:srgbClr val="003149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437" name="Freeform 244"/>
            <p:cNvSpPr>
              <a:spLocks/>
            </p:cNvSpPr>
            <p:nvPr/>
          </p:nvSpPr>
          <p:spPr bwMode="gray">
            <a:xfrm>
              <a:off x="4489" y="2723"/>
              <a:ext cx="213" cy="258"/>
            </a:xfrm>
            <a:custGeom>
              <a:avLst/>
              <a:gdLst>
                <a:gd name="T0" fmla="*/ 209 w 213"/>
                <a:gd name="T1" fmla="*/ 65 h 258"/>
                <a:gd name="T2" fmla="*/ 199 w 213"/>
                <a:gd name="T3" fmla="*/ 55 h 258"/>
                <a:gd name="T4" fmla="*/ 194 w 213"/>
                <a:gd name="T5" fmla="*/ 24 h 258"/>
                <a:gd name="T6" fmla="*/ 179 w 213"/>
                <a:gd name="T7" fmla="*/ 4 h 258"/>
                <a:gd name="T8" fmla="*/ 169 w 213"/>
                <a:gd name="T9" fmla="*/ 4 h 258"/>
                <a:gd name="T10" fmla="*/ 159 w 213"/>
                <a:gd name="T11" fmla="*/ 12 h 258"/>
                <a:gd name="T12" fmla="*/ 146 w 213"/>
                <a:gd name="T13" fmla="*/ 16 h 258"/>
                <a:gd name="T14" fmla="*/ 41 w 213"/>
                <a:gd name="T15" fmla="*/ 15 h 258"/>
                <a:gd name="T16" fmla="*/ 41 w 213"/>
                <a:gd name="T17" fmla="*/ 42 h 258"/>
                <a:gd name="T18" fmla="*/ 29 w 213"/>
                <a:gd name="T19" fmla="*/ 48 h 258"/>
                <a:gd name="T20" fmla="*/ 29 w 213"/>
                <a:gd name="T21" fmla="*/ 99 h 258"/>
                <a:gd name="T22" fmla="*/ 16 w 213"/>
                <a:gd name="T23" fmla="*/ 101 h 258"/>
                <a:gd name="T24" fmla="*/ 13 w 213"/>
                <a:gd name="T25" fmla="*/ 112 h 258"/>
                <a:gd name="T26" fmla="*/ 10 w 213"/>
                <a:gd name="T27" fmla="*/ 121 h 258"/>
                <a:gd name="T28" fmla="*/ 7 w 213"/>
                <a:gd name="T29" fmla="*/ 130 h 258"/>
                <a:gd name="T30" fmla="*/ 7 w 213"/>
                <a:gd name="T31" fmla="*/ 138 h 258"/>
                <a:gd name="T32" fmla="*/ 10 w 213"/>
                <a:gd name="T33" fmla="*/ 149 h 258"/>
                <a:gd name="T34" fmla="*/ 14 w 213"/>
                <a:gd name="T35" fmla="*/ 160 h 258"/>
                <a:gd name="T36" fmla="*/ 25 w 213"/>
                <a:gd name="T37" fmla="*/ 182 h 258"/>
                <a:gd name="T38" fmla="*/ 29 w 213"/>
                <a:gd name="T39" fmla="*/ 191 h 258"/>
                <a:gd name="T40" fmla="*/ 38 w 213"/>
                <a:gd name="T41" fmla="*/ 196 h 258"/>
                <a:gd name="T42" fmla="*/ 45 w 213"/>
                <a:gd name="T43" fmla="*/ 206 h 258"/>
                <a:gd name="T44" fmla="*/ 58 w 213"/>
                <a:gd name="T45" fmla="*/ 218 h 258"/>
                <a:gd name="T46" fmla="*/ 67 w 213"/>
                <a:gd name="T47" fmla="*/ 227 h 258"/>
                <a:gd name="T48" fmla="*/ 76 w 213"/>
                <a:gd name="T49" fmla="*/ 241 h 258"/>
                <a:gd name="T50" fmla="*/ 88 w 213"/>
                <a:gd name="T51" fmla="*/ 244 h 258"/>
                <a:gd name="T52" fmla="*/ 100 w 213"/>
                <a:gd name="T53" fmla="*/ 242 h 258"/>
                <a:gd name="T54" fmla="*/ 112 w 213"/>
                <a:gd name="T55" fmla="*/ 254 h 258"/>
                <a:gd name="T56" fmla="*/ 121 w 213"/>
                <a:gd name="T57" fmla="*/ 254 h 258"/>
                <a:gd name="T58" fmla="*/ 132 w 213"/>
                <a:gd name="T59" fmla="*/ 257 h 258"/>
                <a:gd name="T60" fmla="*/ 143 w 213"/>
                <a:gd name="T61" fmla="*/ 253 h 258"/>
                <a:gd name="T62" fmla="*/ 160 w 213"/>
                <a:gd name="T63" fmla="*/ 242 h 258"/>
                <a:gd name="T64" fmla="*/ 178 w 213"/>
                <a:gd name="T65" fmla="*/ 239 h 258"/>
                <a:gd name="T66" fmla="*/ 172 w 213"/>
                <a:gd name="T67" fmla="*/ 232 h 258"/>
                <a:gd name="T68" fmla="*/ 167 w 213"/>
                <a:gd name="T69" fmla="*/ 218 h 258"/>
                <a:gd name="T70" fmla="*/ 155 w 213"/>
                <a:gd name="T71" fmla="*/ 206 h 258"/>
                <a:gd name="T72" fmla="*/ 143 w 213"/>
                <a:gd name="T73" fmla="*/ 200 h 258"/>
                <a:gd name="T74" fmla="*/ 152 w 213"/>
                <a:gd name="T75" fmla="*/ 196 h 258"/>
                <a:gd name="T76" fmla="*/ 158 w 213"/>
                <a:gd name="T77" fmla="*/ 176 h 258"/>
                <a:gd name="T78" fmla="*/ 161 w 213"/>
                <a:gd name="T79" fmla="*/ 163 h 258"/>
                <a:gd name="T80" fmla="*/ 168 w 213"/>
                <a:gd name="T81" fmla="*/ 158 h 258"/>
                <a:gd name="T82" fmla="*/ 176 w 213"/>
                <a:gd name="T83" fmla="*/ 141 h 258"/>
                <a:gd name="T84" fmla="*/ 183 w 213"/>
                <a:gd name="T85" fmla="*/ 134 h 258"/>
                <a:gd name="T86" fmla="*/ 187 w 213"/>
                <a:gd name="T87" fmla="*/ 117 h 258"/>
                <a:gd name="T88" fmla="*/ 189 w 213"/>
                <a:gd name="T89" fmla="*/ 101 h 258"/>
                <a:gd name="T90" fmla="*/ 192 w 213"/>
                <a:gd name="T91" fmla="*/ 86 h 258"/>
                <a:gd name="T92" fmla="*/ 198 w 213"/>
                <a:gd name="T93" fmla="*/ 81 h 258"/>
                <a:gd name="T94" fmla="*/ 209 w 213"/>
                <a:gd name="T95" fmla="*/ 74 h 258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213"/>
                <a:gd name="T145" fmla="*/ 0 h 258"/>
                <a:gd name="T146" fmla="*/ 213 w 213"/>
                <a:gd name="T147" fmla="*/ 258 h 258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213" h="258">
                  <a:moveTo>
                    <a:pt x="213" y="69"/>
                  </a:moveTo>
                  <a:cubicBezTo>
                    <a:pt x="213" y="69"/>
                    <a:pt x="209" y="65"/>
                    <a:pt x="209" y="65"/>
                  </a:cubicBezTo>
                  <a:cubicBezTo>
                    <a:pt x="208" y="64"/>
                    <a:pt x="208" y="62"/>
                    <a:pt x="204" y="60"/>
                  </a:cubicBezTo>
                  <a:cubicBezTo>
                    <a:pt x="200" y="57"/>
                    <a:pt x="199" y="59"/>
                    <a:pt x="199" y="55"/>
                  </a:cubicBezTo>
                  <a:cubicBezTo>
                    <a:pt x="198" y="51"/>
                    <a:pt x="198" y="38"/>
                    <a:pt x="198" y="38"/>
                  </a:cubicBezTo>
                  <a:cubicBezTo>
                    <a:pt x="198" y="38"/>
                    <a:pt x="196" y="26"/>
                    <a:pt x="194" y="24"/>
                  </a:cubicBezTo>
                  <a:cubicBezTo>
                    <a:pt x="192" y="20"/>
                    <a:pt x="191" y="15"/>
                    <a:pt x="189" y="12"/>
                  </a:cubicBezTo>
                  <a:cubicBezTo>
                    <a:pt x="187" y="9"/>
                    <a:pt x="183" y="5"/>
                    <a:pt x="179" y="4"/>
                  </a:cubicBezTo>
                  <a:cubicBezTo>
                    <a:pt x="177" y="4"/>
                    <a:pt x="174" y="0"/>
                    <a:pt x="174" y="0"/>
                  </a:cubicBezTo>
                  <a:cubicBezTo>
                    <a:pt x="174" y="2"/>
                    <a:pt x="170" y="3"/>
                    <a:pt x="169" y="4"/>
                  </a:cubicBezTo>
                  <a:cubicBezTo>
                    <a:pt x="167" y="4"/>
                    <a:pt x="165" y="7"/>
                    <a:pt x="164" y="9"/>
                  </a:cubicBezTo>
                  <a:cubicBezTo>
                    <a:pt x="164" y="11"/>
                    <a:pt x="161" y="11"/>
                    <a:pt x="159" y="12"/>
                  </a:cubicBezTo>
                  <a:cubicBezTo>
                    <a:pt x="156" y="13"/>
                    <a:pt x="156" y="15"/>
                    <a:pt x="155" y="17"/>
                  </a:cubicBezTo>
                  <a:cubicBezTo>
                    <a:pt x="154" y="20"/>
                    <a:pt x="147" y="17"/>
                    <a:pt x="146" y="16"/>
                  </a:cubicBezTo>
                  <a:cubicBezTo>
                    <a:pt x="145" y="15"/>
                    <a:pt x="143" y="15"/>
                    <a:pt x="143" y="15"/>
                  </a:cubicBezTo>
                  <a:cubicBezTo>
                    <a:pt x="41" y="15"/>
                    <a:pt x="41" y="15"/>
                    <a:pt x="41" y="15"/>
                  </a:cubicBezTo>
                  <a:cubicBezTo>
                    <a:pt x="41" y="15"/>
                    <a:pt x="41" y="15"/>
                    <a:pt x="41" y="15"/>
                  </a:cubicBezTo>
                  <a:cubicBezTo>
                    <a:pt x="41" y="42"/>
                    <a:pt x="41" y="42"/>
                    <a:pt x="41" y="42"/>
                  </a:cubicBezTo>
                  <a:cubicBezTo>
                    <a:pt x="29" y="42"/>
                    <a:pt x="29" y="42"/>
                    <a:pt x="29" y="42"/>
                  </a:cubicBezTo>
                  <a:cubicBezTo>
                    <a:pt x="29" y="48"/>
                    <a:pt x="29" y="48"/>
                    <a:pt x="29" y="48"/>
                  </a:cubicBezTo>
                  <a:cubicBezTo>
                    <a:pt x="29" y="48"/>
                    <a:pt x="29" y="48"/>
                    <a:pt x="29" y="48"/>
                  </a:cubicBezTo>
                  <a:cubicBezTo>
                    <a:pt x="29" y="99"/>
                    <a:pt x="29" y="99"/>
                    <a:pt x="29" y="99"/>
                  </a:cubicBezTo>
                  <a:cubicBezTo>
                    <a:pt x="29" y="99"/>
                    <a:pt x="23" y="99"/>
                    <a:pt x="21" y="99"/>
                  </a:cubicBezTo>
                  <a:cubicBezTo>
                    <a:pt x="20" y="99"/>
                    <a:pt x="16" y="101"/>
                    <a:pt x="16" y="101"/>
                  </a:cubicBezTo>
                  <a:cubicBezTo>
                    <a:pt x="16" y="101"/>
                    <a:pt x="17" y="105"/>
                    <a:pt x="16" y="107"/>
                  </a:cubicBezTo>
                  <a:cubicBezTo>
                    <a:pt x="13" y="108"/>
                    <a:pt x="13" y="112"/>
                    <a:pt x="13" y="112"/>
                  </a:cubicBezTo>
                  <a:cubicBezTo>
                    <a:pt x="12" y="113"/>
                    <a:pt x="9" y="114"/>
                    <a:pt x="9" y="114"/>
                  </a:cubicBezTo>
                  <a:cubicBezTo>
                    <a:pt x="10" y="121"/>
                    <a:pt x="10" y="121"/>
                    <a:pt x="10" y="121"/>
                  </a:cubicBezTo>
                  <a:cubicBezTo>
                    <a:pt x="5" y="123"/>
                    <a:pt x="5" y="123"/>
                    <a:pt x="5" y="123"/>
                  </a:cubicBezTo>
                  <a:cubicBezTo>
                    <a:pt x="7" y="130"/>
                    <a:pt x="7" y="130"/>
                    <a:pt x="7" y="130"/>
                  </a:cubicBezTo>
                  <a:cubicBezTo>
                    <a:pt x="7" y="130"/>
                    <a:pt x="5" y="130"/>
                    <a:pt x="3" y="135"/>
                  </a:cubicBezTo>
                  <a:cubicBezTo>
                    <a:pt x="0" y="140"/>
                    <a:pt x="5" y="139"/>
                    <a:pt x="7" y="138"/>
                  </a:cubicBezTo>
                  <a:cubicBezTo>
                    <a:pt x="8" y="138"/>
                    <a:pt x="8" y="140"/>
                    <a:pt x="9" y="143"/>
                  </a:cubicBezTo>
                  <a:cubicBezTo>
                    <a:pt x="9" y="145"/>
                    <a:pt x="12" y="147"/>
                    <a:pt x="10" y="149"/>
                  </a:cubicBezTo>
                  <a:cubicBezTo>
                    <a:pt x="9" y="152"/>
                    <a:pt x="10" y="153"/>
                    <a:pt x="13" y="153"/>
                  </a:cubicBezTo>
                  <a:cubicBezTo>
                    <a:pt x="16" y="154"/>
                    <a:pt x="14" y="160"/>
                    <a:pt x="14" y="160"/>
                  </a:cubicBezTo>
                  <a:cubicBezTo>
                    <a:pt x="14" y="160"/>
                    <a:pt x="18" y="166"/>
                    <a:pt x="21" y="170"/>
                  </a:cubicBezTo>
                  <a:cubicBezTo>
                    <a:pt x="25" y="172"/>
                    <a:pt x="25" y="178"/>
                    <a:pt x="25" y="182"/>
                  </a:cubicBezTo>
                  <a:cubicBezTo>
                    <a:pt x="25" y="184"/>
                    <a:pt x="23" y="185"/>
                    <a:pt x="22" y="188"/>
                  </a:cubicBezTo>
                  <a:cubicBezTo>
                    <a:pt x="22" y="191"/>
                    <a:pt x="27" y="191"/>
                    <a:pt x="29" y="191"/>
                  </a:cubicBezTo>
                  <a:cubicBezTo>
                    <a:pt x="31" y="189"/>
                    <a:pt x="32" y="192"/>
                    <a:pt x="31" y="193"/>
                  </a:cubicBezTo>
                  <a:cubicBezTo>
                    <a:pt x="29" y="194"/>
                    <a:pt x="36" y="196"/>
                    <a:pt x="38" y="196"/>
                  </a:cubicBezTo>
                  <a:cubicBezTo>
                    <a:pt x="39" y="196"/>
                    <a:pt x="40" y="198"/>
                    <a:pt x="44" y="200"/>
                  </a:cubicBezTo>
                  <a:cubicBezTo>
                    <a:pt x="48" y="202"/>
                    <a:pt x="44" y="205"/>
                    <a:pt x="45" y="206"/>
                  </a:cubicBezTo>
                  <a:cubicBezTo>
                    <a:pt x="45" y="209"/>
                    <a:pt x="52" y="213"/>
                    <a:pt x="56" y="214"/>
                  </a:cubicBezTo>
                  <a:cubicBezTo>
                    <a:pt x="60" y="217"/>
                    <a:pt x="58" y="218"/>
                    <a:pt x="58" y="218"/>
                  </a:cubicBezTo>
                  <a:cubicBezTo>
                    <a:pt x="60" y="224"/>
                    <a:pt x="60" y="224"/>
                    <a:pt x="60" y="224"/>
                  </a:cubicBezTo>
                  <a:cubicBezTo>
                    <a:pt x="67" y="227"/>
                    <a:pt x="67" y="227"/>
                    <a:pt x="67" y="227"/>
                  </a:cubicBezTo>
                  <a:cubicBezTo>
                    <a:pt x="67" y="227"/>
                    <a:pt x="70" y="233"/>
                    <a:pt x="70" y="235"/>
                  </a:cubicBezTo>
                  <a:cubicBezTo>
                    <a:pt x="71" y="236"/>
                    <a:pt x="75" y="239"/>
                    <a:pt x="76" y="241"/>
                  </a:cubicBezTo>
                  <a:cubicBezTo>
                    <a:pt x="76" y="244"/>
                    <a:pt x="81" y="246"/>
                    <a:pt x="84" y="246"/>
                  </a:cubicBezTo>
                  <a:cubicBezTo>
                    <a:pt x="87" y="248"/>
                    <a:pt x="88" y="244"/>
                    <a:pt x="88" y="244"/>
                  </a:cubicBezTo>
                  <a:cubicBezTo>
                    <a:pt x="96" y="246"/>
                    <a:pt x="96" y="246"/>
                    <a:pt x="96" y="246"/>
                  </a:cubicBezTo>
                  <a:cubicBezTo>
                    <a:pt x="96" y="246"/>
                    <a:pt x="97" y="242"/>
                    <a:pt x="100" y="242"/>
                  </a:cubicBezTo>
                  <a:cubicBezTo>
                    <a:pt x="102" y="242"/>
                    <a:pt x="105" y="248"/>
                    <a:pt x="105" y="249"/>
                  </a:cubicBezTo>
                  <a:cubicBezTo>
                    <a:pt x="106" y="250"/>
                    <a:pt x="111" y="253"/>
                    <a:pt x="112" y="254"/>
                  </a:cubicBezTo>
                  <a:cubicBezTo>
                    <a:pt x="112" y="254"/>
                    <a:pt x="115" y="257"/>
                    <a:pt x="115" y="257"/>
                  </a:cubicBezTo>
                  <a:cubicBezTo>
                    <a:pt x="115" y="257"/>
                    <a:pt x="120" y="254"/>
                    <a:pt x="121" y="254"/>
                  </a:cubicBezTo>
                  <a:cubicBezTo>
                    <a:pt x="124" y="255"/>
                    <a:pt x="125" y="254"/>
                    <a:pt x="127" y="254"/>
                  </a:cubicBezTo>
                  <a:cubicBezTo>
                    <a:pt x="128" y="254"/>
                    <a:pt x="130" y="257"/>
                    <a:pt x="132" y="257"/>
                  </a:cubicBezTo>
                  <a:cubicBezTo>
                    <a:pt x="134" y="258"/>
                    <a:pt x="136" y="254"/>
                    <a:pt x="136" y="254"/>
                  </a:cubicBezTo>
                  <a:cubicBezTo>
                    <a:pt x="136" y="254"/>
                    <a:pt x="142" y="253"/>
                    <a:pt x="143" y="253"/>
                  </a:cubicBezTo>
                  <a:cubicBezTo>
                    <a:pt x="143" y="253"/>
                    <a:pt x="150" y="254"/>
                    <a:pt x="150" y="254"/>
                  </a:cubicBezTo>
                  <a:cubicBezTo>
                    <a:pt x="160" y="242"/>
                    <a:pt x="160" y="242"/>
                    <a:pt x="160" y="242"/>
                  </a:cubicBezTo>
                  <a:cubicBezTo>
                    <a:pt x="181" y="242"/>
                    <a:pt x="181" y="242"/>
                    <a:pt x="181" y="242"/>
                  </a:cubicBezTo>
                  <a:cubicBezTo>
                    <a:pt x="181" y="242"/>
                    <a:pt x="178" y="240"/>
                    <a:pt x="178" y="239"/>
                  </a:cubicBezTo>
                  <a:cubicBezTo>
                    <a:pt x="178" y="237"/>
                    <a:pt x="178" y="233"/>
                    <a:pt x="178" y="233"/>
                  </a:cubicBezTo>
                  <a:cubicBezTo>
                    <a:pt x="172" y="232"/>
                    <a:pt x="172" y="232"/>
                    <a:pt x="172" y="232"/>
                  </a:cubicBezTo>
                  <a:cubicBezTo>
                    <a:pt x="172" y="232"/>
                    <a:pt x="169" y="228"/>
                    <a:pt x="168" y="226"/>
                  </a:cubicBezTo>
                  <a:cubicBezTo>
                    <a:pt x="167" y="222"/>
                    <a:pt x="168" y="220"/>
                    <a:pt x="167" y="218"/>
                  </a:cubicBezTo>
                  <a:cubicBezTo>
                    <a:pt x="165" y="217"/>
                    <a:pt x="163" y="215"/>
                    <a:pt x="160" y="214"/>
                  </a:cubicBezTo>
                  <a:cubicBezTo>
                    <a:pt x="159" y="214"/>
                    <a:pt x="155" y="206"/>
                    <a:pt x="155" y="206"/>
                  </a:cubicBezTo>
                  <a:cubicBezTo>
                    <a:pt x="155" y="206"/>
                    <a:pt x="149" y="204"/>
                    <a:pt x="146" y="202"/>
                  </a:cubicBezTo>
                  <a:cubicBezTo>
                    <a:pt x="142" y="201"/>
                    <a:pt x="143" y="201"/>
                    <a:pt x="143" y="200"/>
                  </a:cubicBezTo>
                  <a:cubicBezTo>
                    <a:pt x="145" y="198"/>
                    <a:pt x="145" y="196"/>
                    <a:pt x="146" y="194"/>
                  </a:cubicBezTo>
                  <a:cubicBezTo>
                    <a:pt x="146" y="193"/>
                    <a:pt x="151" y="196"/>
                    <a:pt x="152" y="196"/>
                  </a:cubicBezTo>
                  <a:cubicBezTo>
                    <a:pt x="152" y="196"/>
                    <a:pt x="156" y="192"/>
                    <a:pt x="156" y="192"/>
                  </a:cubicBezTo>
                  <a:cubicBezTo>
                    <a:pt x="156" y="192"/>
                    <a:pt x="158" y="179"/>
                    <a:pt x="158" y="176"/>
                  </a:cubicBezTo>
                  <a:cubicBezTo>
                    <a:pt x="159" y="172"/>
                    <a:pt x="160" y="172"/>
                    <a:pt x="159" y="170"/>
                  </a:cubicBezTo>
                  <a:cubicBezTo>
                    <a:pt x="159" y="169"/>
                    <a:pt x="159" y="166"/>
                    <a:pt x="161" y="163"/>
                  </a:cubicBezTo>
                  <a:cubicBezTo>
                    <a:pt x="163" y="161"/>
                    <a:pt x="164" y="162"/>
                    <a:pt x="167" y="165"/>
                  </a:cubicBezTo>
                  <a:cubicBezTo>
                    <a:pt x="168" y="166"/>
                    <a:pt x="168" y="161"/>
                    <a:pt x="168" y="158"/>
                  </a:cubicBezTo>
                  <a:cubicBezTo>
                    <a:pt x="168" y="154"/>
                    <a:pt x="169" y="152"/>
                    <a:pt x="169" y="151"/>
                  </a:cubicBezTo>
                  <a:cubicBezTo>
                    <a:pt x="170" y="149"/>
                    <a:pt x="173" y="143"/>
                    <a:pt x="176" y="141"/>
                  </a:cubicBezTo>
                  <a:cubicBezTo>
                    <a:pt x="178" y="139"/>
                    <a:pt x="182" y="139"/>
                    <a:pt x="182" y="139"/>
                  </a:cubicBezTo>
                  <a:cubicBezTo>
                    <a:pt x="182" y="139"/>
                    <a:pt x="183" y="134"/>
                    <a:pt x="183" y="134"/>
                  </a:cubicBezTo>
                  <a:cubicBezTo>
                    <a:pt x="183" y="132"/>
                    <a:pt x="183" y="131"/>
                    <a:pt x="186" y="129"/>
                  </a:cubicBezTo>
                  <a:cubicBezTo>
                    <a:pt x="187" y="126"/>
                    <a:pt x="187" y="117"/>
                    <a:pt x="187" y="117"/>
                  </a:cubicBezTo>
                  <a:cubicBezTo>
                    <a:pt x="186" y="107"/>
                    <a:pt x="186" y="107"/>
                    <a:pt x="186" y="107"/>
                  </a:cubicBezTo>
                  <a:cubicBezTo>
                    <a:pt x="186" y="107"/>
                    <a:pt x="189" y="103"/>
                    <a:pt x="189" y="101"/>
                  </a:cubicBezTo>
                  <a:cubicBezTo>
                    <a:pt x="190" y="100"/>
                    <a:pt x="192" y="92"/>
                    <a:pt x="192" y="91"/>
                  </a:cubicBezTo>
                  <a:cubicBezTo>
                    <a:pt x="192" y="88"/>
                    <a:pt x="191" y="87"/>
                    <a:pt x="192" y="86"/>
                  </a:cubicBezTo>
                  <a:cubicBezTo>
                    <a:pt x="194" y="84"/>
                    <a:pt x="194" y="82"/>
                    <a:pt x="194" y="82"/>
                  </a:cubicBezTo>
                  <a:cubicBezTo>
                    <a:pt x="194" y="82"/>
                    <a:pt x="195" y="81"/>
                    <a:pt x="198" y="81"/>
                  </a:cubicBezTo>
                  <a:cubicBezTo>
                    <a:pt x="200" y="81"/>
                    <a:pt x="199" y="79"/>
                    <a:pt x="200" y="78"/>
                  </a:cubicBezTo>
                  <a:cubicBezTo>
                    <a:pt x="201" y="75"/>
                    <a:pt x="205" y="77"/>
                    <a:pt x="209" y="74"/>
                  </a:cubicBezTo>
                  <a:cubicBezTo>
                    <a:pt x="213" y="73"/>
                    <a:pt x="213" y="69"/>
                    <a:pt x="213" y="69"/>
                  </a:cubicBezTo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891045"/>
              <a:endParaRPr lang="en-US" sz="1700" dirty="0">
                <a:solidFill>
                  <a:srgbClr val="003149"/>
                </a:solidFill>
                <a:cs typeface="Arial" panose="020B0604020202020204" pitchFamily="34" charset="0"/>
              </a:endParaRPr>
            </a:p>
          </p:txBody>
        </p:sp>
      </p:grpSp>
      <p:grpSp>
        <p:nvGrpSpPr>
          <p:cNvPr id="438" name="Group 245"/>
          <p:cNvGrpSpPr>
            <a:grpSpLocks/>
          </p:cNvGrpSpPr>
          <p:nvPr/>
        </p:nvGrpSpPr>
        <p:grpSpPr bwMode="gray">
          <a:xfrm>
            <a:off x="1812832" y="2150575"/>
            <a:ext cx="125705" cy="115448"/>
            <a:chOff x="4675" y="2793"/>
            <a:chExt cx="86" cy="75"/>
          </a:xfrm>
          <a:solidFill>
            <a:schemeClr val="accent3"/>
          </a:solidFill>
        </p:grpSpPr>
        <p:sp>
          <p:nvSpPr>
            <p:cNvPr id="439" name="Freeform 246"/>
            <p:cNvSpPr>
              <a:spLocks/>
            </p:cNvSpPr>
            <p:nvPr/>
          </p:nvSpPr>
          <p:spPr bwMode="gray">
            <a:xfrm>
              <a:off x="4675" y="2793"/>
              <a:ext cx="86" cy="75"/>
            </a:xfrm>
            <a:custGeom>
              <a:avLst/>
              <a:gdLst>
                <a:gd name="T0" fmla="*/ 0 w 850"/>
                <a:gd name="T1" fmla="*/ 0 h 741"/>
                <a:gd name="T2" fmla="*/ 0 w 850"/>
                <a:gd name="T3" fmla="*/ 0 h 741"/>
                <a:gd name="T4" fmla="*/ 0 w 850"/>
                <a:gd name="T5" fmla="*/ 0 h 741"/>
                <a:gd name="T6" fmla="*/ 0 w 850"/>
                <a:gd name="T7" fmla="*/ 0 h 741"/>
                <a:gd name="T8" fmla="*/ 0 w 850"/>
                <a:gd name="T9" fmla="*/ 0 h 741"/>
                <a:gd name="T10" fmla="*/ 0 w 850"/>
                <a:gd name="T11" fmla="*/ 0 h 741"/>
                <a:gd name="T12" fmla="*/ 0 w 850"/>
                <a:gd name="T13" fmla="*/ 0 h 741"/>
                <a:gd name="T14" fmla="*/ 0 w 850"/>
                <a:gd name="T15" fmla="*/ 0 h 741"/>
                <a:gd name="T16" fmla="*/ 0 w 850"/>
                <a:gd name="T17" fmla="*/ 0 h 741"/>
                <a:gd name="T18" fmla="*/ 0 w 850"/>
                <a:gd name="T19" fmla="*/ 0 h 741"/>
                <a:gd name="T20" fmla="*/ 0 w 850"/>
                <a:gd name="T21" fmla="*/ 0 h 741"/>
                <a:gd name="T22" fmla="*/ 0 w 850"/>
                <a:gd name="T23" fmla="*/ 0 h 741"/>
                <a:gd name="T24" fmla="*/ 0 w 850"/>
                <a:gd name="T25" fmla="*/ 0 h 741"/>
                <a:gd name="T26" fmla="*/ 0 w 850"/>
                <a:gd name="T27" fmla="*/ 0 h 741"/>
                <a:gd name="T28" fmla="*/ 0 w 850"/>
                <a:gd name="T29" fmla="*/ 0 h 741"/>
                <a:gd name="T30" fmla="*/ 0 w 850"/>
                <a:gd name="T31" fmla="*/ 0 h 741"/>
                <a:gd name="T32" fmla="*/ 0 w 850"/>
                <a:gd name="T33" fmla="*/ 0 h 741"/>
                <a:gd name="T34" fmla="*/ 0 w 850"/>
                <a:gd name="T35" fmla="*/ 0 h 741"/>
                <a:gd name="T36" fmla="*/ 0 w 850"/>
                <a:gd name="T37" fmla="*/ 0 h 741"/>
                <a:gd name="T38" fmla="*/ 0 w 850"/>
                <a:gd name="T39" fmla="*/ 0 h 741"/>
                <a:gd name="T40" fmla="*/ 0 w 850"/>
                <a:gd name="T41" fmla="*/ 0 h 741"/>
                <a:gd name="T42" fmla="*/ 0 w 850"/>
                <a:gd name="T43" fmla="*/ 0 h 741"/>
                <a:gd name="T44" fmla="*/ 0 w 850"/>
                <a:gd name="T45" fmla="*/ 0 h 741"/>
                <a:gd name="T46" fmla="*/ 0 w 850"/>
                <a:gd name="T47" fmla="*/ 0 h 741"/>
                <a:gd name="T48" fmla="*/ 0 w 850"/>
                <a:gd name="T49" fmla="*/ 0 h 741"/>
                <a:gd name="T50" fmla="*/ 0 w 850"/>
                <a:gd name="T51" fmla="*/ 0 h 741"/>
                <a:gd name="T52" fmla="*/ 0 w 850"/>
                <a:gd name="T53" fmla="*/ 0 h 741"/>
                <a:gd name="T54" fmla="*/ 0 w 850"/>
                <a:gd name="T55" fmla="*/ 0 h 741"/>
                <a:gd name="T56" fmla="*/ 0 w 850"/>
                <a:gd name="T57" fmla="*/ 0 h 741"/>
                <a:gd name="T58" fmla="*/ 0 w 850"/>
                <a:gd name="T59" fmla="*/ 0 h 741"/>
                <a:gd name="T60" fmla="*/ 0 w 850"/>
                <a:gd name="T61" fmla="*/ 0 h 741"/>
                <a:gd name="T62" fmla="*/ 0 w 850"/>
                <a:gd name="T63" fmla="*/ 0 h 741"/>
                <a:gd name="T64" fmla="*/ 0 w 850"/>
                <a:gd name="T65" fmla="*/ 0 h 741"/>
                <a:gd name="T66" fmla="*/ 0 w 850"/>
                <a:gd name="T67" fmla="*/ 0 h 741"/>
                <a:gd name="T68" fmla="*/ 0 w 850"/>
                <a:gd name="T69" fmla="*/ 0 h 741"/>
                <a:gd name="T70" fmla="*/ 0 w 850"/>
                <a:gd name="T71" fmla="*/ 0 h 741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850"/>
                <a:gd name="T109" fmla="*/ 0 h 741"/>
                <a:gd name="T110" fmla="*/ 850 w 850"/>
                <a:gd name="T111" fmla="*/ 741 h 741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850" h="741">
                  <a:moveTo>
                    <a:pt x="824" y="652"/>
                  </a:moveTo>
                  <a:cubicBezTo>
                    <a:pt x="824" y="652"/>
                    <a:pt x="811" y="652"/>
                    <a:pt x="747" y="588"/>
                  </a:cubicBezTo>
                  <a:cubicBezTo>
                    <a:pt x="670" y="511"/>
                    <a:pt x="657" y="511"/>
                    <a:pt x="644" y="499"/>
                  </a:cubicBezTo>
                  <a:cubicBezTo>
                    <a:pt x="618" y="473"/>
                    <a:pt x="605" y="435"/>
                    <a:pt x="566" y="435"/>
                  </a:cubicBezTo>
                  <a:cubicBezTo>
                    <a:pt x="528" y="422"/>
                    <a:pt x="502" y="383"/>
                    <a:pt x="502" y="396"/>
                  </a:cubicBezTo>
                  <a:cubicBezTo>
                    <a:pt x="489" y="409"/>
                    <a:pt x="476" y="358"/>
                    <a:pt x="451" y="332"/>
                  </a:cubicBezTo>
                  <a:cubicBezTo>
                    <a:pt x="425" y="307"/>
                    <a:pt x="425" y="383"/>
                    <a:pt x="425" y="383"/>
                  </a:cubicBezTo>
                  <a:cubicBezTo>
                    <a:pt x="386" y="294"/>
                    <a:pt x="386" y="294"/>
                    <a:pt x="386" y="294"/>
                  </a:cubicBezTo>
                  <a:cubicBezTo>
                    <a:pt x="386" y="294"/>
                    <a:pt x="348" y="217"/>
                    <a:pt x="335" y="153"/>
                  </a:cubicBezTo>
                  <a:cubicBezTo>
                    <a:pt x="322" y="77"/>
                    <a:pt x="270" y="0"/>
                    <a:pt x="270" y="0"/>
                  </a:cubicBezTo>
                  <a:cubicBezTo>
                    <a:pt x="270" y="0"/>
                    <a:pt x="270" y="38"/>
                    <a:pt x="232" y="51"/>
                  </a:cubicBezTo>
                  <a:cubicBezTo>
                    <a:pt x="193" y="77"/>
                    <a:pt x="154" y="64"/>
                    <a:pt x="141" y="89"/>
                  </a:cubicBezTo>
                  <a:cubicBezTo>
                    <a:pt x="129" y="102"/>
                    <a:pt x="141" y="115"/>
                    <a:pt x="116" y="115"/>
                  </a:cubicBezTo>
                  <a:cubicBezTo>
                    <a:pt x="90" y="115"/>
                    <a:pt x="77" y="128"/>
                    <a:pt x="77" y="128"/>
                  </a:cubicBezTo>
                  <a:cubicBezTo>
                    <a:pt x="77" y="128"/>
                    <a:pt x="77" y="153"/>
                    <a:pt x="64" y="166"/>
                  </a:cubicBezTo>
                  <a:cubicBezTo>
                    <a:pt x="51" y="179"/>
                    <a:pt x="64" y="192"/>
                    <a:pt x="64" y="217"/>
                  </a:cubicBezTo>
                  <a:cubicBezTo>
                    <a:pt x="64" y="230"/>
                    <a:pt x="38" y="307"/>
                    <a:pt x="26" y="319"/>
                  </a:cubicBezTo>
                  <a:cubicBezTo>
                    <a:pt x="26" y="332"/>
                    <a:pt x="0" y="371"/>
                    <a:pt x="0" y="371"/>
                  </a:cubicBezTo>
                  <a:cubicBezTo>
                    <a:pt x="13" y="473"/>
                    <a:pt x="13" y="473"/>
                    <a:pt x="13" y="473"/>
                  </a:cubicBezTo>
                  <a:cubicBezTo>
                    <a:pt x="77" y="486"/>
                    <a:pt x="77" y="486"/>
                    <a:pt x="77" y="486"/>
                  </a:cubicBezTo>
                  <a:cubicBezTo>
                    <a:pt x="77" y="486"/>
                    <a:pt x="90" y="473"/>
                    <a:pt x="103" y="473"/>
                  </a:cubicBezTo>
                  <a:cubicBezTo>
                    <a:pt x="116" y="460"/>
                    <a:pt x="141" y="499"/>
                    <a:pt x="141" y="499"/>
                  </a:cubicBezTo>
                  <a:cubicBezTo>
                    <a:pt x="193" y="409"/>
                    <a:pt x="193" y="409"/>
                    <a:pt x="193" y="409"/>
                  </a:cubicBezTo>
                  <a:cubicBezTo>
                    <a:pt x="232" y="435"/>
                    <a:pt x="232" y="435"/>
                    <a:pt x="232" y="435"/>
                  </a:cubicBezTo>
                  <a:cubicBezTo>
                    <a:pt x="257" y="473"/>
                    <a:pt x="257" y="473"/>
                    <a:pt x="257" y="473"/>
                  </a:cubicBezTo>
                  <a:cubicBezTo>
                    <a:pt x="335" y="447"/>
                    <a:pt x="335" y="447"/>
                    <a:pt x="335" y="447"/>
                  </a:cubicBezTo>
                  <a:cubicBezTo>
                    <a:pt x="360" y="460"/>
                    <a:pt x="360" y="460"/>
                    <a:pt x="360" y="460"/>
                  </a:cubicBezTo>
                  <a:cubicBezTo>
                    <a:pt x="360" y="460"/>
                    <a:pt x="399" y="447"/>
                    <a:pt x="425" y="447"/>
                  </a:cubicBezTo>
                  <a:cubicBezTo>
                    <a:pt x="451" y="447"/>
                    <a:pt x="515" y="486"/>
                    <a:pt x="541" y="499"/>
                  </a:cubicBezTo>
                  <a:cubicBezTo>
                    <a:pt x="566" y="499"/>
                    <a:pt x="605" y="575"/>
                    <a:pt x="618" y="575"/>
                  </a:cubicBezTo>
                  <a:cubicBezTo>
                    <a:pt x="631" y="588"/>
                    <a:pt x="682" y="652"/>
                    <a:pt x="708" y="678"/>
                  </a:cubicBezTo>
                  <a:cubicBezTo>
                    <a:pt x="734" y="690"/>
                    <a:pt x="747" y="716"/>
                    <a:pt x="747" y="716"/>
                  </a:cubicBezTo>
                  <a:cubicBezTo>
                    <a:pt x="798" y="741"/>
                    <a:pt x="798" y="741"/>
                    <a:pt x="798" y="741"/>
                  </a:cubicBezTo>
                  <a:cubicBezTo>
                    <a:pt x="811" y="703"/>
                    <a:pt x="811" y="703"/>
                    <a:pt x="811" y="703"/>
                  </a:cubicBezTo>
                  <a:cubicBezTo>
                    <a:pt x="850" y="690"/>
                    <a:pt x="850" y="690"/>
                    <a:pt x="850" y="690"/>
                  </a:cubicBezTo>
                  <a:lnTo>
                    <a:pt x="824" y="652"/>
                  </a:lnTo>
                  <a:close/>
                </a:path>
              </a:pathLst>
            </a:custGeom>
            <a:grpFill/>
            <a:ln w="9525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891045"/>
              <a:endParaRPr lang="en-US" sz="1700" dirty="0">
                <a:solidFill>
                  <a:srgbClr val="003149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440" name="Freeform 247"/>
            <p:cNvSpPr>
              <a:spLocks/>
            </p:cNvSpPr>
            <p:nvPr/>
          </p:nvSpPr>
          <p:spPr bwMode="gray">
            <a:xfrm>
              <a:off x="4675" y="2793"/>
              <a:ext cx="86" cy="75"/>
            </a:xfrm>
            <a:custGeom>
              <a:avLst/>
              <a:gdLst>
                <a:gd name="T0" fmla="*/ 0 w 850"/>
                <a:gd name="T1" fmla="*/ 0 h 741"/>
                <a:gd name="T2" fmla="*/ 0 w 850"/>
                <a:gd name="T3" fmla="*/ 0 h 741"/>
                <a:gd name="T4" fmla="*/ 0 w 850"/>
                <a:gd name="T5" fmla="*/ 0 h 741"/>
                <a:gd name="T6" fmla="*/ 0 w 850"/>
                <a:gd name="T7" fmla="*/ 0 h 741"/>
                <a:gd name="T8" fmla="*/ 0 w 850"/>
                <a:gd name="T9" fmla="*/ 0 h 741"/>
                <a:gd name="T10" fmla="*/ 0 w 850"/>
                <a:gd name="T11" fmla="*/ 0 h 741"/>
                <a:gd name="T12" fmla="*/ 0 w 850"/>
                <a:gd name="T13" fmla="*/ 0 h 741"/>
                <a:gd name="T14" fmla="*/ 0 w 850"/>
                <a:gd name="T15" fmla="*/ 0 h 741"/>
                <a:gd name="T16" fmla="*/ 0 w 850"/>
                <a:gd name="T17" fmla="*/ 0 h 741"/>
                <a:gd name="T18" fmla="*/ 0 w 850"/>
                <a:gd name="T19" fmla="*/ 0 h 741"/>
                <a:gd name="T20" fmla="*/ 0 w 850"/>
                <a:gd name="T21" fmla="*/ 0 h 741"/>
                <a:gd name="T22" fmla="*/ 0 w 850"/>
                <a:gd name="T23" fmla="*/ 0 h 741"/>
                <a:gd name="T24" fmla="*/ 0 w 850"/>
                <a:gd name="T25" fmla="*/ 0 h 741"/>
                <a:gd name="T26" fmla="*/ 0 w 850"/>
                <a:gd name="T27" fmla="*/ 0 h 741"/>
                <a:gd name="T28" fmla="*/ 0 w 850"/>
                <a:gd name="T29" fmla="*/ 0 h 741"/>
                <a:gd name="T30" fmla="*/ 0 w 850"/>
                <a:gd name="T31" fmla="*/ 0 h 741"/>
                <a:gd name="T32" fmla="*/ 0 w 850"/>
                <a:gd name="T33" fmla="*/ 0 h 741"/>
                <a:gd name="T34" fmla="*/ 0 w 850"/>
                <a:gd name="T35" fmla="*/ 0 h 741"/>
                <a:gd name="T36" fmla="*/ 0 w 850"/>
                <a:gd name="T37" fmla="*/ 0 h 741"/>
                <a:gd name="T38" fmla="*/ 0 w 850"/>
                <a:gd name="T39" fmla="*/ 0 h 741"/>
                <a:gd name="T40" fmla="*/ 0 w 850"/>
                <a:gd name="T41" fmla="*/ 0 h 741"/>
                <a:gd name="T42" fmla="*/ 0 w 850"/>
                <a:gd name="T43" fmla="*/ 0 h 741"/>
                <a:gd name="T44" fmla="*/ 0 w 850"/>
                <a:gd name="T45" fmla="*/ 0 h 741"/>
                <a:gd name="T46" fmla="*/ 0 w 850"/>
                <a:gd name="T47" fmla="*/ 0 h 741"/>
                <a:gd name="T48" fmla="*/ 0 w 850"/>
                <a:gd name="T49" fmla="*/ 0 h 741"/>
                <a:gd name="T50" fmla="*/ 0 w 850"/>
                <a:gd name="T51" fmla="*/ 0 h 741"/>
                <a:gd name="T52" fmla="*/ 0 w 850"/>
                <a:gd name="T53" fmla="*/ 0 h 741"/>
                <a:gd name="T54" fmla="*/ 0 w 850"/>
                <a:gd name="T55" fmla="*/ 0 h 741"/>
                <a:gd name="T56" fmla="*/ 0 w 850"/>
                <a:gd name="T57" fmla="*/ 0 h 741"/>
                <a:gd name="T58" fmla="*/ 0 w 850"/>
                <a:gd name="T59" fmla="*/ 0 h 741"/>
                <a:gd name="T60" fmla="*/ 0 w 850"/>
                <a:gd name="T61" fmla="*/ 0 h 741"/>
                <a:gd name="T62" fmla="*/ 0 w 850"/>
                <a:gd name="T63" fmla="*/ 0 h 741"/>
                <a:gd name="T64" fmla="*/ 0 w 850"/>
                <a:gd name="T65" fmla="*/ 0 h 741"/>
                <a:gd name="T66" fmla="*/ 0 w 850"/>
                <a:gd name="T67" fmla="*/ 0 h 741"/>
                <a:gd name="T68" fmla="*/ 0 w 850"/>
                <a:gd name="T69" fmla="*/ 0 h 741"/>
                <a:gd name="T70" fmla="*/ 0 w 850"/>
                <a:gd name="T71" fmla="*/ 0 h 741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850"/>
                <a:gd name="T109" fmla="*/ 0 h 741"/>
                <a:gd name="T110" fmla="*/ 850 w 850"/>
                <a:gd name="T111" fmla="*/ 741 h 741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850" h="741">
                  <a:moveTo>
                    <a:pt x="824" y="652"/>
                  </a:moveTo>
                  <a:cubicBezTo>
                    <a:pt x="824" y="652"/>
                    <a:pt x="811" y="652"/>
                    <a:pt x="747" y="588"/>
                  </a:cubicBezTo>
                  <a:cubicBezTo>
                    <a:pt x="670" y="511"/>
                    <a:pt x="657" y="511"/>
                    <a:pt x="644" y="499"/>
                  </a:cubicBezTo>
                  <a:cubicBezTo>
                    <a:pt x="618" y="473"/>
                    <a:pt x="605" y="435"/>
                    <a:pt x="566" y="435"/>
                  </a:cubicBezTo>
                  <a:cubicBezTo>
                    <a:pt x="528" y="422"/>
                    <a:pt x="502" y="383"/>
                    <a:pt x="502" y="396"/>
                  </a:cubicBezTo>
                  <a:cubicBezTo>
                    <a:pt x="489" y="409"/>
                    <a:pt x="476" y="358"/>
                    <a:pt x="451" y="332"/>
                  </a:cubicBezTo>
                  <a:cubicBezTo>
                    <a:pt x="425" y="307"/>
                    <a:pt x="425" y="383"/>
                    <a:pt x="425" y="383"/>
                  </a:cubicBezTo>
                  <a:cubicBezTo>
                    <a:pt x="386" y="294"/>
                    <a:pt x="386" y="294"/>
                    <a:pt x="386" y="294"/>
                  </a:cubicBezTo>
                  <a:cubicBezTo>
                    <a:pt x="386" y="294"/>
                    <a:pt x="348" y="217"/>
                    <a:pt x="335" y="153"/>
                  </a:cubicBezTo>
                  <a:cubicBezTo>
                    <a:pt x="322" y="77"/>
                    <a:pt x="270" y="0"/>
                    <a:pt x="270" y="0"/>
                  </a:cubicBezTo>
                  <a:cubicBezTo>
                    <a:pt x="270" y="0"/>
                    <a:pt x="270" y="38"/>
                    <a:pt x="232" y="51"/>
                  </a:cubicBezTo>
                  <a:cubicBezTo>
                    <a:pt x="193" y="77"/>
                    <a:pt x="154" y="64"/>
                    <a:pt x="141" y="89"/>
                  </a:cubicBezTo>
                  <a:cubicBezTo>
                    <a:pt x="129" y="102"/>
                    <a:pt x="141" y="115"/>
                    <a:pt x="116" y="115"/>
                  </a:cubicBezTo>
                  <a:cubicBezTo>
                    <a:pt x="90" y="115"/>
                    <a:pt x="77" y="128"/>
                    <a:pt x="77" y="128"/>
                  </a:cubicBezTo>
                  <a:cubicBezTo>
                    <a:pt x="77" y="128"/>
                    <a:pt x="77" y="153"/>
                    <a:pt x="64" y="166"/>
                  </a:cubicBezTo>
                  <a:cubicBezTo>
                    <a:pt x="51" y="179"/>
                    <a:pt x="64" y="192"/>
                    <a:pt x="64" y="217"/>
                  </a:cubicBezTo>
                  <a:cubicBezTo>
                    <a:pt x="64" y="230"/>
                    <a:pt x="38" y="307"/>
                    <a:pt x="26" y="319"/>
                  </a:cubicBezTo>
                  <a:cubicBezTo>
                    <a:pt x="26" y="332"/>
                    <a:pt x="0" y="371"/>
                    <a:pt x="0" y="371"/>
                  </a:cubicBezTo>
                  <a:cubicBezTo>
                    <a:pt x="13" y="473"/>
                    <a:pt x="13" y="473"/>
                    <a:pt x="13" y="473"/>
                  </a:cubicBezTo>
                  <a:cubicBezTo>
                    <a:pt x="77" y="486"/>
                    <a:pt x="77" y="486"/>
                    <a:pt x="77" y="486"/>
                  </a:cubicBezTo>
                  <a:cubicBezTo>
                    <a:pt x="77" y="486"/>
                    <a:pt x="90" y="473"/>
                    <a:pt x="103" y="473"/>
                  </a:cubicBezTo>
                  <a:cubicBezTo>
                    <a:pt x="116" y="460"/>
                    <a:pt x="141" y="499"/>
                    <a:pt x="141" y="499"/>
                  </a:cubicBezTo>
                  <a:cubicBezTo>
                    <a:pt x="193" y="409"/>
                    <a:pt x="193" y="409"/>
                    <a:pt x="193" y="409"/>
                  </a:cubicBezTo>
                  <a:cubicBezTo>
                    <a:pt x="232" y="435"/>
                    <a:pt x="232" y="435"/>
                    <a:pt x="232" y="435"/>
                  </a:cubicBezTo>
                  <a:cubicBezTo>
                    <a:pt x="257" y="473"/>
                    <a:pt x="257" y="473"/>
                    <a:pt x="257" y="473"/>
                  </a:cubicBezTo>
                  <a:cubicBezTo>
                    <a:pt x="335" y="447"/>
                    <a:pt x="335" y="447"/>
                    <a:pt x="335" y="447"/>
                  </a:cubicBezTo>
                  <a:cubicBezTo>
                    <a:pt x="360" y="460"/>
                    <a:pt x="360" y="460"/>
                    <a:pt x="360" y="460"/>
                  </a:cubicBezTo>
                  <a:cubicBezTo>
                    <a:pt x="360" y="460"/>
                    <a:pt x="399" y="447"/>
                    <a:pt x="425" y="447"/>
                  </a:cubicBezTo>
                  <a:cubicBezTo>
                    <a:pt x="451" y="447"/>
                    <a:pt x="515" y="486"/>
                    <a:pt x="541" y="499"/>
                  </a:cubicBezTo>
                  <a:cubicBezTo>
                    <a:pt x="566" y="499"/>
                    <a:pt x="605" y="575"/>
                    <a:pt x="618" y="575"/>
                  </a:cubicBezTo>
                  <a:cubicBezTo>
                    <a:pt x="631" y="588"/>
                    <a:pt x="682" y="652"/>
                    <a:pt x="708" y="678"/>
                  </a:cubicBezTo>
                  <a:cubicBezTo>
                    <a:pt x="734" y="690"/>
                    <a:pt x="747" y="716"/>
                    <a:pt x="747" y="716"/>
                  </a:cubicBezTo>
                  <a:cubicBezTo>
                    <a:pt x="798" y="741"/>
                    <a:pt x="798" y="741"/>
                    <a:pt x="798" y="741"/>
                  </a:cubicBezTo>
                  <a:cubicBezTo>
                    <a:pt x="811" y="703"/>
                    <a:pt x="811" y="703"/>
                    <a:pt x="811" y="703"/>
                  </a:cubicBezTo>
                  <a:cubicBezTo>
                    <a:pt x="850" y="690"/>
                    <a:pt x="850" y="690"/>
                    <a:pt x="850" y="690"/>
                  </a:cubicBezTo>
                  <a:lnTo>
                    <a:pt x="824" y="652"/>
                  </a:lnTo>
                  <a:close/>
                </a:path>
              </a:pathLst>
            </a:custGeom>
            <a:grpFill/>
            <a:ln w="9525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891045"/>
              <a:endParaRPr lang="en-US" sz="1700" dirty="0">
                <a:solidFill>
                  <a:srgbClr val="003149"/>
                </a:solidFill>
                <a:cs typeface="Arial" panose="020B0604020202020204" pitchFamily="34" charset="0"/>
              </a:endParaRPr>
            </a:p>
          </p:txBody>
        </p:sp>
      </p:grpSp>
      <p:grpSp>
        <p:nvGrpSpPr>
          <p:cNvPr id="441" name="Group 248"/>
          <p:cNvGrpSpPr>
            <a:grpSpLocks/>
          </p:cNvGrpSpPr>
          <p:nvPr/>
        </p:nvGrpSpPr>
        <p:grpSpPr bwMode="gray">
          <a:xfrm>
            <a:off x="1748720" y="2214007"/>
            <a:ext cx="276551" cy="227090"/>
            <a:chOff x="4632" y="2834"/>
            <a:chExt cx="188" cy="147"/>
          </a:xfrm>
          <a:solidFill>
            <a:schemeClr val="accent3"/>
          </a:solidFill>
        </p:grpSpPr>
        <p:sp>
          <p:nvSpPr>
            <p:cNvPr id="442" name="Freeform 249"/>
            <p:cNvSpPr>
              <a:spLocks/>
            </p:cNvSpPr>
            <p:nvPr/>
          </p:nvSpPr>
          <p:spPr bwMode="gray">
            <a:xfrm>
              <a:off x="4632" y="2834"/>
              <a:ext cx="188" cy="147"/>
            </a:xfrm>
            <a:custGeom>
              <a:avLst/>
              <a:gdLst>
                <a:gd name="T0" fmla="*/ 0 w 1858"/>
                <a:gd name="T1" fmla="*/ 0 h 1458"/>
                <a:gd name="T2" fmla="*/ 0 w 1858"/>
                <a:gd name="T3" fmla="*/ 0 h 1458"/>
                <a:gd name="T4" fmla="*/ 0 w 1858"/>
                <a:gd name="T5" fmla="*/ 0 h 1458"/>
                <a:gd name="T6" fmla="*/ 0 w 1858"/>
                <a:gd name="T7" fmla="*/ 0 h 1458"/>
                <a:gd name="T8" fmla="*/ 0 w 1858"/>
                <a:gd name="T9" fmla="*/ 0 h 1458"/>
                <a:gd name="T10" fmla="*/ 0 w 1858"/>
                <a:gd name="T11" fmla="*/ 0 h 1458"/>
                <a:gd name="T12" fmla="*/ 0 w 1858"/>
                <a:gd name="T13" fmla="*/ 0 h 1458"/>
                <a:gd name="T14" fmla="*/ 0 w 1858"/>
                <a:gd name="T15" fmla="*/ 0 h 1458"/>
                <a:gd name="T16" fmla="*/ 0 w 1858"/>
                <a:gd name="T17" fmla="*/ 0 h 1458"/>
                <a:gd name="T18" fmla="*/ 0 w 1858"/>
                <a:gd name="T19" fmla="*/ 0 h 1458"/>
                <a:gd name="T20" fmla="*/ 0 w 1858"/>
                <a:gd name="T21" fmla="*/ 0 h 1458"/>
                <a:gd name="T22" fmla="*/ 0 w 1858"/>
                <a:gd name="T23" fmla="*/ 0 h 1458"/>
                <a:gd name="T24" fmla="*/ 0 w 1858"/>
                <a:gd name="T25" fmla="*/ 0 h 1458"/>
                <a:gd name="T26" fmla="*/ 0 w 1858"/>
                <a:gd name="T27" fmla="*/ 0 h 1458"/>
                <a:gd name="T28" fmla="*/ 0 w 1858"/>
                <a:gd name="T29" fmla="*/ 0 h 1458"/>
                <a:gd name="T30" fmla="*/ 0 w 1858"/>
                <a:gd name="T31" fmla="*/ 0 h 1458"/>
                <a:gd name="T32" fmla="*/ 0 w 1858"/>
                <a:gd name="T33" fmla="*/ 0 h 1458"/>
                <a:gd name="T34" fmla="*/ 0 w 1858"/>
                <a:gd name="T35" fmla="*/ 0 h 1458"/>
                <a:gd name="T36" fmla="*/ 0 w 1858"/>
                <a:gd name="T37" fmla="*/ 0 h 1458"/>
                <a:gd name="T38" fmla="*/ 0 w 1858"/>
                <a:gd name="T39" fmla="*/ 0 h 1458"/>
                <a:gd name="T40" fmla="*/ 0 w 1858"/>
                <a:gd name="T41" fmla="*/ 0 h 1458"/>
                <a:gd name="T42" fmla="*/ 0 w 1858"/>
                <a:gd name="T43" fmla="*/ 0 h 1458"/>
                <a:gd name="T44" fmla="*/ 0 w 1858"/>
                <a:gd name="T45" fmla="*/ 0 h 1458"/>
                <a:gd name="T46" fmla="*/ 0 w 1858"/>
                <a:gd name="T47" fmla="*/ 0 h 1458"/>
                <a:gd name="T48" fmla="*/ 0 w 1858"/>
                <a:gd name="T49" fmla="*/ 0 h 1458"/>
                <a:gd name="T50" fmla="*/ 0 w 1858"/>
                <a:gd name="T51" fmla="*/ 0 h 1458"/>
                <a:gd name="T52" fmla="*/ 0 w 1858"/>
                <a:gd name="T53" fmla="*/ 0 h 1458"/>
                <a:gd name="T54" fmla="*/ 0 w 1858"/>
                <a:gd name="T55" fmla="*/ 0 h 1458"/>
                <a:gd name="T56" fmla="*/ 0 w 1858"/>
                <a:gd name="T57" fmla="*/ 0 h 1458"/>
                <a:gd name="T58" fmla="*/ 0 w 1858"/>
                <a:gd name="T59" fmla="*/ 0 h 1458"/>
                <a:gd name="T60" fmla="*/ 0 w 1858"/>
                <a:gd name="T61" fmla="*/ 0 h 1458"/>
                <a:gd name="T62" fmla="*/ 0 w 1858"/>
                <a:gd name="T63" fmla="*/ 0 h 1458"/>
                <a:gd name="T64" fmla="*/ 0 w 1858"/>
                <a:gd name="T65" fmla="*/ 0 h 1458"/>
                <a:gd name="T66" fmla="*/ 0 w 1858"/>
                <a:gd name="T67" fmla="*/ 0 h 1458"/>
                <a:gd name="T68" fmla="*/ 0 w 1858"/>
                <a:gd name="T69" fmla="*/ 0 h 1458"/>
                <a:gd name="T70" fmla="*/ 0 w 1858"/>
                <a:gd name="T71" fmla="*/ 0 h 1458"/>
                <a:gd name="T72" fmla="*/ 0 w 1858"/>
                <a:gd name="T73" fmla="*/ 0 h 1458"/>
                <a:gd name="T74" fmla="*/ 0 w 1858"/>
                <a:gd name="T75" fmla="*/ 0 h 1458"/>
                <a:gd name="T76" fmla="*/ 0 w 1858"/>
                <a:gd name="T77" fmla="*/ 0 h 1458"/>
                <a:gd name="T78" fmla="*/ 0 w 1858"/>
                <a:gd name="T79" fmla="*/ 0 h 1458"/>
                <a:gd name="T80" fmla="*/ 0 w 1858"/>
                <a:gd name="T81" fmla="*/ 0 h 1458"/>
                <a:gd name="T82" fmla="*/ 0 w 1858"/>
                <a:gd name="T83" fmla="*/ 0 h 1458"/>
                <a:gd name="T84" fmla="*/ 0 w 1858"/>
                <a:gd name="T85" fmla="*/ 0 h 1458"/>
                <a:gd name="T86" fmla="*/ 0 w 1858"/>
                <a:gd name="T87" fmla="*/ 0 h 1458"/>
                <a:gd name="T88" fmla="*/ 0 w 1858"/>
                <a:gd name="T89" fmla="*/ 0 h 1458"/>
                <a:gd name="T90" fmla="*/ 0 w 1858"/>
                <a:gd name="T91" fmla="*/ 0 h 1458"/>
                <a:gd name="T92" fmla="*/ 0 w 1858"/>
                <a:gd name="T93" fmla="*/ 0 h 1458"/>
                <a:gd name="T94" fmla="*/ 0 w 1858"/>
                <a:gd name="T95" fmla="*/ 0 h 1458"/>
                <a:gd name="T96" fmla="*/ 0 w 1858"/>
                <a:gd name="T97" fmla="*/ 0 h 1458"/>
                <a:gd name="T98" fmla="*/ 0 w 1858"/>
                <a:gd name="T99" fmla="*/ 0 h 1458"/>
                <a:gd name="T100" fmla="*/ 0 w 1858"/>
                <a:gd name="T101" fmla="*/ 0 h 1458"/>
                <a:gd name="T102" fmla="*/ 0 w 1858"/>
                <a:gd name="T103" fmla="*/ 0 h 1458"/>
                <a:gd name="T104" fmla="*/ 0 w 1858"/>
                <a:gd name="T105" fmla="*/ 0 h 1458"/>
                <a:gd name="T106" fmla="*/ 0 w 1858"/>
                <a:gd name="T107" fmla="*/ 0 h 1458"/>
                <a:gd name="T108" fmla="*/ 0 w 1858"/>
                <a:gd name="T109" fmla="*/ 0 h 1458"/>
                <a:gd name="T110" fmla="*/ 0 w 1858"/>
                <a:gd name="T111" fmla="*/ 0 h 1458"/>
                <a:gd name="T112" fmla="*/ 0 w 1858"/>
                <a:gd name="T113" fmla="*/ 0 h 1458"/>
                <a:gd name="T114" fmla="*/ 0 w 1858"/>
                <a:gd name="T115" fmla="*/ 0 h 1458"/>
                <a:gd name="T116" fmla="*/ 0 w 1858"/>
                <a:gd name="T117" fmla="*/ 0 h 1458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1858"/>
                <a:gd name="T178" fmla="*/ 0 h 1458"/>
                <a:gd name="T179" fmla="*/ 1858 w 1858"/>
                <a:gd name="T180" fmla="*/ 1458 h 1458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1858" h="1458">
                  <a:moveTo>
                    <a:pt x="1744" y="870"/>
                  </a:moveTo>
                  <a:cubicBezTo>
                    <a:pt x="1365" y="742"/>
                    <a:pt x="1365" y="742"/>
                    <a:pt x="1365" y="742"/>
                  </a:cubicBezTo>
                  <a:cubicBezTo>
                    <a:pt x="1365" y="742"/>
                    <a:pt x="1302" y="691"/>
                    <a:pt x="1277" y="665"/>
                  </a:cubicBezTo>
                  <a:cubicBezTo>
                    <a:pt x="1251" y="627"/>
                    <a:pt x="1213" y="537"/>
                    <a:pt x="1213" y="537"/>
                  </a:cubicBezTo>
                  <a:cubicBezTo>
                    <a:pt x="1239" y="499"/>
                    <a:pt x="1239" y="499"/>
                    <a:pt x="1239" y="499"/>
                  </a:cubicBezTo>
                  <a:cubicBezTo>
                    <a:pt x="1201" y="486"/>
                    <a:pt x="1201" y="486"/>
                    <a:pt x="1201" y="486"/>
                  </a:cubicBezTo>
                  <a:cubicBezTo>
                    <a:pt x="1100" y="511"/>
                    <a:pt x="1100" y="511"/>
                    <a:pt x="1100" y="511"/>
                  </a:cubicBezTo>
                  <a:cubicBezTo>
                    <a:pt x="1087" y="422"/>
                    <a:pt x="1087" y="422"/>
                    <a:pt x="1087" y="422"/>
                  </a:cubicBezTo>
                  <a:cubicBezTo>
                    <a:pt x="1163" y="307"/>
                    <a:pt x="1163" y="307"/>
                    <a:pt x="1163" y="307"/>
                  </a:cubicBezTo>
                  <a:cubicBezTo>
                    <a:pt x="1163" y="307"/>
                    <a:pt x="1150" y="281"/>
                    <a:pt x="1125" y="268"/>
                  </a:cubicBezTo>
                  <a:cubicBezTo>
                    <a:pt x="1100" y="243"/>
                    <a:pt x="1049" y="179"/>
                    <a:pt x="1036" y="166"/>
                  </a:cubicBezTo>
                  <a:cubicBezTo>
                    <a:pt x="1024" y="166"/>
                    <a:pt x="986" y="89"/>
                    <a:pt x="961" y="89"/>
                  </a:cubicBezTo>
                  <a:cubicBezTo>
                    <a:pt x="935" y="77"/>
                    <a:pt x="872" y="38"/>
                    <a:pt x="847" y="38"/>
                  </a:cubicBezTo>
                  <a:cubicBezTo>
                    <a:pt x="822" y="38"/>
                    <a:pt x="784" y="51"/>
                    <a:pt x="784" y="51"/>
                  </a:cubicBezTo>
                  <a:cubicBezTo>
                    <a:pt x="758" y="38"/>
                    <a:pt x="758" y="38"/>
                    <a:pt x="758" y="38"/>
                  </a:cubicBezTo>
                  <a:cubicBezTo>
                    <a:pt x="682" y="64"/>
                    <a:pt x="682" y="64"/>
                    <a:pt x="682" y="64"/>
                  </a:cubicBezTo>
                  <a:cubicBezTo>
                    <a:pt x="657" y="25"/>
                    <a:pt x="657" y="25"/>
                    <a:pt x="657" y="25"/>
                  </a:cubicBezTo>
                  <a:cubicBezTo>
                    <a:pt x="619" y="0"/>
                    <a:pt x="619" y="0"/>
                    <a:pt x="619" y="0"/>
                  </a:cubicBezTo>
                  <a:cubicBezTo>
                    <a:pt x="569" y="89"/>
                    <a:pt x="569" y="89"/>
                    <a:pt x="569" y="89"/>
                  </a:cubicBezTo>
                  <a:cubicBezTo>
                    <a:pt x="569" y="89"/>
                    <a:pt x="543" y="51"/>
                    <a:pt x="531" y="64"/>
                  </a:cubicBezTo>
                  <a:cubicBezTo>
                    <a:pt x="518" y="64"/>
                    <a:pt x="505" y="77"/>
                    <a:pt x="505" y="77"/>
                  </a:cubicBezTo>
                  <a:cubicBezTo>
                    <a:pt x="442" y="64"/>
                    <a:pt x="442" y="64"/>
                    <a:pt x="442" y="64"/>
                  </a:cubicBezTo>
                  <a:cubicBezTo>
                    <a:pt x="442" y="64"/>
                    <a:pt x="442" y="153"/>
                    <a:pt x="430" y="179"/>
                  </a:cubicBezTo>
                  <a:cubicBezTo>
                    <a:pt x="404" y="204"/>
                    <a:pt x="404" y="217"/>
                    <a:pt x="404" y="230"/>
                  </a:cubicBezTo>
                  <a:cubicBezTo>
                    <a:pt x="404" y="230"/>
                    <a:pt x="392" y="281"/>
                    <a:pt x="392" y="281"/>
                  </a:cubicBezTo>
                  <a:cubicBezTo>
                    <a:pt x="392" y="281"/>
                    <a:pt x="354" y="281"/>
                    <a:pt x="328" y="307"/>
                  </a:cubicBezTo>
                  <a:cubicBezTo>
                    <a:pt x="303" y="320"/>
                    <a:pt x="278" y="384"/>
                    <a:pt x="265" y="396"/>
                  </a:cubicBezTo>
                  <a:cubicBezTo>
                    <a:pt x="265" y="409"/>
                    <a:pt x="253" y="435"/>
                    <a:pt x="253" y="473"/>
                  </a:cubicBezTo>
                  <a:cubicBezTo>
                    <a:pt x="253" y="499"/>
                    <a:pt x="253" y="550"/>
                    <a:pt x="240" y="537"/>
                  </a:cubicBezTo>
                  <a:cubicBezTo>
                    <a:pt x="215" y="511"/>
                    <a:pt x="202" y="499"/>
                    <a:pt x="189" y="524"/>
                  </a:cubicBezTo>
                  <a:cubicBezTo>
                    <a:pt x="164" y="550"/>
                    <a:pt x="164" y="575"/>
                    <a:pt x="164" y="588"/>
                  </a:cubicBezTo>
                  <a:cubicBezTo>
                    <a:pt x="177" y="614"/>
                    <a:pt x="164" y="614"/>
                    <a:pt x="152" y="652"/>
                  </a:cubicBezTo>
                  <a:cubicBezTo>
                    <a:pt x="152" y="678"/>
                    <a:pt x="139" y="806"/>
                    <a:pt x="139" y="806"/>
                  </a:cubicBezTo>
                  <a:cubicBezTo>
                    <a:pt x="139" y="806"/>
                    <a:pt x="101" y="844"/>
                    <a:pt x="101" y="844"/>
                  </a:cubicBezTo>
                  <a:cubicBezTo>
                    <a:pt x="88" y="844"/>
                    <a:pt x="38" y="819"/>
                    <a:pt x="38" y="831"/>
                  </a:cubicBezTo>
                  <a:cubicBezTo>
                    <a:pt x="25" y="844"/>
                    <a:pt x="25" y="870"/>
                    <a:pt x="12" y="882"/>
                  </a:cubicBezTo>
                  <a:cubicBezTo>
                    <a:pt x="12" y="895"/>
                    <a:pt x="0" y="895"/>
                    <a:pt x="38" y="908"/>
                  </a:cubicBezTo>
                  <a:cubicBezTo>
                    <a:pt x="63" y="921"/>
                    <a:pt x="126" y="946"/>
                    <a:pt x="126" y="946"/>
                  </a:cubicBezTo>
                  <a:cubicBezTo>
                    <a:pt x="126" y="946"/>
                    <a:pt x="164" y="1023"/>
                    <a:pt x="177" y="1023"/>
                  </a:cubicBezTo>
                  <a:cubicBezTo>
                    <a:pt x="202" y="1036"/>
                    <a:pt x="227" y="1049"/>
                    <a:pt x="240" y="1062"/>
                  </a:cubicBezTo>
                  <a:cubicBezTo>
                    <a:pt x="253" y="1087"/>
                    <a:pt x="240" y="1100"/>
                    <a:pt x="253" y="1138"/>
                  </a:cubicBezTo>
                  <a:cubicBezTo>
                    <a:pt x="265" y="1164"/>
                    <a:pt x="291" y="1202"/>
                    <a:pt x="291" y="1202"/>
                  </a:cubicBezTo>
                  <a:cubicBezTo>
                    <a:pt x="354" y="1215"/>
                    <a:pt x="354" y="1215"/>
                    <a:pt x="354" y="1215"/>
                  </a:cubicBezTo>
                  <a:cubicBezTo>
                    <a:pt x="354" y="1215"/>
                    <a:pt x="354" y="1253"/>
                    <a:pt x="354" y="1266"/>
                  </a:cubicBezTo>
                  <a:cubicBezTo>
                    <a:pt x="354" y="1279"/>
                    <a:pt x="379" y="1305"/>
                    <a:pt x="379" y="1305"/>
                  </a:cubicBezTo>
                  <a:cubicBezTo>
                    <a:pt x="379" y="1305"/>
                    <a:pt x="430" y="1317"/>
                    <a:pt x="455" y="1317"/>
                  </a:cubicBezTo>
                  <a:cubicBezTo>
                    <a:pt x="480" y="1317"/>
                    <a:pt x="581" y="1381"/>
                    <a:pt x="581" y="1381"/>
                  </a:cubicBezTo>
                  <a:cubicBezTo>
                    <a:pt x="581" y="1381"/>
                    <a:pt x="645" y="1445"/>
                    <a:pt x="682" y="1433"/>
                  </a:cubicBezTo>
                  <a:cubicBezTo>
                    <a:pt x="720" y="1433"/>
                    <a:pt x="809" y="1445"/>
                    <a:pt x="822" y="1458"/>
                  </a:cubicBezTo>
                  <a:cubicBezTo>
                    <a:pt x="834" y="1458"/>
                    <a:pt x="834" y="1420"/>
                    <a:pt x="847" y="1407"/>
                  </a:cubicBezTo>
                  <a:cubicBezTo>
                    <a:pt x="872" y="1394"/>
                    <a:pt x="973" y="1343"/>
                    <a:pt x="973" y="1343"/>
                  </a:cubicBezTo>
                  <a:cubicBezTo>
                    <a:pt x="1024" y="1394"/>
                    <a:pt x="1024" y="1394"/>
                    <a:pt x="1024" y="1394"/>
                  </a:cubicBezTo>
                  <a:cubicBezTo>
                    <a:pt x="1024" y="1394"/>
                    <a:pt x="1087" y="1394"/>
                    <a:pt x="1100" y="1394"/>
                  </a:cubicBezTo>
                  <a:cubicBezTo>
                    <a:pt x="1112" y="1394"/>
                    <a:pt x="1138" y="1356"/>
                    <a:pt x="1175" y="1356"/>
                  </a:cubicBezTo>
                  <a:cubicBezTo>
                    <a:pt x="1201" y="1369"/>
                    <a:pt x="1213" y="1343"/>
                    <a:pt x="1239" y="1330"/>
                  </a:cubicBezTo>
                  <a:cubicBezTo>
                    <a:pt x="1264" y="1305"/>
                    <a:pt x="1315" y="1279"/>
                    <a:pt x="1340" y="1266"/>
                  </a:cubicBezTo>
                  <a:cubicBezTo>
                    <a:pt x="1365" y="1266"/>
                    <a:pt x="1492" y="1266"/>
                    <a:pt x="1492" y="1266"/>
                  </a:cubicBezTo>
                  <a:cubicBezTo>
                    <a:pt x="1858" y="882"/>
                    <a:pt x="1858" y="882"/>
                    <a:pt x="1858" y="882"/>
                  </a:cubicBezTo>
                  <a:lnTo>
                    <a:pt x="1744" y="870"/>
                  </a:lnTo>
                  <a:close/>
                </a:path>
              </a:pathLst>
            </a:custGeom>
            <a:grpFill/>
            <a:ln w="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891045"/>
              <a:endParaRPr lang="en-US" sz="1700" dirty="0">
                <a:solidFill>
                  <a:srgbClr val="003149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443" name="Freeform 250"/>
            <p:cNvSpPr>
              <a:spLocks/>
            </p:cNvSpPr>
            <p:nvPr/>
          </p:nvSpPr>
          <p:spPr bwMode="gray">
            <a:xfrm>
              <a:off x="4632" y="2834"/>
              <a:ext cx="188" cy="147"/>
            </a:xfrm>
            <a:custGeom>
              <a:avLst/>
              <a:gdLst>
                <a:gd name="T0" fmla="*/ 0 w 1858"/>
                <a:gd name="T1" fmla="*/ 0 h 1458"/>
                <a:gd name="T2" fmla="*/ 0 w 1858"/>
                <a:gd name="T3" fmla="*/ 0 h 1458"/>
                <a:gd name="T4" fmla="*/ 0 w 1858"/>
                <a:gd name="T5" fmla="*/ 0 h 1458"/>
                <a:gd name="T6" fmla="*/ 0 w 1858"/>
                <a:gd name="T7" fmla="*/ 0 h 1458"/>
                <a:gd name="T8" fmla="*/ 0 w 1858"/>
                <a:gd name="T9" fmla="*/ 0 h 1458"/>
                <a:gd name="T10" fmla="*/ 0 w 1858"/>
                <a:gd name="T11" fmla="*/ 0 h 1458"/>
                <a:gd name="T12" fmla="*/ 0 w 1858"/>
                <a:gd name="T13" fmla="*/ 0 h 1458"/>
                <a:gd name="T14" fmla="*/ 0 w 1858"/>
                <a:gd name="T15" fmla="*/ 0 h 1458"/>
                <a:gd name="T16" fmla="*/ 0 w 1858"/>
                <a:gd name="T17" fmla="*/ 0 h 1458"/>
                <a:gd name="T18" fmla="*/ 0 w 1858"/>
                <a:gd name="T19" fmla="*/ 0 h 1458"/>
                <a:gd name="T20" fmla="*/ 0 w 1858"/>
                <a:gd name="T21" fmla="*/ 0 h 1458"/>
                <a:gd name="T22" fmla="*/ 0 w 1858"/>
                <a:gd name="T23" fmla="*/ 0 h 1458"/>
                <a:gd name="T24" fmla="*/ 0 w 1858"/>
                <a:gd name="T25" fmla="*/ 0 h 1458"/>
                <a:gd name="T26" fmla="*/ 0 w 1858"/>
                <a:gd name="T27" fmla="*/ 0 h 1458"/>
                <a:gd name="T28" fmla="*/ 0 w 1858"/>
                <a:gd name="T29" fmla="*/ 0 h 1458"/>
                <a:gd name="T30" fmla="*/ 0 w 1858"/>
                <a:gd name="T31" fmla="*/ 0 h 1458"/>
                <a:gd name="T32" fmla="*/ 0 w 1858"/>
                <a:gd name="T33" fmla="*/ 0 h 1458"/>
                <a:gd name="T34" fmla="*/ 0 w 1858"/>
                <a:gd name="T35" fmla="*/ 0 h 1458"/>
                <a:gd name="T36" fmla="*/ 0 w 1858"/>
                <a:gd name="T37" fmla="*/ 0 h 1458"/>
                <a:gd name="T38" fmla="*/ 0 w 1858"/>
                <a:gd name="T39" fmla="*/ 0 h 1458"/>
                <a:gd name="T40" fmla="*/ 0 w 1858"/>
                <a:gd name="T41" fmla="*/ 0 h 1458"/>
                <a:gd name="T42" fmla="*/ 0 w 1858"/>
                <a:gd name="T43" fmla="*/ 0 h 1458"/>
                <a:gd name="T44" fmla="*/ 0 w 1858"/>
                <a:gd name="T45" fmla="*/ 0 h 1458"/>
                <a:gd name="T46" fmla="*/ 0 w 1858"/>
                <a:gd name="T47" fmla="*/ 0 h 1458"/>
                <a:gd name="T48" fmla="*/ 0 w 1858"/>
                <a:gd name="T49" fmla="*/ 0 h 1458"/>
                <a:gd name="T50" fmla="*/ 0 w 1858"/>
                <a:gd name="T51" fmla="*/ 0 h 1458"/>
                <a:gd name="T52" fmla="*/ 0 w 1858"/>
                <a:gd name="T53" fmla="*/ 0 h 1458"/>
                <a:gd name="T54" fmla="*/ 0 w 1858"/>
                <a:gd name="T55" fmla="*/ 0 h 1458"/>
                <a:gd name="T56" fmla="*/ 0 w 1858"/>
                <a:gd name="T57" fmla="*/ 0 h 1458"/>
                <a:gd name="T58" fmla="*/ 0 w 1858"/>
                <a:gd name="T59" fmla="*/ 0 h 1458"/>
                <a:gd name="T60" fmla="*/ 0 w 1858"/>
                <a:gd name="T61" fmla="*/ 0 h 1458"/>
                <a:gd name="T62" fmla="*/ 0 w 1858"/>
                <a:gd name="T63" fmla="*/ 0 h 1458"/>
                <a:gd name="T64" fmla="*/ 0 w 1858"/>
                <a:gd name="T65" fmla="*/ 0 h 1458"/>
                <a:gd name="T66" fmla="*/ 0 w 1858"/>
                <a:gd name="T67" fmla="*/ 0 h 1458"/>
                <a:gd name="T68" fmla="*/ 0 w 1858"/>
                <a:gd name="T69" fmla="*/ 0 h 1458"/>
                <a:gd name="T70" fmla="*/ 0 w 1858"/>
                <a:gd name="T71" fmla="*/ 0 h 1458"/>
                <a:gd name="T72" fmla="*/ 0 w 1858"/>
                <a:gd name="T73" fmla="*/ 0 h 1458"/>
                <a:gd name="T74" fmla="*/ 0 w 1858"/>
                <a:gd name="T75" fmla="*/ 0 h 1458"/>
                <a:gd name="T76" fmla="*/ 0 w 1858"/>
                <a:gd name="T77" fmla="*/ 0 h 1458"/>
                <a:gd name="T78" fmla="*/ 0 w 1858"/>
                <a:gd name="T79" fmla="*/ 0 h 1458"/>
                <a:gd name="T80" fmla="*/ 0 w 1858"/>
                <a:gd name="T81" fmla="*/ 0 h 1458"/>
                <a:gd name="T82" fmla="*/ 0 w 1858"/>
                <a:gd name="T83" fmla="*/ 0 h 1458"/>
                <a:gd name="T84" fmla="*/ 0 w 1858"/>
                <a:gd name="T85" fmla="*/ 0 h 1458"/>
                <a:gd name="T86" fmla="*/ 0 w 1858"/>
                <a:gd name="T87" fmla="*/ 0 h 1458"/>
                <a:gd name="T88" fmla="*/ 0 w 1858"/>
                <a:gd name="T89" fmla="*/ 0 h 1458"/>
                <a:gd name="T90" fmla="*/ 0 w 1858"/>
                <a:gd name="T91" fmla="*/ 0 h 1458"/>
                <a:gd name="T92" fmla="*/ 0 w 1858"/>
                <a:gd name="T93" fmla="*/ 0 h 1458"/>
                <a:gd name="T94" fmla="*/ 0 w 1858"/>
                <a:gd name="T95" fmla="*/ 0 h 1458"/>
                <a:gd name="T96" fmla="*/ 0 w 1858"/>
                <a:gd name="T97" fmla="*/ 0 h 1458"/>
                <a:gd name="T98" fmla="*/ 0 w 1858"/>
                <a:gd name="T99" fmla="*/ 0 h 1458"/>
                <a:gd name="T100" fmla="*/ 0 w 1858"/>
                <a:gd name="T101" fmla="*/ 0 h 1458"/>
                <a:gd name="T102" fmla="*/ 0 w 1858"/>
                <a:gd name="T103" fmla="*/ 0 h 1458"/>
                <a:gd name="T104" fmla="*/ 0 w 1858"/>
                <a:gd name="T105" fmla="*/ 0 h 1458"/>
                <a:gd name="T106" fmla="*/ 0 w 1858"/>
                <a:gd name="T107" fmla="*/ 0 h 1458"/>
                <a:gd name="T108" fmla="*/ 0 w 1858"/>
                <a:gd name="T109" fmla="*/ 0 h 1458"/>
                <a:gd name="T110" fmla="*/ 0 w 1858"/>
                <a:gd name="T111" fmla="*/ 0 h 1458"/>
                <a:gd name="T112" fmla="*/ 0 w 1858"/>
                <a:gd name="T113" fmla="*/ 0 h 1458"/>
                <a:gd name="T114" fmla="*/ 0 w 1858"/>
                <a:gd name="T115" fmla="*/ 0 h 1458"/>
                <a:gd name="T116" fmla="*/ 0 w 1858"/>
                <a:gd name="T117" fmla="*/ 0 h 1458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1858"/>
                <a:gd name="T178" fmla="*/ 0 h 1458"/>
                <a:gd name="T179" fmla="*/ 1858 w 1858"/>
                <a:gd name="T180" fmla="*/ 1458 h 1458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1858" h="1458">
                  <a:moveTo>
                    <a:pt x="1744" y="870"/>
                  </a:moveTo>
                  <a:cubicBezTo>
                    <a:pt x="1365" y="742"/>
                    <a:pt x="1365" y="742"/>
                    <a:pt x="1365" y="742"/>
                  </a:cubicBezTo>
                  <a:cubicBezTo>
                    <a:pt x="1365" y="742"/>
                    <a:pt x="1302" y="691"/>
                    <a:pt x="1277" y="665"/>
                  </a:cubicBezTo>
                  <a:cubicBezTo>
                    <a:pt x="1251" y="627"/>
                    <a:pt x="1213" y="537"/>
                    <a:pt x="1213" y="537"/>
                  </a:cubicBezTo>
                  <a:cubicBezTo>
                    <a:pt x="1239" y="499"/>
                    <a:pt x="1239" y="499"/>
                    <a:pt x="1239" y="499"/>
                  </a:cubicBezTo>
                  <a:cubicBezTo>
                    <a:pt x="1201" y="486"/>
                    <a:pt x="1201" y="486"/>
                    <a:pt x="1201" y="486"/>
                  </a:cubicBezTo>
                  <a:cubicBezTo>
                    <a:pt x="1100" y="511"/>
                    <a:pt x="1100" y="511"/>
                    <a:pt x="1100" y="511"/>
                  </a:cubicBezTo>
                  <a:cubicBezTo>
                    <a:pt x="1087" y="422"/>
                    <a:pt x="1087" y="422"/>
                    <a:pt x="1087" y="422"/>
                  </a:cubicBezTo>
                  <a:cubicBezTo>
                    <a:pt x="1163" y="307"/>
                    <a:pt x="1163" y="307"/>
                    <a:pt x="1163" y="307"/>
                  </a:cubicBezTo>
                  <a:cubicBezTo>
                    <a:pt x="1163" y="307"/>
                    <a:pt x="1150" y="281"/>
                    <a:pt x="1125" y="268"/>
                  </a:cubicBezTo>
                  <a:cubicBezTo>
                    <a:pt x="1100" y="243"/>
                    <a:pt x="1049" y="179"/>
                    <a:pt x="1036" y="166"/>
                  </a:cubicBezTo>
                  <a:cubicBezTo>
                    <a:pt x="1024" y="166"/>
                    <a:pt x="986" y="89"/>
                    <a:pt x="961" y="89"/>
                  </a:cubicBezTo>
                  <a:cubicBezTo>
                    <a:pt x="935" y="77"/>
                    <a:pt x="872" y="38"/>
                    <a:pt x="847" y="38"/>
                  </a:cubicBezTo>
                  <a:cubicBezTo>
                    <a:pt x="822" y="38"/>
                    <a:pt x="784" y="51"/>
                    <a:pt x="784" y="51"/>
                  </a:cubicBezTo>
                  <a:cubicBezTo>
                    <a:pt x="758" y="38"/>
                    <a:pt x="758" y="38"/>
                    <a:pt x="758" y="38"/>
                  </a:cubicBezTo>
                  <a:cubicBezTo>
                    <a:pt x="682" y="64"/>
                    <a:pt x="682" y="64"/>
                    <a:pt x="682" y="64"/>
                  </a:cubicBezTo>
                  <a:cubicBezTo>
                    <a:pt x="657" y="25"/>
                    <a:pt x="657" y="25"/>
                    <a:pt x="657" y="25"/>
                  </a:cubicBezTo>
                  <a:cubicBezTo>
                    <a:pt x="619" y="0"/>
                    <a:pt x="619" y="0"/>
                    <a:pt x="619" y="0"/>
                  </a:cubicBezTo>
                  <a:cubicBezTo>
                    <a:pt x="569" y="89"/>
                    <a:pt x="569" y="89"/>
                    <a:pt x="569" y="89"/>
                  </a:cubicBezTo>
                  <a:cubicBezTo>
                    <a:pt x="569" y="89"/>
                    <a:pt x="543" y="51"/>
                    <a:pt x="531" y="64"/>
                  </a:cubicBezTo>
                  <a:cubicBezTo>
                    <a:pt x="518" y="64"/>
                    <a:pt x="505" y="77"/>
                    <a:pt x="505" y="77"/>
                  </a:cubicBezTo>
                  <a:cubicBezTo>
                    <a:pt x="442" y="64"/>
                    <a:pt x="442" y="64"/>
                    <a:pt x="442" y="64"/>
                  </a:cubicBezTo>
                  <a:cubicBezTo>
                    <a:pt x="442" y="64"/>
                    <a:pt x="442" y="153"/>
                    <a:pt x="430" y="179"/>
                  </a:cubicBezTo>
                  <a:cubicBezTo>
                    <a:pt x="404" y="204"/>
                    <a:pt x="404" y="217"/>
                    <a:pt x="404" y="230"/>
                  </a:cubicBezTo>
                  <a:cubicBezTo>
                    <a:pt x="404" y="230"/>
                    <a:pt x="392" y="281"/>
                    <a:pt x="392" y="281"/>
                  </a:cubicBezTo>
                  <a:cubicBezTo>
                    <a:pt x="392" y="281"/>
                    <a:pt x="354" y="281"/>
                    <a:pt x="328" y="307"/>
                  </a:cubicBezTo>
                  <a:cubicBezTo>
                    <a:pt x="303" y="320"/>
                    <a:pt x="278" y="384"/>
                    <a:pt x="265" y="396"/>
                  </a:cubicBezTo>
                  <a:cubicBezTo>
                    <a:pt x="265" y="409"/>
                    <a:pt x="253" y="435"/>
                    <a:pt x="253" y="473"/>
                  </a:cubicBezTo>
                  <a:cubicBezTo>
                    <a:pt x="253" y="499"/>
                    <a:pt x="253" y="550"/>
                    <a:pt x="240" y="537"/>
                  </a:cubicBezTo>
                  <a:cubicBezTo>
                    <a:pt x="215" y="511"/>
                    <a:pt x="202" y="499"/>
                    <a:pt x="189" y="524"/>
                  </a:cubicBezTo>
                  <a:cubicBezTo>
                    <a:pt x="164" y="550"/>
                    <a:pt x="164" y="575"/>
                    <a:pt x="164" y="588"/>
                  </a:cubicBezTo>
                  <a:cubicBezTo>
                    <a:pt x="177" y="614"/>
                    <a:pt x="164" y="614"/>
                    <a:pt x="152" y="652"/>
                  </a:cubicBezTo>
                  <a:cubicBezTo>
                    <a:pt x="152" y="678"/>
                    <a:pt x="139" y="806"/>
                    <a:pt x="139" y="806"/>
                  </a:cubicBezTo>
                  <a:cubicBezTo>
                    <a:pt x="139" y="806"/>
                    <a:pt x="101" y="844"/>
                    <a:pt x="101" y="844"/>
                  </a:cubicBezTo>
                  <a:cubicBezTo>
                    <a:pt x="88" y="844"/>
                    <a:pt x="38" y="819"/>
                    <a:pt x="38" y="831"/>
                  </a:cubicBezTo>
                  <a:cubicBezTo>
                    <a:pt x="25" y="844"/>
                    <a:pt x="25" y="870"/>
                    <a:pt x="12" y="882"/>
                  </a:cubicBezTo>
                  <a:cubicBezTo>
                    <a:pt x="12" y="895"/>
                    <a:pt x="0" y="895"/>
                    <a:pt x="38" y="908"/>
                  </a:cubicBezTo>
                  <a:cubicBezTo>
                    <a:pt x="63" y="921"/>
                    <a:pt x="126" y="946"/>
                    <a:pt x="126" y="946"/>
                  </a:cubicBezTo>
                  <a:cubicBezTo>
                    <a:pt x="126" y="946"/>
                    <a:pt x="164" y="1023"/>
                    <a:pt x="177" y="1023"/>
                  </a:cubicBezTo>
                  <a:cubicBezTo>
                    <a:pt x="202" y="1036"/>
                    <a:pt x="227" y="1049"/>
                    <a:pt x="240" y="1062"/>
                  </a:cubicBezTo>
                  <a:cubicBezTo>
                    <a:pt x="253" y="1087"/>
                    <a:pt x="240" y="1100"/>
                    <a:pt x="253" y="1138"/>
                  </a:cubicBezTo>
                  <a:cubicBezTo>
                    <a:pt x="265" y="1164"/>
                    <a:pt x="291" y="1202"/>
                    <a:pt x="291" y="1202"/>
                  </a:cubicBezTo>
                  <a:cubicBezTo>
                    <a:pt x="354" y="1215"/>
                    <a:pt x="354" y="1215"/>
                    <a:pt x="354" y="1215"/>
                  </a:cubicBezTo>
                  <a:cubicBezTo>
                    <a:pt x="354" y="1215"/>
                    <a:pt x="354" y="1253"/>
                    <a:pt x="354" y="1266"/>
                  </a:cubicBezTo>
                  <a:cubicBezTo>
                    <a:pt x="354" y="1279"/>
                    <a:pt x="379" y="1305"/>
                    <a:pt x="379" y="1305"/>
                  </a:cubicBezTo>
                  <a:cubicBezTo>
                    <a:pt x="379" y="1305"/>
                    <a:pt x="430" y="1317"/>
                    <a:pt x="455" y="1317"/>
                  </a:cubicBezTo>
                  <a:cubicBezTo>
                    <a:pt x="480" y="1317"/>
                    <a:pt x="581" y="1381"/>
                    <a:pt x="581" y="1381"/>
                  </a:cubicBezTo>
                  <a:cubicBezTo>
                    <a:pt x="581" y="1381"/>
                    <a:pt x="645" y="1445"/>
                    <a:pt x="682" y="1433"/>
                  </a:cubicBezTo>
                  <a:cubicBezTo>
                    <a:pt x="720" y="1433"/>
                    <a:pt x="809" y="1445"/>
                    <a:pt x="822" y="1458"/>
                  </a:cubicBezTo>
                  <a:cubicBezTo>
                    <a:pt x="834" y="1458"/>
                    <a:pt x="834" y="1420"/>
                    <a:pt x="847" y="1407"/>
                  </a:cubicBezTo>
                  <a:cubicBezTo>
                    <a:pt x="872" y="1394"/>
                    <a:pt x="973" y="1343"/>
                    <a:pt x="973" y="1343"/>
                  </a:cubicBezTo>
                  <a:cubicBezTo>
                    <a:pt x="1024" y="1394"/>
                    <a:pt x="1024" y="1394"/>
                    <a:pt x="1024" y="1394"/>
                  </a:cubicBezTo>
                  <a:cubicBezTo>
                    <a:pt x="1024" y="1394"/>
                    <a:pt x="1087" y="1394"/>
                    <a:pt x="1100" y="1394"/>
                  </a:cubicBezTo>
                  <a:cubicBezTo>
                    <a:pt x="1112" y="1394"/>
                    <a:pt x="1138" y="1356"/>
                    <a:pt x="1175" y="1356"/>
                  </a:cubicBezTo>
                  <a:cubicBezTo>
                    <a:pt x="1201" y="1369"/>
                    <a:pt x="1213" y="1343"/>
                    <a:pt x="1239" y="1330"/>
                  </a:cubicBezTo>
                  <a:cubicBezTo>
                    <a:pt x="1264" y="1305"/>
                    <a:pt x="1315" y="1279"/>
                    <a:pt x="1340" y="1266"/>
                  </a:cubicBezTo>
                  <a:cubicBezTo>
                    <a:pt x="1365" y="1266"/>
                    <a:pt x="1492" y="1266"/>
                    <a:pt x="1492" y="1266"/>
                  </a:cubicBezTo>
                  <a:cubicBezTo>
                    <a:pt x="1858" y="882"/>
                    <a:pt x="1858" y="882"/>
                    <a:pt x="1858" y="882"/>
                  </a:cubicBezTo>
                  <a:lnTo>
                    <a:pt x="1744" y="870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891045"/>
              <a:endParaRPr lang="en-US" sz="1700" dirty="0">
                <a:solidFill>
                  <a:srgbClr val="003149"/>
                </a:solidFill>
                <a:cs typeface="Arial" panose="020B0604020202020204" pitchFamily="34" charset="0"/>
              </a:endParaRPr>
            </a:p>
          </p:txBody>
        </p:sp>
      </p:grpSp>
      <p:grpSp>
        <p:nvGrpSpPr>
          <p:cNvPr id="444" name="Group 251"/>
          <p:cNvGrpSpPr>
            <a:grpSpLocks/>
          </p:cNvGrpSpPr>
          <p:nvPr/>
        </p:nvGrpSpPr>
        <p:grpSpPr bwMode="gray">
          <a:xfrm>
            <a:off x="1910905" y="2255888"/>
            <a:ext cx="30169" cy="38060"/>
            <a:chOff x="4742" y="2861"/>
            <a:chExt cx="21" cy="25"/>
          </a:xfrm>
          <a:solidFill>
            <a:schemeClr val="accent3"/>
          </a:solidFill>
        </p:grpSpPr>
        <p:sp>
          <p:nvSpPr>
            <p:cNvPr id="445" name="Freeform 252"/>
            <p:cNvSpPr>
              <a:spLocks/>
            </p:cNvSpPr>
            <p:nvPr/>
          </p:nvSpPr>
          <p:spPr bwMode="gray">
            <a:xfrm>
              <a:off x="4742" y="2861"/>
              <a:ext cx="21" cy="25"/>
            </a:xfrm>
            <a:custGeom>
              <a:avLst/>
              <a:gdLst>
                <a:gd name="T0" fmla="*/ 0 w 200"/>
                <a:gd name="T1" fmla="*/ 0 h 241"/>
                <a:gd name="T2" fmla="*/ 0 w 200"/>
                <a:gd name="T3" fmla="*/ 0 h 241"/>
                <a:gd name="T4" fmla="*/ 0 w 200"/>
                <a:gd name="T5" fmla="*/ 0 h 241"/>
                <a:gd name="T6" fmla="*/ 0 w 200"/>
                <a:gd name="T7" fmla="*/ 0 h 241"/>
                <a:gd name="T8" fmla="*/ 0 w 200"/>
                <a:gd name="T9" fmla="*/ 0 h 241"/>
                <a:gd name="T10" fmla="*/ 0 w 200"/>
                <a:gd name="T11" fmla="*/ 0 h 241"/>
                <a:gd name="T12" fmla="*/ 0 w 200"/>
                <a:gd name="T13" fmla="*/ 0 h 241"/>
                <a:gd name="T14" fmla="*/ 0 w 200"/>
                <a:gd name="T15" fmla="*/ 0 h 241"/>
                <a:gd name="T16" fmla="*/ 0 w 200"/>
                <a:gd name="T17" fmla="*/ 0 h 241"/>
                <a:gd name="T18" fmla="*/ 0 w 200"/>
                <a:gd name="T19" fmla="*/ 0 h 241"/>
                <a:gd name="T20" fmla="*/ 0 w 200"/>
                <a:gd name="T21" fmla="*/ 0 h 241"/>
                <a:gd name="T22" fmla="*/ 0 w 200"/>
                <a:gd name="T23" fmla="*/ 0 h 241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200"/>
                <a:gd name="T37" fmla="*/ 0 h 241"/>
                <a:gd name="T38" fmla="*/ 200 w 200"/>
                <a:gd name="T39" fmla="*/ 241 h 241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200" h="241">
                  <a:moveTo>
                    <a:pt x="200" y="80"/>
                  </a:moveTo>
                  <a:cubicBezTo>
                    <a:pt x="200" y="54"/>
                    <a:pt x="165" y="0"/>
                    <a:pt x="165" y="0"/>
                  </a:cubicBezTo>
                  <a:cubicBezTo>
                    <a:pt x="130" y="13"/>
                    <a:pt x="130" y="13"/>
                    <a:pt x="130" y="13"/>
                  </a:cubicBezTo>
                  <a:cubicBezTo>
                    <a:pt x="118" y="54"/>
                    <a:pt x="118" y="54"/>
                    <a:pt x="118" y="54"/>
                  </a:cubicBezTo>
                  <a:cubicBezTo>
                    <a:pt x="71" y="27"/>
                    <a:pt x="71" y="27"/>
                    <a:pt x="71" y="27"/>
                  </a:cubicBezTo>
                  <a:cubicBezTo>
                    <a:pt x="0" y="147"/>
                    <a:pt x="0" y="147"/>
                    <a:pt x="0" y="147"/>
                  </a:cubicBezTo>
                  <a:cubicBezTo>
                    <a:pt x="12" y="241"/>
                    <a:pt x="12" y="241"/>
                    <a:pt x="12" y="241"/>
                  </a:cubicBezTo>
                  <a:cubicBezTo>
                    <a:pt x="106" y="215"/>
                    <a:pt x="106" y="215"/>
                    <a:pt x="106" y="215"/>
                  </a:cubicBezTo>
                  <a:cubicBezTo>
                    <a:pt x="142" y="228"/>
                    <a:pt x="142" y="228"/>
                    <a:pt x="142" y="228"/>
                  </a:cubicBezTo>
                  <a:cubicBezTo>
                    <a:pt x="189" y="174"/>
                    <a:pt x="189" y="174"/>
                    <a:pt x="189" y="174"/>
                  </a:cubicBezTo>
                  <a:cubicBezTo>
                    <a:pt x="189" y="134"/>
                    <a:pt x="189" y="134"/>
                    <a:pt x="189" y="134"/>
                  </a:cubicBezTo>
                  <a:cubicBezTo>
                    <a:pt x="189" y="134"/>
                    <a:pt x="200" y="107"/>
                    <a:pt x="200" y="80"/>
                  </a:cubicBezTo>
                </a:path>
              </a:pathLst>
            </a:custGeom>
            <a:grpFill/>
            <a:ln w="9525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891045"/>
              <a:endParaRPr lang="en-US" sz="1700" dirty="0">
                <a:solidFill>
                  <a:srgbClr val="003149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446" name="Freeform 253"/>
            <p:cNvSpPr>
              <a:spLocks/>
            </p:cNvSpPr>
            <p:nvPr/>
          </p:nvSpPr>
          <p:spPr bwMode="gray">
            <a:xfrm>
              <a:off x="4742" y="2861"/>
              <a:ext cx="21" cy="25"/>
            </a:xfrm>
            <a:custGeom>
              <a:avLst/>
              <a:gdLst>
                <a:gd name="T0" fmla="*/ 21 w 21"/>
                <a:gd name="T1" fmla="*/ 9 h 25"/>
                <a:gd name="T2" fmla="*/ 17 w 21"/>
                <a:gd name="T3" fmla="*/ 0 h 25"/>
                <a:gd name="T4" fmla="*/ 13 w 21"/>
                <a:gd name="T5" fmla="*/ 2 h 25"/>
                <a:gd name="T6" fmla="*/ 12 w 21"/>
                <a:gd name="T7" fmla="*/ 6 h 25"/>
                <a:gd name="T8" fmla="*/ 7 w 21"/>
                <a:gd name="T9" fmla="*/ 3 h 25"/>
                <a:gd name="T10" fmla="*/ 0 w 21"/>
                <a:gd name="T11" fmla="*/ 15 h 25"/>
                <a:gd name="T12" fmla="*/ 2 w 21"/>
                <a:gd name="T13" fmla="*/ 25 h 25"/>
                <a:gd name="T14" fmla="*/ 11 w 21"/>
                <a:gd name="T15" fmla="*/ 22 h 25"/>
                <a:gd name="T16" fmla="*/ 15 w 21"/>
                <a:gd name="T17" fmla="*/ 23 h 25"/>
                <a:gd name="T18" fmla="*/ 19 w 21"/>
                <a:gd name="T19" fmla="*/ 18 h 25"/>
                <a:gd name="T20" fmla="*/ 19 w 21"/>
                <a:gd name="T21" fmla="*/ 14 h 25"/>
                <a:gd name="T22" fmla="*/ 21 w 21"/>
                <a:gd name="T23" fmla="*/ 9 h 25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21"/>
                <a:gd name="T37" fmla="*/ 0 h 25"/>
                <a:gd name="T38" fmla="*/ 21 w 21"/>
                <a:gd name="T39" fmla="*/ 25 h 25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21" h="25">
                  <a:moveTo>
                    <a:pt x="21" y="9"/>
                  </a:moveTo>
                  <a:cubicBezTo>
                    <a:pt x="21" y="6"/>
                    <a:pt x="17" y="0"/>
                    <a:pt x="17" y="0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12" y="6"/>
                    <a:pt x="12" y="6"/>
                    <a:pt x="12" y="6"/>
                  </a:cubicBezTo>
                  <a:cubicBezTo>
                    <a:pt x="7" y="3"/>
                    <a:pt x="7" y="3"/>
                    <a:pt x="7" y="3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11" y="22"/>
                    <a:pt x="11" y="22"/>
                    <a:pt x="11" y="22"/>
                  </a:cubicBezTo>
                  <a:cubicBezTo>
                    <a:pt x="15" y="23"/>
                    <a:pt x="15" y="23"/>
                    <a:pt x="15" y="23"/>
                  </a:cubicBezTo>
                  <a:cubicBezTo>
                    <a:pt x="19" y="18"/>
                    <a:pt x="19" y="18"/>
                    <a:pt x="19" y="18"/>
                  </a:cubicBezTo>
                  <a:cubicBezTo>
                    <a:pt x="19" y="14"/>
                    <a:pt x="19" y="14"/>
                    <a:pt x="19" y="14"/>
                  </a:cubicBezTo>
                  <a:cubicBezTo>
                    <a:pt x="19" y="14"/>
                    <a:pt x="21" y="11"/>
                    <a:pt x="21" y="9"/>
                  </a:cubicBezTo>
                </a:path>
              </a:pathLst>
            </a:custGeom>
            <a:grpFill/>
            <a:ln w="9525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891045"/>
              <a:endParaRPr lang="en-US" sz="1700" dirty="0">
                <a:solidFill>
                  <a:srgbClr val="003149"/>
                </a:solidFill>
                <a:cs typeface="Arial" panose="020B0604020202020204" pitchFamily="34" charset="0"/>
              </a:endParaRPr>
            </a:p>
          </p:txBody>
        </p:sp>
      </p:grpSp>
      <p:grpSp>
        <p:nvGrpSpPr>
          <p:cNvPr id="447" name="Group 254"/>
          <p:cNvGrpSpPr>
            <a:grpSpLocks/>
          </p:cNvGrpSpPr>
          <p:nvPr/>
        </p:nvGrpSpPr>
        <p:grpSpPr bwMode="gray">
          <a:xfrm>
            <a:off x="1897077" y="2269853"/>
            <a:ext cx="191071" cy="274029"/>
            <a:chOff x="4733" y="2870"/>
            <a:chExt cx="130" cy="177"/>
          </a:xfrm>
          <a:solidFill>
            <a:schemeClr val="accent3"/>
          </a:solidFill>
        </p:grpSpPr>
        <p:sp>
          <p:nvSpPr>
            <p:cNvPr id="448" name="Freeform 255"/>
            <p:cNvSpPr>
              <a:spLocks/>
            </p:cNvSpPr>
            <p:nvPr/>
          </p:nvSpPr>
          <p:spPr bwMode="gray">
            <a:xfrm>
              <a:off x="4733" y="2870"/>
              <a:ext cx="130" cy="177"/>
            </a:xfrm>
            <a:custGeom>
              <a:avLst/>
              <a:gdLst>
                <a:gd name="T0" fmla="*/ 0 w 1283"/>
                <a:gd name="T1" fmla="*/ 0 h 1750"/>
                <a:gd name="T2" fmla="*/ 0 w 1283"/>
                <a:gd name="T3" fmla="*/ 0 h 1750"/>
                <a:gd name="T4" fmla="*/ 0 w 1283"/>
                <a:gd name="T5" fmla="*/ 0 h 1750"/>
                <a:gd name="T6" fmla="*/ 0 w 1283"/>
                <a:gd name="T7" fmla="*/ 0 h 1750"/>
                <a:gd name="T8" fmla="*/ 0 w 1283"/>
                <a:gd name="T9" fmla="*/ 0 h 1750"/>
                <a:gd name="T10" fmla="*/ 0 w 1283"/>
                <a:gd name="T11" fmla="*/ 0 h 1750"/>
                <a:gd name="T12" fmla="*/ 0 w 1283"/>
                <a:gd name="T13" fmla="*/ 0 h 1750"/>
                <a:gd name="T14" fmla="*/ 0 w 1283"/>
                <a:gd name="T15" fmla="*/ 0 h 1750"/>
                <a:gd name="T16" fmla="*/ 0 w 1283"/>
                <a:gd name="T17" fmla="*/ 0 h 1750"/>
                <a:gd name="T18" fmla="*/ 0 w 1283"/>
                <a:gd name="T19" fmla="*/ 0 h 1750"/>
                <a:gd name="T20" fmla="*/ 0 w 1283"/>
                <a:gd name="T21" fmla="*/ 0 h 1750"/>
                <a:gd name="T22" fmla="*/ 0 w 1283"/>
                <a:gd name="T23" fmla="*/ 0 h 1750"/>
                <a:gd name="T24" fmla="*/ 0 w 1283"/>
                <a:gd name="T25" fmla="*/ 0 h 1750"/>
                <a:gd name="T26" fmla="*/ 0 w 1283"/>
                <a:gd name="T27" fmla="*/ 0 h 1750"/>
                <a:gd name="T28" fmla="*/ 0 w 1283"/>
                <a:gd name="T29" fmla="*/ 0 h 1750"/>
                <a:gd name="T30" fmla="*/ 0 w 1283"/>
                <a:gd name="T31" fmla="*/ 0 h 1750"/>
                <a:gd name="T32" fmla="*/ 0 w 1283"/>
                <a:gd name="T33" fmla="*/ 0 h 1750"/>
                <a:gd name="T34" fmla="*/ 0 w 1283"/>
                <a:gd name="T35" fmla="*/ 0 h 1750"/>
                <a:gd name="T36" fmla="*/ 0 w 1283"/>
                <a:gd name="T37" fmla="*/ 0 h 1750"/>
                <a:gd name="T38" fmla="*/ 0 w 1283"/>
                <a:gd name="T39" fmla="*/ 0 h 1750"/>
                <a:gd name="T40" fmla="*/ 0 w 1283"/>
                <a:gd name="T41" fmla="*/ 0 h 1750"/>
                <a:gd name="T42" fmla="*/ 0 w 1283"/>
                <a:gd name="T43" fmla="*/ 0 h 1750"/>
                <a:gd name="T44" fmla="*/ 0 w 1283"/>
                <a:gd name="T45" fmla="*/ 0 h 1750"/>
                <a:gd name="T46" fmla="*/ 0 w 1283"/>
                <a:gd name="T47" fmla="*/ 0 h 1750"/>
                <a:gd name="T48" fmla="*/ 0 w 1283"/>
                <a:gd name="T49" fmla="*/ 0 h 1750"/>
                <a:gd name="T50" fmla="*/ 0 w 1283"/>
                <a:gd name="T51" fmla="*/ 0 h 1750"/>
                <a:gd name="T52" fmla="*/ 0 w 1283"/>
                <a:gd name="T53" fmla="*/ 0 h 1750"/>
                <a:gd name="T54" fmla="*/ 0 w 1283"/>
                <a:gd name="T55" fmla="*/ 0 h 1750"/>
                <a:gd name="T56" fmla="*/ 0 w 1283"/>
                <a:gd name="T57" fmla="*/ 0 h 1750"/>
                <a:gd name="T58" fmla="*/ 0 w 1283"/>
                <a:gd name="T59" fmla="*/ 0 h 1750"/>
                <a:gd name="T60" fmla="*/ 0 w 1283"/>
                <a:gd name="T61" fmla="*/ 0 h 1750"/>
                <a:gd name="T62" fmla="*/ 0 w 1283"/>
                <a:gd name="T63" fmla="*/ 0 h 1750"/>
                <a:gd name="T64" fmla="*/ 0 w 1283"/>
                <a:gd name="T65" fmla="*/ 0 h 1750"/>
                <a:gd name="T66" fmla="*/ 0 w 1283"/>
                <a:gd name="T67" fmla="*/ 0 h 1750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1283"/>
                <a:gd name="T103" fmla="*/ 0 h 1750"/>
                <a:gd name="T104" fmla="*/ 1283 w 1283"/>
                <a:gd name="T105" fmla="*/ 1750 h 1750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1283" h="1750">
                  <a:moveTo>
                    <a:pt x="1258" y="104"/>
                  </a:moveTo>
                  <a:cubicBezTo>
                    <a:pt x="1232" y="78"/>
                    <a:pt x="1270" y="26"/>
                    <a:pt x="1270" y="26"/>
                  </a:cubicBezTo>
                  <a:cubicBezTo>
                    <a:pt x="1270" y="26"/>
                    <a:pt x="1258" y="13"/>
                    <a:pt x="1220" y="13"/>
                  </a:cubicBezTo>
                  <a:cubicBezTo>
                    <a:pt x="1194" y="0"/>
                    <a:pt x="1169" y="52"/>
                    <a:pt x="1169" y="52"/>
                  </a:cubicBezTo>
                  <a:cubicBezTo>
                    <a:pt x="1169" y="52"/>
                    <a:pt x="1093" y="65"/>
                    <a:pt x="1042" y="91"/>
                  </a:cubicBezTo>
                  <a:cubicBezTo>
                    <a:pt x="1004" y="117"/>
                    <a:pt x="965" y="78"/>
                    <a:pt x="927" y="91"/>
                  </a:cubicBezTo>
                  <a:cubicBezTo>
                    <a:pt x="902" y="104"/>
                    <a:pt x="851" y="117"/>
                    <a:pt x="826" y="117"/>
                  </a:cubicBezTo>
                  <a:cubicBezTo>
                    <a:pt x="813" y="104"/>
                    <a:pt x="737" y="143"/>
                    <a:pt x="737" y="143"/>
                  </a:cubicBezTo>
                  <a:cubicBezTo>
                    <a:pt x="737" y="143"/>
                    <a:pt x="699" y="195"/>
                    <a:pt x="635" y="156"/>
                  </a:cubicBezTo>
                  <a:cubicBezTo>
                    <a:pt x="584" y="130"/>
                    <a:pt x="584" y="169"/>
                    <a:pt x="533" y="195"/>
                  </a:cubicBezTo>
                  <a:cubicBezTo>
                    <a:pt x="483" y="221"/>
                    <a:pt x="445" y="208"/>
                    <a:pt x="394" y="195"/>
                  </a:cubicBezTo>
                  <a:cubicBezTo>
                    <a:pt x="343" y="182"/>
                    <a:pt x="292" y="78"/>
                    <a:pt x="292" y="78"/>
                  </a:cubicBezTo>
                  <a:cubicBezTo>
                    <a:pt x="241" y="130"/>
                    <a:pt x="241" y="130"/>
                    <a:pt x="241" y="130"/>
                  </a:cubicBezTo>
                  <a:cubicBezTo>
                    <a:pt x="216" y="169"/>
                    <a:pt x="216" y="169"/>
                    <a:pt x="216" y="169"/>
                  </a:cubicBezTo>
                  <a:cubicBezTo>
                    <a:pt x="216" y="169"/>
                    <a:pt x="254" y="259"/>
                    <a:pt x="279" y="298"/>
                  </a:cubicBezTo>
                  <a:cubicBezTo>
                    <a:pt x="305" y="324"/>
                    <a:pt x="368" y="376"/>
                    <a:pt x="368" y="376"/>
                  </a:cubicBezTo>
                  <a:cubicBezTo>
                    <a:pt x="749" y="506"/>
                    <a:pt x="749" y="506"/>
                    <a:pt x="749" y="506"/>
                  </a:cubicBezTo>
                  <a:cubicBezTo>
                    <a:pt x="864" y="519"/>
                    <a:pt x="864" y="519"/>
                    <a:pt x="864" y="519"/>
                  </a:cubicBezTo>
                  <a:cubicBezTo>
                    <a:pt x="495" y="908"/>
                    <a:pt x="495" y="908"/>
                    <a:pt x="495" y="908"/>
                  </a:cubicBezTo>
                  <a:cubicBezTo>
                    <a:pt x="495" y="908"/>
                    <a:pt x="368" y="908"/>
                    <a:pt x="343" y="908"/>
                  </a:cubicBezTo>
                  <a:cubicBezTo>
                    <a:pt x="317" y="921"/>
                    <a:pt x="267" y="946"/>
                    <a:pt x="241" y="972"/>
                  </a:cubicBezTo>
                  <a:cubicBezTo>
                    <a:pt x="216" y="985"/>
                    <a:pt x="203" y="1011"/>
                    <a:pt x="178" y="998"/>
                  </a:cubicBezTo>
                  <a:cubicBezTo>
                    <a:pt x="140" y="998"/>
                    <a:pt x="114" y="1037"/>
                    <a:pt x="101" y="1037"/>
                  </a:cubicBezTo>
                  <a:cubicBezTo>
                    <a:pt x="0" y="1180"/>
                    <a:pt x="0" y="1180"/>
                    <a:pt x="0" y="1180"/>
                  </a:cubicBezTo>
                  <a:cubicBezTo>
                    <a:pt x="0" y="1646"/>
                    <a:pt x="0" y="1646"/>
                    <a:pt x="0" y="1646"/>
                  </a:cubicBezTo>
                  <a:cubicBezTo>
                    <a:pt x="76" y="1750"/>
                    <a:pt x="76" y="1750"/>
                    <a:pt x="76" y="1750"/>
                  </a:cubicBezTo>
                  <a:cubicBezTo>
                    <a:pt x="76" y="1750"/>
                    <a:pt x="267" y="1504"/>
                    <a:pt x="343" y="1439"/>
                  </a:cubicBezTo>
                  <a:cubicBezTo>
                    <a:pt x="419" y="1387"/>
                    <a:pt x="610" y="1219"/>
                    <a:pt x="699" y="1154"/>
                  </a:cubicBezTo>
                  <a:cubicBezTo>
                    <a:pt x="788" y="1089"/>
                    <a:pt x="915" y="908"/>
                    <a:pt x="927" y="882"/>
                  </a:cubicBezTo>
                  <a:cubicBezTo>
                    <a:pt x="940" y="856"/>
                    <a:pt x="1016" y="713"/>
                    <a:pt x="1042" y="674"/>
                  </a:cubicBezTo>
                  <a:cubicBezTo>
                    <a:pt x="1067" y="622"/>
                    <a:pt x="1105" y="545"/>
                    <a:pt x="1131" y="493"/>
                  </a:cubicBezTo>
                  <a:cubicBezTo>
                    <a:pt x="1143" y="454"/>
                    <a:pt x="1207" y="363"/>
                    <a:pt x="1220" y="337"/>
                  </a:cubicBezTo>
                  <a:cubicBezTo>
                    <a:pt x="1220" y="324"/>
                    <a:pt x="1232" y="246"/>
                    <a:pt x="1258" y="221"/>
                  </a:cubicBezTo>
                  <a:cubicBezTo>
                    <a:pt x="1283" y="195"/>
                    <a:pt x="1283" y="130"/>
                    <a:pt x="1258" y="104"/>
                  </a:cubicBezTo>
                </a:path>
              </a:pathLst>
            </a:custGeom>
            <a:grpFill/>
            <a:ln w="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891045"/>
              <a:endParaRPr lang="en-US" sz="1700" dirty="0">
                <a:solidFill>
                  <a:srgbClr val="003149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449" name="Freeform 256"/>
            <p:cNvSpPr>
              <a:spLocks/>
            </p:cNvSpPr>
            <p:nvPr/>
          </p:nvSpPr>
          <p:spPr bwMode="gray">
            <a:xfrm>
              <a:off x="4733" y="2870"/>
              <a:ext cx="130" cy="177"/>
            </a:xfrm>
            <a:custGeom>
              <a:avLst/>
              <a:gdLst>
                <a:gd name="T0" fmla="*/ 127 w 130"/>
                <a:gd name="T1" fmla="*/ 10 h 177"/>
                <a:gd name="T2" fmla="*/ 128 w 130"/>
                <a:gd name="T3" fmla="*/ 2 h 177"/>
                <a:gd name="T4" fmla="*/ 123 w 130"/>
                <a:gd name="T5" fmla="*/ 1 h 177"/>
                <a:gd name="T6" fmla="*/ 118 w 130"/>
                <a:gd name="T7" fmla="*/ 5 h 177"/>
                <a:gd name="T8" fmla="*/ 105 w 130"/>
                <a:gd name="T9" fmla="*/ 9 h 177"/>
                <a:gd name="T10" fmla="*/ 94 w 130"/>
                <a:gd name="T11" fmla="*/ 9 h 177"/>
                <a:gd name="T12" fmla="*/ 84 w 130"/>
                <a:gd name="T13" fmla="*/ 12 h 177"/>
                <a:gd name="T14" fmla="*/ 75 w 130"/>
                <a:gd name="T15" fmla="*/ 14 h 177"/>
                <a:gd name="T16" fmla="*/ 64 w 130"/>
                <a:gd name="T17" fmla="*/ 16 h 177"/>
                <a:gd name="T18" fmla="*/ 54 w 130"/>
                <a:gd name="T19" fmla="*/ 20 h 177"/>
                <a:gd name="T20" fmla="*/ 40 w 130"/>
                <a:gd name="T21" fmla="*/ 20 h 177"/>
                <a:gd name="T22" fmla="*/ 30 w 130"/>
                <a:gd name="T23" fmla="*/ 8 h 177"/>
                <a:gd name="T24" fmla="*/ 24 w 130"/>
                <a:gd name="T25" fmla="*/ 13 h 177"/>
                <a:gd name="T26" fmla="*/ 22 w 130"/>
                <a:gd name="T27" fmla="*/ 17 h 177"/>
                <a:gd name="T28" fmla="*/ 28 w 130"/>
                <a:gd name="T29" fmla="*/ 30 h 177"/>
                <a:gd name="T30" fmla="*/ 37 w 130"/>
                <a:gd name="T31" fmla="*/ 38 h 177"/>
                <a:gd name="T32" fmla="*/ 76 w 130"/>
                <a:gd name="T33" fmla="*/ 51 h 177"/>
                <a:gd name="T34" fmla="*/ 87 w 130"/>
                <a:gd name="T35" fmla="*/ 52 h 177"/>
                <a:gd name="T36" fmla="*/ 50 w 130"/>
                <a:gd name="T37" fmla="*/ 92 h 177"/>
                <a:gd name="T38" fmla="*/ 35 w 130"/>
                <a:gd name="T39" fmla="*/ 92 h 177"/>
                <a:gd name="T40" fmla="*/ 24 w 130"/>
                <a:gd name="T41" fmla="*/ 98 h 177"/>
                <a:gd name="T42" fmla="*/ 18 w 130"/>
                <a:gd name="T43" fmla="*/ 101 h 177"/>
                <a:gd name="T44" fmla="*/ 10 w 130"/>
                <a:gd name="T45" fmla="*/ 105 h 177"/>
                <a:gd name="T46" fmla="*/ 0 w 130"/>
                <a:gd name="T47" fmla="*/ 119 h 177"/>
                <a:gd name="T48" fmla="*/ 0 w 130"/>
                <a:gd name="T49" fmla="*/ 166 h 177"/>
                <a:gd name="T50" fmla="*/ 8 w 130"/>
                <a:gd name="T51" fmla="*/ 177 h 177"/>
                <a:gd name="T52" fmla="*/ 35 w 130"/>
                <a:gd name="T53" fmla="*/ 145 h 177"/>
                <a:gd name="T54" fmla="*/ 71 w 130"/>
                <a:gd name="T55" fmla="*/ 116 h 177"/>
                <a:gd name="T56" fmla="*/ 94 w 130"/>
                <a:gd name="T57" fmla="*/ 89 h 177"/>
                <a:gd name="T58" fmla="*/ 105 w 130"/>
                <a:gd name="T59" fmla="*/ 68 h 177"/>
                <a:gd name="T60" fmla="*/ 114 w 130"/>
                <a:gd name="T61" fmla="*/ 50 h 177"/>
                <a:gd name="T62" fmla="*/ 123 w 130"/>
                <a:gd name="T63" fmla="*/ 34 h 177"/>
                <a:gd name="T64" fmla="*/ 127 w 130"/>
                <a:gd name="T65" fmla="*/ 22 h 177"/>
                <a:gd name="T66" fmla="*/ 127 w 130"/>
                <a:gd name="T67" fmla="*/ 10 h 177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130"/>
                <a:gd name="T103" fmla="*/ 0 h 177"/>
                <a:gd name="T104" fmla="*/ 130 w 130"/>
                <a:gd name="T105" fmla="*/ 177 h 177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130" h="177">
                  <a:moveTo>
                    <a:pt x="127" y="10"/>
                  </a:moveTo>
                  <a:cubicBezTo>
                    <a:pt x="125" y="8"/>
                    <a:pt x="128" y="2"/>
                    <a:pt x="128" y="2"/>
                  </a:cubicBezTo>
                  <a:cubicBezTo>
                    <a:pt x="128" y="2"/>
                    <a:pt x="127" y="1"/>
                    <a:pt x="123" y="1"/>
                  </a:cubicBezTo>
                  <a:cubicBezTo>
                    <a:pt x="121" y="0"/>
                    <a:pt x="118" y="5"/>
                    <a:pt x="118" y="5"/>
                  </a:cubicBezTo>
                  <a:cubicBezTo>
                    <a:pt x="118" y="5"/>
                    <a:pt x="110" y="6"/>
                    <a:pt x="105" y="9"/>
                  </a:cubicBezTo>
                  <a:cubicBezTo>
                    <a:pt x="101" y="12"/>
                    <a:pt x="98" y="8"/>
                    <a:pt x="94" y="9"/>
                  </a:cubicBezTo>
                  <a:cubicBezTo>
                    <a:pt x="91" y="10"/>
                    <a:pt x="86" y="12"/>
                    <a:pt x="84" y="12"/>
                  </a:cubicBezTo>
                  <a:cubicBezTo>
                    <a:pt x="82" y="10"/>
                    <a:pt x="75" y="14"/>
                    <a:pt x="75" y="14"/>
                  </a:cubicBezTo>
                  <a:cubicBezTo>
                    <a:pt x="75" y="14"/>
                    <a:pt x="71" y="20"/>
                    <a:pt x="64" y="16"/>
                  </a:cubicBezTo>
                  <a:cubicBezTo>
                    <a:pt x="59" y="13"/>
                    <a:pt x="59" y="17"/>
                    <a:pt x="54" y="20"/>
                  </a:cubicBezTo>
                  <a:cubicBezTo>
                    <a:pt x="49" y="22"/>
                    <a:pt x="45" y="21"/>
                    <a:pt x="40" y="20"/>
                  </a:cubicBezTo>
                  <a:cubicBezTo>
                    <a:pt x="35" y="18"/>
                    <a:pt x="30" y="8"/>
                    <a:pt x="30" y="8"/>
                  </a:cubicBezTo>
                  <a:cubicBezTo>
                    <a:pt x="24" y="13"/>
                    <a:pt x="24" y="13"/>
                    <a:pt x="24" y="13"/>
                  </a:cubicBezTo>
                  <a:cubicBezTo>
                    <a:pt x="22" y="17"/>
                    <a:pt x="22" y="17"/>
                    <a:pt x="22" y="17"/>
                  </a:cubicBezTo>
                  <a:cubicBezTo>
                    <a:pt x="22" y="17"/>
                    <a:pt x="26" y="26"/>
                    <a:pt x="28" y="30"/>
                  </a:cubicBezTo>
                  <a:cubicBezTo>
                    <a:pt x="31" y="33"/>
                    <a:pt x="37" y="38"/>
                    <a:pt x="37" y="38"/>
                  </a:cubicBezTo>
                  <a:cubicBezTo>
                    <a:pt x="76" y="51"/>
                    <a:pt x="76" y="51"/>
                    <a:pt x="76" y="51"/>
                  </a:cubicBezTo>
                  <a:cubicBezTo>
                    <a:pt x="87" y="52"/>
                    <a:pt x="87" y="52"/>
                    <a:pt x="87" y="52"/>
                  </a:cubicBezTo>
                  <a:cubicBezTo>
                    <a:pt x="50" y="92"/>
                    <a:pt x="50" y="92"/>
                    <a:pt x="50" y="92"/>
                  </a:cubicBezTo>
                  <a:cubicBezTo>
                    <a:pt x="50" y="92"/>
                    <a:pt x="37" y="92"/>
                    <a:pt x="35" y="92"/>
                  </a:cubicBezTo>
                  <a:cubicBezTo>
                    <a:pt x="32" y="93"/>
                    <a:pt x="27" y="95"/>
                    <a:pt x="24" y="98"/>
                  </a:cubicBezTo>
                  <a:cubicBezTo>
                    <a:pt x="22" y="99"/>
                    <a:pt x="21" y="102"/>
                    <a:pt x="18" y="101"/>
                  </a:cubicBezTo>
                  <a:cubicBezTo>
                    <a:pt x="14" y="101"/>
                    <a:pt x="12" y="105"/>
                    <a:pt x="10" y="105"/>
                  </a:cubicBezTo>
                  <a:cubicBezTo>
                    <a:pt x="0" y="119"/>
                    <a:pt x="0" y="119"/>
                    <a:pt x="0" y="119"/>
                  </a:cubicBezTo>
                  <a:cubicBezTo>
                    <a:pt x="0" y="166"/>
                    <a:pt x="0" y="166"/>
                    <a:pt x="0" y="166"/>
                  </a:cubicBezTo>
                  <a:cubicBezTo>
                    <a:pt x="8" y="177"/>
                    <a:pt x="8" y="177"/>
                    <a:pt x="8" y="177"/>
                  </a:cubicBezTo>
                  <a:cubicBezTo>
                    <a:pt x="8" y="177"/>
                    <a:pt x="27" y="152"/>
                    <a:pt x="35" y="145"/>
                  </a:cubicBezTo>
                  <a:cubicBezTo>
                    <a:pt x="42" y="140"/>
                    <a:pt x="62" y="123"/>
                    <a:pt x="71" y="116"/>
                  </a:cubicBezTo>
                  <a:cubicBezTo>
                    <a:pt x="80" y="110"/>
                    <a:pt x="93" y="92"/>
                    <a:pt x="94" y="89"/>
                  </a:cubicBezTo>
                  <a:cubicBezTo>
                    <a:pt x="95" y="86"/>
                    <a:pt x="103" y="72"/>
                    <a:pt x="105" y="68"/>
                  </a:cubicBezTo>
                  <a:cubicBezTo>
                    <a:pt x="108" y="63"/>
                    <a:pt x="112" y="55"/>
                    <a:pt x="114" y="50"/>
                  </a:cubicBezTo>
                  <a:cubicBezTo>
                    <a:pt x="116" y="46"/>
                    <a:pt x="122" y="36"/>
                    <a:pt x="123" y="34"/>
                  </a:cubicBezTo>
                  <a:cubicBezTo>
                    <a:pt x="123" y="33"/>
                    <a:pt x="125" y="25"/>
                    <a:pt x="127" y="22"/>
                  </a:cubicBezTo>
                  <a:cubicBezTo>
                    <a:pt x="130" y="20"/>
                    <a:pt x="130" y="13"/>
                    <a:pt x="127" y="10"/>
                  </a:cubicBezTo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891045"/>
              <a:endParaRPr lang="en-US" sz="1700" dirty="0">
                <a:solidFill>
                  <a:srgbClr val="003149"/>
                </a:solidFill>
                <a:cs typeface="Arial" panose="020B0604020202020204" pitchFamily="34" charset="0"/>
              </a:endParaRPr>
            </a:p>
          </p:txBody>
        </p:sp>
      </p:grpSp>
      <p:grpSp>
        <p:nvGrpSpPr>
          <p:cNvPr id="450" name="Group 257"/>
          <p:cNvGrpSpPr>
            <a:grpSpLocks/>
          </p:cNvGrpSpPr>
          <p:nvPr/>
        </p:nvGrpSpPr>
        <p:grpSpPr bwMode="gray">
          <a:xfrm>
            <a:off x="1139070" y="2033884"/>
            <a:ext cx="295407" cy="246119"/>
            <a:chOff x="4216" y="2718"/>
            <a:chExt cx="201" cy="159"/>
          </a:xfrm>
          <a:solidFill>
            <a:schemeClr val="accent3"/>
          </a:solidFill>
        </p:grpSpPr>
        <p:sp>
          <p:nvSpPr>
            <p:cNvPr id="451" name="Freeform 258"/>
            <p:cNvSpPr>
              <a:spLocks/>
            </p:cNvSpPr>
            <p:nvPr/>
          </p:nvSpPr>
          <p:spPr bwMode="gray">
            <a:xfrm>
              <a:off x="4216" y="2718"/>
              <a:ext cx="201" cy="159"/>
            </a:xfrm>
            <a:custGeom>
              <a:avLst/>
              <a:gdLst>
                <a:gd name="T0" fmla="*/ 0 w 1991"/>
                <a:gd name="T1" fmla="*/ 0 h 1567"/>
                <a:gd name="T2" fmla="*/ 0 w 1991"/>
                <a:gd name="T3" fmla="*/ 0 h 1567"/>
                <a:gd name="T4" fmla="*/ 0 w 1991"/>
                <a:gd name="T5" fmla="*/ 0 h 1567"/>
                <a:gd name="T6" fmla="*/ 0 w 1991"/>
                <a:gd name="T7" fmla="*/ 0 h 1567"/>
                <a:gd name="T8" fmla="*/ 0 w 1991"/>
                <a:gd name="T9" fmla="*/ 0 h 1567"/>
                <a:gd name="T10" fmla="*/ 0 w 1991"/>
                <a:gd name="T11" fmla="*/ 0 h 1567"/>
                <a:gd name="T12" fmla="*/ 0 w 1991"/>
                <a:gd name="T13" fmla="*/ 0 h 1567"/>
                <a:gd name="T14" fmla="*/ 0 w 1991"/>
                <a:gd name="T15" fmla="*/ 0 h 1567"/>
                <a:gd name="T16" fmla="*/ 0 w 1991"/>
                <a:gd name="T17" fmla="*/ 0 h 1567"/>
                <a:gd name="T18" fmla="*/ 0 w 1991"/>
                <a:gd name="T19" fmla="*/ 0 h 1567"/>
                <a:gd name="T20" fmla="*/ 0 w 1991"/>
                <a:gd name="T21" fmla="*/ 0 h 1567"/>
                <a:gd name="T22" fmla="*/ 0 w 1991"/>
                <a:gd name="T23" fmla="*/ 0 h 1567"/>
                <a:gd name="T24" fmla="*/ 0 w 1991"/>
                <a:gd name="T25" fmla="*/ 0 h 1567"/>
                <a:gd name="T26" fmla="*/ 0 w 1991"/>
                <a:gd name="T27" fmla="*/ 0 h 1567"/>
                <a:gd name="T28" fmla="*/ 0 w 1991"/>
                <a:gd name="T29" fmla="*/ 0 h 1567"/>
                <a:gd name="T30" fmla="*/ 0 w 1991"/>
                <a:gd name="T31" fmla="*/ 0 h 1567"/>
                <a:gd name="T32" fmla="*/ 0 w 1991"/>
                <a:gd name="T33" fmla="*/ 0 h 1567"/>
                <a:gd name="T34" fmla="*/ 0 w 1991"/>
                <a:gd name="T35" fmla="*/ 0 h 1567"/>
                <a:gd name="T36" fmla="*/ 0 w 1991"/>
                <a:gd name="T37" fmla="*/ 0 h 1567"/>
                <a:gd name="T38" fmla="*/ 0 w 1991"/>
                <a:gd name="T39" fmla="*/ 0 h 1567"/>
                <a:gd name="T40" fmla="*/ 0 w 1991"/>
                <a:gd name="T41" fmla="*/ 0 h 1567"/>
                <a:gd name="T42" fmla="*/ 0 w 1991"/>
                <a:gd name="T43" fmla="*/ 0 h 1567"/>
                <a:gd name="T44" fmla="*/ 0 w 1991"/>
                <a:gd name="T45" fmla="*/ 0 h 1567"/>
                <a:gd name="T46" fmla="*/ 0 w 1991"/>
                <a:gd name="T47" fmla="*/ 0 h 1567"/>
                <a:gd name="T48" fmla="*/ 0 w 1991"/>
                <a:gd name="T49" fmla="*/ 0 h 1567"/>
                <a:gd name="T50" fmla="*/ 0 w 1991"/>
                <a:gd name="T51" fmla="*/ 0 h 1567"/>
                <a:gd name="T52" fmla="*/ 0 w 1991"/>
                <a:gd name="T53" fmla="*/ 0 h 1567"/>
                <a:gd name="T54" fmla="*/ 0 w 1991"/>
                <a:gd name="T55" fmla="*/ 0 h 1567"/>
                <a:gd name="T56" fmla="*/ 0 w 1991"/>
                <a:gd name="T57" fmla="*/ 0 h 1567"/>
                <a:gd name="T58" fmla="*/ 0 w 1991"/>
                <a:gd name="T59" fmla="*/ 0 h 1567"/>
                <a:gd name="T60" fmla="*/ 0 w 1991"/>
                <a:gd name="T61" fmla="*/ 0 h 1567"/>
                <a:gd name="T62" fmla="*/ 0 w 1991"/>
                <a:gd name="T63" fmla="*/ 0 h 1567"/>
                <a:gd name="T64" fmla="*/ 0 w 1991"/>
                <a:gd name="T65" fmla="*/ 0 h 1567"/>
                <a:gd name="T66" fmla="*/ 0 w 1991"/>
                <a:gd name="T67" fmla="*/ 0 h 1567"/>
                <a:gd name="T68" fmla="*/ 0 w 1991"/>
                <a:gd name="T69" fmla="*/ 0 h 1567"/>
                <a:gd name="T70" fmla="*/ 0 w 1991"/>
                <a:gd name="T71" fmla="*/ 0 h 1567"/>
                <a:gd name="T72" fmla="*/ 0 w 1991"/>
                <a:gd name="T73" fmla="*/ 0 h 1567"/>
                <a:gd name="T74" fmla="*/ 0 w 1991"/>
                <a:gd name="T75" fmla="*/ 0 h 1567"/>
                <a:gd name="T76" fmla="*/ 0 w 1991"/>
                <a:gd name="T77" fmla="*/ 0 h 1567"/>
                <a:gd name="T78" fmla="*/ 0 w 1991"/>
                <a:gd name="T79" fmla="*/ 0 h 1567"/>
                <a:gd name="T80" fmla="*/ 0 w 1991"/>
                <a:gd name="T81" fmla="*/ 0 h 1567"/>
                <a:gd name="T82" fmla="*/ 0 w 1991"/>
                <a:gd name="T83" fmla="*/ 0 h 1567"/>
                <a:gd name="T84" fmla="*/ 0 w 1991"/>
                <a:gd name="T85" fmla="*/ 0 h 1567"/>
                <a:gd name="T86" fmla="*/ 0 w 1991"/>
                <a:gd name="T87" fmla="*/ 0 h 1567"/>
                <a:gd name="T88" fmla="*/ 0 w 1991"/>
                <a:gd name="T89" fmla="*/ 0 h 1567"/>
                <a:gd name="T90" fmla="*/ 0 w 1991"/>
                <a:gd name="T91" fmla="*/ 0 h 1567"/>
                <a:gd name="T92" fmla="*/ 0 w 1991"/>
                <a:gd name="T93" fmla="*/ 0 h 1567"/>
                <a:gd name="T94" fmla="*/ 0 w 1991"/>
                <a:gd name="T95" fmla="*/ 0 h 1567"/>
                <a:gd name="T96" fmla="*/ 0 w 1991"/>
                <a:gd name="T97" fmla="*/ 0 h 1567"/>
                <a:gd name="T98" fmla="*/ 0 w 1991"/>
                <a:gd name="T99" fmla="*/ 0 h 1567"/>
                <a:gd name="T100" fmla="*/ 0 w 1991"/>
                <a:gd name="T101" fmla="*/ 0 h 1567"/>
                <a:gd name="T102" fmla="*/ 0 w 1991"/>
                <a:gd name="T103" fmla="*/ 0 h 1567"/>
                <a:gd name="T104" fmla="*/ 0 w 1991"/>
                <a:gd name="T105" fmla="*/ 0 h 1567"/>
                <a:gd name="T106" fmla="*/ 0 w 1991"/>
                <a:gd name="T107" fmla="*/ 0 h 1567"/>
                <a:gd name="T108" fmla="*/ 0 w 1991"/>
                <a:gd name="T109" fmla="*/ 0 h 1567"/>
                <a:gd name="T110" fmla="*/ 0 w 1991"/>
                <a:gd name="T111" fmla="*/ 0 h 1567"/>
                <a:gd name="T112" fmla="*/ 0 w 1991"/>
                <a:gd name="T113" fmla="*/ 0 h 1567"/>
                <a:gd name="T114" fmla="*/ 0 w 1991"/>
                <a:gd name="T115" fmla="*/ 0 h 1567"/>
                <a:gd name="T116" fmla="*/ 0 w 1991"/>
                <a:gd name="T117" fmla="*/ 0 h 1567"/>
                <a:gd name="T118" fmla="*/ 0 w 1991"/>
                <a:gd name="T119" fmla="*/ 0 h 1567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1991"/>
                <a:gd name="T181" fmla="*/ 0 h 1567"/>
                <a:gd name="T182" fmla="*/ 1991 w 1991"/>
                <a:gd name="T183" fmla="*/ 1567 h 1567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1991" h="1567">
                  <a:moveTo>
                    <a:pt x="1940" y="344"/>
                  </a:moveTo>
                  <a:cubicBezTo>
                    <a:pt x="1877" y="268"/>
                    <a:pt x="1877" y="268"/>
                    <a:pt x="1877" y="268"/>
                  </a:cubicBezTo>
                  <a:cubicBezTo>
                    <a:pt x="1889" y="217"/>
                    <a:pt x="1889" y="217"/>
                    <a:pt x="1889" y="217"/>
                  </a:cubicBezTo>
                  <a:cubicBezTo>
                    <a:pt x="1851" y="77"/>
                    <a:pt x="1851" y="77"/>
                    <a:pt x="1851" y="77"/>
                  </a:cubicBezTo>
                  <a:cubicBezTo>
                    <a:pt x="1762" y="128"/>
                    <a:pt x="1762" y="128"/>
                    <a:pt x="1762" y="128"/>
                  </a:cubicBezTo>
                  <a:cubicBezTo>
                    <a:pt x="1685" y="51"/>
                    <a:pt x="1685" y="51"/>
                    <a:pt x="1685" y="51"/>
                  </a:cubicBezTo>
                  <a:cubicBezTo>
                    <a:pt x="1481" y="0"/>
                    <a:pt x="1481" y="0"/>
                    <a:pt x="1481" y="0"/>
                  </a:cubicBezTo>
                  <a:cubicBezTo>
                    <a:pt x="906" y="370"/>
                    <a:pt x="906" y="370"/>
                    <a:pt x="906" y="370"/>
                  </a:cubicBezTo>
                  <a:cubicBezTo>
                    <a:pt x="715" y="548"/>
                    <a:pt x="715" y="548"/>
                    <a:pt x="715" y="548"/>
                  </a:cubicBezTo>
                  <a:cubicBezTo>
                    <a:pt x="510" y="586"/>
                    <a:pt x="510" y="586"/>
                    <a:pt x="510" y="586"/>
                  </a:cubicBezTo>
                  <a:cubicBezTo>
                    <a:pt x="523" y="866"/>
                    <a:pt x="523" y="866"/>
                    <a:pt x="523" y="866"/>
                  </a:cubicBezTo>
                  <a:cubicBezTo>
                    <a:pt x="523" y="866"/>
                    <a:pt x="510" y="879"/>
                    <a:pt x="498" y="892"/>
                  </a:cubicBezTo>
                  <a:cubicBezTo>
                    <a:pt x="485" y="892"/>
                    <a:pt x="498" y="955"/>
                    <a:pt x="498" y="955"/>
                  </a:cubicBezTo>
                  <a:cubicBezTo>
                    <a:pt x="498" y="955"/>
                    <a:pt x="472" y="1032"/>
                    <a:pt x="459" y="1045"/>
                  </a:cubicBezTo>
                  <a:cubicBezTo>
                    <a:pt x="459" y="1045"/>
                    <a:pt x="421" y="1083"/>
                    <a:pt x="421" y="1083"/>
                  </a:cubicBezTo>
                  <a:cubicBezTo>
                    <a:pt x="140" y="1096"/>
                    <a:pt x="140" y="1096"/>
                    <a:pt x="140" y="1096"/>
                  </a:cubicBezTo>
                  <a:cubicBezTo>
                    <a:pt x="102" y="1134"/>
                    <a:pt x="102" y="1134"/>
                    <a:pt x="102" y="1134"/>
                  </a:cubicBezTo>
                  <a:cubicBezTo>
                    <a:pt x="13" y="1134"/>
                    <a:pt x="13" y="1134"/>
                    <a:pt x="13" y="1134"/>
                  </a:cubicBezTo>
                  <a:cubicBezTo>
                    <a:pt x="0" y="1197"/>
                    <a:pt x="0" y="1197"/>
                    <a:pt x="0" y="1197"/>
                  </a:cubicBezTo>
                  <a:cubicBezTo>
                    <a:pt x="25" y="1223"/>
                    <a:pt x="25" y="1223"/>
                    <a:pt x="25" y="1223"/>
                  </a:cubicBezTo>
                  <a:cubicBezTo>
                    <a:pt x="25" y="1223"/>
                    <a:pt x="25" y="1274"/>
                    <a:pt x="38" y="1274"/>
                  </a:cubicBezTo>
                  <a:cubicBezTo>
                    <a:pt x="51" y="1287"/>
                    <a:pt x="127" y="1338"/>
                    <a:pt x="127" y="1338"/>
                  </a:cubicBezTo>
                  <a:cubicBezTo>
                    <a:pt x="102" y="1376"/>
                    <a:pt x="102" y="1376"/>
                    <a:pt x="102" y="1376"/>
                  </a:cubicBezTo>
                  <a:cubicBezTo>
                    <a:pt x="179" y="1439"/>
                    <a:pt x="179" y="1439"/>
                    <a:pt x="179" y="1439"/>
                  </a:cubicBezTo>
                  <a:cubicBezTo>
                    <a:pt x="217" y="1427"/>
                    <a:pt x="217" y="1427"/>
                    <a:pt x="217" y="1427"/>
                  </a:cubicBezTo>
                  <a:cubicBezTo>
                    <a:pt x="217" y="1427"/>
                    <a:pt x="268" y="1439"/>
                    <a:pt x="268" y="1452"/>
                  </a:cubicBezTo>
                  <a:cubicBezTo>
                    <a:pt x="255" y="1465"/>
                    <a:pt x="242" y="1478"/>
                    <a:pt x="242" y="1478"/>
                  </a:cubicBezTo>
                  <a:cubicBezTo>
                    <a:pt x="281" y="1529"/>
                    <a:pt x="281" y="1529"/>
                    <a:pt x="281" y="1529"/>
                  </a:cubicBezTo>
                  <a:cubicBezTo>
                    <a:pt x="293" y="1516"/>
                    <a:pt x="281" y="1478"/>
                    <a:pt x="281" y="1478"/>
                  </a:cubicBezTo>
                  <a:cubicBezTo>
                    <a:pt x="281" y="1478"/>
                    <a:pt x="306" y="1465"/>
                    <a:pt x="319" y="1465"/>
                  </a:cubicBezTo>
                  <a:cubicBezTo>
                    <a:pt x="332" y="1465"/>
                    <a:pt x="357" y="1465"/>
                    <a:pt x="370" y="1490"/>
                  </a:cubicBezTo>
                  <a:cubicBezTo>
                    <a:pt x="383" y="1516"/>
                    <a:pt x="383" y="1516"/>
                    <a:pt x="408" y="1529"/>
                  </a:cubicBezTo>
                  <a:cubicBezTo>
                    <a:pt x="421" y="1541"/>
                    <a:pt x="421" y="1554"/>
                    <a:pt x="421" y="1567"/>
                  </a:cubicBezTo>
                  <a:cubicBezTo>
                    <a:pt x="434" y="1541"/>
                    <a:pt x="447" y="1503"/>
                    <a:pt x="447" y="1478"/>
                  </a:cubicBezTo>
                  <a:cubicBezTo>
                    <a:pt x="447" y="1439"/>
                    <a:pt x="447" y="1439"/>
                    <a:pt x="447" y="1439"/>
                  </a:cubicBezTo>
                  <a:cubicBezTo>
                    <a:pt x="447" y="1439"/>
                    <a:pt x="459" y="1414"/>
                    <a:pt x="485" y="1388"/>
                  </a:cubicBezTo>
                  <a:cubicBezTo>
                    <a:pt x="510" y="1363"/>
                    <a:pt x="510" y="1325"/>
                    <a:pt x="510" y="1325"/>
                  </a:cubicBezTo>
                  <a:cubicBezTo>
                    <a:pt x="510" y="1325"/>
                    <a:pt x="574" y="1299"/>
                    <a:pt x="587" y="1299"/>
                  </a:cubicBezTo>
                  <a:cubicBezTo>
                    <a:pt x="600" y="1299"/>
                    <a:pt x="638" y="1312"/>
                    <a:pt x="651" y="1287"/>
                  </a:cubicBezTo>
                  <a:cubicBezTo>
                    <a:pt x="664" y="1261"/>
                    <a:pt x="715" y="1274"/>
                    <a:pt x="740" y="1299"/>
                  </a:cubicBezTo>
                  <a:cubicBezTo>
                    <a:pt x="779" y="1312"/>
                    <a:pt x="779" y="1312"/>
                    <a:pt x="804" y="1338"/>
                  </a:cubicBezTo>
                  <a:cubicBezTo>
                    <a:pt x="830" y="1363"/>
                    <a:pt x="855" y="1388"/>
                    <a:pt x="855" y="1388"/>
                  </a:cubicBezTo>
                  <a:cubicBezTo>
                    <a:pt x="855" y="1388"/>
                    <a:pt x="906" y="1376"/>
                    <a:pt x="932" y="1363"/>
                  </a:cubicBezTo>
                  <a:cubicBezTo>
                    <a:pt x="970" y="1350"/>
                    <a:pt x="983" y="1350"/>
                    <a:pt x="1021" y="1363"/>
                  </a:cubicBezTo>
                  <a:cubicBezTo>
                    <a:pt x="1072" y="1376"/>
                    <a:pt x="1111" y="1414"/>
                    <a:pt x="1149" y="1414"/>
                  </a:cubicBezTo>
                  <a:cubicBezTo>
                    <a:pt x="1174" y="1414"/>
                    <a:pt x="1174" y="1401"/>
                    <a:pt x="1213" y="1388"/>
                  </a:cubicBezTo>
                  <a:cubicBezTo>
                    <a:pt x="1238" y="1376"/>
                    <a:pt x="1277" y="1350"/>
                    <a:pt x="1315" y="1350"/>
                  </a:cubicBezTo>
                  <a:cubicBezTo>
                    <a:pt x="1353" y="1350"/>
                    <a:pt x="1430" y="1350"/>
                    <a:pt x="1455" y="1350"/>
                  </a:cubicBezTo>
                  <a:cubicBezTo>
                    <a:pt x="1481" y="1363"/>
                    <a:pt x="1532" y="1376"/>
                    <a:pt x="1545" y="1376"/>
                  </a:cubicBezTo>
                  <a:cubicBezTo>
                    <a:pt x="1557" y="1376"/>
                    <a:pt x="1583" y="1325"/>
                    <a:pt x="1608" y="1325"/>
                  </a:cubicBezTo>
                  <a:cubicBezTo>
                    <a:pt x="1647" y="1312"/>
                    <a:pt x="1621" y="1287"/>
                    <a:pt x="1660" y="1287"/>
                  </a:cubicBezTo>
                  <a:cubicBezTo>
                    <a:pt x="1672" y="1287"/>
                    <a:pt x="1672" y="1299"/>
                    <a:pt x="1685" y="1299"/>
                  </a:cubicBezTo>
                  <a:cubicBezTo>
                    <a:pt x="1685" y="1287"/>
                    <a:pt x="1685" y="1287"/>
                    <a:pt x="1685" y="1287"/>
                  </a:cubicBezTo>
                  <a:cubicBezTo>
                    <a:pt x="1685" y="1197"/>
                    <a:pt x="1685" y="1197"/>
                    <a:pt x="1685" y="1197"/>
                  </a:cubicBezTo>
                  <a:cubicBezTo>
                    <a:pt x="1698" y="1146"/>
                    <a:pt x="1698" y="1146"/>
                    <a:pt x="1698" y="1146"/>
                  </a:cubicBezTo>
                  <a:cubicBezTo>
                    <a:pt x="1928" y="892"/>
                    <a:pt x="1928" y="892"/>
                    <a:pt x="1928" y="892"/>
                  </a:cubicBezTo>
                  <a:cubicBezTo>
                    <a:pt x="1953" y="484"/>
                    <a:pt x="1953" y="484"/>
                    <a:pt x="1953" y="484"/>
                  </a:cubicBezTo>
                  <a:cubicBezTo>
                    <a:pt x="1991" y="433"/>
                    <a:pt x="1991" y="433"/>
                    <a:pt x="1991" y="433"/>
                  </a:cubicBezTo>
                  <a:cubicBezTo>
                    <a:pt x="1928" y="370"/>
                    <a:pt x="1928" y="370"/>
                    <a:pt x="1928" y="370"/>
                  </a:cubicBezTo>
                  <a:lnTo>
                    <a:pt x="1940" y="344"/>
                  </a:lnTo>
                  <a:close/>
                </a:path>
              </a:pathLst>
            </a:custGeom>
            <a:grpFill/>
            <a:ln w="9525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891045"/>
              <a:endParaRPr lang="en-US" sz="1700" dirty="0">
                <a:solidFill>
                  <a:srgbClr val="003149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452" name="Freeform 259"/>
            <p:cNvSpPr>
              <a:spLocks/>
            </p:cNvSpPr>
            <p:nvPr/>
          </p:nvSpPr>
          <p:spPr bwMode="gray">
            <a:xfrm>
              <a:off x="4216" y="2718"/>
              <a:ext cx="201" cy="159"/>
            </a:xfrm>
            <a:custGeom>
              <a:avLst/>
              <a:gdLst>
                <a:gd name="T0" fmla="*/ 0 w 1991"/>
                <a:gd name="T1" fmla="*/ 0 h 1567"/>
                <a:gd name="T2" fmla="*/ 0 w 1991"/>
                <a:gd name="T3" fmla="*/ 0 h 1567"/>
                <a:gd name="T4" fmla="*/ 0 w 1991"/>
                <a:gd name="T5" fmla="*/ 0 h 1567"/>
                <a:gd name="T6" fmla="*/ 0 w 1991"/>
                <a:gd name="T7" fmla="*/ 0 h 1567"/>
                <a:gd name="T8" fmla="*/ 0 w 1991"/>
                <a:gd name="T9" fmla="*/ 0 h 1567"/>
                <a:gd name="T10" fmla="*/ 0 w 1991"/>
                <a:gd name="T11" fmla="*/ 0 h 1567"/>
                <a:gd name="T12" fmla="*/ 0 w 1991"/>
                <a:gd name="T13" fmla="*/ 0 h 1567"/>
                <a:gd name="T14" fmla="*/ 0 w 1991"/>
                <a:gd name="T15" fmla="*/ 0 h 1567"/>
                <a:gd name="T16" fmla="*/ 0 w 1991"/>
                <a:gd name="T17" fmla="*/ 0 h 1567"/>
                <a:gd name="T18" fmla="*/ 0 w 1991"/>
                <a:gd name="T19" fmla="*/ 0 h 1567"/>
                <a:gd name="T20" fmla="*/ 0 w 1991"/>
                <a:gd name="T21" fmla="*/ 0 h 1567"/>
                <a:gd name="T22" fmla="*/ 0 w 1991"/>
                <a:gd name="T23" fmla="*/ 0 h 1567"/>
                <a:gd name="T24" fmla="*/ 0 w 1991"/>
                <a:gd name="T25" fmla="*/ 0 h 1567"/>
                <a:gd name="T26" fmla="*/ 0 w 1991"/>
                <a:gd name="T27" fmla="*/ 0 h 1567"/>
                <a:gd name="T28" fmla="*/ 0 w 1991"/>
                <a:gd name="T29" fmla="*/ 0 h 1567"/>
                <a:gd name="T30" fmla="*/ 0 w 1991"/>
                <a:gd name="T31" fmla="*/ 0 h 1567"/>
                <a:gd name="T32" fmla="*/ 0 w 1991"/>
                <a:gd name="T33" fmla="*/ 0 h 1567"/>
                <a:gd name="T34" fmla="*/ 0 w 1991"/>
                <a:gd name="T35" fmla="*/ 0 h 1567"/>
                <a:gd name="T36" fmla="*/ 0 w 1991"/>
                <a:gd name="T37" fmla="*/ 0 h 1567"/>
                <a:gd name="T38" fmla="*/ 0 w 1991"/>
                <a:gd name="T39" fmla="*/ 0 h 1567"/>
                <a:gd name="T40" fmla="*/ 0 w 1991"/>
                <a:gd name="T41" fmla="*/ 0 h 1567"/>
                <a:gd name="T42" fmla="*/ 0 w 1991"/>
                <a:gd name="T43" fmla="*/ 0 h 1567"/>
                <a:gd name="T44" fmla="*/ 0 w 1991"/>
                <a:gd name="T45" fmla="*/ 0 h 1567"/>
                <a:gd name="T46" fmla="*/ 0 w 1991"/>
                <a:gd name="T47" fmla="*/ 0 h 1567"/>
                <a:gd name="T48" fmla="*/ 0 w 1991"/>
                <a:gd name="T49" fmla="*/ 0 h 1567"/>
                <a:gd name="T50" fmla="*/ 0 w 1991"/>
                <a:gd name="T51" fmla="*/ 0 h 1567"/>
                <a:gd name="T52" fmla="*/ 0 w 1991"/>
                <a:gd name="T53" fmla="*/ 0 h 1567"/>
                <a:gd name="T54" fmla="*/ 0 w 1991"/>
                <a:gd name="T55" fmla="*/ 0 h 1567"/>
                <a:gd name="T56" fmla="*/ 0 w 1991"/>
                <a:gd name="T57" fmla="*/ 0 h 1567"/>
                <a:gd name="T58" fmla="*/ 0 w 1991"/>
                <a:gd name="T59" fmla="*/ 0 h 1567"/>
                <a:gd name="T60" fmla="*/ 0 w 1991"/>
                <a:gd name="T61" fmla="*/ 0 h 1567"/>
                <a:gd name="T62" fmla="*/ 0 w 1991"/>
                <a:gd name="T63" fmla="*/ 0 h 1567"/>
                <a:gd name="T64" fmla="*/ 0 w 1991"/>
                <a:gd name="T65" fmla="*/ 0 h 1567"/>
                <a:gd name="T66" fmla="*/ 0 w 1991"/>
                <a:gd name="T67" fmla="*/ 0 h 1567"/>
                <a:gd name="T68" fmla="*/ 0 w 1991"/>
                <a:gd name="T69" fmla="*/ 0 h 1567"/>
                <a:gd name="T70" fmla="*/ 0 w 1991"/>
                <a:gd name="T71" fmla="*/ 0 h 1567"/>
                <a:gd name="T72" fmla="*/ 0 w 1991"/>
                <a:gd name="T73" fmla="*/ 0 h 1567"/>
                <a:gd name="T74" fmla="*/ 0 w 1991"/>
                <a:gd name="T75" fmla="*/ 0 h 1567"/>
                <a:gd name="T76" fmla="*/ 0 w 1991"/>
                <a:gd name="T77" fmla="*/ 0 h 1567"/>
                <a:gd name="T78" fmla="*/ 0 w 1991"/>
                <a:gd name="T79" fmla="*/ 0 h 1567"/>
                <a:gd name="T80" fmla="*/ 0 w 1991"/>
                <a:gd name="T81" fmla="*/ 0 h 1567"/>
                <a:gd name="T82" fmla="*/ 0 w 1991"/>
                <a:gd name="T83" fmla="*/ 0 h 1567"/>
                <a:gd name="T84" fmla="*/ 0 w 1991"/>
                <a:gd name="T85" fmla="*/ 0 h 1567"/>
                <a:gd name="T86" fmla="*/ 0 w 1991"/>
                <a:gd name="T87" fmla="*/ 0 h 1567"/>
                <a:gd name="T88" fmla="*/ 0 w 1991"/>
                <a:gd name="T89" fmla="*/ 0 h 1567"/>
                <a:gd name="T90" fmla="*/ 0 w 1991"/>
                <a:gd name="T91" fmla="*/ 0 h 1567"/>
                <a:gd name="T92" fmla="*/ 0 w 1991"/>
                <a:gd name="T93" fmla="*/ 0 h 1567"/>
                <a:gd name="T94" fmla="*/ 0 w 1991"/>
                <a:gd name="T95" fmla="*/ 0 h 1567"/>
                <a:gd name="T96" fmla="*/ 0 w 1991"/>
                <a:gd name="T97" fmla="*/ 0 h 1567"/>
                <a:gd name="T98" fmla="*/ 0 w 1991"/>
                <a:gd name="T99" fmla="*/ 0 h 1567"/>
                <a:gd name="T100" fmla="*/ 0 w 1991"/>
                <a:gd name="T101" fmla="*/ 0 h 1567"/>
                <a:gd name="T102" fmla="*/ 0 w 1991"/>
                <a:gd name="T103" fmla="*/ 0 h 1567"/>
                <a:gd name="T104" fmla="*/ 0 w 1991"/>
                <a:gd name="T105" fmla="*/ 0 h 1567"/>
                <a:gd name="T106" fmla="*/ 0 w 1991"/>
                <a:gd name="T107" fmla="*/ 0 h 1567"/>
                <a:gd name="T108" fmla="*/ 0 w 1991"/>
                <a:gd name="T109" fmla="*/ 0 h 1567"/>
                <a:gd name="T110" fmla="*/ 0 w 1991"/>
                <a:gd name="T111" fmla="*/ 0 h 1567"/>
                <a:gd name="T112" fmla="*/ 0 w 1991"/>
                <a:gd name="T113" fmla="*/ 0 h 1567"/>
                <a:gd name="T114" fmla="*/ 0 w 1991"/>
                <a:gd name="T115" fmla="*/ 0 h 1567"/>
                <a:gd name="T116" fmla="*/ 0 w 1991"/>
                <a:gd name="T117" fmla="*/ 0 h 1567"/>
                <a:gd name="T118" fmla="*/ 0 w 1991"/>
                <a:gd name="T119" fmla="*/ 0 h 1567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1991"/>
                <a:gd name="T181" fmla="*/ 0 h 1567"/>
                <a:gd name="T182" fmla="*/ 1991 w 1991"/>
                <a:gd name="T183" fmla="*/ 1567 h 1567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1991" h="1567">
                  <a:moveTo>
                    <a:pt x="1940" y="344"/>
                  </a:moveTo>
                  <a:cubicBezTo>
                    <a:pt x="1877" y="268"/>
                    <a:pt x="1877" y="268"/>
                    <a:pt x="1877" y="268"/>
                  </a:cubicBezTo>
                  <a:cubicBezTo>
                    <a:pt x="1889" y="217"/>
                    <a:pt x="1889" y="217"/>
                    <a:pt x="1889" y="217"/>
                  </a:cubicBezTo>
                  <a:cubicBezTo>
                    <a:pt x="1851" y="77"/>
                    <a:pt x="1851" y="77"/>
                    <a:pt x="1851" y="77"/>
                  </a:cubicBezTo>
                  <a:cubicBezTo>
                    <a:pt x="1762" y="128"/>
                    <a:pt x="1762" y="128"/>
                    <a:pt x="1762" y="128"/>
                  </a:cubicBezTo>
                  <a:cubicBezTo>
                    <a:pt x="1685" y="51"/>
                    <a:pt x="1685" y="51"/>
                    <a:pt x="1685" y="51"/>
                  </a:cubicBezTo>
                  <a:cubicBezTo>
                    <a:pt x="1481" y="0"/>
                    <a:pt x="1481" y="0"/>
                    <a:pt x="1481" y="0"/>
                  </a:cubicBezTo>
                  <a:cubicBezTo>
                    <a:pt x="906" y="370"/>
                    <a:pt x="906" y="370"/>
                    <a:pt x="906" y="370"/>
                  </a:cubicBezTo>
                  <a:cubicBezTo>
                    <a:pt x="715" y="548"/>
                    <a:pt x="715" y="548"/>
                    <a:pt x="715" y="548"/>
                  </a:cubicBezTo>
                  <a:cubicBezTo>
                    <a:pt x="510" y="586"/>
                    <a:pt x="510" y="586"/>
                    <a:pt x="510" y="586"/>
                  </a:cubicBezTo>
                  <a:cubicBezTo>
                    <a:pt x="523" y="866"/>
                    <a:pt x="523" y="866"/>
                    <a:pt x="523" y="866"/>
                  </a:cubicBezTo>
                  <a:cubicBezTo>
                    <a:pt x="523" y="866"/>
                    <a:pt x="510" y="879"/>
                    <a:pt x="498" y="892"/>
                  </a:cubicBezTo>
                  <a:cubicBezTo>
                    <a:pt x="485" y="892"/>
                    <a:pt x="498" y="955"/>
                    <a:pt x="498" y="955"/>
                  </a:cubicBezTo>
                  <a:cubicBezTo>
                    <a:pt x="498" y="955"/>
                    <a:pt x="472" y="1032"/>
                    <a:pt x="459" y="1045"/>
                  </a:cubicBezTo>
                  <a:cubicBezTo>
                    <a:pt x="459" y="1045"/>
                    <a:pt x="421" y="1083"/>
                    <a:pt x="421" y="1083"/>
                  </a:cubicBezTo>
                  <a:cubicBezTo>
                    <a:pt x="140" y="1096"/>
                    <a:pt x="140" y="1096"/>
                    <a:pt x="140" y="1096"/>
                  </a:cubicBezTo>
                  <a:cubicBezTo>
                    <a:pt x="102" y="1134"/>
                    <a:pt x="102" y="1134"/>
                    <a:pt x="102" y="1134"/>
                  </a:cubicBezTo>
                  <a:cubicBezTo>
                    <a:pt x="13" y="1134"/>
                    <a:pt x="13" y="1134"/>
                    <a:pt x="13" y="1134"/>
                  </a:cubicBezTo>
                  <a:cubicBezTo>
                    <a:pt x="0" y="1197"/>
                    <a:pt x="0" y="1197"/>
                    <a:pt x="0" y="1197"/>
                  </a:cubicBezTo>
                  <a:cubicBezTo>
                    <a:pt x="25" y="1223"/>
                    <a:pt x="25" y="1223"/>
                    <a:pt x="25" y="1223"/>
                  </a:cubicBezTo>
                  <a:cubicBezTo>
                    <a:pt x="25" y="1223"/>
                    <a:pt x="25" y="1274"/>
                    <a:pt x="38" y="1274"/>
                  </a:cubicBezTo>
                  <a:cubicBezTo>
                    <a:pt x="51" y="1287"/>
                    <a:pt x="127" y="1338"/>
                    <a:pt x="127" y="1338"/>
                  </a:cubicBezTo>
                  <a:cubicBezTo>
                    <a:pt x="102" y="1376"/>
                    <a:pt x="102" y="1376"/>
                    <a:pt x="102" y="1376"/>
                  </a:cubicBezTo>
                  <a:cubicBezTo>
                    <a:pt x="179" y="1439"/>
                    <a:pt x="179" y="1439"/>
                    <a:pt x="179" y="1439"/>
                  </a:cubicBezTo>
                  <a:cubicBezTo>
                    <a:pt x="217" y="1427"/>
                    <a:pt x="217" y="1427"/>
                    <a:pt x="217" y="1427"/>
                  </a:cubicBezTo>
                  <a:cubicBezTo>
                    <a:pt x="217" y="1427"/>
                    <a:pt x="268" y="1439"/>
                    <a:pt x="268" y="1452"/>
                  </a:cubicBezTo>
                  <a:cubicBezTo>
                    <a:pt x="255" y="1465"/>
                    <a:pt x="242" y="1478"/>
                    <a:pt x="242" y="1478"/>
                  </a:cubicBezTo>
                  <a:cubicBezTo>
                    <a:pt x="281" y="1529"/>
                    <a:pt x="281" y="1529"/>
                    <a:pt x="281" y="1529"/>
                  </a:cubicBezTo>
                  <a:cubicBezTo>
                    <a:pt x="293" y="1516"/>
                    <a:pt x="281" y="1478"/>
                    <a:pt x="281" y="1478"/>
                  </a:cubicBezTo>
                  <a:cubicBezTo>
                    <a:pt x="281" y="1478"/>
                    <a:pt x="306" y="1465"/>
                    <a:pt x="319" y="1465"/>
                  </a:cubicBezTo>
                  <a:cubicBezTo>
                    <a:pt x="332" y="1465"/>
                    <a:pt x="357" y="1465"/>
                    <a:pt x="370" y="1490"/>
                  </a:cubicBezTo>
                  <a:cubicBezTo>
                    <a:pt x="383" y="1516"/>
                    <a:pt x="383" y="1516"/>
                    <a:pt x="408" y="1529"/>
                  </a:cubicBezTo>
                  <a:cubicBezTo>
                    <a:pt x="421" y="1541"/>
                    <a:pt x="421" y="1554"/>
                    <a:pt x="421" y="1567"/>
                  </a:cubicBezTo>
                  <a:cubicBezTo>
                    <a:pt x="434" y="1541"/>
                    <a:pt x="447" y="1503"/>
                    <a:pt x="447" y="1478"/>
                  </a:cubicBezTo>
                  <a:cubicBezTo>
                    <a:pt x="447" y="1439"/>
                    <a:pt x="447" y="1439"/>
                    <a:pt x="447" y="1439"/>
                  </a:cubicBezTo>
                  <a:cubicBezTo>
                    <a:pt x="447" y="1439"/>
                    <a:pt x="459" y="1414"/>
                    <a:pt x="485" y="1388"/>
                  </a:cubicBezTo>
                  <a:cubicBezTo>
                    <a:pt x="510" y="1363"/>
                    <a:pt x="510" y="1325"/>
                    <a:pt x="510" y="1325"/>
                  </a:cubicBezTo>
                  <a:cubicBezTo>
                    <a:pt x="510" y="1325"/>
                    <a:pt x="574" y="1299"/>
                    <a:pt x="587" y="1299"/>
                  </a:cubicBezTo>
                  <a:cubicBezTo>
                    <a:pt x="600" y="1299"/>
                    <a:pt x="638" y="1312"/>
                    <a:pt x="651" y="1287"/>
                  </a:cubicBezTo>
                  <a:cubicBezTo>
                    <a:pt x="664" y="1261"/>
                    <a:pt x="715" y="1274"/>
                    <a:pt x="740" y="1299"/>
                  </a:cubicBezTo>
                  <a:cubicBezTo>
                    <a:pt x="779" y="1312"/>
                    <a:pt x="779" y="1312"/>
                    <a:pt x="804" y="1338"/>
                  </a:cubicBezTo>
                  <a:cubicBezTo>
                    <a:pt x="830" y="1363"/>
                    <a:pt x="855" y="1388"/>
                    <a:pt x="855" y="1388"/>
                  </a:cubicBezTo>
                  <a:cubicBezTo>
                    <a:pt x="855" y="1388"/>
                    <a:pt x="906" y="1376"/>
                    <a:pt x="932" y="1363"/>
                  </a:cubicBezTo>
                  <a:cubicBezTo>
                    <a:pt x="970" y="1350"/>
                    <a:pt x="983" y="1350"/>
                    <a:pt x="1021" y="1363"/>
                  </a:cubicBezTo>
                  <a:cubicBezTo>
                    <a:pt x="1072" y="1376"/>
                    <a:pt x="1111" y="1414"/>
                    <a:pt x="1149" y="1414"/>
                  </a:cubicBezTo>
                  <a:cubicBezTo>
                    <a:pt x="1174" y="1414"/>
                    <a:pt x="1174" y="1401"/>
                    <a:pt x="1213" y="1388"/>
                  </a:cubicBezTo>
                  <a:cubicBezTo>
                    <a:pt x="1238" y="1376"/>
                    <a:pt x="1277" y="1350"/>
                    <a:pt x="1315" y="1350"/>
                  </a:cubicBezTo>
                  <a:cubicBezTo>
                    <a:pt x="1353" y="1350"/>
                    <a:pt x="1430" y="1350"/>
                    <a:pt x="1455" y="1350"/>
                  </a:cubicBezTo>
                  <a:cubicBezTo>
                    <a:pt x="1481" y="1363"/>
                    <a:pt x="1532" y="1376"/>
                    <a:pt x="1545" y="1376"/>
                  </a:cubicBezTo>
                  <a:cubicBezTo>
                    <a:pt x="1557" y="1376"/>
                    <a:pt x="1583" y="1325"/>
                    <a:pt x="1608" y="1325"/>
                  </a:cubicBezTo>
                  <a:cubicBezTo>
                    <a:pt x="1647" y="1312"/>
                    <a:pt x="1621" y="1287"/>
                    <a:pt x="1660" y="1287"/>
                  </a:cubicBezTo>
                  <a:cubicBezTo>
                    <a:pt x="1672" y="1287"/>
                    <a:pt x="1672" y="1299"/>
                    <a:pt x="1685" y="1299"/>
                  </a:cubicBezTo>
                  <a:cubicBezTo>
                    <a:pt x="1685" y="1287"/>
                    <a:pt x="1685" y="1287"/>
                    <a:pt x="1685" y="1287"/>
                  </a:cubicBezTo>
                  <a:cubicBezTo>
                    <a:pt x="1685" y="1197"/>
                    <a:pt x="1685" y="1197"/>
                    <a:pt x="1685" y="1197"/>
                  </a:cubicBezTo>
                  <a:cubicBezTo>
                    <a:pt x="1698" y="1146"/>
                    <a:pt x="1698" y="1146"/>
                    <a:pt x="1698" y="1146"/>
                  </a:cubicBezTo>
                  <a:cubicBezTo>
                    <a:pt x="1928" y="892"/>
                    <a:pt x="1928" y="892"/>
                    <a:pt x="1928" y="892"/>
                  </a:cubicBezTo>
                  <a:cubicBezTo>
                    <a:pt x="1953" y="484"/>
                    <a:pt x="1953" y="484"/>
                    <a:pt x="1953" y="484"/>
                  </a:cubicBezTo>
                  <a:cubicBezTo>
                    <a:pt x="1991" y="433"/>
                    <a:pt x="1991" y="433"/>
                    <a:pt x="1991" y="433"/>
                  </a:cubicBezTo>
                  <a:cubicBezTo>
                    <a:pt x="1928" y="370"/>
                    <a:pt x="1928" y="370"/>
                    <a:pt x="1928" y="370"/>
                  </a:cubicBezTo>
                  <a:lnTo>
                    <a:pt x="1940" y="344"/>
                  </a:lnTo>
                  <a:close/>
                </a:path>
              </a:pathLst>
            </a:custGeom>
            <a:grpFill/>
            <a:ln w="9525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891045"/>
              <a:endParaRPr lang="en-US" sz="1700" dirty="0">
                <a:solidFill>
                  <a:srgbClr val="003149"/>
                </a:solidFill>
                <a:cs typeface="Arial" panose="020B0604020202020204" pitchFamily="34" charset="0"/>
              </a:endParaRPr>
            </a:p>
          </p:txBody>
        </p:sp>
      </p:grpSp>
      <p:grpSp>
        <p:nvGrpSpPr>
          <p:cNvPr id="453" name="Group 260"/>
          <p:cNvGrpSpPr>
            <a:grpSpLocks/>
          </p:cNvGrpSpPr>
          <p:nvPr/>
        </p:nvGrpSpPr>
        <p:grpSpPr bwMode="gray">
          <a:xfrm>
            <a:off x="1389229" y="2033883"/>
            <a:ext cx="191071" cy="329851"/>
            <a:chOff x="4386" y="2718"/>
            <a:chExt cx="131" cy="213"/>
          </a:xfrm>
          <a:solidFill>
            <a:schemeClr val="accent3"/>
          </a:solidFill>
        </p:grpSpPr>
        <p:sp>
          <p:nvSpPr>
            <p:cNvPr id="454" name="Freeform 261"/>
            <p:cNvSpPr>
              <a:spLocks/>
            </p:cNvSpPr>
            <p:nvPr/>
          </p:nvSpPr>
          <p:spPr bwMode="gray">
            <a:xfrm>
              <a:off x="4386" y="2718"/>
              <a:ext cx="131" cy="213"/>
            </a:xfrm>
            <a:custGeom>
              <a:avLst/>
              <a:gdLst>
                <a:gd name="T0" fmla="*/ 0 w 1300"/>
                <a:gd name="T1" fmla="*/ 0 h 2108"/>
                <a:gd name="T2" fmla="*/ 0 w 1300"/>
                <a:gd name="T3" fmla="*/ 0 h 2108"/>
                <a:gd name="T4" fmla="*/ 0 w 1300"/>
                <a:gd name="T5" fmla="*/ 0 h 2108"/>
                <a:gd name="T6" fmla="*/ 0 w 1300"/>
                <a:gd name="T7" fmla="*/ 0 h 2108"/>
                <a:gd name="T8" fmla="*/ 0 w 1300"/>
                <a:gd name="T9" fmla="*/ 0 h 2108"/>
                <a:gd name="T10" fmla="*/ 0 w 1300"/>
                <a:gd name="T11" fmla="*/ 0 h 2108"/>
                <a:gd name="T12" fmla="*/ 0 w 1300"/>
                <a:gd name="T13" fmla="*/ 0 h 2108"/>
                <a:gd name="T14" fmla="*/ 0 w 1300"/>
                <a:gd name="T15" fmla="*/ 0 h 2108"/>
                <a:gd name="T16" fmla="*/ 0 w 1300"/>
                <a:gd name="T17" fmla="*/ 0 h 2108"/>
                <a:gd name="T18" fmla="*/ 0 w 1300"/>
                <a:gd name="T19" fmla="*/ 0 h 2108"/>
                <a:gd name="T20" fmla="*/ 0 w 1300"/>
                <a:gd name="T21" fmla="*/ 0 h 2108"/>
                <a:gd name="T22" fmla="*/ 0 w 1300"/>
                <a:gd name="T23" fmla="*/ 0 h 2108"/>
                <a:gd name="T24" fmla="*/ 0 w 1300"/>
                <a:gd name="T25" fmla="*/ 0 h 2108"/>
                <a:gd name="T26" fmla="*/ 0 w 1300"/>
                <a:gd name="T27" fmla="*/ 0 h 2108"/>
                <a:gd name="T28" fmla="*/ 0 w 1300"/>
                <a:gd name="T29" fmla="*/ 0 h 2108"/>
                <a:gd name="T30" fmla="*/ 0 w 1300"/>
                <a:gd name="T31" fmla="*/ 0 h 2108"/>
                <a:gd name="T32" fmla="*/ 0 w 1300"/>
                <a:gd name="T33" fmla="*/ 0 h 2108"/>
                <a:gd name="T34" fmla="*/ 0 w 1300"/>
                <a:gd name="T35" fmla="*/ 0 h 2108"/>
                <a:gd name="T36" fmla="*/ 0 w 1300"/>
                <a:gd name="T37" fmla="*/ 0 h 2108"/>
                <a:gd name="T38" fmla="*/ 0 w 1300"/>
                <a:gd name="T39" fmla="*/ 0 h 2108"/>
                <a:gd name="T40" fmla="*/ 0 w 1300"/>
                <a:gd name="T41" fmla="*/ 0 h 2108"/>
                <a:gd name="T42" fmla="*/ 0 w 1300"/>
                <a:gd name="T43" fmla="*/ 0 h 2108"/>
                <a:gd name="T44" fmla="*/ 0 w 1300"/>
                <a:gd name="T45" fmla="*/ 0 h 2108"/>
                <a:gd name="T46" fmla="*/ 0 w 1300"/>
                <a:gd name="T47" fmla="*/ 0 h 2108"/>
                <a:gd name="T48" fmla="*/ 0 w 1300"/>
                <a:gd name="T49" fmla="*/ 0 h 2108"/>
                <a:gd name="T50" fmla="*/ 0 w 1300"/>
                <a:gd name="T51" fmla="*/ 0 h 2108"/>
                <a:gd name="T52" fmla="*/ 0 w 1300"/>
                <a:gd name="T53" fmla="*/ 0 h 2108"/>
                <a:gd name="T54" fmla="*/ 0 w 1300"/>
                <a:gd name="T55" fmla="*/ 0 h 2108"/>
                <a:gd name="T56" fmla="*/ 0 w 1300"/>
                <a:gd name="T57" fmla="*/ 0 h 2108"/>
                <a:gd name="T58" fmla="*/ 0 w 1300"/>
                <a:gd name="T59" fmla="*/ 0 h 2108"/>
                <a:gd name="T60" fmla="*/ 0 w 1300"/>
                <a:gd name="T61" fmla="*/ 0 h 2108"/>
                <a:gd name="T62" fmla="*/ 0 w 1300"/>
                <a:gd name="T63" fmla="*/ 0 h 2108"/>
                <a:gd name="T64" fmla="*/ 0 w 1300"/>
                <a:gd name="T65" fmla="*/ 0 h 2108"/>
                <a:gd name="T66" fmla="*/ 0 w 1300"/>
                <a:gd name="T67" fmla="*/ 0 h 2108"/>
                <a:gd name="T68" fmla="*/ 0 w 1300"/>
                <a:gd name="T69" fmla="*/ 0 h 2108"/>
                <a:gd name="T70" fmla="*/ 0 w 1300"/>
                <a:gd name="T71" fmla="*/ 0 h 2108"/>
                <a:gd name="T72" fmla="*/ 0 w 1300"/>
                <a:gd name="T73" fmla="*/ 0 h 2108"/>
                <a:gd name="T74" fmla="*/ 0 w 1300"/>
                <a:gd name="T75" fmla="*/ 0 h 2108"/>
                <a:gd name="T76" fmla="*/ 0 w 1300"/>
                <a:gd name="T77" fmla="*/ 0 h 2108"/>
                <a:gd name="T78" fmla="*/ 0 w 1300"/>
                <a:gd name="T79" fmla="*/ 0 h 2108"/>
                <a:gd name="T80" fmla="*/ 0 w 1300"/>
                <a:gd name="T81" fmla="*/ 0 h 2108"/>
                <a:gd name="T82" fmla="*/ 0 w 1300"/>
                <a:gd name="T83" fmla="*/ 0 h 2108"/>
                <a:gd name="T84" fmla="*/ 0 w 1300"/>
                <a:gd name="T85" fmla="*/ 0 h 2108"/>
                <a:gd name="T86" fmla="*/ 0 w 1300"/>
                <a:gd name="T87" fmla="*/ 0 h 2108"/>
                <a:gd name="T88" fmla="*/ 0 w 1300"/>
                <a:gd name="T89" fmla="*/ 0 h 2108"/>
                <a:gd name="T90" fmla="*/ 0 w 1300"/>
                <a:gd name="T91" fmla="*/ 0 h 2108"/>
                <a:gd name="T92" fmla="*/ 0 w 1300"/>
                <a:gd name="T93" fmla="*/ 0 h 2108"/>
                <a:gd name="T94" fmla="*/ 0 w 1300"/>
                <a:gd name="T95" fmla="*/ 0 h 2108"/>
                <a:gd name="T96" fmla="*/ 0 w 1300"/>
                <a:gd name="T97" fmla="*/ 0 h 2108"/>
                <a:gd name="T98" fmla="*/ 0 w 1300"/>
                <a:gd name="T99" fmla="*/ 0 h 2108"/>
                <a:gd name="T100" fmla="*/ 0 w 1300"/>
                <a:gd name="T101" fmla="*/ 0 h 2108"/>
                <a:gd name="T102" fmla="*/ 0 w 1300"/>
                <a:gd name="T103" fmla="*/ 0 h 2108"/>
                <a:gd name="T104" fmla="*/ 0 w 1300"/>
                <a:gd name="T105" fmla="*/ 0 h 2108"/>
                <a:gd name="T106" fmla="*/ 0 w 1300"/>
                <a:gd name="T107" fmla="*/ 0 h 2108"/>
                <a:gd name="T108" fmla="*/ 0 w 1300"/>
                <a:gd name="T109" fmla="*/ 0 h 2108"/>
                <a:gd name="T110" fmla="*/ 0 w 1300"/>
                <a:gd name="T111" fmla="*/ 0 h 2108"/>
                <a:gd name="T112" fmla="*/ 0 w 1300"/>
                <a:gd name="T113" fmla="*/ 0 h 2108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1300"/>
                <a:gd name="T172" fmla="*/ 0 h 2108"/>
                <a:gd name="T173" fmla="*/ 1300 w 1300"/>
                <a:gd name="T174" fmla="*/ 2108 h 2108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1300" h="2108">
                  <a:moveTo>
                    <a:pt x="1161" y="1623"/>
                  </a:moveTo>
                  <a:cubicBezTo>
                    <a:pt x="1161" y="1623"/>
                    <a:pt x="1174" y="1572"/>
                    <a:pt x="1149" y="1559"/>
                  </a:cubicBezTo>
                  <a:cubicBezTo>
                    <a:pt x="1123" y="1559"/>
                    <a:pt x="1111" y="1546"/>
                    <a:pt x="1123" y="1521"/>
                  </a:cubicBezTo>
                  <a:cubicBezTo>
                    <a:pt x="1136" y="1495"/>
                    <a:pt x="1111" y="1482"/>
                    <a:pt x="1111" y="1457"/>
                  </a:cubicBezTo>
                  <a:cubicBezTo>
                    <a:pt x="1098" y="1431"/>
                    <a:pt x="1098" y="1406"/>
                    <a:pt x="1086" y="1406"/>
                  </a:cubicBezTo>
                  <a:cubicBezTo>
                    <a:pt x="1073" y="1418"/>
                    <a:pt x="1022" y="1431"/>
                    <a:pt x="1048" y="1380"/>
                  </a:cubicBezTo>
                  <a:cubicBezTo>
                    <a:pt x="1073" y="1329"/>
                    <a:pt x="1086" y="1329"/>
                    <a:pt x="1086" y="1329"/>
                  </a:cubicBezTo>
                  <a:cubicBezTo>
                    <a:pt x="1073" y="1265"/>
                    <a:pt x="1073" y="1265"/>
                    <a:pt x="1073" y="1265"/>
                  </a:cubicBezTo>
                  <a:cubicBezTo>
                    <a:pt x="1123" y="1240"/>
                    <a:pt x="1123" y="1240"/>
                    <a:pt x="1123" y="1240"/>
                  </a:cubicBezTo>
                  <a:cubicBezTo>
                    <a:pt x="1111" y="1176"/>
                    <a:pt x="1111" y="1176"/>
                    <a:pt x="1111" y="1176"/>
                  </a:cubicBezTo>
                  <a:cubicBezTo>
                    <a:pt x="1111" y="1176"/>
                    <a:pt x="1136" y="1163"/>
                    <a:pt x="1149" y="1150"/>
                  </a:cubicBezTo>
                  <a:cubicBezTo>
                    <a:pt x="1149" y="1150"/>
                    <a:pt x="1149" y="1112"/>
                    <a:pt x="1174" y="1099"/>
                  </a:cubicBezTo>
                  <a:cubicBezTo>
                    <a:pt x="1187" y="1086"/>
                    <a:pt x="1174" y="1048"/>
                    <a:pt x="1174" y="1048"/>
                  </a:cubicBezTo>
                  <a:cubicBezTo>
                    <a:pt x="1174" y="1048"/>
                    <a:pt x="1212" y="1022"/>
                    <a:pt x="1224" y="1022"/>
                  </a:cubicBezTo>
                  <a:cubicBezTo>
                    <a:pt x="1250" y="1022"/>
                    <a:pt x="1300" y="1022"/>
                    <a:pt x="1300" y="1022"/>
                  </a:cubicBezTo>
                  <a:cubicBezTo>
                    <a:pt x="1300" y="524"/>
                    <a:pt x="1300" y="524"/>
                    <a:pt x="1300" y="524"/>
                  </a:cubicBezTo>
                  <a:cubicBezTo>
                    <a:pt x="316" y="0"/>
                    <a:pt x="316" y="0"/>
                    <a:pt x="316" y="0"/>
                  </a:cubicBezTo>
                  <a:cubicBezTo>
                    <a:pt x="177" y="64"/>
                    <a:pt x="177" y="64"/>
                    <a:pt x="177" y="64"/>
                  </a:cubicBezTo>
                  <a:cubicBezTo>
                    <a:pt x="215" y="205"/>
                    <a:pt x="215" y="205"/>
                    <a:pt x="215" y="205"/>
                  </a:cubicBezTo>
                  <a:cubicBezTo>
                    <a:pt x="202" y="256"/>
                    <a:pt x="202" y="256"/>
                    <a:pt x="202" y="256"/>
                  </a:cubicBezTo>
                  <a:cubicBezTo>
                    <a:pt x="265" y="332"/>
                    <a:pt x="265" y="332"/>
                    <a:pt x="265" y="332"/>
                  </a:cubicBezTo>
                  <a:cubicBezTo>
                    <a:pt x="253" y="358"/>
                    <a:pt x="253" y="358"/>
                    <a:pt x="253" y="358"/>
                  </a:cubicBezTo>
                  <a:cubicBezTo>
                    <a:pt x="316" y="422"/>
                    <a:pt x="316" y="422"/>
                    <a:pt x="316" y="422"/>
                  </a:cubicBezTo>
                  <a:cubicBezTo>
                    <a:pt x="278" y="473"/>
                    <a:pt x="278" y="473"/>
                    <a:pt x="278" y="473"/>
                  </a:cubicBezTo>
                  <a:cubicBezTo>
                    <a:pt x="253" y="882"/>
                    <a:pt x="253" y="882"/>
                    <a:pt x="253" y="882"/>
                  </a:cubicBezTo>
                  <a:cubicBezTo>
                    <a:pt x="25" y="1137"/>
                    <a:pt x="25" y="1137"/>
                    <a:pt x="25" y="1137"/>
                  </a:cubicBezTo>
                  <a:cubicBezTo>
                    <a:pt x="13" y="1188"/>
                    <a:pt x="13" y="1188"/>
                    <a:pt x="13" y="1188"/>
                  </a:cubicBezTo>
                  <a:cubicBezTo>
                    <a:pt x="13" y="1278"/>
                    <a:pt x="13" y="1278"/>
                    <a:pt x="13" y="1278"/>
                  </a:cubicBezTo>
                  <a:cubicBezTo>
                    <a:pt x="13" y="1291"/>
                    <a:pt x="13" y="1291"/>
                    <a:pt x="13" y="1291"/>
                  </a:cubicBezTo>
                  <a:cubicBezTo>
                    <a:pt x="0" y="1291"/>
                    <a:pt x="0" y="1291"/>
                    <a:pt x="0" y="1291"/>
                  </a:cubicBezTo>
                  <a:cubicBezTo>
                    <a:pt x="25" y="1291"/>
                    <a:pt x="25" y="1291"/>
                    <a:pt x="25" y="1291"/>
                  </a:cubicBezTo>
                  <a:cubicBezTo>
                    <a:pt x="76" y="1367"/>
                    <a:pt x="76" y="1367"/>
                    <a:pt x="76" y="1367"/>
                  </a:cubicBezTo>
                  <a:cubicBezTo>
                    <a:pt x="76" y="1367"/>
                    <a:pt x="126" y="1380"/>
                    <a:pt x="139" y="1393"/>
                  </a:cubicBezTo>
                  <a:cubicBezTo>
                    <a:pt x="152" y="1406"/>
                    <a:pt x="189" y="1495"/>
                    <a:pt x="189" y="1495"/>
                  </a:cubicBezTo>
                  <a:cubicBezTo>
                    <a:pt x="189" y="1648"/>
                    <a:pt x="189" y="1648"/>
                    <a:pt x="189" y="1648"/>
                  </a:cubicBezTo>
                  <a:cubicBezTo>
                    <a:pt x="215" y="1712"/>
                    <a:pt x="215" y="1712"/>
                    <a:pt x="215" y="1712"/>
                  </a:cubicBezTo>
                  <a:cubicBezTo>
                    <a:pt x="265" y="1776"/>
                    <a:pt x="265" y="1776"/>
                    <a:pt x="265" y="1776"/>
                  </a:cubicBezTo>
                  <a:cubicBezTo>
                    <a:pt x="265" y="1776"/>
                    <a:pt x="164" y="1776"/>
                    <a:pt x="152" y="1776"/>
                  </a:cubicBezTo>
                  <a:cubicBezTo>
                    <a:pt x="139" y="1776"/>
                    <a:pt x="76" y="1776"/>
                    <a:pt x="76" y="1789"/>
                  </a:cubicBezTo>
                  <a:cubicBezTo>
                    <a:pt x="63" y="1802"/>
                    <a:pt x="114" y="1866"/>
                    <a:pt x="114" y="1878"/>
                  </a:cubicBezTo>
                  <a:cubicBezTo>
                    <a:pt x="126" y="1891"/>
                    <a:pt x="215" y="1942"/>
                    <a:pt x="215" y="1942"/>
                  </a:cubicBezTo>
                  <a:cubicBezTo>
                    <a:pt x="240" y="2032"/>
                    <a:pt x="240" y="2032"/>
                    <a:pt x="240" y="2032"/>
                  </a:cubicBezTo>
                  <a:cubicBezTo>
                    <a:pt x="253" y="2083"/>
                    <a:pt x="253" y="2083"/>
                    <a:pt x="253" y="2083"/>
                  </a:cubicBezTo>
                  <a:cubicBezTo>
                    <a:pt x="253" y="2083"/>
                    <a:pt x="290" y="2108"/>
                    <a:pt x="341" y="2070"/>
                  </a:cubicBezTo>
                  <a:cubicBezTo>
                    <a:pt x="379" y="2032"/>
                    <a:pt x="379" y="2032"/>
                    <a:pt x="379" y="2032"/>
                  </a:cubicBezTo>
                  <a:cubicBezTo>
                    <a:pt x="429" y="2083"/>
                    <a:pt x="429" y="2083"/>
                    <a:pt x="429" y="2083"/>
                  </a:cubicBezTo>
                  <a:cubicBezTo>
                    <a:pt x="429" y="2083"/>
                    <a:pt x="492" y="2032"/>
                    <a:pt x="530" y="2019"/>
                  </a:cubicBezTo>
                  <a:cubicBezTo>
                    <a:pt x="555" y="2019"/>
                    <a:pt x="631" y="2006"/>
                    <a:pt x="631" y="2006"/>
                  </a:cubicBezTo>
                  <a:cubicBezTo>
                    <a:pt x="694" y="1930"/>
                    <a:pt x="694" y="1930"/>
                    <a:pt x="694" y="1930"/>
                  </a:cubicBezTo>
                  <a:cubicBezTo>
                    <a:pt x="694" y="1930"/>
                    <a:pt x="656" y="1917"/>
                    <a:pt x="669" y="1904"/>
                  </a:cubicBezTo>
                  <a:cubicBezTo>
                    <a:pt x="669" y="1891"/>
                    <a:pt x="821" y="1878"/>
                    <a:pt x="821" y="1878"/>
                  </a:cubicBezTo>
                  <a:cubicBezTo>
                    <a:pt x="921" y="1815"/>
                    <a:pt x="921" y="1815"/>
                    <a:pt x="921" y="1815"/>
                  </a:cubicBezTo>
                  <a:cubicBezTo>
                    <a:pt x="1022" y="1725"/>
                    <a:pt x="1022" y="1725"/>
                    <a:pt x="1022" y="1725"/>
                  </a:cubicBezTo>
                  <a:cubicBezTo>
                    <a:pt x="1035" y="1661"/>
                    <a:pt x="1035" y="1661"/>
                    <a:pt x="1035" y="1661"/>
                  </a:cubicBezTo>
                  <a:cubicBezTo>
                    <a:pt x="1123" y="1636"/>
                    <a:pt x="1123" y="1636"/>
                    <a:pt x="1123" y="1636"/>
                  </a:cubicBezTo>
                  <a:cubicBezTo>
                    <a:pt x="1174" y="1661"/>
                    <a:pt x="1174" y="1661"/>
                    <a:pt x="1174" y="1661"/>
                  </a:cubicBezTo>
                  <a:cubicBezTo>
                    <a:pt x="1161" y="1648"/>
                    <a:pt x="1161" y="1623"/>
                    <a:pt x="1161" y="1623"/>
                  </a:cubicBezTo>
                </a:path>
              </a:pathLst>
            </a:custGeom>
            <a:grpFill/>
            <a:ln w="9525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891045"/>
              <a:endParaRPr lang="en-US" sz="1700" dirty="0">
                <a:solidFill>
                  <a:srgbClr val="003149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455" name="Freeform 262"/>
            <p:cNvSpPr>
              <a:spLocks/>
            </p:cNvSpPr>
            <p:nvPr/>
          </p:nvSpPr>
          <p:spPr bwMode="gray">
            <a:xfrm>
              <a:off x="4386" y="2718"/>
              <a:ext cx="131" cy="213"/>
            </a:xfrm>
            <a:custGeom>
              <a:avLst/>
              <a:gdLst>
                <a:gd name="T0" fmla="*/ 117 w 131"/>
                <a:gd name="T1" fmla="*/ 164 h 213"/>
                <a:gd name="T2" fmla="*/ 116 w 131"/>
                <a:gd name="T3" fmla="*/ 158 h 213"/>
                <a:gd name="T4" fmla="*/ 113 w 131"/>
                <a:gd name="T5" fmla="*/ 154 h 213"/>
                <a:gd name="T6" fmla="*/ 112 w 131"/>
                <a:gd name="T7" fmla="*/ 147 h 213"/>
                <a:gd name="T8" fmla="*/ 109 w 131"/>
                <a:gd name="T9" fmla="*/ 142 h 213"/>
                <a:gd name="T10" fmla="*/ 106 w 131"/>
                <a:gd name="T11" fmla="*/ 140 h 213"/>
                <a:gd name="T12" fmla="*/ 109 w 131"/>
                <a:gd name="T13" fmla="*/ 135 h 213"/>
                <a:gd name="T14" fmla="*/ 108 w 131"/>
                <a:gd name="T15" fmla="*/ 128 h 213"/>
                <a:gd name="T16" fmla="*/ 113 w 131"/>
                <a:gd name="T17" fmla="*/ 126 h 213"/>
                <a:gd name="T18" fmla="*/ 112 w 131"/>
                <a:gd name="T19" fmla="*/ 119 h 213"/>
                <a:gd name="T20" fmla="*/ 116 w 131"/>
                <a:gd name="T21" fmla="*/ 116 h 213"/>
                <a:gd name="T22" fmla="*/ 118 w 131"/>
                <a:gd name="T23" fmla="*/ 111 h 213"/>
                <a:gd name="T24" fmla="*/ 118 w 131"/>
                <a:gd name="T25" fmla="*/ 106 h 213"/>
                <a:gd name="T26" fmla="*/ 123 w 131"/>
                <a:gd name="T27" fmla="*/ 104 h 213"/>
                <a:gd name="T28" fmla="*/ 131 w 131"/>
                <a:gd name="T29" fmla="*/ 104 h 213"/>
                <a:gd name="T30" fmla="*/ 131 w 131"/>
                <a:gd name="T31" fmla="*/ 53 h 213"/>
                <a:gd name="T32" fmla="*/ 32 w 131"/>
                <a:gd name="T33" fmla="*/ 0 h 213"/>
                <a:gd name="T34" fmla="*/ 18 w 131"/>
                <a:gd name="T35" fmla="*/ 7 h 213"/>
                <a:gd name="T36" fmla="*/ 21 w 131"/>
                <a:gd name="T37" fmla="*/ 21 h 213"/>
                <a:gd name="T38" fmla="*/ 20 w 131"/>
                <a:gd name="T39" fmla="*/ 26 h 213"/>
                <a:gd name="T40" fmla="*/ 26 w 131"/>
                <a:gd name="T41" fmla="*/ 34 h 213"/>
                <a:gd name="T42" fmla="*/ 25 w 131"/>
                <a:gd name="T43" fmla="*/ 36 h 213"/>
                <a:gd name="T44" fmla="*/ 32 w 131"/>
                <a:gd name="T45" fmla="*/ 43 h 213"/>
                <a:gd name="T46" fmla="*/ 28 w 131"/>
                <a:gd name="T47" fmla="*/ 48 h 213"/>
                <a:gd name="T48" fmla="*/ 25 w 131"/>
                <a:gd name="T49" fmla="*/ 89 h 213"/>
                <a:gd name="T50" fmla="*/ 2 w 131"/>
                <a:gd name="T51" fmla="*/ 115 h 213"/>
                <a:gd name="T52" fmla="*/ 1 w 131"/>
                <a:gd name="T53" fmla="*/ 120 h 213"/>
                <a:gd name="T54" fmla="*/ 1 w 131"/>
                <a:gd name="T55" fmla="*/ 129 h 213"/>
                <a:gd name="T56" fmla="*/ 1 w 131"/>
                <a:gd name="T57" fmla="*/ 131 h 213"/>
                <a:gd name="T58" fmla="*/ 0 w 131"/>
                <a:gd name="T59" fmla="*/ 131 h 213"/>
                <a:gd name="T60" fmla="*/ 2 w 131"/>
                <a:gd name="T61" fmla="*/ 131 h 213"/>
                <a:gd name="T62" fmla="*/ 7 w 131"/>
                <a:gd name="T63" fmla="*/ 138 h 213"/>
                <a:gd name="T64" fmla="*/ 14 w 131"/>
                <a:gd name="T65" fmla="*/ 141 h 213"/>
                <a:gd name="T66" fmla="*/ 19 w 131"/>
                <a:gd name="T67" fmla="*/ 151 h 213"/>
                <a:gd name="T68" fmla="*/ 19 w 131"/>
                <a:gd name="T69" fmla="*/ 167 h 213"/>
                <a:gd name="T70" fmla="*/ 21 w 131"/>
                <a:gd name="T71" fmla="*/ 173 h 213"/>
                <a:gd name="T72" fmla="*/ 26 w 131"/>
                <a:gd name="T73" fmla="*/ 180 h 213"/>
                <a:gd name="T74" fmla="*/ 15 w 131"/>
                <a:gd name="T75" fmla="*/ 180 h 213"/>
                <a:gd name="T76" fmla="*/ 7 w 131"/>
                <a:gd name="T77" fmla="*/ 181 h 213"/>
                <a:gd name="T78" fmla="*/ 11 w 131"/>
                <a:gd name="T79" fmla="*/ 190 h 213"/>
                <a:gd name="T80" fmla="*/ 21 w 131"/>
                <a:gd name="T81" fmla="*/ 196 h 213"/>
                <a:gd name="T82" fmla="*/ 24 w 131"/>
                <a:gd name="T83" fmla="*/ 206 h 213"/>
                <a:gd name="T84" fmla="*/ 25 w 131"/>
                <a:gd name="T85" fmla="*/ 211 h 213"/>
                <a:gd name="T86" fmla="*/ 34 w 131"/>
                <a:gd name="T87" fmla="*/ 209 h 213"/>
                <a:gd name="T88" fmla="*/ 38 w 131"/>
                <a:gd name="T89" fmla="*/ 206 h 213"/>
                <a:gd name="T90" fmla="*/ 43 w 131"/>
                <a:gd name="T91" fmla="*/ 211 h 213"/>
                <a:gd name="T92" fmla="*/ 53 w 131"/>
                <a:gd name="T93" fmla="*/ 204 h 213"/>
                <a:gd name="T94" fmla="*/ 63 w 131"/>
                <a:gd name="T95" fmla="*/ 203 h 213"/>
                <a:gd name="T96" fmla="*/ 70 w 131"/>
                <a:gd name="T97" fmla="*/ 195 h 213"/>
                <a:gd name="T98" fmla="*/ 67 w 131"/>
                <a:gd name="T99" fmla="*/ 193 h 213"/>
                <a:gd name="T100" fmla="*/ 83 w 131"/>
                <a:gd name="T101" fmla="*/ 190 h 213"/>
                <a:gd name="T102" fmla="*/ 93 w 131"/>
                <a:gd name="T103" fmla="*/ 184 h 213"/>
                <a:gd name="T104" fmla="*/ 103 w 131"/>
                <a:gd name="T105" fmla="*/ 175 h 213"/>
                <a:gd name="T106" fmla="*/ 104 w 131"/>
                <a:gd name="T107" fmla="*/ 168 h 213"/>
                <a:gd name="T108" fmla="*/ 113 w 131"/>
                <a:gd name="T109" fmla="*/ 166 h 213"/>
                <a:gd name="T110" fmla="*/ 118 w 131"/>
                <a:gd name="T111" fmla="*/ 168 h 213"/>
                <a:gd name="T112" fmla="*/ 117 w 131"/>
                <a:gd name="T113" fmla="*/ 164 h 213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131"/>
                <a:gd name="T172" fmla="*/ 0 h 213"/>
                <a:gd name="T173" fmla="*/ 131 w 131"/>
                <a:gd name="T174" fmla="*/ 213 h 213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131" h="213">
                  <a:moveTo>
                    <a:pt x="117" y="164"/>
                  </a:moveTo>
                  <a:cubicBezTo>
                    <a:pt x="117" y="164"/>
                    <a:pt x="118" y="159"/>
                    <a:pt x="116" y="158"/>
                  </a:cubicBezTo>
                  <a:cubicBezTo>
                    <a:pt x="113" y="158"/>
                    <a:pt x="112" y="156"/>
                    <a:pt x="113" y="154"/>
                  </a:cubicBezTo>
                  <a:cubicBezTo>
                    <a:pt x="114" y="151"/>
                    <a:pt x="112" y="150"/>
                    <a:pt x="112" y="147"/>
                  </a:cubicBezTo>
                  <a:cubicBezTo>
                    <a:pt x="111" y="145"/>
                    <a:pt x="111" y="142"/>
                    <a:pt x="109" y="142"/>
                  </a:cubicBezTo>
                  <a:cubicBezTo>
                    <a:pt x="108" y="144"/>
                    <a:pt x="103" y="145"/>
                    <a:pt x="106" y="140"/>
                  </a:cubicBezTo>
                  <a:cubicBezTo>
                    <a:pt x="108" y="135"/>
                    <a:pt x="109" y="135"/>
                    <a:pt x="109" y="135"/>
                  </a:cubicBezTo>
                  <a:cubicBezTo>
                    <a:pt x="108" y="128"/>
                    <a:pt x="108" y="128"/>
                    <a:pt x="108" y="128"/>
                  </a:cubicBezTo>
                  <a:cubicBezTo>
                    <a:pt x="113" y="126"/>
                    <a:pt x="113" y="126"/>
                    <a:pt x="113" y="126"/>
                  </a:cubicBezTo>
                  <a:cubicBezTo>
                    <a:pt x="112" y="119"/>
                    <a:pt x="112" y="119"/>
                    <a:pt x="112" y="119"/>
                  </a:cubicBezTo>
                  <a:cubicBezTo>
                    <a:pt x="112" y="119"/>
                    <a:pt x="114" y="118"/>
                    <a:pt x="116" y="116"/>
                  </a:cubicBezTo>
                  <a:cubicBezTo>
                    <a:pt x="116" y="116"/>
                    <a:pt x="116" y="113"/>
                    <a:pt x="118" y="111"/>
                  </a:cubicBezTo>
                  <a:cubicBezTo>
                    <a:pt x="120" y="110"/>
                    <a:pt x="118" y="106"/>
                    <a:pt x="118" y="106"/>
                  </a:cubicBezTo>
                  <a:cubicBezTo>
                    <a:pt x="118" y="106"/>
                    <a:pt x="122" y="104"/>
                    <a:pt x="123" y="104"/>
                  </a:cubicBezTo>
                  <a:cubicBezTo>
                    <a:pt x="126" y="104"/>
                    <a:pt x="131" y="104"/>
                    <a:pt x="131" y="104"/>
                  </a:cubicBezTo>
                  <a:cubicBezTo>
                    <a:pt x="131" y="53"/>
                    <a:pt x="131" y="53"/>
                    <a:pt x="131" y="53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18" y="7"/>
                    <a:pt x="18" y="7"/>
                    <a:pt x="18" y="7"/>
                  </a:cubicBezTo>
                  <a:cubicBezTo>
                    <a:pt x="21" y="21"/>
                    <a:pt x="21" y="21"/>
                    <a:pt x="21" y="21"/>
                  </a:cubicBezTo>
                  <a:cubicBezTo>
                    <a:pt x="20" y="26"/>
                    <a:pt x="20" y="26"/>
                    <a:pt x="20" y="26"/>
                  </a:cubicBezTo>
                  <a:cubicBezTo>
                    <a:pt x="26" y="34"/>
                    <a:pt x="26" y="34"/>
                    <a:pt x="26" y="34"/>
                  </a:cubicBezTo>
                  <a:cubicBezTo>
                    <a:pt x="25" y="36"/>
                    <a:pt x="25" y="36"/>
                    <a:pt x="25" y="36"/>
                  </a:cubicBezTo>
                  <a:cubicBezTo>
                    <a:pt x="32" y="43"/>
                    <a:pt x="32" y="43"/>
                    <a:pt x="32" y="43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5" y="89"/>
                    <a:pt x="25" y="89"/>
                    <a:pt x="25" y="89"/>
                  </a:cubicBezTo>
                  <a:cubicBezTo>
                    <a:pt x="2" y="115"/>
                    <a:pt x="2" y="115"/>
                    <a:pt x="2" y="115"/>
                  </a:cubicBezTo>
                  <a:cubicBezTo>
                    <a:pt x="1" y="120"/>
                    <a:pt x="1" y="120"/>
                    <a:pt x="1" y="120"/>
                  </a:cubicBezTo>
                  <a:cubicBezTo>
                    <a:pt x="1" y="129"/>
                    <a:pt x="1" y="129"/>
                    <a:pt x="1" y="129"/>
                  </a:cubicBezTo>
                  <a:cubicBezTo>
                    <a:pt x="1" y="131"/>
                    <a:pt x="1" y="131"/>
                    <a:pt x="1" y="131"/>
                  </a:cubicBezTo>
                  <a:cubicBezTo>
                    <a:pt x="0" y="131"/>
                    <a:pt x="0" y="131"/>
                    <a:pt x="0" y="131"/>
                  </a:cubicBezTo>
                  <a:cubicBezTo>
                    <a:pt x="2" y="131"/>
                    <a:pt x="2" y="131"/>
                    <a:pt x="2" y="131"/>
                  </a:cubicBezTo>
                  <a:cubicBezTo>
                    <a:pt x="7" y="138"/>
                    <a:pt x="7" y="138"/>
                    <a:pt x="7" y="138"/>
                  </a:cubicBezTo>
                  <a:cubicBezTo>
                    <a:pt x="7" y="138"/>
                    <a:pt x="12" y="140"/>
                    <a:pt x="14" y="141"/>
                  </a:cubicBezTo>
                  <a:cubicBezTo>
                    <a:pt x="15" y="142"/>
                    <a:pt x="19" y="151"/>
                    <a:pt x="19" y="151"/>
                  </a:cubicBezTo>
                  <a:cubicBezTo>
                    <a:pt x="19" y="167"/>
                    <a:pt x="19" y="167"/>
                    <a:pt x="19" y="167"/>
                  </a:cubicBezTo>
                  <a:cubicBezTo>
                    <a:pt x="21" y="173"/>
                    <a:pt x="21" y="173"/>
                    <a:pt x="21" y="173"/>
                  </a:cubicBezTo>
                  <a:cubicBezTo>
                    <a:pt x="26" y="180"/>
                    <a:pt x="26" y="180"/>
                    <a:pt x="26" y="180"/>
                  </a:cubicBezTo>
                  <a:cubicBezTo>
                    <a:pt x="26" y="180"/>
                    <a:pt x="16" y="180"/>
                    <a:pt x="15" y="180"/>
                  </a:cubicBezTo>
                  <a:cubicBezTo>
                    <a:pt x="14" y="180"/>
                    <a:pt x="7" y="180"/>
                    <a:pt x="7" y="181"/>
                  </a:cubicBezTo>
                  <a:cubicBezTo>
                    <a:pt x="6" y="182"/>
                    <a:pt x="11" y="189"/>
                    <a:pt x="11" y="190"/>
                  </a:cubicBezTo>
                  <a:cubicBezTo>
                    <a:pt x="12" y="191"/>
                    <a:pt x="21" y="196"/>
                    <a:pt x="21" y="196"/>
                  </a:cubicBezTo>
                  <a:cubicBezTo>
                    <a:pt x="24" y="206"/>
                    <a:pt x="24" y="206"/>
                    <a:pt x="24" y="206"/>
                  </a:cubicBezTo>
                  <a:cubicBezTo>
                    <a:pt x="25" y="211"/>
                    <a:pt x="25" y="211"/>
                    <a:pt x="25" y="211"/>
                  </a:cubicBezTo>
                  <a:cubicBezTo>
                    <a:pt x="25" y="211"/>
                    <a:pt x="29" y="213"/>
                    <a:pt x="34" y="209"/>
                  </a:cubicBezTo>
                  <a:cubicBezTo>
                    <a:pt x="38" y="206"/>
                    <a:pt x="38" y="206"/>
                    <a:pt x="38" y="206"/>
                  </a:cubicBezTo>
                  <a:cubicBezTo>
                    <a:pt x="43" y="211"/>
                    <a:pt x="43" y="211"/>
                    <a:pt x="43" y="211"/>
                  </a:cubicBezTo>
                  <a:cubicBezTo>
                    <a:pt x="43" y="211"/>
                    <a:pt x="49" y="206"/>
                    <a:pt x="53" y="204"/>
                  </a:cubicBezTo>
                  <a:cubicBezTo>
                    <a:pt x="56" y="204"/>
                    <a:pt x="63" y="203"/>
                    <a:pt x="63" y="203"/>
                  </a:cubicBezTo>
                  <a:cubicBezTo>
                    <a:pt x="70" y="195"/>
                    <a:pt x="70" y="195"/>
                    <a:pt x="70" y="195"/>
                  </a:cubicBezTo>
                  <a:cubicBezTo>
                    <a:pt x="70" y="195"/>
                    <a:pt x="66" y="194"/>
                    <a:pt x="67" y="193"/>
                  </a:cubicBezTo>
                  <a:cubicBezTo>
                    <a:pt x="67" y="191"/>
                    <a:pt x="83" y="190"/>
                    <a:pt x="83" y="190"/>
                  </a:cubicBezTo>
                  <a:cubicBezTo>
                    <a:pt x="93" y="184"/>
                    <a:pt x="93" y="184"/>
                    <a:pt x="93" y="184"/>
                  </a:cubicBezTo>
                  <a:cubicBezTo>
                    <a:pt x="103" y="175"/>
                    <a:pt x="103" y="175"/>
                    <a:pt x="103" y="175"/>
                  </a:cubicBezTo>
                  <a:cubicBezTo>
                    <a:pt x="104" y="168"/>
                    <a:pt x="104" y="168"/>
                    <a:pt x="104" y="168"/>
                  </a:cubicBezTo>
                  <a:cubicBezTo>
                    <a:pt x="113" y="166"/>
                    <a:pt x="113" y="166"/>
                    <a:pt x="113" y="166"/>
                  </a:cubicBezTo>
                  <a:cubicBezTo>
                    <a:pt x="118" y="168"/>
                    <a:pt x="118" y="168"/>
                    <a:pt x="118" y="168"/>
                  </a:cubicBezTo>
                  <a:cubicBezTo>
                    <a:pt x="117" y="167"/>
                    <a:pt x="117" y="164"/>
                    <a:pt x="117" y="164"/>
                  </a:cubicBezTo>
                </a:path>
              </a:pathLst>
            </a:custGeom>
            <a:grpFill/>
            <a:ln w="9525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891045"/>
              <a:endParaRPr lang="en-US" sz="1700" dirty="0">
                <a:solidFill>
                  <a:srgbClr val="003149"/>
                </a:solidFill>
                <a:cs typeface="Arial" panose="020B0604020202020204" pitchFamily="34" charset="0"/>
              </a:endParaRPr>
            </a:p>
          </p:txBody>
        </p:sp>
      </p:grpSp>
      <p:grpSp>
        <p:nvGrpSpPr>
          <p:cNvPr id="456" name="Group 263"/>
          <p:cNvGrpSpPr>
            <a:grpSpLocks/>
          </p:cNvGrpSpPr>
          <p:nvPr/>
        </p:nvGrpSpPr>
        <p:grpSpPr bwMode="gray">
          <a:xfrm>
            <a:off x="1292436" y="2248261"/>
            <a:ext cx="142047" cy="228358"/>
            <a:chOff x="4320" y="2856"/>
            <a:chExt cx="97" cy="148"/>
          </a:xfrm>
          <a:solidFill>
            <a:schemeClr val="accent3"/>
          </a:solidFill>
        </p:grpSpPr>
        <p:sp>
          <p:nvSpPr>
            <p:cNvPr id="457" name="Freeform 264"/>
            <p:cNvSpPr>
              <a:spLocks/>
            </p:cNvSpPr>
            <p:nvPr/>
          </p:nvSpPr>
          <p:spPr bwMode="gray">
            <a:xfrm>
              <a:off x="4320" y="2856"/>
              <a:ext cx="97" cy="148"/>
            </a:xfrm>
            <a:custGeom>
              <a:avLst/>
              <a:gdLst>
                <a:gd name="T0" fmla="*/ 0 w 958"/>
                <a:gd name="T1" fmla="*/ 0 h 1458"/>
                <a:gd name="T2" fmla="*/ 0 w 958"/>
                <a:gd name="T3" fmla="*/ 0 h 1458"/>
                <a:gd name="T4" fmla="*/ 0 w 958"/>
                <a:gd name="T5" fmla="*/ 0 h 1458"/>
                <a:gd name="T6" fmla="*/ 0 w 958"/>
                <a:gd name="T7" fmla="*/ 0 h 1458"/>
                <a:gd name="T8" fmla="*/ 0 w 958"/>
                <a:gd name="T9" fmla="*/ 0 h 1458"/>
                <a:gd name="T10" fmla="*/ 0 w 958"/>
                <a:gd name="T11" fmla="*/ 0 h 1458"/>
                <a:gd name="T12" fmla="*/ 0 w 958"/>
                <a:gd name="T13" fmla="*/ 0 h 1458"/>
                <a:gd name="T14" fmla="*/ 0 w 958"/>
                <a:gd name="T15" fmla="*/ 0 h 1458"/>
                <a:gd name="T16" fmla="*/ 0 w 958"/>
                <a:gd name="T17" fmla="*/ 0 h 1458"/>
                <a:gd name="T18" fmla="*/ 0 w 958"/>
                <a:gd name="T19" fmla="*/ 0 h 1458"/>
                <a:gd name="T20" fmla="*/ 0 w 958"/>
                <a:gd name="T21" fmla="*/ 0 h 1458"/>
                <a:gd name="T22" fmla="*/ 0 w 958"/>
                <a:gd name="T23" fmla="*/ 0 h 1458"/>
                <a:gd name="T24" fmla="*/ 0 w 958"/>
                <a:gd name="T25" fmla="*/ 0 h 1458"/>
                <a:gd name="T26" fmla="*/ 0 w 958"/>
                <a:gd name="T27" fmla="*/ 0 h 1458"/>
                <a:gd name="T28" fmla="*/ 0 w 958"/>
                <a:gd name="T29" fmla="*/ 0 h 1458"/>
                <a:gd name="T30" fmla="*/ 0 w 958"/>
                <a:gd name="T31" fmla="*/ 0 h 1458"/>
                <a:gd name="T32" fmla="*/ 0 w 958"/>
                <a:gd name="T33" fmla="*/ 0 h 1458"/>
                <a:gd name="T34" fmla="*/ 0 w 958"/>
                <a:gd name="T35" fmla="*/ 0 h 1458"/>
                <a:gd name="T36" fmla="*/ 0 w 958"/>
                <a:gd name="T37" fmla="*/ 0 h 1458"/>
                <a:gd name="T38" fmla="*/ 0 w 958"/>
                <a:gd name="T39" fmla="*/ 0 h 1458"/>
                <a:gd name="T40" fmla="*/ 0 w 958"/>
                <a:gd name="T41" fmla="*/ 0 h 1458"/>
                <a:gd name="T42" fmla="*/ 0 w 958"/>
                <a:gd name="T43" fmla="*/ 0 h 1458"/>
                <a:gd name="T44" fmla="*/ 0 w 958"/>
                <a:gd name="T45" fmla="*/ 0 h 1458"/>
                <a:gd name="T46" fmla="*/ 0 w 958"/>
                <a:gd name="T47" fmla="*/ 0 h 1458"/>
                <a:gd name="T48" fmla="*/ 0 w 958"/>
                <a:gd name="T49" fmla="*/ 0 h 1458"/>
                <a:gd name="T50" fmla="*/ 0 w 958"/>
                <a:gd name="T51" fmla="*/ 0 h 1458"/>
                <a:gd name="T52" fmla="*/ 0 w 958"/>
                <a:gd name="T53" fmla="*/ 0 h 1458"/>
                <a:gd name="T54" fmla="*/ 0 w 958"/>
                <a:gd name="T55" fmla="*/ 0 h 1458"/>
                <a:gd name="T56" fmla="*/ 0 w 958"/>
                <a:gd name="T57" fmla="*/ 0 h 1458"/>
                <a:gd name="T58" fmla="*/ 0 w 958"/>
                <a:gd name="T59" fmla="*/ 0 h 1458"/>
                <a:gd name="T60" fmla="*/ 0 w 958"/>
                <a:gd name="T61" fmla="*/ 0 h 1458"/>
                <a:gd name="T62" fmla="*/ 0 w 958"/>
                <a:gd name="T63" fmla="*/ 0 h 1458"/>
                <a:gd name="T64" fmla="*/ 0 w 958"/>
                <a:gd name="T65" fmla="*/ 0 h 1458"/>
                <a:gd name="T66" fmla="*/ 0 w 958"/>
                <a:gd name="T67" fmla="*/ 0 h 1458"/>
                <a:gd name="T68" fmla="*/ 0 w 958"/>
                <a:gd name="T69" fmla="*/ 0 h 1458"/>
                <a:gd name="T70" fmla="*/ 0 w 958"/>
                <a:gd name="T71" fmla="*/ 0 h 1458"/>
                <a:gd name="T72" fmla="*/ 0 w 958"/>
                <a:gd name="T73" fmla="*/ 0 h 1458"/>
                <a:gd name="T74" fmla="*/ 0 w 958"/>
                <a:gd name="T75" fmla="*/ 0 h 1458"/>
                <a:gd name="T76" fmla="*/ 0 w 958"/>
                <a:gd name="T77" fmla="*/ 0 h 1458"/>
                <a:gd name="T78" fmla="*/ 0 w 958"/>
                <a:gd name="T79" fmla="*/ 0 h 1458"/>
                <a:gd name="T80" fmla="*/ 0 w 958"/>
                <a:gd name="T81" fmla="*/ 0 h 1458"/>
                <a:gd name="T82" fmla="*/ 0 w 958"/>
                <a:gd name="T83" fmla="*/ 0 h 1458"/>
                <a:gd name="T84" fmla="*/ 0 w 958"/>
                <a:gd name="T85" fmla="*/ 0 h 1458"/>
                <a:gd name="T86" fmla="*/ 0 w 958"/>
                <a:gd name="T87" fmla="*/ 0 h 1458"/>
                <a:gd name="T88" fmla="*/ 0 w 958"/>
                <a:gd name="T89" fmla="*/ 0 h 1458"/>
                <a:gd name="T90" fmla="*/ 0 w 958"/>
                <a:gd name="T91" fmla="*/ 0 h 1458"/>
                <a:gd name="T92" fmla="*/ 0 w 958"/>
                <a:gd name="T93" fmla="*/ 0 h 1458"/>
                <a:gd name="T94" fmla="*/ 0 w 958"/>
                <a:gd name="T95" fmla="*/ 0 h 1458"/>
                <a:gd name="T96" fmla="*/ 0 w 958"/>
                <a:gd name="T97" fmla="*/ 0 h 1458"/>
                <a:gd name="T98" fmla="*/ 0 w 958"/>
                <a:gd name="T99" fmla="*/ 0 h 1458"/>
                <a:gd name="T100" fmla="*/ 0 w 958"/>
                <a:gd name="T101" fmla="*/ 0 h 1458"/>
                <a:gd name="T102" fmla="*/ 0 w 958"/>
                <a:gd name="T103" fmla="*/ 0 h 1458"/>
                <a:gd name="T104" fmla="*/ 0 w 958"/>
                <a:gd name="T105" fmla="*/ 0 h 1458"/>
                <a:gd name="T106" fmla="*/ 0 w 958"/>
                <a:gd name="T107" fmla="*/ 0 h 1458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958"/>
                <a:gd name="T163" fmla="*/ 0 h 1458"/>
                <a:gd name="T164" fmla="*/ 958 w 958"/>
                <a:gd name="T165" fmla="*/ 1458 h 1458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958" h="1458">
                  <a:moveTo>
                    <a:pt x="946" y="1290"/>
                  </a:moveTo>
                  <a:cubicBezTo>
                    <a:pt x="946" y="1290"/>
                    <a:pt x="818" y="1187"/>
                    <a:pt x="818" y="1161"/>
                  </a:cubicBezTo>
                  <a:cubicBezTo>
                    <a:pt x="818" y="1148"/>
                    <a:pt x="792" y="1123"/>
                    <a:pt x="780" y="1084"/>
                  </a:cubicBezTo>
                  <a:cubicBezTo>
                    <a:pt x="780" y="1045"/>
                    <a:pt x="754" y="1006"/>
                    <a:pt x="767" y="981"/>
                  </a:cubicBezTo>
                  <a:cubicBezTo>
                    <a:pt x="780" y="955"/>
                    <a:pt x="741" y="916"/>
                    <a:pt x="741" y="916"/>
                  </a:cubicBezTo>
                  <a:cubicBezTo>
                    <a:pt x="741" y="916"/>
                    <a:pt x="780" y="877"/>
                    <a:pt x="792" y="852"/>
                  </a:cubicBezTo>
                  <a:cubicBezTo>
                    <a:pt x="818" y="826"/>
                    <a:pt x="882" y="723"/>
                    <a:pt x="882" y="723"/>
                  </a:cubicBezTo>
                  <a:cubicBezTo>
                    <a:pt x="869" y="671"/>
                    <a:pt x="869" y="671"/>
                    <a:pt x="869" y="671"/>
                  </a:cubicBezTo>
                  <a:cubicBezTo>
                    <a:pt x="843" y="581"/>
                    <a:pt x="843" y="581"/>
                    <a:pt x="843" y="581"/>
                  </a:cubicBezTo>
                  <a:cubicBezTo>
                    <a:pt x="843" y="581"/>
                    <a:pt x="754" y="529"/>
                    <a:pt x="741" y="516"/>
                  </a:cubicBezTo>
                  <a:cubicBezTo>
                    <a:pt x="741" y="503"/>
                    <a:pt x="690" y="439"/>
                    <a:pt x="703" y="426"/>
                  </a:cubicBezTo>
                  <a:cubicBezTo>
                    <a:pt x="703" y="413"/>
                    <a:pt x="767" y="413"/>
                    <a:pt x="780" y="413"/>
                  </a:cubicBezTo>
                  <a:cubicBezTo>
                    <a:pt x="792" y="413"/>
                    <a:pt x="895" y="413"/>
                    <a:pt x="895" y="413"/>
                  </a:cubicBezTo>
                  <a:cubicBezTo>
                    <a:pt x="843" y="348"/>
                    <a:pt x="843" y="348"/>
                    <a:pt x="843" y="348"/>
                  </a:cubicBezTo>
                  <a:cubicBezTo>
                    <a:pt x="818" y="284"/>
                    <a:pt x="818" y="284"/>
                    <a:pt x="818" y="284"/>
                  </a:cubicBezTo>
                  <a:cubicBezTo>
                    <a:pt x="818" y="129"/>
                    <a:pt x="818" y="129"/>
                    <a:pt x="818" y="129"/>
                  </a:cubicBezTo>
                  <a:cubicBezTo>
                    <a:pt x="818" y="129"/>
                    <a:pt x="780" y="39"/>
                    <a:pt x="767" y="26"/>
                  </a:cubicBezTo>
                  <a:cubicBezTo>
                    <a:pt x="754" y="13"/>
                    <a:pt x="703" y="0"/>
                    <a:pt x="703" y="0"/>
                  </a:cubicBezTo>
                  <a:cubicBezTo>
                    <a:pt x="703" y="64"/>
                    <a:pt x="703" y="64"/>
                    <a:pt x="703" y="64"/>
                  </a:cubicBezTo>
                  <a:cubicBezTo>
                    <a:pt x="703" y="64"/>
                    <a:pt x="741" y="51"/>
                    <a:pt x="754" y="77"/>
                  </a:cubicBezTo>
                  <a:cubicBezTo>
                    <a:pt x="767" y="103"/>
                    <a:pt x="767" y="116"/>
                    <a:pt x="767" y="155"/>
                  </a:cubicBezTo>
                  <a:cubicBezTo>
                    <a:pt x="767" y="180"/>
                    <a:pt x="780" y="206"/>
                    <a:pt x="754" y="206"/>
                  </a:cubicBezTo>
                  <a:cubicBezTo>
                    <a:pt x="728" y="219"/>
                    <a:pt x="690" y="232"/>
                    <a:pt x="690" y="232"/>
                  </a:cubicBezTo>
                  <a:cubicBezTo>
                    <a:pt x="677" y="245"/>
                    <a:pt x="639" y="297"/>
                    <a:pt x="639" y="322"/>
                  </a:cubicBezTo>
                  <a:cubicBezTo>
                    <a:pt x="626" y="335"/>
                    <a:pt x="613" y="361"/>
                    <a:pt x="601" y="387"/>
                  </a:cubicBezTo>
                  <a:cubicBezTo>
                    <a:pt x="588" y="413"/>
                    <a:pt x="601" y="439"/>
                    <a:pt x="588" y="451"/>
                  </a:cubicBezTo>
                  <a:cubicBezTo>
                    <a:pt x="588" y="451"/>
                    <a:pt x="550" y="477"/>
                    <a:pt x="550" y="477"/>
                  </a:cubicBezTo>
                  <a:cubicBezTo>
                    <a:pt x="550" y="477"/>
                    <a:pt x="562" y="503"/>
                    <a:pt x="550" y="529"/>
                  </a:cubicBezTo>
                  <a:cubicBezTo>
                    <a:pt x="524" y="568"/>
                    <a:pt x="486" y="581"/>
                    <a:pt x="486" y="581"/>
                  </a:cubicBezTo>
                  <a:cubicBezTo>
                    <a:pt x="486" y="581"/>
                    <a:pt x="473" y="619"/>
                    <a:pt x="460" y="645"/>
                  </a:cubicBezTo>
                  <a:cubicBezTo>
                    <a:pt x="447" y="684"/>
                    <a:pt x="447" y="710"/>
                    <a:pt x="447" y="723"/>
                  </a:cubicBezTo>
                  <a:cubicBezTo>
                    <a:pt x="447" y="735"/>
                    <a:pt x="409" y="761"/>
                    <a:pt x="409" y="761"/>
                  </a:cubicBezTo>
                  <a:cubicBezTo>
                    <a:pt x="409" y="761"/>
                    <a:pt x="409" y="787"/>
                    <a:pt x="383" y="813"/>
                  </a:cubicBezTo>
                  <a:cubicBezTo>
                    <a:pt x="358" y="852"/>
                    <a:pt x="320" y="839"/>
                    <a:pt x="320" y="839"/>
                  </a:cubicBezTo>
                  <a:cubicBezTo>
                    <a:pt x="320" y="839"/>
                    <a:pt x="294" y="787"/>
                    <a:pt x="268" y="774"/>
                  </a:cubicBezTo>
                  <a:cubicBezTo>
                    <a:pt x="256" y="761"/>
                    <a:pt x="281" y="813"/>
                    <a:pt x="243" y="800"/>
                  </a:cubicBezTo>
                  <a:cubicBezTo>
                    <a:pt x="205" y="800"/>
                    <a:pt x="205" y="774"/>
                    <a:pt x="205" y="774"/>
                  </a:cubicBezTo>
                  <a:cubicBezTo>
                    <a:pt x="205" y="774"/>
                    <a:pt x="153" y="813"/>
                    <a:pt x="153" y="826"/>
                  </a:cubicBezTo>
                  <a:cubicBezTo>
                    <a:pt x="141" y="826"/>
                    <a:pt x="128" y="864"/>
                    <a:pt x="102" y="877"/>
                  </a:cubicBezTo>
                  <a:cubicBezTo>
                    <a:pt x="77" y="890"/>
                    <a:pt x="38" y="942"/>
                    <a:pt x="38" y="942"/>
                  </a:cubicBezTo>
                  <a:cubicBezTo>
                    <a:pt x="38" y="942"/>
                    <a:pt x="51" y="968"/>
                    <a:pt x="38" y="994"/>
                  </a:cubicBezTo>
                  <a:cubicBezTo>
                    <a:pt x="38" y="1019"/>
                    <a:pt x="0" y="1071"/>
                    <a:pt x="0" y="1071"/>
                  </a:cubicBezTo>
                  <a:cubicBezTo>
                    <a:pt x="0" y="1071"/>
                    <a:pt x="26" y="1097"/>
                    <a:pt x="38" y="1123"/>
                  </a:cubicBezTo>
                  <a:cubicBezTo>
                    <a:pt x="64" y="1148"/>
                    <a:pt x="102" y="1200"/>
                    <a:pt x="128" y="1200"/>
                  </a:cubicBezTo>
                  <a:cubicBezTo>
                    <a:pt x="141" y="1200"/>
                    <a:pt x="179" y="1265"/>
                    <a:pt x="179" y="1277"/>
                  </a:cubicBezTo>
                  <a:cubicBezTo>
                    <a:pt x="179" y="1303"/>
                    <a:pt x="166" y="1368"/>
                    <a:pt x="166" y="1368"/>
                  </a:cubicBezTo>
                  <a:cubicBezTo>
                    <a:pt x="166" y="1368"/>
                    <a:pt x="166" y="1394"/>
                    <a:pt x="205" y="1394"/>
                  </a:cubicBezTo>
                  <a:cubicBezTo>
                    <a:pt x="243" y="1394"/>
                    <a:pt x="332" y="1419"/>
                    <a:pt x="358" y="1394"/>
                  </a:cubicBezTo>
                  <a:cubicBezTo>
                    <a:pt x="371" y="1381"/>
                    <a:pt x="575" y="1381"/>
                    <a:pt x="601" y="1381"/>
                  </a:cubicBezTo>
                  <a:cubicBezTo>
                    <a:pt x="613" y="1394"/>
                    <a:pt x="754" y="1394"/>
                    <a:pt x="780" y="1407"/>
                  </a:cubicBezTo>
                  <a:cubicBezTo>
                    <a:pt x="818" y="1419"/>
                    <a:pt x="895" y="1432"/>
                    <a:pt x="895" y="1432"/>
                  </a:cubicBezTo>
                  <a:cubicBezTo>
                    <a:pt x="958" y="1458"/>
                    <a:pt x="958" y="1458"/>
                    <a:pt x="958" y="1458"/>
                  </a:cubicBezTo>
                  <a:cubicBezTo>
                    <a:pt x="958" y="1394"/>
                    <a:pt x="958" y="1394"/>
                    <a:pt x="958" y="1394"/>
                  </a:cubicBezTo>
                  <a:lnTo>
                    <a:pt x="946" y="1290"/>
                  </a:lnTo>
                  <a:close/>
                </a:path>
              </a:pathLst>
            </a:custGeom>
            <a:grpFill/>
            <a:ln w="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891045"/>
              <a:endParaRPr lang="en-US" sz="1700" dirty="0">
                <a:solidFill>
                  <a:srgbClr val="003149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458" name="Freeform 265"/>
            <p:cNvSpPr>
              <a:spLocks/>
            </p:cNvSpPr>
            <p:nvPr/>
          </p:nvSpPr>
          <p:spPr bwMode="gray">
            <a:xfrm>
              <a:off x="4320" y="2856"/>
              <a:ext cx="97" cy="148"/>
            </a:xfrm>
            <a:custGeom>
              <a:avLst/>
              <a:gdLst>
                <a:gd name="T0" fmla="*/ 0 w 958"/>
                <a:gd name="T1" fmla="*/ 0 h 1458"/>
                <a:gd name="T2" fmla="*/ 0 w 958"/>
                <a:gd name="T3" fmla="*/ 0 h 1458"/>
                <a:gd name="T4" fmla="*/ 0 w 958"/>
                <a:gd name="T5" fmla="*/ 0 h 1458"/>
                <a:gd name="T6" fmla="*/ 0 w 958"/>
                <a:gd name="T7" fmla="*/ 0 h 1458"/>
                <a:gd name="T8" fmla="*/ 0 w 958"/>
                <a:gd name="T9" fmla="*/ 0 h 1458"/>
                <a:gd name="T10" fmla="*/ 0 w 958"/>
                <a:gd name="T11" fmla="*/ 0 h 1458"/>
                <a:gd name="T12" fmla="*/ 0 w 958"/>
                <a:gd name="T13" fmla="*/ 0 h 1458"/>
                <a:gd name="T14" fmla="*/ 0 w 958"/>
                <a:gd name="T15" fmla="*/ 0 h 1458"/>
                <a:gd name="T16" fmla="*/ 0 w 958"/>
                <a:gd name="T17" fmla="*/ 0 h 1458"/>
                <a:gd name="T18" fmla="*/ 0 w 958"/>
                <a:gd name="T19" fmla="*/ 0 h 1458"/>
                <a:gd name="T20" fmla="*/ 0 w 958"/>
                <a:gd name="T21" fmla="*/ 0 h 1458"/>
                <a:gd name="T22" fmla="*/ 0 w 958"/>
                <a:gd name="T23" fmla="*/ 0 h 1458"/>
                <a:gd name="T24" fmla="*/ 0 w 958"/>
                <a:gd name="T25" fmla="*/ 0 h 1458"/>
                <a:gd name="T26" fmla="*/ 0 w 958"/>
                <a:gd name="T27" fmla="*/ 0 h 1458"/>
                <a:gd name="T28" fmla="*/ 0 w 958"/>
                <a:gd name="T29" fmla="*/ 0 h 1458"/>
                <a:gd name="T30" fmla="*/ 0 w 958"/>
                <a:gd name="T31" fmla="*/ 0 h 1458"/>
                <a:gd name="T32" fmla="*/ 0 w 958"/>
                <a:gd name="T33" fmla="*/ 0 h 1458"/>
                <a:gd name="T34" fmla="*/ 0 w 958"/>
                <a:gd name="T35" fmla="*/ 0 h 1458"/>
                <a:gd name="T36" fmla="*/ 0 w 958"/>
                <a:gd name="T37" fmla="*/ 0 h 1458"/>
                <a:gd name="T38" fmla="*/ 0 w 958"/>
                <a:gd name="T39" fmla="*/ 0 h 1458"/>
                <a:gd name="T40" fmla="*/ 0 w 958"/>
                <a:gd name="T41" fmla="*/ 0 h 1458"/>
                <a:gd name="T42" fmla="*/ 0 w 958"/>
                <a:gd name="T43" fmla="*/ 0 h 1458"/>
                <a:gd name="T44" fmla="*/ 0 w 958"/>
                <a:gd name="T45" fmla="*/ 0 h 1458"/>
                <a:gd name="T46" fmla="*/ 0 w 958"/>
                <a:gd name="T47" fmla="*/ 0 h 1458"/>
                <a:gd name="T48" fmla="*/ 0 w 958"/>
                <a:gd name="T49" fmla="*/ 0 h 1458"/>
                <a:gd name="T50" fmla="*/ 0 w 958"/>
                <a:gd name="T51" fmla="*/ 0 h 1458"/>
                <a:gd name="T52" fmla="*/ 0 w 958"/>
                <a:gd name="T53" fmla="*/ 0 h 1458"/>
                <a:gd name="T54" fmla="*/ 0 w 958"/>
                <a:gd name="T55" fmla="*/ 0 h 1458"/>
                <a:gd name="T56" fmla="*/ 0 w 958"/>
                <a:gd name="T57" fmla="*/ 0 h 1458"/>
                <a:gd name="T58" fmla="*/ 0 w 958"/>
                <a:gd name="T59" fmla="*/ 0 h 1458"/>
                <a:gd name="T60" fmla="*/ 0 w 958"/>
                <a:gd name="T61" fmla="*/ 0 h 1458"/>
                <a:gd name="T62" fmla="*/ 0 w 958"/>
                <a:gd name="T63" fmla="*/ 0 h 1458"/>
                <a:gd name="T64" fmla="*/ 0 w 958"/>
                <a:gd name="T65" fmla="*/ 0 h 1458"/>
                <a:gd name="T66" fmla="*/ 0 w 958"/>
                <a:gd name="T67" fmla="*/ 0 h 1458"/>
                <a:gd name="T68" fmla="*/ 0 w 958"/>
                <a:gd name="T69" fmla="*/ 0 h 1458"/>
                <a:gd name="T70" fmla="*/ 0 w 958"/>
                <a:gd name="T71" fmla="*/ 0 h 1458"/>
                <a:gd name="T72" fmla="*/ 0 w 958"/>
                <a:gd name="T73" fmla="*/ 0 h 1458"/>
                <a:gd name="T74" fmla="*/ 0 w 958"/>
                <a:gd name="T75" fmla="*/ 0 h 1458"/>
                <a:gd name="T76" fmla="*/ 0 w 958"/>
                <a:gd name="T77" fmla="*/ 0 h 1458"/>
                <a:gd name="T78" fmla="*/ 0 w 958"/>
                <a:gd name="T79" fmla="*/ 0 h 1458"/>
                <a:gd name="T80" fmla="*/ 0 w 958"/>
                <a:gd name="T81" fmla="*/ 0 h 1458"/>
                <a:gd name="T82" fmla="*/ 0 w 958"/>
                <a:gd name="T83" fmla="*/ 0 h 1458"/>
                <a:gd name="T84" fmla="*/ 0 w 958"/>
                <a:gd name="T85" fmla="*/ 0 h 1458"/>
                <a:gd name="T86" fmla="*/ 0 w 958"/>
                <a:gd name="T87" fmla="*/ 0 h 1458"/>
                <a:gd name="T88" fmla="*/ 0 w 958"/>
                <a:gd name="T89" fmla="*/ 0 h 1458"/>
                <a:gd name="T90" fmla="*/ 0 w 958"/>
                <a:gd name="T91" fmla="*/ 0 h 1458"/>
                <a:gd name="T92" fmla="*/ 0 w 958"/>
                <a:gd name="T93" fmla="*/ 0 h 1458"/>
                <a:gd name="T94" fmla="*/ 0 w 958"/>
                <a:gd name="T95" fmla="*/ 0 h 1458"/>
                <a:gd name="T96" fmla="*/ 0 w 958"/>
                <a:gd name="T97" fmla="*/ 0 h 1458"/>
                <a:gd name="T98" fmla="*/ 0 w 958"/>
                <a:gd name="T99" fmla="*/ 0 h 1458"/>
                <a:gd name="T100" fmla="*/ 0 w 958"/>
                <a:gd name="T101" fmla="*/ 0 h 1458"/>
                <a:gd name="T102" fmla="*/ 0 w 958"/>
                <a:gd name="T103" fmla="*/ 0 h 1458"/>
                <a:gd name="T104" fmla="*/ 0 w 958"/>
                <a:gd name="T105" fmla="*/ 0 h 1458"/>
                <a:gd name="T106" fmla="*/ 0 w 958"/>
                <a:gd name="T107" fmla="*/ 0 h 1458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958"/>
                <a:gd name="T163" fmla="*/ 0 h 1458"/>
                <a:gd name="T164" fmla="*/ 958 w 958"/>
                <a:gd name="T165" fmla="*/ 1458 h 1458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958" h="1458">
                  <a:moveTo>
                    <a:pt x="946" y="1290"/>
                  </a:moveTo>
                  <a:cubicBezTo>
                    <a:pt x="946" y="1290"/>
                    <a:pt x="818" y="1187"/>
                    <a:pt x="818" y="1161"/>
                  </a:cubicBezTo>
                  <a:cubicBezTo>
                    <a:pt x="818" y="1148"/>
                    <a:pt x="792" y="1123"/>
                    <a:pt x="780" y="1084"/>
                  </a:cubicBezTo>
                  <a:cubicBezTo>
                    <a:pt x="780" y="1045"/>
                    <a:pt x="754" y="1006"/>
                    <a:pt x="767" y="981"/>
                  </a:cubicBezTo>
                  <a:cubicBezTo>
                    <a:pt x="780" y="955"/>
                    <a:pt x="741" y="916"/>
                    <a:pt x="741" y="916"/>
                  </a:cubicBezTo>
                  <a:cubicBezTo>
                    <a:pt x="741" y="916"/>
                    <a:pt x="780" y="877"/>
                    <a:pt x="792" y="852"/>
                  </a:cubicBezTo>
                  <a:cubicBezTo>
                    <a:pt x="818" y="826"/>
                    <a:pt x="882" y="723"/>
                    <a:pt x="882" y="723"/>
                  </a:cubicBezTo>
                  <a:cubicBezTo>
                    <a:pt x="869" y="671"/>
                    <a:pt x="869" y="671"/>
                    <a:pt x="869" y="671"/>
                  </a:cubicBezTo>
                  <a:cubicBezTo>
                    <a:pt x="843" y="581"/>
                    <a:pt x="843" y="581"/>
                    <a:pt x="843" y="581"/>
                  </a:cubicBezTo>
                  <a:cubicBezTo>
                    <a:pt x="843" y="581"/>
                    <a:pt x="754" y="529"/>
                    <a:pt x="741" y="516"/>
                  </a:cubicBezTo>
                  <a:cubicBezTo>
                    <a:pt x="741" y="503"/>
                    <a:pt x="690" y="439"/>
                    <a:pt x="703" y="426"/>
                  </a:cubicBezTo>
                  <a:cubicBezTo>
                    <a:pt x="703" y="413"/>
                    <a:pt x="767" y="413"/>
                    <a:pt x="780" y="413"/>
                  </a:cubicBezTo>
                  <a:cubicBezTo>
                    <a:pt x="792" y="413"/>
                    <a:pt x="895" y="413"/>
                    <a:pt x="895" y="413"/>
                  </a:cubicBezTo>
                  <a:cubicBezTo>
                    <a:pt x="843" y="348"/>
                    <a:pt x="843" y="348"/>
                    <a:pt x="843" y="348"/>
                  </a:cubicBezTo>
                  <a:cubicBezTo>
                    <a:pt x="818" y="284"/>
                    <a:pt x="818" y="284"/>
                    <a:pt x="818" y="284"/>
                  </a:cubicBezTo>
                  <a:cubicBezTo>
                    <a:pt x="818" y="129"/>
                    <a:pt x="818" y="129"/>
                    <a:pt x="818" y="129"/>
                  </a:cubicBezTo>
                  <a:cubicBezTo>
                    <a:pt x="818" y="129"/>
                    <a:pt x="780" y="39"/>
                    <a:pt x="767" y="26"/>
                  </a:cubicBezTo>
                  <a:cubicBezTo>
                    <a:pt x="754" y="13"/>
                    <a:pt x="703" y="0"/>
                    <a:pt x="703" y="0"/>
                  </a:cubicBezTo>
                  <a:cubicBezTo>
                    <a:pt x="703" y="64"/>
                    <a:pt x="703" y="64"/>
                    <a:pt x="703" y="64"/>
                  </a:cubicBezTo>
                  <a:cubicBezTo>
                    <a:pt x="703" y="64"/>
                    <a:pt x="741" y="51"/>
                    <a:pt x="754" y="77"/>
                  </a:cubicBezTo>
                  <a:cubicBezTo>
                    <a:pt x="767" y="103"/>
                    <a:pt x="767" y="116"/>
                    <a:pt x="767" y="155"/>
                  </a:cubicBezTo>
                  <a:cubicBezTo>
                    <a:pt x="767" y="180"/>
                    <a:pt x="780" y="206"/>
                    <a:pt x="754" y="206"/>
                  </a:cubicBezTo>
                  <a:cubicBezTo>
                    <a:pt x="728" y="219"/>
                    <a:pt x="690" y="232"/>
                    <a:pt x="690" y="232"/>
                  </a:cubicBezTo>
                  <a:cubicBezTo>
                    <a:pt x="677" y="245"/>
                    <a:pt x="639" y="297"/>
                    <a:pt x="639" y="322"/>
                  </a:cubicBezTo>
                  <a:cubicBezTo>
                    <a:pt x="626" y="335"/>
                    <a:pt x="613" y="361"/>
                    <a:pt x="601" y="387"/>
                  </a:cubicBezTo>
                  <a:cubicBezTo>
                    <a:pt x="588" y="413"/>
                    <a:pt x="601" y="439"/>
                    <a:pt x="588" y="451"/>
                  </a:cubicBezTo>
                  <a:cubicBezTo>
                    <a:pt x="588" y="451"/>
                    <a:pt x="550" y="477"/>
                    <a:pt x="550" y="477"/>
                  </a:cubicBezTo>
                  <a:cubicBezTo>
                    <a:pt x="550" y="477"/>
                    <a:pt x="562" y="503"/>
                    <a:pt x="550" y="529"/>
                  </a:cubicBezTo>
                  <a:cubicBezTo>
                    <a:pt x="524" y="568"/>
                    <a:pt x="486" y="581"/>
                    <a:pt x="486" y="581"/>
                  </a:cubicBezTo>
                  <a:cubicBezTo>
                    <a:pt x="486" y="581"/>
                    <a:pt x="473" y="619"/>
                    <a:pt x="460" y="645"/>
                  </a:cubicBezTo>
                  <a:cubicBezTo>
                    <a:pt x="447" y="684"/>
                    <a:pt x="447" y="710"/>
                    <a:pt x="447" y="723"/>
                  </a:cubicBezTo>
                  <a:cubicBezTo>
                    <a:pt x="447" y="735"/>
                    <a:pt x="409" y="761"/>
                    <a:pt x="409" y="761"/>
                  </a:cubicBezTo>
                  <a:cubicBezTo>
                    <a:pt x="409" y="761"/>
                    <a:pt x="409" y="787"/>
                    <a:pt x="383" y="813"/>
                  </a:cubicBezTo>
                  <a:cubicBezTo>
                    <a:pt x="358" y="852"/>
                    <a:pt x="320" y="839"/>
                    <a:pt x="320" y="839"/>
                  </a:cubicBezTo>
                  <a:cubicBezTo>
                    <a:pt x="320" y="839"/>
                    <a:pt x="294" y="787"/>
                    <a:pt x="268" y="774"/>
                  </a:cubicBezTo>
                  <a:cubicBezTo>
                    <a:pt x="256" y="761"/>
                    <a:pt x="281" y="813"/>
                    <a:pt x="243" y="800"/>
                  </a:cubicBezTo>
                  <a:cubicBezTo>
                    <a:pt x="205" y="800"/>
                    <a:pt x="205" y="774"/>
                    <a:pt x="205" y="774"/>
                  </a:cubicBezTo>
                  <a:cubicBezTo>
                    <a:pt x="205" y="774"/>
                    <a:pt x="153" y="813"/>
                    <a:pt x="153" y="826"/>
                  </a:cubicBezTo>
                  <a:cubicBezTo>
                    <a:pt x="141" y="826"/>
                    <a:pt x="128" y="864"/>
                    <a:pt x="102" y="877"/>
                  </a:cubicBezTo>
                  <a:cubicBezTo>
                    <a:pt x="77" y="890"/>
                    <a:pt x="38" y="942"/>
                    <a:pt x="38" y="942"/>
                  </a:cubicBezTo>
                  <a:cubicBezTo>
                    <a:pt x="38" y="942"/>
                    <a:pt x="51" y="968"/>
                    <a:pt x="38" y="994"/>
                  </a:cubicBezTo>
                  <a:cubicBezTo>
                    <a:pt x="38" y="1019"/>
                    <a:pt x="0" y="1071"/>
                    <a:pt x="0" y="1071"/>
                  </a:cubicBezTo>
                  <a:cubicBezTo>
                    <a:pt x="0" y="1071"/>
                    <a:pt x="26" y="1097"/>
                    <a:pt x="38" y="1123"/>
                  </a:cubicBezTo>
                  <a:cubicBezTo>
                    <a:pt x="64" y="1148"/>
                    <a:pt x="102" y="1200"/>
                    <a:pt x="128" y="1200"/>
                  </a:cubicBezTo>
                  <a:cubicBezTo>
                    <a:pt x="141" y="1200"/>
                    <a:pt x="179" y="1265"/>
                    <a:pt x="179" y="1277"/>
                  </a:cubicBezTo>
                  <a:cubicBezTo>
                    <a:pt x="179" y="1303"/>
                    <a:pt x="166" y="1368"/>
                    <a:pt x="166" y="1368"/>
                  </a:cubicBezTo>
                  <a:cubicBezTo>
                    <a:pt x="166" y="1368"/>
                    <a:pt x="166" y="1394"/>
                    <a:pt x="205" y="1394"/>
                  </a:cubicBezTo>
                  <a:cubicBezTo>
                    <a:pt x="243" y="1394"/>
                    <a:pt x="332" y="1419"/>
                    <a:pt x="358" y="1394"/>
                  </a:cubicBezTo>
                  <a:cubicBezTo>
                    <a:pt x="371" y="1381"/>
                    <a:pt x="575" y="1381"/>
                    <a:pt x="601" y="1381"/>
                  </a:cubicBezTo>
                  <a:cubicBezTo>
                    <a:pt x="613" y="1394"/>
                    <a:pt x="754" y="1394"/>
                    <a:pt x="780" y="1407"/>
                  </a:cubicBezTo>
                  <a:cubicBezTo>
                    <a:pt x="818" y="1419"/>
                    <a:pt x="895" y="1432"/>
                    <a:pt x="895" y="1432"/>
                  </a:cubicBezTo>
                  <a:cubicBezTo>
                    <a:pt x="958" y="1458"/>
                    <a:pt x="958" y="1458"/>
                    <a:pt x="958" y="1458"/>
                  </a:cubicBezTo>
                  <a:cubicBezTo>
                    <a:pt x="958" y="1394"/>
                    <a:pt x="958" y="1394"/>
                    <a:pt x="958" y="1394"/>
                  </a:cubicBezTo>
                  <a:lnTo>
                    <a:pt x="946" y="1290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891045"/>
              <a:endParaRPr lang="en-US" sz="1700" dirty="0">
                <a:solidFill>
                  <a:srgbClr val="003149"/>
                </a:solidFill>
                <a:cs typeface="Arial" panose="020B0604020202020204" pitchFamily="34" charset="0"/>
              </a:endParaRPr>
            </a:p>
          </p:txBody>
        </p:sp>
      </p:grpSp>
      <p:grpSp>
        <p:nvGrpSpPr>
          <p:cNvPr id="459" name="Group 266"/>
          <p:cNvGrpSpPr>
            <a:grpSpLocks/>
          </p:cNvGrpSpPr>
          <p:nvPr/>
        </p:nvGrpSpPr>
        <p:grpSpPr bwMode="gray">
          <a:xfrm>
            <a:off x="1312526" y="2466484"/>
            <a:ext cx="32684" cy="24105"/>
            <a:chOff x="4334" y="2997"/>
            <a:chExt cx="22" cy="16"/>
          </a:xfrm>
          <a:solidFill>
            <a:schemeClr val="accent3"/>
          </a:solidFill>
        </p:grpSpPr>
        <p:sp>
          <p:nvSpPr>
            <p:cNvPr id="460" name="Freeform 267"/>
            <p:cNvSpPr>
              <a:spLocks/>
            </p:cNvSpPr>
            <p:nvPr/>
          </p:nvSpPr>
          <p:spPr bwMode="gray">
            <a:xfrm>
              <a:off x="4334" y="2997"/>
              <a:ext cx="22" cy="16"/>
            </a:xfrm>
            <a:custGeom>
              <a:avLst/>
              <a:gdLst>
                <a:gd name="T0" fmla="*/ 0 w 225"/>
                <a:gd name="T1" fmla="*/ 0 h 159"/>
                <a:gd name="T2" fmla="*/ 0 w 225"/>
                <a:gd name="T3" fmla="*/ 0 h 159"/>
                <a:gd name="T4" fmla="*/ 0 w 225"/>
                <a:gd name="T5" fmla="*/ 0 h 159"/>
                <a:gd name="T6" fmla="*/ 0 w 225"/>
                <a:gd name="T7" fmla="*/ 0 h 159"/>
                <a:gd name="T8" fmla="*/ 0 w 225"/>
                <a:gd name="T9" fmla="*/ 0 h 159"/>
                <a:gd name="T10" fmla="*/ 0 w 225"/>
                <a:gd name="T11" fmla="*/ 0 h 159"/>
                <a:gd name="T12" fmla="*/ 0 w 225"/>
                <a:gd name="T13" fmla="*/ 0 h 159"/>
                <a:gd name="T14" fmla="*/ 0 w 225"/>
                <a:gd name="T15" fmla="*/ 0 h 159"/>
                <a:gd name="T16" fmla="*/ 0 w 225"/>
                <a:gd name="T17" fmla="*/ 0 h 159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225"/>
                <a:gd name="T28" fmla="*/ 0 h 159"/>
                <a:gd name="T29" fmla="*/ 225 w 225"/>
                <a:gd name="T30" fmla="*/ 159 h 159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225" h="159">
                  <a:moveTo>
                    <a:pt x="75" y="0"/>
                  </a:moveTo>
                  <a:cubicBezTo>
                    <a:pt x="63" y="0"/>
                    <a:pt x="50" y="0"/>
                    <a:pt x="50" y="0"/>
                  </a:cubicBezTo>
                  <a:cubicBezTo>
                    <a:pt x="38" y="0"/>
                    <a:pt x="38" y="0"/>
                    <a:pt x="38" y="0"/>
                  </a:cubicBezTo>
                  <a:cubicBezTo>
                    <a:pt x="0" y="106"/>
                    <a:pt x="0" y="106"/>
                    <a:pt x="0" y="106"/>
                  </a:cubicBezTo>
                  <a:cubicBezTo>
                    <a:pt x="0" y="146"/>
                    <a:pt x="0" y="146"/>
                    <a:pt x="0" y="146"/>
                  </a:cubicBezTo>
                  <a:cubicBezTo>
                    <a:pt x="50" y="159"/>
                    <a:pt x="50" y="159"/>
                    <a:pt x="50" y="159"/>
                  </a:cubicBezTo>
                  <a:cubicBezTo>
                    <a:pt x="225" y="159"/>
                    <a:pt x="225" y="159"/>
                    <a:pt x="225" y="159"/>
                  </a:cubicBezTo>
                  <a:cubicBezTo>
                    <a:pt x="225" y="0"/>
                    <a:pt x="225" y="0"/>
                    <a:pt x="225" y="0"/>
                  </a:cubicBezTo>
                  <a:cubicBezTo>
                    <a:pt x="200" y="27"/>
                    <a:pt x="113" y="0"/>
                    <a:pt x="75" y="0"/>
                  </a:cubicBezTo>
                </a:path>
              </a:pathLst>
            </a:custGeom>
            <a:grpFill/>
            <a:ln w="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891045"/>
              <a:endParaRPr lang="en-US" sz="1700" dirty="0">
                <a:solidFill>
                  <a:srgbClr val="003149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461" name="Freeform 268"/>
            <p:cNvSpPr>
              <a:spLocks/>
            </p:cNvSpPr>
            <p:nvPr/>
          </p:nvSpPr>
          <p:spPr bwMode="gray">
            <a:xfrm>
              <a:off x="4334" y="2997"/>
              <a:ext cx="22" cy="16"/>
            </a:xfrm>
            <a:custGeom>
              <a:avLst/>
              <a:gdLst>
                <a:gd name="T0" fmla="*/ 7 w 22"/>
                <a:gd name="T1" fmla="*/ 0 h 16"/>
                <a:gd name="T2" fmla="*/ 5 w 22"/>
                <a:gd name="T3" fmla="*/ 0 h 16"/>
                <a:gd name="T4" fmla="*/ 3 w 22"/>
                <a:gd name="T5" fmla="*/ 0 h 16"/>
                <a:gd name="T6" fmla="*/ 0 w 22"/>
                <a:gd name="T7" fmla="*/ 11 h 16"/>
                <a:gd name="T8" fmla="*/ 0 w 22"/>
                <a:gd name="T9" fmla="*/ 15 h 16"/>
                <a:gd name="T10" fmla="*/ 5 w 22"/>
                <a:gd name="T11" fmla="*/ 16 h 16"/>
                <a:gd name="T12" fmla="*/ 22 w 22"/>
                <a:gd name="T13" fmla="*/ 16 h 16"/>
                <a:gd name="T14" fmla="*/ 22 w 22"/>
                <a:gd name="T15" fmla="*/ 0 h 16"/>
                <a:gd name="T16" fmla="*/ 7 w 22"/>
                <a:gd name="T17" fmla="*/ 0 h 1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22"/>
                <a:gd name="T28" fmla="*/ 0 h 16"/>
                <a:gd name="T29" fmla="*/ 22 w 22"/>
                <a:gd name="T30" fmla="*/ 16 h 1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22" h="16">
                  <a:moveTo>
                    <a:pt x="7" y="0"/>
                  </a:moveTo>
                  <a:cubicBezTo>
                    <a:pt x="6" y="0"/>
                    <a:pt x="5" y="0"/>
                    <a:pt x="5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6"/>
                    <a:pt x="5" y="16"/>
                    <a:pt x="5" y="16"/>
                  </a:cubicBezTo>
                  <a:cubicBezTo>
                    <a:pt x="22" y="16"/>
                    <a:pt x="22" y="16"/>
                    <a:pt x="22" y="16"/>
                  </a:cubicBezTo>
                  <a:cubicBezTo>
                    <a:pt x="22" y="0"/>
                    <a:pt x="22" y="0"/>
                    <a:pt x="22" y="0"/>
                  </a:cubicBezTo>
                  <a:cubicBezTo>
                    <a:pt x="20" y="3"/>
                    <a:pt x="11" y="0"/>
                    <a:pt x="7" y="0"/>
                  </a:cubicBezTo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891045"/>
              <a:endParaRPr lang="en-US" sz="1700" dirty="0">
                <a:solidFill>
                  <a:srgbClr val="003149"/>
                </a:solidFill>
                <a:cs typeface="Arial" panose="020B0604020202020204" pitchFamily="34" charset="0"/>
              </a:endParaRPr>
            </a:p>
          </p:txBody>
        </p:sp>
      </p:grpSp>
      <p:grpSp>
        <p:nvGrpSpPr>
          <p:cNvPr id="462" name="Group 269"/>
          <p:cNvGrpSpPr>
            <a:grpSpLocks/>
          </p:cNvGrpSpPr>
          <p:nvPr/>
        </p:nvGrpSpPr>
        <p:grpSpPr bwMode="gray">
          <a:xfrm>
            <a:off x="1404314" y="2290127"/>
            <a:ext cx="242611" cy="178880"/>
            <a:chOff x="4397" y="2883"/>
            <a:chExt cx="165" cy="116"/>
          </a:xfrm>
          <a:solidFill>
            <a:schemeClr val="accent3"/>
          </a:solidFill>
        </p:grpSpPr>
        <p:sp>
          <p:nvSpPr>
            <p:cNvPr id="463" name="Freeform 270"/>
            <p:cNvSpPr>
              <a:spLocks/>
            </p:cNvSpPr>
            <p:nvPr/>
          </p:nvSpPr>
          <p:spPr bwMode="gray">
            <a:xfrm>
              <a:off x="4397" y="2883"/>
              <a:ext cx="165" cy="116"/>
            </a:xfrm>
            <a:custGeom>
              <a:avLst/>
              <a:gdLst>
                <a:gd name="T0" fmla="*/ 0 w 1634"/>
                <a:gd name="T1" fmla="*/ 0 h 1142"/>
                <a:gd name="T2" fmla="*/ 0 w 1634"/>
                <a:gd name="T3" fmla="*/ 0 h 1142"/>
                <a:gd name="T4" fmla="*/ 0 w 1634"/>
                <a:gd name="T5" fmla="*/ 0 h 1142"/>
                <a:gd name="T6" fmla="*/ 0 w 1634"/>
                <a:gd name="T7" fmla="*/ 0 h 1142"/>
                <a:gd name="T8" fmla="*/ 0 w 1634"/>
                <a:gd name="T9" fmla="*/ 0 h 1142"/>
                <a:gd name="T10" fmla="*/ 0 w 1634"/>
                <a:gd name="T11" fmla="*/ 0 h 1142"/>
                <a:gd name="T12" fmla="*/ 0 w 1634"/>
                <a:gd name="T13" fmla="*/ 0 h 1142"/>
                <a:gd name="T14" fmla="*/ 0 w 1634"/>
                <a:gd name="T15" fmla="*/ 0 h 1142"/>
                <a:gd name="T16" fmla="*/ 0 w 1634"/>
                <a:gd name="T17" fmla="*/ 0 h 1142"/>
                <a:gd name="T18" fmla="*/ 0 w 1634"/>
                <a:gd name="T19" fmla="*/ 0 h 1142"/>
                <a:gd name="T20" fmla="*/ 0 w 1634"/>
                <a:gd name="T21" fmla="*/ 0 h 1142"/>
                <a:gd name="T22" fmla="*/ 0 w 1634"/>
                <a:gd name="T23" fmla="*/ 0 h 1142"/>
                <a:gd name="T24" fmla="*/ 0 w 1634"/>
                <a:gd name="T25" fmla="*/ 0 h 1142"/>
                <a:gd name="T26" fmla="*/ 0 w 1634"/>
                <a:gd name="T27" fmla="*/ 0 h 1142"/>
                <a:gd name="T28" fmla="*/ 0 w 1634"/>
                <a:gd name="T29" fmla="*/ 0 h 1142"/>
                <a:gd name="T30" fmla="*/ 0 w 1634"/>
                <a:gd name="T31" fmla="*/ 0 h 1142"/>
                <a:gd name="T32" fmla="*/ 0 w 1634"/>
                <a:gd name="T33" fmla="*/ 0 h 1142"/>
                <a:gd name="T34" fmla="*/ 0 w 1634"/>
                <a:gd name="T35" fmla="*/ 0 h 1142"/>
                <a:gd name="T36" fmla="*/ 0 w 1634"/>
                <a:gd name="T37" fmla="*/ 0 h 1142"/>
                <a:gd name="T38" fmla="*/ 0 w 1634"/>
                <a:gd name="T39" fmla="*/ 0 h 1142"/>
                <a:gd name="T40" fmla="*/ 0 w 1634"/>
                <a:gd name="T41" fmla="*/ 0 h 1142"/>
                <a:gd name="T42" fmla="*/ 0 w 1634"/>
                <a:gd name="T43" fmla="*/ 0 h 1142"/>
                <a:gd name="T44" fmla="*/ 0 w 1634"/>
                <a:gd name="T45" fmla="*/ 0 h 1142"/>
                <a:gd name="T46" fmla="*/ 0 w 1634"/>
                <a:gd name="T47" fmla="*/ 0 h 1142"/>
                <a:gd name="T48" fmla="*/ 0 w 1634"/>
                <a:gd name="T49" fmla="*/ 0 h 1142"/>
                <a:gd name="T50" fmla="*/ 0 w 1634"/>
                <a:gd name="T51" fmla="*/ 0 h 1142"/>
                <a:gd name="T52" fmla="*/ 0 w 1634"/>
                <a:gd name="T53" fmla="*/ 0 h 1142"/>
                <a:gd name="T54" fmla="*/ 0 w 1634"/>
                <a:gd name="T55" fmla="*/ 0 h 1142"/>
                <a:gd name="T56" fmla="*/ 0 w 1634"/>
                <a:gd name="T57" fmla="*/ 0 h 1142"/>
                <a:gd name="T58" fmla="*/ 0 w 1634"/>
                <a:gd name="T59" fmla="*/ 0 h 1142"/>
                <a:gd name="T60" fmla="*/ 0 w 1634"/>
                <a:gd name="T61" fmla="*/ 0 h 1142"/>
                <a:gd name="T62" fmla="*/ 0 w 1634"/>
                <a:gd name="T63" fmla="*/ 0 h 1142"/>
                <a:gd name="T64" fmla="*/ 0 w 1634"/>
                <a:gd name="T65" fmla="*/ 0 h 1142"/>
                <a:gd name="T66" fmla="*/ 0 w 1634"/>
                <a:gd name="T67" fmla="*/ 0 h 1142"/>
                <a:gd name="T68" fmla="*/ 0 w 1634"/>
                <a:gd name="T69" fmla="*/ 0 h 1142"/>
                <a:gd name="T70" fmla="*/ 0 w 1634"/>
                <a:gd name="T71" fmla="*/ 0 h 1142"/>
                <a:gd name="T72" fmla="*/ 0 w 1634"/>
                <a:gd name="T73" fmla="*/ 0 h 1142"/>
                <a:gd name="T74" fmla="*/ 0 w 1634"/>
                <a:gd name="T75" fmla="*/ 0 h 1142"/>
                <a:gd name="T76" fmla="*/ 0 w 1634"/>
                <a:gd name="T77" fmla="*/ 0 h 1142"/>
                <a:gd name="T78" fmla="*/ 0 w 1634"/>
                <a:gd name="T79" fmla="*/ 0 h 1142"/>
                <a:gd name="T80" fmla="*/ 0 w 1634"/>
                <a:gd name="T81" fmla="*/ 0 h 1142"/>
                <a:gd name="T82" fmla="*/ 0 w 1634"/>
                <a:gd name="T83" fmla="*/ 0 h 1142"/>
                <a:gd name="T84" fmla="*/ 0 w 1634"/>
                <a:gd name="T85" fmla="*/ 0 h 1142"/>
                <a:gd name="T86" fmla="*/ 0 w 1634"/>
                <a:gd name="T87" fmla="*/ 0 h 1142"/>
                <a:gd name="T88" fmla="*/ 0 w 1634"/>
                <a:gd name="T89" fmla="*/ 0 h 1142"/>
                <a:gd name="T90" fmla="*/ 0 w 1634"/>
                <a:gd name="T91" fmla="*/ 0 h 1142"/>
                <a:gd name="T92" fmla="*/ 0 w 1634"/>
                <a:gd name="T93" fmla="*/ 0 h 1142"/>
                <a:gd name="T94" fmla="*/ 0 w 1634"/>
                <a:gd name="T95" fmla="*/ 0 h 1142"/>
                <a:gd name="T96" fmla="*/ 0 w 1634"/>
                <a:gd name="T97" fmla="*/ 0 h 1142"/>
                <a:gd name="T98" fmla="*/ 0 w 1634"/>
                <a:gd name="T99" fmla="*/ 0 h 1142"/>
                <a:gd name="T100" fmla="*/ 0 w 1634"/>
                <a:gd name="T101" fmla="*/ 0 h 1142"/>
                <a:gd name="T102" fmla="*/ 0 w 1634"/>
                <a:gd name="T103" fmla="*/ 0 h 1142"/>
                <a:gd name="T104" fmla="*/ 0 w 1634"/>
                <a:gd name="T105" fmla="*/ 0 h 1142"/>
                <a:gd name="T106" fmla="*/ 0 w 1634"/>
                <a:gd name="T107" fmla="*/ 0 h 1142"/>
                <a:gd name="T108" fmla="*/ 0 w 1634"/>
                <a:gd name="T109" fmla="*/ 0 h 1142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1634"/>
                <a:gd name="T166" fmla="*/ 0 h 1142"/>
                <a:gd name="T167" fmla="*/ 1634 w 1634"/>
                <a:gd name="T168" fmla="*/ 1142 h 1142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1634" h="1142">
                  <a:moveTo>
                    <a:pt x="1608" y="740"/>
                  </a:moveTo>
                  <a:cubicBezTo>
                    <a:pt x="1608" y="727"/>
                    <a:pt x="1583" y="662"/>
                    <a:pt x="1583" y="662"/>
                  </a:cubicBezTo>
                  <a:cubicBezTo>
                    <a:pt x="1506" y="636"/>
                    <a:pt x="1506" y="636"/>
                    <a:pt x="1506" y="636"/>
                  </a:cubicBezTo>
                  <a:cubicBezTo>
                    <a:pt x="1493" y="571"/>
                    <a:pt x="1493" y="571"/>
                    <a:pt x="1493" y="571"/>
                  </a:cubicBezTo>
                  <a:cubicBezTo>
                    <a:pt x="1493" y="571"/>
                    <a:pt x="1506" y="558"/>
                    <a:pt x="1468" y="532"/>
                  </a:cubicBezTo>
                  <a:cubicBezTo>
                    <a:pt x="1430" y="519"/>
                    <a:pt x="1366" y="480"/>
                    <a:pt x="1366" y="455"/>
                  </a:cubicBezTo>
                  <a:cubicBezTo>
                    <a:pt x="1353" y="442"/>
                    <a:pt x="1391" y="416"/>
                    <a:pt x="1353" y="390"/>
                  </a:cubicBezTo>
                  <a:cubicBezTo>
                    <a:pt x="1315" y="377"/>
                    <a:pt x="1302" y="351"/>
                    <a:pt x="1289" y="351"/>
                  </a:cubicBezTo>
                  <a:cubicBezTo>
                    <a:pt x="1277" y="351"/>
                    <a:pt x="1200" y="338"/>
                    <a:pt x="1225" y="325"/>
                  </a:cubicBezTo>
                  <a:cubicBezTo>
                    <a:pt x="1238" y="312"/>
                    <a:pt x="1225" y="286"/>
                    <a:pt x="1200" y="299"/>
                  </a:cubicBezTo>
                  <a:cubicBezTo>
                    <a:pt x="1187" y="299"/>
                    <a:pt x="1136" y="299"/>
                    <a:pt x="1136" y="273"/>
                  </a:cubicBezTo>
                  <a:cubicBezTo>
                    <a:pt x="1149" y="247"/>
                    <a:pt x="1162" y="234"/>
                    <a:pt x="1162" y="208"/>
                  </a:cubicBezTo>
                  <a:cubicBezTo>
                    <a:pt x="1162" y="169"/>
                    <a:pt x="1162" y="117"/>
                    <a:pt x="1123" y="91"/>
                  </a:cubicBezTo>
                  <a:cubicBezTo>
                    <a:pt x="1111" y="65"/>
                    <a:pt x="1085" y="39"/>
                    <a:pt x="1072" y="26"/>
                  </a:cubicBezTo>
                  <a:cubicBezTo>
                    <a:pt x="1072" y="26"/>
                    <a:pt x="1072" y="26"/>
                    <a:pt x="1072" y="26"/>
                  </a:cubicBezTo>
                  <a:cubicBezTo>
                    <a:pt x="1021" y="0"/>
                    <a:pt x="1021" y="0"/>
                    <a:pt x="1021" y="0"/>
                  </a:cubicBezTo>
                  <a:cubicBezTo>
                    <a:pt x="932" y="26"/>
                    <a:pt x="932" y="26"/>
                    <a:pt x="932" y="26"/>
                  </a:cubicBezTo>
                  <a:cubicBezTo>
                    <a:pt x="919" y="91"/>
                    <a:pt x="919" y="91"/>
                    <a:pt x="919" y="91"/>
                  </a:cubicBezTo>
                  <a:cubicBezTo>
                    <a:pt x="817" y="182"/>
                    <a:pt x="817" y="182"/>
                    <a:pt x="817" y="182"/>
                  </a:cubicBezTo>
                  <a:cubicBezTo>
                    <a:pt x="715" y="247"/>
                    <a:pt x="715" y="247"/>
                    <a:pt x="715" y="247"/>
                  </a:cubicBezTo>
                  <a:cubicBezTo>
                    <a:pt x="715" y="247"/>
                    <a:pt x="562" y="260"/>
                    <a:pt x="562" y="273"/>
                  </a:cubicBezTo>
                  <a:cubicBezTo>
                    <a:pt x="549" y="286"/>
                    <a:pt x="587" y="299"/>
                    <a:pt x="587" y="299"/>
                  </a:cubicBezTo>
                  <a:cubicBezTo>
                    <a:pt x="524" y="377"/>
                    <a:pt x="524" y="377"/>
                    <a:pt x="524" y="377"/>
                  </a:cubicBezTo>
                  <a:cubicBezTo>
                    <a:pt x="524" y="377"/>
                    <a:pt x="447" y="390"/>
                    <a:pt x="422" y="390"/>
                  </a:cubicBezTo>
                  <a:cubicBezTo>
                    <a:pt x="383" y="403"/>
                    <a:pt x="319" y="455"/>
                    <a:pt x="319" y="455"/>
                  </a:cubicBezTo>
                  <a:cubicBezTo>
                    <a:pt x="268" y="403"/>
                    <a:pt x="268" y="403"/>
                    <a:pt x="268" y="403"/>
                  </a:cubicBezTo>
                  <a:cubicBezTo>
                    <a:pt x="268" y="403"/>
                    <a:pt x="268" y="403"/>
                    <a:pt x="230" y="442"/>
                  </a:cubicBezTo>
                  <a:cubicBezTo>
                    <a:pt x="179" y="480"/>
                    <a:pt x="141" y="455"/>
                    <a:pt x="141" y="455"/>
                  </a:cubicBezTo>
                  <a:cubicBezTo>
                    <a:pt x="141" y="455"/>
                    <a:pt x="77" y="558"/>
                    <a:pt x="52" y="584"/>
                  </a:cubicBezTo>
                  <a:cubicBezTo>
                    <a:pt x="39" y="610"/>
                    <a:pt x="0" y="649"/>
                    <a:pt x="0" y="649"/>
                  </a:cubicBezTo>
                  <a:cubicBezTo>
                    <a:pt x="0" y="649"/>
                    <a:pt x="39" y="688"/>
                    <a:pt x="26" y="714"/>
                  </a:cubicBezTo>
                  <a:cubicBezTo>
                    <a:pt x="13" y="740"/>
                    <a:pt x="39" y="779"/>
                    <a:pt x="39" y="818"/>
                  </a:cubicBezTo>
                  <a:cubicBezTo>
                    <a:pt x="52" y="857"/>
                    <a:pt x="77" y="883"/>
                    <a:pt x="77" y="896"/>
                  </a:cubicBezTo>
                  <a:cubicBezTo>
                    <a:pt x="77" y="922"/>
                    <a:pt x="205" y="1025"/>
                    <a:pt x="205" y="1025"/>
                  </a:cubicBezTo>
                  <a:cubicBezTo>
                    <a:pt x="217" y="1129"/>
                    <a:pt x="217" y="1129"/>
                    <a:pt x="217" y="1129"/>
                  </a:cubicBezTo>
                  <a:cubicBezTo>
                    <a:pt x="217" y="1142"/>
                    <a:pt x="217" y="1142"/>
                    <a:pt x="217" y="1142"/>
                  </a:cubicBezTo>
                  <a:cubicBezTo>
                    <a:pt x="217" y="1142"/>
                    <a:pt x="256" y="1025"/>
                    <a:pt x="268" y="999"/>
                  </a:cubicBezTo>
                  <a:cubicBezTo>
                    <a:pt x="268" y="961"/>
                    <a:pt x="332" y="961"/>
                    <a:pt x="332" y="961"/>
                  </a:cubicBezTo>
                  <a:cubicBezTo>
                    <a:pt x="332" y="961"/>
                    <a:pt x="409" y="948"/>
                    <a:pt x="422" y="948"/>
                  </a:cubicBezTo>
                  <a:cubicBezTo>
                    <a:pt x="447" y="948"/>
                    <a:pt x="524" y="961"/>
                    <a:pt x="524" y="961"/>
                  </a:cubicBezTo>
                  <a:cubicBezTo>
                    <a:pt x="524" y="961"/>
                    <a:pt x="549" y="844"/>
                    <a:pt x="549" y="831"/>
                  </a:cubicBezTo>
                  <a:cubicBezTo>
                    <a:pt x="549" y="818"/>
                    <a:pt x="613" y="766"/>
                    <a:pt x="638" y="753"/>
                  </a:cubicBezTo>
                  <a:cubicBezTo>
                    <a:pt x="651" y="740"/>
                    <a:pt x="766" y="831"/>
                    <a:pt x="766" y="831"/>
                  </a:cubicBezTo>
                  <a:cubicBezTo>
                    <a:pt x="766" y="831"/>
                    <a:pt x="868" y="870"/>
                    <a:pt x="881" y="870"/>
                  </a:cubicBezTo>
                  <a:cubicBezTo>
                    <a:pt x="906" y="870"/>
                    <a:pt x="983" y="896"/>
                    <a:pt x="1009" y="896"/>
                  </a:cubicBezTo>
                  <a:cubicBezTo>
                    <a:pt x="1021" y="896"/>
                    <a:pt x="1060" y="805"/>
                    <a:pt x="1060" y="805"/>
                  </a:cubicBezTo>
                  <a:cubicBezTo>
                    <a:pt x="1123" y="818"/>
                    <a:pt x="1123" y="818"/>
                    <a:pt x="1123" y="818"/>
                  </a:cubicBezTo>
                  <a:cubicBezTo>
                    <a:pt x="1123" y="818"/>
                    <a:pt x="1213" y="792"/>
                    <a:pt x="1238" y="779"/>
                  </a:cubicBezTo>
                  <a:cubicBezTo>
                    <a:pt x="1264" y="753"/>
                    <a:pt x="1289" y="792"/>
                    <a:pt x="1315" y="792"/>
                  </a:cubicBezTo>
                  <a:cubicBezTo>
                    <a:pt x="1328" y="779"/>
                    <a:pt x="1366" y="753"/>
                    <a:pt x="1379" y="740"/>
                  </a:cubicBezTo>
                  <a:cubicBezTo>
                    <a:pt x="1391" y="727"/>
                    <a:pt x="1430" y="753"/>
                    <a:pt x="1468" y="753"/>
                  </a:cubicBezTo>
                  <a:cubicBezTo>
                    <a:pt x="1506" y="753"/>
                    <a:pt x="1544" y="779"/>
                    <a:pt x="1557" y="766"/>
                  </a:cubicBezTo>
                  <a:cubicBezTo>
                    <a:pt x="1583" y="740"/>
                    <a:pt x="1634" y="766"/>
                    <a:pt x="1634" y="766"/>
                  </a:cubicBezTo>
                  <a:cubicBezTo>
                    <a:pt x="1634" y="766"/>
                    <a:pt x="1634" y="766"/>
                    <a:pt x="1634" y="766"/>
                  </a:cubicBezTo>
                  <a:cubicBezTo>
                    <a:pt x="1621" y="753"/>
                    <a:pt x="1621" y="740"/>
                    <a:pt x="1608" y="740"/>
                  </a:cubicBezTo>
                </a:path>
              </a:pathLst>
            </a:custGeom>
            <a:grpFill/>
            <a:ln w="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891045"/>
              <a:endParaRPr lang="en-US" sz="1700" dirty="0">
                <a:solidFill>
                  <a:srgbClr val="003149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464" name="Freeform 271"/>
            <p:cNvSpPr>
              <a:spLocks/>
            </p:cNvSpPr>
            <p:nvPr/>
          </p:nvSpPr>
          <p:spPr bwMode="gray">
            <a:xfrm>
              <a:off x="4397" y="2883"/>
              <a:ext cx="165" cy="116"/>
            </a:xfrm>
            <a:custGeom>
              <a:avLst/>
              <a:gdLst>
                <a:gd name="T0" fmla="*/ 162 w 165"/>
                <a:gd name="T1" fmla="*/ 75 h 116"/>
                <a:gd name="T2" fmla="*/ 159 w 165"/>
                <a:gd name="T3" fmla="*/ 67 h 116"/>
                <a:gd name="T4" fmla="*/ 152 w 165"/>
                <a:gd name="T5" fmla="*/ 64 h 116"/>
                <a:gd name="T6" fmla="*/ 150 w 165"/>
                <a:gd name="T7" fmla="*/ 58 h 116"/>
                <a:gd name="T8" fmla="*/ 148 w 165"/>
                <a:gd name="T9" fmla="*/ 54 h 116"/>
                <a:gd name="T10" fmla="*/ 138 w 165"/>
                <a:gd name="T11" fmla="*/ 46 h 116"/>
                <a:gd name="T12" fmla="*/ 136 w 165"/>
                <a:gd name="T13" fmla="*/ 40 h 116"/>
                <a:gd name="T14" fmla="*/ 130 w 165"/>
                <a:gd name="T15" fmla="*/ 36 h 116"/>
                <a:gd name="T16" fmla="*/ 123 w 165"/>
                <a:gd name="T17" fmla="*/ 33 h 116"/>
                <a:gd name="T18" fmla="*/ 121 w 165"/>
                <a:gd name="T19" fmla="*/ 30 h 116"/>
                <a:gd name="T20" fmla="*/ 114 w 165"/>
                <a:gd name="T21" fmla="*/ 28 h 116"/>
                <a:gd name="T22" fmla="*/ 117 w 165"/>
                <a:gd name="T23" fmla="*/ 21 h 116"/>
                <a:gd name="T24" fmla="*/ 113 w 165"/>
                <a:gd name="T25" fmla="*/ 9 h 116"/>
                <a:gd name="T26" fmla="*/ 108 w 165"/>
                <a:gd name="T27" fmla="*/ 3 h 116"/>
                <a:gd name="T28" fmla="*/ 108 w 165"/>
                <a:gd name="T29" fmla="*/ 3 h 116"/>
                <a:gd name="T30" fmla="*/ 103 w 165"/>
                <a:gd name="T31" fmla="*/ 0 h 116"/>
                <a:gd name="T32" fmla="*/ 94 w 165"/>
                <a:gd name="T33" fmla="*/ 3 h 116"/>
                <a:gd name="T34" fmla="*/ 92 w 165"/>
                <a:gd name="T35" fmla="*/ 9 h 116"/>
                <a:gd name="T36" fmla="*/ 82 w 165"/>
                <a:gd name="T37" fmla="*/ 19 h 116"/>
                <a:gd name="T38" fmla="*/ 72 w 165"/>
                <a:gd name="T39" fmla="*/ 25 h 116"/>
                <a:gd name="T40" fmla="*/ 56 w 165"/>
                <a:gd name="T41" fmla="*/ 28 h 116"/>
                <a:gd name="T42" fmla="*/ 59 w 165"/>
                <a:gd name="T43" fmla="*/ 30 h 116"/>
                <a:gd name="T44" fmla="*/ 53 w 165"/>
                <a:gd name="T45" fmla="*/ 38 h 116"/>
                <a:gd name="T46" fmla="*/ 42 w 165"/>
                <a:gd name="T47" fmla="*/ 40 h 116"/>
                <a:gd name="T48" fmla="*/ 32 w 165"/>
                <a:gd name="T49" fmla="*/ 46 h 116"/>
                <a:gd name="T50" fmla="*/ 27 w 165"/>
                <a:gd name="T51" fmla="*/ 41 h 116"/>
                <a:gd name="T52" fmla="*/ 23 w 165"/>
                <a:gd name="T53" fmla="*/ 45 h 116"/>
                <a:gd name="T54" fmla="*/ 14 w 165"/>
                <a:gd name="T55" fmla="*/ 46 h 116"/>
                <a:gd name="T56" fmla="*/ 5 w 165"/>
                <a:gd name="T57" fmla="*/ 59 h 116"/>
                <a:gd name="T58" fmla="*/ 0 w 165"/>
                <a:gd name="T59" fmla="*/ 66 h 116"/>
                <a:gd name="T60" fmla="*/ 2 w 165"/>
                <a:gd name="T61" fmla="*/ 72 h 116"/>
                <a:gd name="T62" fmla="*/ 4 w 165"/>
                <a:gd name="T63" fmla="*/ 83 h 116"/>
                <a:gd name="T64" fmla="*/ 7 w 165"/>
                <a:gd name="T65" fmla="*/ 91 h 116"/>
                <a:gd name="T66" fmla="*/ 20 w 165"/>
                <a:gd name="T67" fmla="*/ 104 h 116"/>
                <a:gd name="T68" fmla="*/ 22 w 165"/>
                <a:gd name="T69" fmla="*/ 114 h 116"/>
                <a:gd name="T70" fmla="*/ 22 w 165"/>
                <a:gd name="T71" fmla="*/ 116 h 116"/>
                <a:gd name="T72" fmla="*/ 27 w 165"/>
                <a:gd name="T73" fmla="*/ 101 h 116"/>
                <a:gd name="T74" fmla="*/ 33 w 165"/>
                <a:gd name="T75" fmla="*/ 97 h 116"/>
                <a:gd name="T76" fmla="*/ 42 w 165"/>
                <a:gd name="T77" fmla="*/ 96 h 116"/>
                <a:gd name="T78" fmla="*/ 53 w 165"/>
                <a:gd name="T79" fmla="*/ 97 h 116"/>
                <a:gd name="T80" fmla="*/ 55 w 165"/>
                <a:gd name="T81" fmla="*/ 84 h 116"/>
                <a:gd name="T82" fmla="*/ 64 w 165"/>
                <a:gd name="T83" fmla="*/ 76 h 116"/>
                <a:gd name="T84" fmla="*/ 77 w 165"/>
                <a:gd name="T85" fmla="*/ 84 h 116"/>
                <a:gd name="T86" fmla="*/ 89 w 165"/>
                <a:gd name="T87" fmla="*/ 88 h 116"/>
                <a:gd name="T88" fmla="*/ 101 w 165"/>
                <a:gd name="T89" fmla="*/ 91 h 116"/>
                <a:gd name="T90" fmla="*/ 107 w 165"/>
                <a:gd name="T91" fmla="*/ 82 h 116"/>
                <a:gd name="T92" fmla="*/ 113 w 165"/>
                <a:gd name="T93" fmla="*/ 83 h 116"/>
                <a:gd name="T94" fmla="*/ 125 w 165"/>
                <a:gd name="T95" fmla="*/ 79 h 116"/>
                <a:gd name="T96" fmla="*/ 132 w 165"/>
                <a:gd name="T97" fmla="*/ 80 h 116"/>
                <a:gd name="T98" fmla="*/ 139 w 165"/>
                <a:gd name="T99" fmla="*/ 75 h 116"/>
                <a:gd name="T100" fmla="*/ 148 w 165"/>
                <a:gd name="T101" fmla="*/ 76 h 116"/>
                <a:gd name="T102" fmla="*/ 157 w 165"/>
                <a:gd name="T103" fmla="*/ 78 h 116"/>
                <a:gd name="T104" fmla="*/ 165 w 165"/>
                <a:gd name="T105" fmla="*/ 78 h 116"/>
                <a:gd name="T106" fmla="*/ 165 w 165"/>
                <a:gd name="T107" fmla="*/ 78 h 116"/>
                <a:gd name="T108" fmla="*/ 162 w 165"/>
                <a:gd name="T109" fmla="*/ 75 h 11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165"/>
                <a:gd name="T166" fmla="*/ 0 h 116"/>
                <a:gd name="T167" fmla="*/ 165 w 165"/>
                <a:gd name="T168" fmla="*/ 116 h 11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165" h="116">
                  <a:moveTo>
                    <a:pt x="162" y="75"/>
                  </a:moveTo>
                  <a:cubicBezTo>
                    <a:pt x="162" y="74"/>
                    <a:pt x="159" y="67"/>
                    <a:pt x="159" y="67"/>
                  </a:cubicBezTo>
                  <a:cubicBezTo>
                    <a:pt x="152" y="64"/>
                    <a:pt x="152" y="64"/>
                    <a:pt x="152" y="64"/>
                  </a:cubicBezTo>
                  <a:cubicBezTo>
                    <a:pt x="150" y="58"/>
                    <a:pt x="150" y="58"/>
                    <a:pt x="150" y="58"/>
                  </a:cubicBezTo>
                  <a:cubicBezTo>
                    <a:pt x="150" y="58"/>
                    <a:pt x="152" y="57"/>
                    <a:pt x="148" y="54"/>
                  </a:cubicBezTo>
                  <a:cubicBezTo>
                    <a:pt x="144" y="53"/>
                    <a:pt x="138" y="49"/>
                    <a:pt x="138" y="46"/>
                  </a:cubicBezTo>
                  <a:cubicBezTo>
                    <a:pt x="136" y="45"/>
                    <a:pt x="140" y="42"/>
                    <a:pt x="136" y="40"/>
                  </a:cubicBezTo>
                  <a:cubicBezTo>
                    <a:pt x="132" y="38"/>
                    <a:pt x="131" y="36"/>
                    <a:pt x="130" y="36"/>
                  </a:cubicBezTo>
                  <a:cubicBezTo>
                    <a:pt x="129" y="36"/>
                    <a:pt x="121" y="34"/>
                    <a:pt x="123" y="33"/>
                  </a:cubicBezTo>
                  <a:cubicBezTo>
                    <a:pt x="125" y="32"/>
                    <a:pt x="123" y="29"/>
                    <a:pt x="121" y="30"/>
                  </a:cubicBezTo>
                  <a:cubicBezTo>
                    <a:pt x="119" y="30"/>
                    <a:pt x="114" y="30"/>
                    <a:pt x="114" y="28"/>
                  </a:cubicBezTo>
                  <a:cubicBezTo>
                    <a:pt x="116" y="25"/>
                    <a:pt x="117" y="24"/>
                    <a:pt x="117" y="21"/>
                  </a:cubicBezTo>
                  <a:cubicBezTo>
                    <a:pt x="117" y="17"/>
                    <a:pt x="117" y="12"/>
                    <a:pt x="113" y="9"/>
                  </a:cubicBezTo>
                  <a:cubicBezTo>
                    <a:pt x="112" y="7"/>
                    <a:pt x="109" y="4"/>
                    <a:pt x="108" y="3"/>
                  </a:cubicBezTo>
                  <a:cubicBezTo>
                    <a:pt x="108" y="3"/>
                    <a:pt x="108" y="3"/>
                    <a:pt x="108" y="3"/>
                  </a:cubicBezTo>
                  <a:cubicBezTo>
                    <a:pt x="103" y="0"/>
                    <a:pt x="103" y="0"/>
                    <a:pt x="103" y="0"/>
                  </a:cubicBezTo>
                  <a:cubicBezTo>
                    <a:pt x="94" y="3"/>
                    <a:pt x="94" y="3"/>
                    <a:pt x="94" y="3"/>
                  </a:cubicBezTo>
                  <a:cubicBezTo>
                    <a:pt x="92" y="9"/>
                    <a:pt x="92" y="9"/>
                    <a:pt x="92" y="9"/>
                  </a:cubicBezTo>
                  <a:cubicBezTo>
                    <a:pt x="82" y="19"/>
                    <a:pt x="82" y="19"/>
                    <a:pt x="82" y="19"/>
                  </a:cubicBezTo>
                  <a:cubicBezTo>
                    <a:pt x="72" y="25"/>
                    <a:pt x="72" y="25"/>
                    <a:pt x="72" y="25"/>
                  </a:cubicBezTo>
                  <a:cubicBezTo>
                    <a:pt x="72" y="25"/>
                    <a:pt x="56" y="27"/>
                    <a:pt x="56" y="28"/>
                  </a:cubicBezTo>
                  <a:cubicBezTo>
                    <a:pt x="55" y="29"/>
                    <a:pt x="59" y="30"/>
                    <a:pt x="59" y="30"/>
                  </a:cubicBezTo>
                  <a:cubicBezTo>
                    <a:pt x="53" y="38"/>
                    <a:pt x="53" y="38"/>
                    <a:pt x="53" y="38"/>
                  </a:cubicBezTo>
                  <a:cubicBezTo>
                    <a:pt x="53" y="38"/>
                    <a:pt x="45" y="40"/>
                    <a:pt x="42" y="40"/>
                  </a:cubicBezTo>
                  <a:cubicBezTo>
                    <a:pt x="38" y="41"/>
                    <a:pt x="32" y="46"/>
                    <a:pt x="32" y="46"/>
                  </a:cubicBezTo>
                  <a:cubicBezTo>
                    <a:pt x="27" y="41"/>
                    <a:pt x="27" y="41"/>
                    <a:pt x="27" y="41"/>
                  </a:cubicBezTo>
                  <a:cubicBezTo>
                    <a:pt x="27" y="41"/>
                    <a:pt x="27" y="41"/>
                    <a:pt x="23" y="45"/>
                  </a:cubicBezTo>
                  <a:cubicBezTo>
                    <a:pt x="18" y="49"/>
                    <a:pt x="14" y="46"/>
                    <a:pt x="14" y="46"/>
                  </a:cubicBezTo>
                  <a:cubicBezTo>
                    <a:pt x="14" y="46"/>
                    <a:pt x="7" y="57"/>
                    <a:pt x="5" y="59"/>
                  </a:cubicBezTo>
                  <a:cubicBezTo>
                    <a:pt x="4" y="62"/>
                    <a:pt x="0" y="66"/>
                    <a:pt x="0" y="66"/>
                  </a:cubicBezTo>
                  <a:cubicBezTo>
                    <a:pt x="0" y="66"/>
                    <a:pt x="4" y="70"/>
                    <a:pt x="2" y="72"/>
                  </a:cubicBezTo>
                  <a:cubicBezTo>
                    <a:pt x="1" y="75"/>
                    <a:pt x="4" y="79"/>
                    <a:pt x="4" y="83"/>
                  </a:cubicBezTo>
                  <a:cubicBezTo>
                    <a:pt x="5" y="87"/>
                    <a:pt x="7" y="89"/>
                    <a:pt x="7" y="91"/>
                  </a:cubicBezTo>
                  <a:cubicBezTo>
                    <a:pt x="7" y="93"/>
                    <a:pt x="20" y="104"/>
                    <a:pt x="20" y="104"/>
                  </a:cubicBezTo>
                  <a:cubicBezTo>
                    <a:pt x="22" y="114"/>
                    <a:pt x="22" y="114"/>
                    <a:pt x="22" y="114"/>
                  </a:cubicBezTo>
                  <a:cubicBezTo>
                    <a:pt x="22" y="116"/>
                    <a:pt x="22" y="116"/>
                    <a:pt x="22" y="116"/>
                  </a:cubicBezTo>
                  <a:cubicBezTo>
                    <a:pt x="22" y="116"/>
                    <a:pt x="25" y="104"/>
                    <a:pt x="27" y="101"/>
                  </a:cubicBezTo>
                  <a:cubicBezTo>
                    <a:pt x="27" y="97"/>
                    <a:pt x="33" y="97"/>
                    <a:pt x="33" y="97"/>
                  </a:cubicBezTo>
                  <a:cubicBezTo>
                    <a:pt x="33" y="97"/>
                    <a:pt x="41" y="96"/>
                    <a:pt x="42" y="96"/>
                  </a:cubicBezTo>
                  <a:cubicBezTo>
                    <a:pt x="45" y="96"/>
                    <a:pt x="53" y="97"/>
                    <a:pt x="53" y="97"/>
                  </a:cubicBezTo>
                  <a:cubicBezTo>
                    <a:pt x="53" y="97"/>
                    <a:pt x="55" y="85"/>
                    <a:pt x="55" y="84"/>
                  </a:cubicBezTo>
                  <a:cubicBezTo>
                    <a:pt x="55" y="83"/>
                    <a:pt x="61" y="78"/>
                    <a:pt x="64" y="76"/>
                  </a:cubicBezTo>
                  <a:cubicBezTo>
                    <a:pt x="65" y="75"/>
                    <a:pt x="77" y="84"/>
                    <a:pt x="77" y="84"/>
                  </a:cubicBezTo>
                  <a:cubicBezTo>
                    <a:pt x="77" y="84"/>
                    <a:pt x="87" y="88"/>
                    <a:pt x="89" y="88"/>
                  </a:cubicBezTo>
                  <a:cubicBezTo>
                    <a:pt x="91" y="88"/>
                    <a:pt x="99" y="91"/>
                    <a:pt x="101" y="91"/>
                  </a:cubicBezTo>
                  <a:cubicBezTo>
                    <a:pt x="103" y="91"/>
                    <a:pt x="107" y="82"/>
                    <a:pt x="107" y="82"/>
                  </a:cubicBezTo>
                  <a:cubicBezTo>
                    <a:pt x="113" y="83"/>
                    <a:pt x="113" y="83"/>
                    <a:pt x="113" y="83"/>
                  </a:cubicBezTo>
                  <a:cubicBezTo>
                    <a:pt x="113" y="83"/>
                    <a:pt x="122" y="80"/>
                    <a:pt x="125" y="79"/>
                  </a:cubicBezTo>
                  <a:cubicBezTo>
                    <a:pt x="127" y="76"/>
                    <a:pt x="130" y="80"/>
                    <a:pt x="132" y="80"/>
                  </a:cubicBezTo>
                  <a:cubicBezTo>
                    <a:pt x="134" y="79"/>
                    <a:pt x="138" y="76"/>
                    <a:pt x="139" y="75"/>
                  </a:cubicBezTo>
                  <a:cubicBezTo>
                    <a:pt x="140" y="74"/>
                    <a:pt x="144" y="76"/>
                    <a:pt x="148" y="76"/>
                  </a:cubicBezTo>
                  <a:cubicBezTo>
                    <a:pt x="152" y="76"/>
                    <a:pt x="155" y="79"/>
                    <a:pt x="157" y="78"/>
                  </a:cubicBezTo>
                  <a:cubicBezTo>
                    <a:pt x="159" y="75"/>
                    <a:pt x="165" y="78"/>
                    <a:pt x="165" y="78"/>
                  </a:cubicBezTo>
                  <a:cubicBezTo>
                    <a:pt x="165" y="78"/>
                    <a:pt x="165" y="78"/>
                    <a:pt x="165" y="78"/>
                  </a:cubicBezTo>
                  <a:cubicBezTo>
                    <a:pt x="163" y="76"/>
                    <a:pt x="163" y="75"/>
                    <a:pt x="162" y="75"/>
                  </a:cubicBezTo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891045"/>
              <a:endParaRPr lang="en-US" sz="1700" dirty="0">
                <a:solidFill>
                  <a:srgbClr val="003149"/>
                </a:solidFill>
                <a:cs typeface="Arial" panose="020B0604020202020204" pitchFamily="34" charset="0"/>
              </a:endParaRPr>
            </a:p>
          </p:txBody>
        </p:sp>
      </p:grpSp>
      <p:grpSp>
        <p:nvGrpSpPr>
          <p:cNvPr id="465" name="Group 272"/>
          <p:cNvGrpSpPr>
            <a:grpSpLocks/>
          </p:cNvGrpSpPr>
          <p:nvPr/>
        </p:nvGrpSpPr>
        <p:grpSpPr bwMode="gray">
          <a:xfrm>
            <a:off x="1765087" y="2417017"/>
            <a:ext cx="145817" cy="183955"/>
            <a:chOff x="4643" y="2965"/>
            <a:chExt cx="99" cy="119"/>
          </a:xfrm>
          <a:solidFill>
            <a:schemeClr val="accent3"/>
          </a:solidFill>
        </p:grpSpPr>
        <p:sp>
          <p:nvSpPr>
            <p:cNvPr id="466" name="Freeform 273"/>
            <p:cNvSpPr>
              <a:spLocks/>
            </p:cNvSpPr>
            <p:nvPr/>
          </p:nvSpPr>
          <p:spPr bwMode="gray">
            <a:xfrm>
              <a:off x="4643" y="2965"/>
              <a:ext cx="99" cy="119"/>
            </a:xfrm>
            <a:custGeom>
              <a:avLst/>
              <a:gdLst>
                <a:gd name="T0" fmla="*/ 0 w 983"/>
                <a:gd name="T1" fmla="*/ 0 h 1183"/>
                <a:gd name="T2" fmla="*/ 0 w 983"/>
                <a:gd name="T3" fmla="*/ 0 h 1183"/>
                <a:gd name="T4" fmla="*/ 0 w 983"/>
                <a:gd name="T5" fmla="*/ 0 h 1183"/>
                <a:gd name="T6" fmla="*/ 0 w 983"/>
                <a:gd name="T7" fmla="*/ 0 h 1183"/>
                <a:gd name="T8" fmla="*/ 0 w 983"/>
                <a:gd name="T9" fmla="*/ 0 h 1183"/>
                <a:gd name="T10" fmla="*/ 0 w 983"/>
                <a:gd name="T11" fmla="*/ 0 h 1183"/>
                <a:gd name="T12" fmla="*/ 0 w 983"/>
                <a:gd name="T13" fmla="*/ 0 h 1183"/>
                <a:gd name="T14" fmla="*/ 0 w 983"/>
                <a:gd name="T15" fmla="*/ 0 h 1183"/>
                <a:gd name="T16" fmla="*/ 0 w 983"/>
                <a:gd name="T17" fmla="*/ 0 h 1183"/>
                <a:gd name="T18" fmla="*/ 0 w 983"/>
                <a:gd name="T19" fmla="*/ 0 h 1183"/>
                <a:gd name="T20" fmla="*/ 0 w 983"/>
                <a:gd name="T21" fmla="*/ 0 h 1183"/>
                <a:gd name="T22" fmla="*/ 0 w 983"/>
                <a:gd name="T23" fmla="*/ 0 h 1183"/>
                <a:gd name="T24" fmla="*/ 0 w 983"/>
                <a:gd name="T25" fmla="*/ 0 h 1183"/>
                <a:gd name="T26" fmla="*/ 0 w 983"/>
                <a:gd name="T27" fmla="*/ 0 h 1183"/>
                <a:gd name="T28" fmla="*/ 0 w 983"/>
                <a:gd name="T29" fmla="*/ 0 h 1183"/>
                <a:gd name="T30" fmla="*/ 0 w 983"/>
                <a:gd name="T31" fmla="*/ 0 h 1183"/>
                <a:gd name="T32" fmla="*/ 0 w 983"/>
                <a:gd name="T33" fmla="*/ 0 h 1183"/>
                <a:gd name="T34" fmla="*/ 0 w 983"/>
                <a:gd name="T35" fmla="*/ 0 h 1183"/>
                <a:gd name="T36" fmla="*/ 0 w 983"/>
                <a:gd name="T37" fmla="*/ 0 h 1183"/>
                <a:gd name="T38" fmla="*/ 0 w 983"/>
                <a:gd name="T39" fmla="*/ 0 h 1183"/>
                <a:gd name="T40" fmla="*/ 0 w 983"/>
                <a:gd name="T41" fmla="*/ 0 h 1183"/>
                <a:gd name="T42" fmla="*/ 0 w 983"/>
                <a:gd name="T43" fmla="*/ 0 h 1183"/>
                <a:gd name="T44" fmla="*/ 0 w 983"/>
                <a:gd name="T45" fmla="*/ 0 h 1183"/>
                <a:gd name="T46" fmla="*/ 0 w 983"/>
                <a:gd name="T47" fmla="*/ 0 h 1183"/>
                <a:gd name="T48" fmla="*/ 0 w 983"/>
                <a:gd name="T49" fmla="*/ 0 h 1183"/>
                <a:gd name="T50" fmla="*/ 0 w 983"/>
                <a:gd name="T51" fmla="*/ 0 h 1183"/>
                <a:gd name="T52" fmla="*/ 0 w 983"/>
                <a:gd name="T53" fmla="*/ 0 h 1183"/>
                <a:gd name="T54" fmla="*/ 0 w 983"/>
                <a:gd name="T55" fmla="*/ 0 h 1183"/>
                <a:gd name="T56" fmla="*/ 0 w 983"/>
                <a:gd name="T57" fmla="*/ 0 h 1183"/>
                <a:gd name="T58" fmla="*/ 0 w 983"/>
                <a:gd name="T59" fmla="*/ 0 h 1183"/>
                <a:gd name="T60" fmla="*/ 0 w 983"/>
                <a:gd name="T61" fmla="*/ 0 h 1183"/>
                <a:gd name="T62" fmla="*/ 0 w 983"/>
                <a:gd name="T63" fmla="*/ 0 h 1183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983"/>
                <a:gd name="T97" fmla="*/ 0 h 1183"/>
                <a:gd name="T98" fmla="*/ 983 w 983"/>
                <a:gd name="T99" fmla="*/ 1183 h 1183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983" h="1183">
                  <a:moveTo>
                    <a:pt x="883" y="229"/>
                  </a:moveTo>
                  <a:cubicBezTo>
                    <a:pt x="983" y="89"/>
                    <a:pt x="983" y="89"/>
                    <a:pt x="983" y="89"/>
                  </a:cubicBezTo>
                  <a:cubicBezTo>
                    <a:pt x="971" y="89"/>
                    <a:pt x="908" y="89"/>
                    <a:pt x="908" y="89"/>
                  </a:cubicBezTo>
                  <a:cubicBezTo>
                    <a:pt x="857" y="38"/>
                    <a:pt x="857" y="38"/>
                    <a:pt x="857" y="38"/>
                  </a:cubicBezTo>
                  <a:cubicBezTo>
                    <a:pt x="857" y="38"/>
                    <a:pt x="757" y="89"/>
                    <a:pt x="731" y="102"/>
                  </a:cubicBezTo>
                  <a:cubicBezTo>
                    <a:pt x="719" y="114"/>
                    <a:pt x="719" y="152"/>
                    <a:pt x="706" y="152"/>
                  </a:cubicBezTo>
                  <a:cubicBezTo>
                    <a:pt x="694" y="140"/>
                    <a:pt x="605" y="127"/>
                    <a:pt x="567" y="127"/>
                  </a:cubicBezTo>
                  <a:cubicBezTo>
                    <a:pt x="530" y="140"/>
                    <a:pt x="467" y="76"/>
                    <a:pt x="467" y="76"/>
                  </a:cubicBezTo>
                  <a:cubicBezTo>
                    <a:pt x="467" y="76"/>
                    <a:pt x="366" y="13"/>
                    <a:pt x="341" y="13"/>
                  </a:cubicBezTo>
                  <a:cubicBezTo>
                    <a:pt x="315" y="13"/>
                    <a:pt x="265" y="0"/>
                    <a:pt x="265" y="0"/>
                  </a:cubicBezTo>
                  <a:cubicBezTo>
                    <a:pt x="63" y="0"/>
                    <a:pt x="63" y="0"/>
                    <a:pt x="63" y="0"/>
                  </a:cubicBezTo>
                  <a:cubicBezTo>
                    <a:pt x="13" y="51"/>
                    <a:pt x="13" y="51"/>
                    <a:pt x="13" y="51"/>
                  </a:cubicBezTo>
                  <a:cubicBezTo>
                    <a:pt x="25" y="76"/>
                    <a:pt x="25" y="76"/>
                    <a:pt x="25" y="76"/>
                  </a:cubicBezTo>
                  <a:cubicBezTo>
                    <a:pt x="25" y="76"/>
                    <a:pt x="76" y="114"/>
                    <a:pt x="76" y="140"/>
                  </a:cubicBezTo>
                  <a:cubicBezTo>
                    <a:pt x="76" y="152"/>
                    <a:pt x="76" y="203"/>
                    <a:pt x="114" y="229"/>
                  </a:cubicBezTo>
                  <a:cubicBezTo>
                    <a:pt x="151" y="267"/>
                    <a:pt x="126" y="305"/>
                    <a:pt x="139" y="369"/>
                  </a:cubicBezTo>
                  <a:cubicBezTo>
                    <a:pt x="151" y="432"/>
                    <a:pt x="88" y="445"/>
                    <a:pt x="63" y="458"/>
                  </a:cubicBezTo>
                  <a:cubicBezTo>
                    <a:pt x="51" y="483"/>
                    <a:pt x="13" y="534"/>
                    <a:pt x="0" y="560"/>
                  </a:cubicBezTo>
                  <a:cubicBezTo>
                    <a:pt x="38" y="585"/>
                    <a:pt x="76" y="598"/>
                    <a:pt x="76" y="623"/>
                  </a:cubicBezTo>
                  <a:cubicBezTo>
                    <a:pt x="63" y="649"/>
                    <a:pt x="38" y="674"/>
                    <a:pt x="13" y="712"/>
                  </a:cubicBezTo>
                  <a:cubicBezTo>
                    <a:pt x="13" y="712"/>
                    <a:pt x="13" y="712"/>
                    <a:pt x="13" y="712"/>
                  </a:cubicBezTo>
                  <a:cubicBezTo>
                    <a:pt x="467" y="954"/>
                    <a:pt x="467" y="954"/>
                    <a:pt x="467" y="954"/>
                  </a:cubicBezTo>
                  <a:cubicBezTo>
                    <a:pt x="467" y="954"/>
                    <a:pt x="479" y="1018"/>
                    <a:pt x="479" y="1030"/>
                  </a:cubicBezTo>
                  <a:cubicBezTo>
                    <a:pt x="479" y="1043"/>
                    <a:pt x="567" y="1107"/>
                    <a:pt x="580" y="1120"/>
                  </a:cubicBezTo>
                  <a:cubicBezTo>
                    <a:pt x="605" y="1132"/>
                    <a:pt x="656" y="1183"/>
                    <a:pt x="656" y="1183"/>
                  </a:cubicBezTo>
                  <a:cubicBezTo>
                    <a:pt x="681" y="1170"/>
                    <a:pt x="719" y="1056"/>
                    <a:pt x="719" y="1043"/>
                  </a:cubicBezTo>
                  <a:cubicBezTo>
                    <a:pt x="731" y="1030"/>
                    <a:pt x="757" y="1018"/>
                    <a:pt x="782" y="941"/>
                  </a:cubicBezTo>
                  <a:cubicBezTo>
                    <a:pt x="794" y="865"/>
                    <a:pt x="820" y="903"/>
                    <a:pt x="845" y="890"/>
                  </a:cubicBezTo>
                  <a:cubicBezTo>
                    <a:pt x="870" y="890"/>
                    <a:pt x="870" y="840"/>
                    <a:pt x="895" y="840"/>
                  </a:cubicBezTo>
                  <a:cubicBezTo>
                    <a:pt x="908" y="827"/>
                    <a:pt x="958" y="789"/>
                    <a:pt x="958" y="789"/>
                  </a:cubicBezTo>
                  <a:cubicBezTo>
                    <a:pt x="883" y="687"/>
                    <a:pt x="883" y="687"/>
                    <a:pt x="883" y="687"/>
                  </a:cubicBezTo>
                  <a:lnTo>
                    <a:pt x="883" y="229"/>
                  </a:lnTo>
                  <a:close/>
                </a:path>
              </a:pathLst>
            </a:custGeom>
            <a:grpFill/>
            <a:ln w="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891045"/>
              <a:endParaRPr lang="en-US" sz="1700" dirty="0">
                <a:solidFill>
                  <a:srgbClr val="003149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467" name="Freeform 274"/>
            <p:cNvSpPr>
              <a:spLocks/>
            </p:cNvSpPr>
            <p:nvPr/>
          </p:nvSpPr>
          <p:spPr bwMode="gray">
            <a:xfrm>
              <a:off x="4643" y="2965"/>
              <a:ext cx="99" cy="119"/>
            </a:xfrm>
            <a:custGeom>
              <a:avLst/>
              <a:gdLst>
                <a:gd name="T0" fmla="*/ 0 w 983"/>
                <a:gd name="T1" fmla="*/ 0 h 1183"/>
                <a:gd name="T2" fmla="*/ 0 w 983"/>
                <a:gd name="T3" fmla="*/ 0 h 1183"/>
                <a:gd name="T4" fmla="*/ 0 w 983"/>
                <a:gd name="T5" fmla="*/ 0 h 1183"/>
                <a:gd name="T6" fmla="*/ 0 w 983"/>
                <a:gd name="T7" fmla="*/ 0 h 1183"/>
                <a:gd name="T8" fmla="*/ 0 w 983"/>
                <a:gd name="T9" fmla="*/ 0 h 1183"/>
                <a:gd name="T10" fmla="*/ 0 w 983"/>
                <a:gd name="T11" fmla="*/ 0 h 1183"/>
                <a:gd name="T12" fmla="*/ 0 w 983"/>
                <a:gd name="T13" fmla="*/ 0 h 1183"/>
                <a:gd name="T14" fmla="*/ 0 w 983"/>
                <a:gd name="T15" fmla="*/ 0 h 1183"/>
                <a:gd name="T16" fmla="*/ 0 w 983"/>
                <a:gd name="T17" fmla="*/ 0 h 1183"/>
                <a:gd name="T18" fmla="*/ 0 w 983"/>
                <a:gd name="T19" fmla="*/ 0 h 1183"/>
                <a:gd name="T20" fmla="*/ 0 w 983"/>
                <a:gd name="T21" fmla="*/ 0 h 1183"/>
                <a:gd name="T22" fmla="*/ 0 w 983"/>
                <a:gd name="T23" fmla="*/ 0 h 1183"/>
                <a:gd name="T24" fmla="*/ 0 w 983"/>
                <a:gd name="T25" fmla="*/ 0 h 1183"/>
                <a:gd name="T26" fmla="*/ 0 w 983"/>
                <a:gd name="T27" fmla="*/ 0 h 1183"/>
                <a:gd name="T28" fmla="*/ 0 w 983"/>
                <a:gd name="T29" fmla="*/ 0 h 1183"/>
                <a:gd name="T30" fmla="*/ 0 w 983"/>
                <a:gd name="T31" fmla="*/ 0 h 1183"/>
                <a:gd name="T32" fmla="*/ 0 w 983"/>
                <a:gd name="T33" fmla="*/ 0 h 1183"/>
                <a:gd name="T34" fmla="*/ 0 w 983"/>
                <a:gd name="T35" fmla="*/ 0 h 1183"/>
                <a:gd name="T36" fmla="*/ 0 w 983"/>
                <a:gd name="T37" fmla="*/ 0 h 1183"/>
                <a:gd name="T38" fmla="*/ 0 w 983"/>
                <a:gd name="T39" fmla="*/ 0 h 1183"/>
                <a:gd name="T40" fmla="*/ 0 w 983"/>
                <a:gd name="T41" fmla="*/ 0 h 1183"/>
                <a:gd name="T42" fmla="*/ 0 w 983"/>
                <a:gd name="T43" fmla="*/ 0 h 1183"/>
                <a:gd name="T44" fmla="*/ 0 w 983"/>
                <a:gd name="T45" fmla="*/ 0 h 1183"/>
                <a:gd name="T46" fmla="*/ 0 w 983"/>
                <a:gd name="T47" fmla="*/ 0 h 1183"/>
                <a:gd name="T48" fmla="*/ 0 w 983"/>
                <a:gd name="T49" fmla="*/ 0 h 1183"/>
                <a:gd name="T50" fmla="*/ 0 w 983"/>
                <a:gd name="T51" fmla="*/ 0 h 1183"/>
                <a:gd name="T52" fmla="*/ 0 w 983"/>
                <a:gd name="T53" fmla="*/ 0 h 1183"/>
                <a:gd name="T54" fmla="*/ 0 w 983"/>
                <a:gd name="T55" fmla="*/ 0 h 1183"/>
                <a:gd name="T56" fmla="*/ 0 w 983"/>
                <a:gd name="T57" fmla="*/ 0 h 1183"/>
                <a:gd name="T58" fmla="*/ 0 w 983"/>
                <a:gd name="T59" fmla="*/ 0 h 1183"/>
                <a:gd name="T60" fmla="*/ 0 w 983"/>
                <a:gd name="T61" fmla="*/ 0 h 1183"/>
                <a:gd name="T62" fmla="*/ 0 w 983"/>
                <a:gd name="T63" fmla="*/ 0 h 1183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983"/>
                <a:gd name="T97" fmla="*/ 0 h 1183"/>
                <a:gd name="T98" fmla="*/ 983 w 983"/>
                <a:gd name="T99" fmla="*/ 1183 h 1183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983" h="1183">
                  <a:moveTo>
                    <a:pt x="883" y="229"/>
                  </a:moveTo>
                  <a:cubicBezTo>
                    <a:pt x="983" y="89"/>
                    <a:pt x="983" y="89"/>
                    <a:pt x="983" y="89"/>
                  </a:cubicBezTo>
                  <a:cubicBezTo>
                    <a:pt x="971" y="89"/>
                    <a:pt x="908" y="89"/>
                    <a:pt x="908" y="89"/>
                  </a:cubicBezTo>
                  <a:cubicBezTo>
                    <a:pt x="857" y="38"/>
                    <a:pt x="857" y="38"/>
                    <a:pt x="857" y="38"/>
                  </a:cubicBezTo>
                  <a:cubicBezTo>
                    <a:pt x="857" y="38"/>
                    <a:pt x="757" y="89"/>
                    <a:pt x="731" y="102"/>
                  </a:cubicBezTo>
                  <a:cubicBezTo>
                    <a:pt x="719" y="114"/>
                    <a:pt x="719" y="152"/>
                    <a:pt x="706" y="152"/>
                  </a:cubicBezTo>
                  <a:cubicBezTo>
                    <a:pt x="694" y="140"/>
                    <a:pt x="605" y="127"/>
                    <a:pt x="567" y="127"/>
                  </a:cubicBezTo>
                  <a:cubicBezTo>
                    <a:pt x="530" y="140"/>
                    <a:pt x="467" y="76"/>
                    <a:pt x="467" y="76"/>
                  </a:cubicBezTo>
                  <a:cubicBezTo>
                    <a:pt x="467" y="76"/>
                    <a:pt x="366" y="13"/>
                    <a:pt x="341" y="13"/>
                  </a:cubicBezTo>
                  <a:cubicBezTo>
                    <a:pt x="315" y="13"/>
                    <a:pt x="265" y="0"/>
                    <a:pt x="265" y="0"/>
                  </a:cubicBezTo>
                  <a:cubicBezTo>
                    <a:pt x="63" y="0"/>
                    <a:pt x="63" y="0"/>
                    <a:pt x="63" y="0"/>
                  </a:cubicBezTo>
                  <a:cubicBezTo>
                    <a:pt x="13" y="51"/>
                    <a:pt x="13" y="51"/>
                    <a:pt x="13" y="51"/>
                  </a:cubicBezTo>
                  <a:cubicBezTo>
                    <a:pt x="25" y="76"/>
                    <a:pt x="25" y="76"/>
                    <a:pt x="25" y="76"/>
                  </a:cubicBezTo>
                  <a:cubicBezTo>
                    <a:pt x="25" y="76"/>
                    <a:pt x="76" y="114"/>
                    <a:pt x="76" y="140"/>
                  </a:cubicBezTo>
                  <a:cubicBezTo>
                    <a:pt x="76" y="152"/>
                    <a:pt x="76" y="203"/>
                    <a:pt x="114" y="229"/>
                  </a:cubicBezTo>
                  <a:cubicBezTo>
                    <a:pt x="151" y="267"/>
                    <a:pt x="126" y="305"/>
                    <a:pt x="139" y="369"/>
                  </a:cubicBezTo>
                  <a:cubicBezTo>
                    <a:pt x="151" y="432"/>
                    <a:pt x="88" y="445"/>
                    <a:pt x="63" y="458"/>
                  </a:cubicBezTo>
                  <a:cubicBezTo>
                    <a:pt x="51" y="483"/>
                    <a:pt x="13" y="534"/>
                    <a:pt x="0" y="560"/>
                  </a:cubicBezTo>
                  <a:cubicBezTo>
                    <a:pt x="38" y="585"/>
                    <a:pt x="76" y="598"/>
                    <a:pt x="76" y="623"/>
                  </a:cubicBezTo>
                  <a:cubicBezTo>
                    <a:pt x="63" y="649"/>
                    <a:pt x="38" y="674"/>
                    <a:pt x="13" y="712"/>
                  </a:cubicBezTo>
                  <a:cubicBezTo>
                    <a:pt x="13" y="712"/>
                    <a:pt x="13" y="712"/>
                    <a:pt x="13" y="712"/>
                  </a:cubicBezTo>
                  <a:cubicBezTo>
                    <a:pt x="467" y="954"/>
                    <a:pt x="467" y="954"/>
                    <a:pt x="467" y="954"/>
                  </a:cubicBezTo>
                  <a:cubicBezTo>
                    <a:pt x="467" y="954"/>
                    <a:pt x="479" y="1018"/>
                    <a:pt x="479" y="1030"/>
                  </a:cubicBezTo>
                  <a:cubicBezTo>
                    <a:pt x="479" y="1043"/>
                    <a:pt x="567" y="1107"/>
                    <a:pt x="580" y="1120"/>
                  </a:cubicBezTo>
                  <a:cubicBezTo>
                    <a:pt x="605" y="1132"/>
                    <a:pt x="656" y="1183"/>
                    <a:pt x="656" y="1183"/>
                  </a:cubicBezTo>
                  <a:cubicBezTo>
                    <a:pt x="681" y="1170"/>
                    <a:pt x="719" y="1056"/>
                    <a:pt x="719" y="1043"/>
                  </a:cubicBezTo>
                  <a:cubicBezTo>
                    <a:pt x="731" y="1030"/>
                    <a:pt x="757" y="1018"/>
                    <a:pt x="782" y="941"/>
                  </a:cubicBezTo>
                  <a:cubicBezTo>
                    <a:pt x="794" y="865"/>
                    <a:pt x="820" y="903"/>
                    <a:pt x="845" y="890"/>
                  </a:cubicBezTo>
                  <a:cubicBezTo>
                    <a:pt x="870" y="890"/>
                    <a:pt x="870" y="840"/>
                    <a:pt x="895" y="840"/>
                  </a:cubicBezTo>
                  <a:cubicBezTo>
                    <a:pt x="908" y="827"/>
                    <a:pt x="958" y="789"/>
                    <a:pt x="958" y="789"/>
                  </a:cubicBezTo>
                  <a:cubicBezTo>
                    <a:pt x="883" y="687"/>
                    <a:pt x="883" y="687"/>
                    <a:pt x="883" y="687"/>
                  </a:cubicBezTo>
                  <a:lnTo>
                    <a:pt x="883" y="229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891045"/>
              <a:endParaRPr lang="en-US" sz="1700" dirty="0">
                <a:solidFill>
                  <a:srgbClr val="003149"/>
                </a:solidFill>
                <a:cs typeface="Arial" panose="020B0604020202020204" pitchFamily="34" charset="0"/>
              </a:endParaRPr>
            </a:p>
          </p:txBody>
        </p:sp>
      </p:grpSp>
      <p:grpSp>
        <p:nvGrpSpPr>
          <p:cNvPr id="468" name="Group 275"/>
          <p:cNvGrpSpPr>
            <a:grpSpLocks/>
          </p:cNvGrpSpPr>
          <p:nvPr/>
        </p:nvGrpSpPr>
        <p:grpSpPr bwMode="gray">
          <a:xfrm>
            <a:off x="1669551" y="2528634"/>
            <a:ext cx="38969" cy="35523"/>
            <a:chOff x="4578" y="3037"/>
            <a:chExt cx="26" cy="23"/>
          </a:xfrm>
          <a:solidFill>
            <a:schemeClr val="accent3"/>
          </a:solidFill>
        </p:grpSpPr>
        <p:sp>
          <p:nvSpPr>
            <p:cNvPr id="469" name="Freeform 276"/>
            <p:cNvSpPr>
              <a:spLocks/>
            </p:cNvSpPr>
            <p:nvPr/>
          </p:nvSpPr>
          <p:spPr bwMode="gray">
            <a:xfrm>
              <a:off x="4578" y="3037"/>
              <a:ext cx="26" cy="23"/>
            </a:xfrm>
            <a:custGeom>
              <a:avLst/>
              <a:gdLst>
                <a:gd name="T0" fmla="*/ 0 w 267"/>
                <a:gd name="T1" fmla="*/ 0 h 225"/>
                <a:gd name="T2" fmla="*/ 0 w 267"/>
                <a:gd name="T3" fmla="*/ 0 h 225"/>
                <a:gd name="T4" fmla="*/ 0 w 267"/>
                <a:gd name="T5" fmla="*/ 0 h 225"/>
                <a:gd name="T6" fmla="*/ 0 w 267"/>
                <a:gd name="T7" fmla="*/ 0 h 225"/>
                <a:gd name="T8" fmla="*/ 0 w 267"/>
                <a:gd name="T9" fmla="*/ 0 h 225"/>
                <a:gd name="T10" fmla="*/ 0 w 267"/>
                <a:gd name="T11" fmla="*/ 0 h 225"/>
                <a:gd name="T12" fmla="*/ 0 w 267"/>
                <a:gd name="T13" fmla="*/ 0 h 225"/>
                <a:gd name="T14" fmla="*/ 0 w 267"/>
                <a:gd name="T15" fmla="*/ 0 h 225"/>
                <a:gd name="T16" fmla="*/ 0 w 267"/>
                <a:gd name="T17" fmla="*/ 0 h 225"/>
                <a:gd name="T18" fmla="*/ 0 w 267"/>
                <a:gd name="T19" fmla="*/ 0 h 225"/>
                <a:gd name="T20" fmla="*/ 0 w 267"/>
                <a:gd name="T21" fmla="*/ 0 h 225"/>
                <a:gd name="T22" fmla="*/ 0 w 267"/>
                <a:gd name="T23" fmla="*/ 0 h 225"/>
                <a:gd name="T24" fmla="*/ 0 w 267"/>
                <a:gd name="T25" fmla="*/ 0 h 225"/>
                <a:gd name="T26" fmla="*/ 0 w 267"/>
                <a:gd name="T27" fmla="*/ 0 h 225"/>
                <a:gd name="T28" fmla="*/ 0 w 267"/>
                <a:gd name="T29" fmla="*/ 0 h 225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267"/>
                <a:gd name="T46" fmla="*/ 0 h 225"/>
                <a:gd name="T47" fmla="*/ 267 w 267"/>
                <a:gd name="T48" fmla="*/ 225 h 225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267" h="225">
                  <a:moveTo>
                    <a:pt x="216" y="27"/>
                  </a:moveTo>
                  <a:cubicBezTo>
                    <a:pt x="203" y="0"/>
                    <a:pt x="203" y="0"/>
                    <a:pt x="203" y="0"/>
                  </a:cubicBezTo>
                  <a:cubicBezTo>
                    <a:pt x="203" y="0"/>
                    <a:pt x="203" y="0"/>
                    <a:pt x="203" y="0"/>
                  </a:cubicBezTo>
                  <a:cubicBezTo>
                    <a:pt x="191" y="14"/>
                    <a:pt x="153" y="40"/>
                    <a:pt x="153" y="40"/>
                  </a:cubicBezTo>
                  <a:cubicBezTo>
                    <a:pt x="114" y="40"/>
                    <a:pt x="114" y="40"/>
                    <a:pt x="114" y="40"/>
                  </a:cubicBezTo>
                  <a:cubicBezTo>
                    <a:pt x="114" y="40"/>
                    <a:pt x="102" y="40"/>
                    <a:pt x="102" y="40"/>
                  </a:cubicBezTo>
                  <a:cubicBezTo>
                    <a:pt x="64" y="53"/>
                    <a:pt x="51" y="93"/>
                    <a:pt x="51" y="93"/>
                  </a:cubicBezTo>
                  <a:cubicBezTo>
                    <a:pt x="51" y="93"/>
                    <a:pt x="26" y="159"/>
                    <a:pt x="13" y="173"/>
                  </a:cubicBezTo>
                  <a:cubicBezTo>
                    <a:pt x="0" y="186"/>
                    <a:pt x="38" y="199"/>
                    <a:pt x="38" y="199"/>
                  </a:cubicBezTo>
                  <a:cubicBezTo>
                    <a:pt x="64" y="225"/>
                    <a:pt x="64" y="225"/>
                    <a:pt x="64" y="225"/>
                  </a:cubicBezTo>
                  <a:cubicBezTo>
                    <a:pt x="140" y="212"/>
                    <a:pt x="140" y="212"/>
                    <a:pt x="140" y="212"/>
                  </a:cubicBezTo>
                  <a:cubicBezTo>
                    <a:pt x="140" y="212"/>
                    <a:pt x="140" y="173"/>
                    <a:pt x="153" y="173"/>
                  </a:cubicBezTo>
                  <a:cubicBezTo>
                    <a:pt x="165" y="173"/>
                    <a:pt x="216" y="173"/>
                    <a:pt x="241" y="173"/>
                  </a:cubicBezTo>
                  <a:cubicBezTo>
                    <a:pt x="267" y="173"/>
                    <a:pt x="254" y="133"/>
                    <a:pt x="254" y="106"/>
                  </a:cubicBezTo>
                  <a:cubicBezTo>
                    <a:pt x="254" y="80"/>
                    <a:pt x="216" y="27"/>
                    <a:pt x="216" y="27"/>
                  </a:cubicBezTo>
                </a:path>
              </a:pathLst>
            </a:custGeom>
            <a:grpFill/>
            <a:ln w="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891045"/>
              <a:endParaRPr lang="en-US" sz="1700" dirty="0">
                <a:solidFill>
                  <a:srgbClr val="003149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470" name="Freeform 277"/>
            <p:cNvSpPr>
              <a:spLocks/>
            </p:cNvSpPr>
            <p:nvPr/>
          </p:nvSpPr>
          <p:spPr bwMode="gray">
            <a:xfrm>
              <a:off x="4578" y="3037"/>
              <a:ext cx="26" cy="23"/>
            </a:xfrm>
            <a:custGeom>
              <a:avLst/>
              <a:gdLst>
                <a:gd name="T0" fmla="*/ 21 w 26"/>
                <a:gd name="T1" fmla="*/ 3 h 23"/>
                <a:gd name="T2" fmla="*/ 20 w 26"/>
                <a:gd name="T3" fmla="*/ 0 h 23"/>
                <a:gd name="T4" fmla="*/ 20 w 26"/>
                <a:gd name="T5" fmla="*/ 0 h 23"/>
                <a:gd name="T6" fmla="*/ 15 w 26"/>
                <a:gd name="T7" fmla="*/ 4 h 23"/>
                <a:gd name="T8" fmla="*/ 11 w 26"/>
                <a:gd name="T9" fmla="*/ 4 h 23"/>
                <a:gd name="T10" fmla="*/ 10 w 26"/>
                <a:gd name="T11" fmla="*/ 4 h 23"/>
                <a:gd name="T12" fmla="*/ 5 w 26"/>
                <a:gd name="T13" fmla="*/ 10 h 23"/>
                <a:gd name="T14" fmla="*/ 1 w 26"/>
                <a:gd name="T15" fmla="*/ 18 h 23"/>
                <a:gd name="T16" fmla="*/ 3 w 26"/>
                <a:gd name="T17" fmla="*/ 20 h 23"/>
                <a:gd name="T18" fmla="*/ 6 w 26"/>
                <a:gd name="T19" fmla="*/ 23 h 23"/>
                <a:gd name="T20" fmla="*/ 14 w 26"/>
                <a:gd name="T21" fmla="*/ 22 h 23"/>
                <a:gd name="T22" fmla="*/ 15 w 26"/>
                <a:gd name="T23" fmla="*/ 18 h 23"/>
                <a:gd name="T24" fmla="*/ 24 w 26"/>
                <a:gd name="T25" fmla="*/ 18 h 23"/>
                <a:gd name="T26" fmla="*/ 25 w 26"/>
                <a:gd name="T27" fmla="*/ 11 h 23"/>
                <a:gd name="T28" fmla="*/ 21 w 26"/>
                <a:gd name="T29" fmla="*/ 3 h 23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26"/>
                <a:gd name="T46" fmla="*/ 0 h 23"/>
                <a:gd name="T47" fmla="*/ 26 w 26"/>
                <a:gd name="T48" fmla="*/ 23 h 23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26" h="23">
                  <a:moveTo>
                    <a:pt x="21" y="3"/>
                  </a:moveTo>
                  <a:cubicBezTo>
                    <a:pt x="20" y="0"/>
                    <a:pt x="20" y="0"/>
                    <a:pt x="20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19" y="2"/>
                    <a:pt x="15" y="4"/>
                    <a:pt x="15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4"/>
                    <a:pt x="10" y="4"/>
                    <a:pt x="10" y="4"/>
                  </a:cubicBezTo>
                  <a:cubicBezTo>
                    <a:pt x="6" y="6"/>
                    <a:pt x="5" y="10"/>
                    <a:pt x="5" y="10"/>
                  </a:cubicBezTo>
                  <a:cubicBezTo>
                    <a:pt x="5" y="10"/>
                    <a:pt x="2" y="16"/>
                    <a:pt x="1" y="18"/>
                  </a:cubicBezTo>
                  <a:cubicBezTo>
                    <a:pt x="0" y="19"/>
                    <a:pt x="3" y="20"/>
                    <a:pt x="3" y="20"/>
                  </a:cubicBezTo>
                  <a:cubicBezTo>
                    <a:pt x="6" y="23"/>
                    <a:pt x="6" y="23"/>
                    <a:pt x="6" y="23"/>
                  </a:cubicBezTo>
                  <a:cubicBezTo>
                    <a:pt x="14" y="22"/>
                    <a:pt x="14" y="22"/>
                    <a:pt x="14" y="22"/>
                  </a:cubicBezTo>
                  <a:cubicBezTo>
                    <a:pt x="14" y="22"/>
                    <a:pt x="14" y="18"/>
                    <a:pt x="15" y="18"/>
                  </a:cubicBezTo>
                  <a:cubicBezTo>
                    <a:pt x="16" y="18"/>
                    <a:pt x="21" y="18"/>
                    <a:pt x="24" y="18"/>
                  </a:cubicBezTo>
                  <a:cubicBezTo>
                    <a:pt x="26" y="18"/>
                    <a:pt x="25" y="14"/>
                    <a:pt x="25" y="11"/>
                  </a:cubicBezTo>
                  <a:cubicBezTo>
                    <a:pt x="25" y="8"/>
                    <a:pt x="21" y="3"/>
                    <a:pt x="21" y="3"/>
                  </a:cubicBezTo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891045"/>
              <a:endParaRPr lang="en-US" sz="1700" dirty="0">
                <a:solidFill>
                  <a:srgbClr val="003149"/>
                </a:solidFill>
                <a:cs typeface="Arial" panose="020B0604020202020204" pitchFamily="34" charset="0"/>
              </a:endParaRPr>
            </a:p>
          </p:txBody>
        </p:sp>
      </p:grpSp>
      <p:grpSp>
        <p:nvGrpSpPr>
          <p:cNvPr id="471" name="Group 278"/>
          <p:cNvGrpSpPr>
            <a:grpSpLocks/>
          </p:cNvGrpSpPr>
          <p:nvPr/>
        </p:nvGrpSpPr>
        <p:grpSpPr bwMode="gray">
          <a:xfrm>
            <a:off x="1673300" y="2557819"/>
            <a:ext cx="35197" cy="41866"/>
            <a:chOff x="4580" y="3056"/>
            <a:chExt cx="24" cy="27"/>
          </a:xfrm>
          <a:solidFill>
            <a:schemeClr val="accent3"/>
          </a:solidFill>
        </p:grpSpPr>
        <p:sp>
          <p:nvSpPr>
            <p:cNvPr id="472" name="Freeform 279"/>
            <p:cNvSpPr>
              <a:spLocks/>
            </p:cNvSpPr>
            <p:nvPr/>
          </p:nvSpPr>
          <p:spPr bwMode="gray">
            <a:xfrm>
              <a:off x="4580" y="3056"/>
              <a:ext cx="24" cy="27"/>
            </a:xfrm>
            <a:custGeom>
              <a:avLst/>
              <a:gdLst>
                <a:gd name="T0" fmla="*/ 0 w 242"/>
                <a:gd name="T1" fmla="*/ 0 h 266"/>
                <a:gd name="T2" fmla="*/ 0 w 242"/>
                <a:gd name="T3" fmla="*/ 0 h 266"/>
                <a:gd name="T4" fmla="*/ 0 w 242"/>
                <a:gd name="T5" fmla="*/ 0 h 266"/>
                <a:gd name="T6" fmla="*/ 0 w 242"/>
                <a:gd name="T7" fmla="*/ 0 h 266"/>
                <a:gd name="T8" fmla="*/ 0 w 242"/>
                <a:gd name="T9" fmla="*/ 0 h 266"/>
                <a:gd name="T10" fmla="*/ 0 w 242"/>
                <a:gd name="T11" fmla="*/ 0 h 266"/>
                <a:gd name="T12" fmla="*/ 0 w 242"/>
                <a:gd name="T13" fmla="*/ 0 h 266"/>
                <a:gd name="T14" fmla="*/ 0 w 242"/>
                <a:gd name="T15" fmla="*/ 0 h 266"/>
                <a:gd name="T16" fmla="*/ 0 w 242"/>
                <a:gd name="T17" fmla="*/ 0 h 266"/>
                <a:gd name="T18" fmla="*/ 0 w 242"/>
                <a:gd name="T19" fmla="*/ 0 h 266"/>
                <a:gd name="T20" fmla="*/ 0 w 242"/>
                <a:gd name="T21" fmla="*/ 0 h 266"/>
                <a:gd name="T22" fmla="*/ 0 w 242"/>
                <a:gd name="T23" fmla="*/ 0 h 266"/>
                <a:gd name="T24" fmla="*/ 0 w 242"/>
                <a:gd name="T25" fmla="*/ 0 h 266"/>
                <a:gd name="T26" fmla="*/ 0 w 242"/>
                <a:gd name="T27" fmla="*/ 0 h 26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242"/>
                <a:gd name="T43" fmla="*/ 0 h 266"/>
                <a:gd name="T44" fmla="*/ 242 w 242"/>
                <a:gd name="T45" fmla="*/ 266 h 26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242" h="266">
                  <a:moveTo>
                    <a:pt x="188" y="60"/>
                  </a:moveTo>
                  <a:cubicBezTo>
                    <a:pt x="202" y="0"/>
                    <a:pt x="202" y="0"/>
                    <a:pt x="202" y="0"/>
                  </a:cubicBezTo>
                  <a:cubicBezTo>
                    <a:pt x="175" y="0"/>
                    <a:pt x="148" y="0"/>
                    <a:pt x="134" y="0"/>
                  </a:cubicBezTo>
                  <a:cubicBezTo>
                    <a:pt x="121" y="0"/>
                    <a:pt x="121" y="36"/>
                    <a:pt x="121" y="36"/>
                  </a:cubicBezTo>
                  <a:cubicBezTo>
                    <a:pt x="40" y="48"/>
                    <a:pt x="40" y="48"/>
                    <a:pt x="40" y="48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4" y="24"/>
                    <a:pt x="0" y="24"/>
                    <a:pt x="0" y="24"/>
                  </a:cubicBezTo>
                  <a:cubicBezTo>
                    <a:pt x="14" y="60"/>
                    <a:pt x="14" y="60"/>
                    <a:pt x="14" y="60"/>
                  </a:cubicBezTo>
                  <a:cubicBezTo>
                    <a:pt x="14" y="60"/>
                    <a:pt x="40" y="109"/>
                    <a:pt x="27" y="145"/>
                  </a:cubicBezTo>
                  <a:cubicBezTo>
                    <a:pt x="14" y="182"/>
                    <a:pt x="40" y="230"/>
                    <a:pt x="54" y="242"/>
                  </a:cubicBezTo>
                  <a:cubicBezTo>
                    <a:pt x="54" y="266"/>
                    <a:pt x="81" y="254"/>
                    <a:pt x="94" y="254"/>
                  </a:cubicBezTo>
                  <a:cubicBezTo>
                    <a:pt x="108" y="254"/>
                    <a:pt x="188" y="145"/>
                    <a:pt x="188" y="145"/>
                  </a:cubicBezTo>
                  <a:cubicBezTo>
                    <a:pt x="242" y="85"/>
                    <a:pt x="242" y="85"/>
                    <a:pt x="242" y="85"/>
                  </a:cubicBezTo>
                  <a:lnTo>
                    <a:pt x="188" y="60"/>
                  </a:lnTo>
                  <a:close/>
                </a:path>
              </a:pathLst>
            </a:custGeom>
            <a:grpFill/>
            <a:ln w="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891045"/>
              <a:endParaRPr lang="en-US" sz="1700" dirty="0">
                <a:solidFill>
                  <a:srgbClr val="003149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473" name="Freeform 280"/>
            <p:cNvSpPr>
              <a:spLocks/>
            </p:cNvSpPr>
            <p:nvPr/>
          </p:nvSpPr>
          <p:spPr bwMode="gray">
            <a:xfrm>
              <a:off x="4580" y="3056"/>
              <a:ext cx="24" cy="27"/>
            </a:xfrm>
            <a:custGeom>
              <a:avLst/>
              <a:gdLst>
                <a:gd name="T0" fmla="*/ 0 w 242"/>
                <a:gd name="T1" fmla="*/ 0 h 266"/>
                <a:gd name="T2" fmla="*/ 0 w 242"/>
                <a:gd name="T3" fmla="*/ 0 h 266"/>
                <a:gd name="T4" fmla="*/ 0 w 242"/>
                <a:gd name="T5" fmla="*/ 0 h 266"/>
                <a:gd name="T6" fmla="*/ 0 w 242"/>
                <a:gd name="T7" fmla="*/ 0 h 266"/>
                <a:gd name="T8" fmla="*/ 0 w 242"/>
                <a:gd name="T9" fmla="*/ 0 h 266"/>
                <a:gd name="T10" fmla="*/ 0 w 242"/>
                <a:gd name="T11" fmla="*/ 0 h 266"/>
                <a:gd name="T12" fmla="*/ 0 w 242"/>
                <a:gd name="T13" fmla="*/ 0 h 266"/>
                <a:gd name="T14" fmla="*/ 0 w 242"/>
                <a:gd name="T15" fmla="*/ 0 h 266"/>
                <a:gd name="T16" fmla="*/ 0 w 242"/>
                <a:gd name="T17" fmla="*/ 0 h 266"/>
                <a:gd name="T18" fmla="*/ 0 w 242"/>
                <a:gd name="T19" fmla="*/ 0 h 266"/>
                <a:gd name="T20" fmla="*/ 0 w 242"/>
                <a:gd name="T21" fmla="*/ 0 h 266"/>
                <a:gd name="T22" fmla="*/ 0 w 242"/>
                <a:gd name="T23" fmla="*/ 0 h 266"/>
                <a:gd name="T24" fmla="*/ 0 w 242"/>
                <a:gd name="T25" fmla="*/ 0 h 266"/>
                <a:gd name="T26" fmla="*/ 0 w 242"/>
                <a:gd name="T27" fmla="*/ 0 h 26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242"/>
                <a:gd name="T43" fmla="*/ 0 h 266"/>
                <a:gd name="T44" fmla="*/ 242 w 242"/>
                <a:gd name="T45" fmla="*/ 266 h 26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242" h="266">
                  <a:moveTo>
                    <a:pt x="188" y="60"/>
                  </a:moveTo>
                  <a:cubicBezTo>
                    <a:pt x="202" y="0"/>
                    <a:pt x="202" y="0"/>
                    <a:pt x="202" y="0"/>
                  </a:cubicBezTo>
                  <a:cubicBezTo>
                    <a:pt x="175" y="0"/>
                    <a:pt x="148" y="0"/>
                    <a:pt x="134" y="0"/>
                  </a:cubicBezTo>
                  <a:cubicBezTo>
                    <a:pt x="121" y="0"/>
                    <a:pt x="121" y="36"/>
                    <a:pt x="121" y="36"/>
                  </a:cubicBezTo>
                  <a:cubicBezTo>
                    <a:pt x="40" y="48"/>
                    <a:pt x="40" y="48"/>
                    <a:pt x="40" y="48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4" y="24"/>
                    <a:pt x="0" y="24"/>
                    <a:pt x="0" y="24"/>
                  </a:cubicBezTo>
                  <a:cubicBezTo>
                    <a:pt x="14" y="60"/>
                    <a:pt x="14" y="60"/>
                    <a:pt x="14" y="60"/>
                  </a:cubicBezTo>
                  <a:cubicBezTo>
                    <a:pt x="14" y="60"/>
                    <a:pt x="40" y="109"/>
                    <a:pt x="27" y="145"/>
                  </a:cubicBezTo>
                  <a:cubicBezTo>
                    <a:pt x="14" y="182"/>
                    <a:pt x="40" y="230"/>
                    <a:pt x="54" y="242"/>
                  </a:cubicBezTo>
                  <a:cubicBezTo>
                    <a:pt x="54" y="266"/>
                    <a:pt x="81" y="254"/>
                    <a:pt x="94" y="254"/>
                  </a:cubicBezTo>
                  <a:cubicBezTo>
                    <a:pt x="108" y="254"/>
                    <a:pt x="188" y="145"/>
                    <a:pt x="188" y="145"/>
                  </a:cubicBezTo>
                  <a:cubicBezTo>
                    <a:pt x="242" y="85"/>
                    <a:pt x="242" y="85"/>
                    <a:pt x="242" y="85"/>
                  </a:cubicBezTo>
                  <a:lnTo>
                    <a:pt x="188" y="60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891045"/>
              <a:endParaRPr lang="en-US" sz="1700" dirty="0">
                <a:solidFill>
                  <a:srgbClr val="003149"/>
                </a:solidFill>
                <a:cs typeface="Arial" panose="020B0604020202020204" pitchFamily="34" charset="0"/>
              </a:endParaRPr>
            </a:p>
          </p:txBody>
        </p:sp>
      </p:grpSp>
      <p:grpSp>
        <p:nvGrpSpPr>
          <p:cNvPr id="474" name="Group 281"/>
          <p:cNvGrpSpPr>
            <a:grpSpLocks/>
          </p:cNvGrpSpPr>
          <p:nvPr/>
        </p:nvGrpSpPr>
        <p:grpSpPr bwMode="gray">
          <a:xfrm>
            <a:off x="1297442" y="2461395"/>
            <a:ext cx="106850" cy="126866"/>
            <a:chOff x="4324" y="2994"/>
            <a:chExt cx="73" cy="82"/>
          </a:xfrm>
          <a:solidFill>
            <a:schemeClr val="accent3"/>
          </a:solidFill>
        </p:grpSpPr>
        <p:sp>
          <p:nvSpPr>
            <p:cNvPr id="475" name="Freeform 282"/>
            <p:cNvSpPr>
              <a:spLocks/>
            </p:cNvSpPr>
            <p:nvPr/>
          </p:nvSpPr>
          <p:spPr bwMode="gray">
            <a:xfrm>
              <a:off x="4324" y="2994"/>
              <a:ext cx="73" cy="82"/>
            </a:xfrm>
            <a:custGeom>
              <a:avLst/>
              <a:gdLst>
                <a:gd name="T0" fmla="*/ 0 w 716"/>
                <a:gd name="T1" fmla="*/ 0 h 809"/>
                <a:gd name="T2" fmla="*/ 0 w 716"/>
                <a:gd name="T3" fmla="*/ 0 h 809"/>
                <a:gd name="T4" fmla="*/ 0 w 716"/>
                <a:gd name="T5" fmla="*/ 0 h 809"/>
                <a:gd name="T6" fmla="*/ 0 w 716"/>
                <a:gd name="T7" fmla="*/ 0 h 809"/>
                <a:gd name="T8" fmla="*/ 0 w 716"/>
                <a:gd name="T9" fmla="*/ 0 h 809"/>
                <a:gd name="T10" fmla="*/ 0 w 716"/>
                <a:gd name="T11" fmla="*/ 0 h 809"/>
                <a:gd name="T12" fmla="*/ 0 w 716"/>
                <a:gd name="T13" fmla="*/ 0 h 809"/>
                <a:gd name="T14" fmla="*/ 0 w 716"/>
                <a:gd name="T15" fmla="*/ 0 h 809"/>
                <a:gd name="T16" fmla="*/ 0 w 716"/>
                <a:gd name="T17" fmla="*/ 0 h 809"/>
                <a:gd name="T18" fmla="*/ 0 w 716"/>
                <a:gd name="T19" fmla="*/ 0 h 809"/>
                <a:gd name="T20" fmla="*/ 0 w 716"/>
                <a:gd name="T21" fmla="*/ 0 h 809"/>
                <a:gd name="T22" fmla="*/ 0 w 716"/>
                <a:gd name="T23" fmla="*/ 0 h 809"/>
                <a:gd name="T24" fmla="*/ 0 w 716"/>
                <a:gd name="T25" fmla="*/ 0 h 809"/>
                <a:gd name="T26" fmla="*/ 0 w 716"/>
                <a:gd name="T27" fmla="*/ 0 h 809"/>
                <a:gd name="T28" fmla="*/ 0 w 716"/>
                <a:gd name="T29" fmla="*/ 0 h 809"/>
                <a:gd name="T30" fmla="*/ 0 w 716"/>
                <a:gd name="T31" fmla="*/ 0 h 809"/>
                <a:gd name="T32" fmla="*/ 0 w 716"/>
                <a:gd name="T33" fmla="*/ 0 h 809"/>
                <a:gd name="T34" fmla="*/ 0 w 716"/>
                <a:gd name="T35" fmla="*/ 0 h 809"/>
                <a:gd name="T36" fmla="*/ 0 w 716"/>
                <a:gd name="T37" fmla="*/ 0 h 809"/>
                <a:gd name="T38" fmla="*/ 0 w 716"/>
                <a:gd name="T39" fmla="*/ 0 h 809"/>
                <a:gd name="T40" fmla="*/ 0 w 716"/>
                <a:gd name="T41" fmla="*/ 0 h 809"/>
                <a:gd name="T42" fmla="*/ 0 w 716"/>
                <a:gd name="T43" fmla="*/ 0 h 809"/>
                <a:gd name="T44" fmla="*/ 0 w 716"/>
                <a:gd name="T45" fmla="*/ 0 h 809"/>
                <a:gd name="T46" fmla="*/ 0 w 716"/>
                <a:gd name="T47" fmla="*/ 0 h 809"/>
                <a:gd name="T48" fmla="*/ 0 w 716"/>
                <a:gd name="T49" fmla="*/ 0 h 809"/>
                <a:gd name="T50" fmla="*/ 0 w 716"/>
                <a:gd name="T51" fmla="*/ 0 h 809"/>
                <a:gd name="T52" fmla="*/ 0 w 716"/>
                <a:gd name="T53" fmla="*/ 0 h 809"/>
                <a:gd name="T54" fmla="*/ 0 w 716"/>
                <a:gd name="T55" fmla="*/ 0 h 809"/>
                <a:gd name="T56" fmla="*/ 0 w 716"/>
                <a:gd name="T57" fmla="*/ 0 h 809"/>
                <a:gd name="T58" fmla="*/ 0 w 716"/>
                <a:gd name="T59" fmla="*/ 0 h 809"/>
                <a:gd name="T60" fmla="*/ 0 w 716"/>
                <a:gd name="T61" fmla="*/ 0 h 809"/>
                <a:gd name="T62" fmla="*/ 0 w 716"/>
                <a:gd name="T63" fmla="*/ 0 h 809"/>
                <a:gd name="T64" fmla="*/ 0 w 716"/>
                <a:gd name="T65" fmla="*/ 0 h 809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716"/>
                <a:gd name="T100" fmla="*/ 0 h 809"/>
                <a:gd name="T101" fmla="*/ 716 w 716"/>
                <a:gd name="T102" fmla="*/ 809 h 809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716" h="809">
                  <a:moveTo>
                    <a:pt x="716" y="379"/>
                  </a:moveTo>
                  <a:cubicBezTo>
                    <a:pt x="641" y="313"/>
                    <a:pt x="641" y="313"/>
                    <a:pt x="641" y="313"/>
                  </a:cubicBezTo>
                  <a:cubicBezTo>
                    <a:pt x="641" y="313"/>
                    <a:pt x="654" y="235"/>
                    <a:pt x="666" y="222"/>
                  </a:cubicBezTo>
                  <a:cubicBezTo>
                    <a:pt x="691" y="209"/>
                    <a:pt x="704" y="170"/>
                    <a:pt x="704" y="170"/>
                  </a:cubicBezTo>
                  <a:cubicBezTo>
                    <a:pt x="679" y="118"/>
                    <a:pt x="679" y="118"/>
                    <a:pt x="679" y="118"/>
                  </a:cubicBezTo>
                  <a:cubicBezTo>
                    <a:pt x="679" y="118"/>
                    <a:pt x="641" y="118"/>
                    <a:pt x="591" y="131"/>
                  </a:cubicBezTo>
                  <a:cubicBezTo>
                    <a:pt x="540" y="144"/>
                    <a:pt x="553" y="118"/>
                    <a:pt x="553" y="105"/>
                  </a:cubicBezTo>
                  <a:cubicBezTo>
                    <a:pt x="540" y="79"/>
                    <a:pt x="553" y="40"/>
                    <a:pt x="566" y="0"/>
                  </a:cubicBezTo>
                  <a:cubicBezTo>
                    <a:pt x="540" y="0"/>
                    <a:pt x="339" y="0"/>
                    <a:pt x="327" y="14"/>
                  </a:cubicBezTo>
                  <a:cubicBezTo>
                    <a:pt x="327" y="170"/>
                    <a:pt x="327" y="170"/>
                    <a:pt x="327" y="170"/>
                  </a:cubicBezTo>
                  <a:cubicBezTo>
                    <a:pt x="151" y="170"/>
                    <a:pt x="151" y="170"/>
                    <a:pt x="151" y="170"/>
                  </a:cubicBezTo>
                  <a:cubicBezTo>
                    <a:pt x="100" y="157"/>
                    <a:pt x="100" y="157"/>
                    <a:pt x="100" y="157"/>
                  </a:cubicBezTo>
                  <a:cubicBezTo>
                    <a:pt x="100" y="157"/>
                    <a:pt x="100" y="196"/>
                    <a:pt x="100" y="235"/>
                  </a:cubicBezTo>
                  <a:cubicBezTo>
                    <a:pt x="100" y="274"/>
                    <a:pt x="63" y="352"/>
                    <a:pt x="63" y="352"/>
                  </a:cubicBezTo>
                  <a:cubicBezTo>
                    <a:pt x="0" y="392"/>
                    <a:pt x="0" y="392"/>
                    <a:pt x="0" y="392"/>
                  </a:cubicBezTo>
                  <a:cubicBezTo>
                    <a:pt x="0" y="392"/>
                    <a:pt x="38" y="470"/>
                    <a:pt x="50" y="496"/>
                  </a:cubicBezTo>
                  <a:cubicBezTo>
                    <a:pt x="63" y="522"/>
                    <a:pt x="126" y="626"/>
                    <a:pt x="163" y="652"/>
                  </a:cubicBezTo>
                  <a:cubicBezTo>
                    <a:pt x="201" y="665"/>
                    <a:pt x="314" y="809"/>
                    <a:pt x="314" y="809"/>
                  </a:cubicBezTo>
                  <a:cubicBezTo>
                    <a:pt x="314" y="809"/>
                    <a:pt x="327" y="757"/>
                    <a:pt x="339" y="757"/>
                  </a:cubicBezTo>
                  <a:cubicBezTo>
                    <a:pt x="352" y="757"/>
                    <a:pt x="377" y="783"/>
                    <a:pt x="377" y="783"/>
                  </a:cubicBezTo>
                  <a:cubicBezTo>
                    <a:pt x="402" y="731"/>
                    <a:pt x="402" y="731"/>
                    <a:pt x="402" y="731"/>
                  </a:cubicBezTo>
                  <a:cubicBezTo>
                    <a:pt x="402" y="678"/>
                    <a:pt x="402" y="678"/>
                    <a:pt x="402" y="678"/>
                  </a:cubicBezTo>
                  <a:cubicBezTo>
                    <a:pt x="352" y="652"/>
                    <a:pt x="352" y="652"/>
                    <a:pt x="352" y="652"/>
                  </a:cubicBezTo>
                  <a:cubicBezTo>
                    <a:pt x="352" y="652"/>
                    <a:pt x="364" y="600"/>
                    <a:pt x="377" y="600"/>
                  </a:cubicBezTo>
                  <a:cubicBezTo>
                    <a:pt x="390" y="600"/>
                    <a:pt x="465" y="613"/>
                    <a:pt x="465" y="613"/>
                  </a:cubicBezTo>
                  <a:cubicBezTo>
                    <a:pt x="452" y="535"/>
                    <a:pt x="452" y="535"/>
                    <a:pt x="452" y="535"/>
                  </a:cubicBezTo>
                  <a:cubicBezTo>
                    <a:pt x="452" y="535"/>
                    <a:pt x="478" y="535"/>
                    <a:pt x="490" y="522"/>
                  </a:cubicBezTo>
                  <a:cubicBezTo>
                    <a:pt x="503" y="509"/>
                    <a:pt x="528" y="587"/>
                    <a:pt x="553" y="600"/>
                  </a:cubicBezTo>
                  <a:cubicBezTo>
                    <a:pt x="578" y="613"/>
                    <a:pt x="616" y="561"/>
                    <a:pt x="616" y="561"/>
                  </a:cubicBezTo>
                  <a:cubicBezTo>
                    <a:pt x="654" y="613"/>
                    <a:pt x="654" y="613"/>
                    <a:pt x="654" y="613"/>
                  </a:cubicBezTo>
                  <a:cubicBezTo>
                    <a:pt x="654" y="613"/>
                    <a:pt x="666" y="587"/>
                    <a:pt x="679" y="574"/>
                  </a:cubicBezTo>
                  <a:cubicBezTo>
                    <a:pt x="679" y="561"/>
                    <a:pt x="716" y="509"/>
                    <a:pt x="704" y="483"/>
                  </a:cubicBezTo>
                  <a:cubicBezTo>
                    <a:pt x="704" y="470"/>
                    <a:pt x="716" y="379"/>
                    <a:pt x="716" y="379"/>
                  </a:cubicBezTo>
                </a:path>
              </a:pathLst>
            </a:custGeom>
            <a:grpFill/>
            <a:ln w="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891045"/>
              <a:endParaRPr lang="en-US" sz="1700" dirty="0">
                <a:solidFill>
                  <a:srgbClr val="003149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476" name="Freeform 283"/>
            <p:cNvSpPr>
              <a:spLocks/>
            </p:cNvSpPr>
            <p:nvPr/>
          </p:nvSpPr>
          <p:spPr bwMode="gray">
            <a:xfrm>
              <a:off x="4324" y="2994"/>
              <a:ext cx="73" cy="82"/>
            </a:xfrm>
            <a:custGeom>
              <a:avLst/>
              <a:gdLst>
                <a:gd name="T0" fmla="*/ 73 w 73"/>
                <a:gd name="T1" fmla="*/ 39 h 82"/>
                <a:gd name="T2" fmla="*/ 65 w 73"/>
                <a:gd name="T3" fmla="*/ 32 h 82"/>
                <a:gd name="T4" fmla="*/ 68 w 73"/>
                <a:gd name="T5" fmla="*/ 23 h 82"/>
                <a:gd name="T6" fmla="*/ 71 w 73"/>
                <a:gd name="T7" fmla="*/ 18 h 82"/>
                <a:gd name="T8" fmla="*/ 69 w 73"/>
                <a:gd name="T9" fmla="*/ 12 h 82"/>
                <a:gd name="T10" fmla="*/ 60 w 73"/>
                <a:gd name="T11" fmla="*/ 14 h 82"/>
                <a:gd name="T12" fmla="*/ 56 w 73"/>
                <a:gd name="T13" fmla="*/ 11 h 82"/>
                <a:gd name="T14" fmla="*/ 57 w 73"/>
                <a:gd name="T15" fmla="*/ 0 h 82"/>
                <a:gd name="T16" fmla="*/ 33 w 73"/>
                <a:gd name="T17" fmla="*/ 2 h 82"/>
                <a:gd name="T18" fmla="*/ 33 w 73"/>
                <a:gd name="T19" fmla="*/ 18 h 82"/>
                <a:gd name="T20" fmla="*/ 16 w 73"/>
                <a:gd name="T21" fmla="*/ 18 h 82"/>
                <a:gd name="T22" fmla="*/ 10 w 73"/>
                <a:gd name="T23" fmla="*/ 16 h 82"/>
                <a:gd name="T24" fmla="*/ 10 w 73"/>
                <a:gd name="T25" fmla="*/ 24 h 82"/>
                <a:gd name="T26" fmla="*/ 7 w 73"/>
                <a:gd name="T27" fmla="*/ 36 h 82"/>
                <a:gd name="T28" fmla="*/ 0 w 73"/>
                <a:gd name="T29" fmla="*/ 40 h 82"/>
                <a:gd name="T30" fmla="*/ 5 w 73"/>
                <a:gd name="T31" fmla="*/ 50 h 82"/>
                <a:gd name="T32" fmla="*/ 17 w 73"/>
                <a:gd name="T33" fmla="*/ 66 h 82"/>
                <a:gd name="T34" fmla="*/ 32 w 73"/>
                <a:gd name="T35" fmla="*/ 82 h 82"/>
                <a:gd name="T36" fmla="*/ 35 w 73"/>
                <a:gd name="T37" fmla="*/ 77 h 82"/>
                <a:gd name="T38" fmla="*/ 38 w 73"/>
                <a:gd name="T39" fmla="*/ 79 h 82"/>
                <a:gd name="T40" fmla="*/ 41 w 73"/>
                <a:gd name="T41" fmla="*/ 74 h 82"/>
                <a:gd name="T42" fmla="*/ 41 w 73"/>
                <a:gd name="T43" fmla="*/ 69 h 82"/>
                <a:gd name="T44" fmla="*/ 36 w 73"/>
                <a:gd name="T45" fmla="*/ 66 h 82"/>
                <a:gd name="T46" fmla="*/ 38 w 73"/>
                <a:gd name="T47" fmla="*/ 61 h 82"/>
                <a:gd name="T48" fmla="*/ 47 w 73"/>
                <a:gd name="T49" fmla="*/ 62 h 82"/>
                <a:gd name="T50" fmla="*/ 46 w 73"/>
                <a:gd name="T51" fmla="*/ 54 h 82"/>
                <a:gd name="T52" fmla="*/ 50 w 73"/>
                <a:gd name="T53" fmla="*/ 53 h 82"/>
                <a:gd name="T54" fmla="*/ 56 w 73"/>
                <a:gd name="T55" fmla="*/ 61 h 82"/>
                <a:gd name="T56" fmla="*/ 63 w 73"/>
                <a:gd name="T57" fmla="*/ 57 h 82"/>
                <a:gd name="T58" fmla="*/ 66 w 73"/>
                <a:gd name="T59" fmla="*/ 62 h 82"/>
                <a:gd name="T60" fmla="*/ 69 w 73"/>
                <a:gd name="T61" fmla="*/ 58 h 82"/>
                <a:gd name="T62" fmla="*/ 71 w 73"/>
                <a:gd name="T63" fmla="*/ 49 h 82"/>
                <a:gd name="T64" fmla="*/ 73 w 73"/>
                <a:gd name="T65" fmla="*/ 39 h 82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73"/>
                <a:gd name="T100" fmla="*/ 0 h 82"/>
                <a:gd name="T101" fmla="*/ 73 w 73"/>
                <a:gd name="T102" fmla="*/ 82 h 82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73" h="82">
                  <a:moveTo>
                    <a:pt x="73" y="39"/>
                  </a:moveTo>
                  <a:cubicBezTo>
                    <a:pt x="65" y="32"/>
                    <a:pt x="65" y="32"/>
                    <a:pt x="65" y="32"/>
                  </a:cubicBezTo>
                  <a:cubicBezTo>
                    <a:pt x="65" y="32"/>
                    <a:pt x="66" y="24"/>
                    <a:pt x="68" y="23"/>
                  </a:cubicBezTo>
                  <a:cubicBezTo>
                    <a:pt x="70" y="21"/>
                    <a:pt x="71" y="18"/>
                    <a:pt x="71" y="18"/>
                  </a:cubicBezTo>
                  <a:cubicBezTo>
                    <a:pt x="69" y="12"/>
                    <a:pt x="69" y="12"/>
                    <a:pt x="69" y="12"/>
                  </a:cubicBezTo>
                  <a:cubicBezTo>
                    <a:pt x="69" y="12"/>
                    <a:pt x="65" y="12"/>
                    <a:pt x="60" y="14"/>
                  </a:cubicBezTo>
                  <a:cubicBezTo>
                    <a:pt x="55" y="15"/>
                    <a:pt x="56" y="12"/>
                    <a:pt x="56" y="11"/>
                  </a:cubicBezTo>
                  <a:cubicBezTo>
                    <a:pt x="55" y="8"/>
                    <a:pt x="56" y="4"/>
                    <a:pt x="57" y="0"/>
                  </a:cubicBezTo>
                  <a:cubicBezTo>
                    <a:pt x="55" y="0"/>
                    <a:pt x="35" y="0"/>
                    <a:pt x="33" y="2"/>
                  </a:cubicBezTo>
                  <a:cubicBezTo>
                    <a:pt x="33" y="18"/>
                    <a:pt x="33" y="18"/>
                    <a:pt x="33" y="18"/>
                  </a:cubicBezTo>
                  <a:cubicBezTo>
                    <a:pt x="16" y="18"/>
                    <a:pt x="16" y="18"/>
                    <a:pt x="16" y="18"/>
                  </a:cubicBezTo>
                  <a:cubicBezTo>
                    <a:pt x="10" y="16"/>
                    <a:pt x="10" y="16"/>
                    <a:pt x="10" y="16"/>
                  </a:cubicBezTo>
                  <a:cubicBezTo>
                    <a:pt x="10" y="16"/>
                    <a:pt x="10" y="20"/>
                    <a:pt x="10" y="24"/>
                  </a:cubicBezTo>
                  <a:cubicBezTo>
                    <a:pt x="10" y="28"/>
                    <a:pt x="7" y="36"/>
                    <a:pt x="7" y="36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0" y="40"/>
                    <a:pt x="4" y="48"/>
                    <a:pt x="5" y="50"/>
                  </a:cubicBezTo>
                  <a:cubicBezTo>
                    <a:pt x="7" y="53"/>
                    <a:pt x="13" y="64"/>
                    <a:pt x="17" y="66"/>
                  </a:cubicBezTo>
                  <a:cubicBezTo>
                    <a:pt x="21" y="68"/>
                    <a:pt x="32" y="82"/>
                    <a:pt x="32" y="82"/>
                  </a:cubicBezTo>
                  <a:cubicBezTo>
                    <a:pt x="32" y="82"/>
                    <a:pt x="33" y="77"/>
                    <a:pt x="35" y="77"/>
                  </a:cubicBezTo>
                  <a:cubicBezTo>
                    <a:pt x="36" y="77"/>
                    <a:pt x="38" y="79"/>
                    <a:pt x="38" y="79"/>
                  </a:cubicBezTo>
                  <a:cubicBezTo>
                    <a:pt x="41" y="74"/>
                    <a:pt x="41" y="74"/>
                    <a:pt x="41" y="74"/>
                  </a:cubicBezTo>
                  <a:cubicBezTo>
                    <a:pt x="41" y="69"/>
                    <a:pt x="41" y="69"/>
                    <a:pt x="41" y="69"/>
                  </a:cubicBezTo>
                  <a:cubicBezTo>
                    <a:pt x="36" y="66"/>
                    <a:pt x="36" y="66"/>
                    <a:pt x="36" y="66"/>
                  </a:cubicBezTo>
                  <a:cubicBezTo>
                    <a:pt x="36" y="66"/>
                    <a:pt x="37" y="61"/>
                    <a:pt x="38" y="61"/>
                  </a:cubicBezTo>
                  <a:cubicBezTo>
                    <a:pt x="40" y="61"/>
                    <a:pt x="47" y="62"/>
                    <a:pt x="47" y="62"/>
                  </a:cubicBezTo>
                  <a:cubicBezTo>
                    <a:pt x="46" y="54"/>
                    <a:pt x="46" y="54"/>
                    <a:pt x="46" y="54"/>
                  </a:cubicBezTo>
                  <a:cubicBezTo>
                    <a:pt x="46" y="54"/>
                    <a:pt x="49" y="54"/>
                    <a:pt x="50" y="53"/>
                  </a:cubicBezTo>
                  <a:cubicBezTo>
                    <a:pt x="51" y="52"/>
                    <a:pt x="54" y="60"/>
                    <a:pt x="56" y="61"/>
                  </a:cubicBezTo>
                  <a:cubicBezTo>
                    <a:pt x="59" y="62"/>
                    <a:pt x="63" y="57"/>
                    <a:pt x="63" y="57"/>
                  </a:cubicBezTo>
                  <a:cubicBezTo>
                    <a:pt x="66" y="62"/>
                    <a:pt x="66" y="62"/>
                    <a:pt x="66" y="62"/>
                  </a:cubicBezTo>
                  <a:cubicBezTo>
                    <a:pt x="66" y="62"/>
                    <a:pt x="68" y="60"/>
                    <a:pt x="69" y="58"/>
                  </a:cubicBezTo>
                  <a:cubicBezTo>
                    <a:pt x="69" y="57"/>
                    <a:pt x="73" y="52"/>
                    <a:pt x="71" y="49"/>
                  </a:cubicBezTo>
                  <a:cubicBezTo>
                    <a:pt x="71" y="48"/>
                    <a:pt x="73" y="39"/>
                    <a:pt x="73" y="39"/>
                  </a:cubicBezTo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891045"/>
              <a:endParaRPr lang="en-US" sz="1700" dirty="0">
                <a:solidFill>
                  <a:srgbClr val="003149"/>
                </a:solidFill>
                <a:cs typeface="Arial" panose="020B0604020202020204" pitchFamily="34" charset="0"/>
              </a:endParaRPr>
            </a:p>
          </p:txBody>
        </p:sp>
      </p:grpSp>
      <p:grpSp>
        <p:nvGrpSpPr>
          <p:cNvPr id="477" name="Group 284"/>
          <p:cNvGrpSpPr>
            <a:grpSpLocks/>
          </p:cNvGrpSpPr>
          <p:nvPr/>
        </p:nvGrpSpPr>
        <p:grpSpPr bwMode="gray">
          <a:xfrm>
            <a:off x="1345208" y="2437291"/>
            <a:ext cx="135762" cy="168732"/>
            <a:chOff x="4356" y="2978"/>
            <a:chExt cx="93" cy="109"/>
          </a:xfrm>
          <a:solidFill>
            <a:schemeClr val="accent3"/>
          </a:solidFill>
        </p:grpSpPr>
        <p:sp>
          <p:nvSpPr>
            <p:cNvPr id="478" name="Freeform 285"/>
            <p:cNvSpPr>
              <a:spLocks noEditPoints="1"/>
            </p:cNvSpPr>
            <p:nvPr/>
          </p:nvSpPr>
          <p:spPr bwMode="gray">
            <a:xfrm>
              <a:off x="4356" y="2978"/>
              <a:ext cx="93" cy="109"/>
            </a:xfrm>
            <a:custGeom>
              <a:avLst/>
              <a:gdLst>
                <a:gd name="T0" fmla="*/ 0 w 917"/>
                <a:gd name="T1" fmla="*/ 0 h 1075"/>
                <a:gd name="T2" fmla="*/ 0 w 917"/>
                <a:gd name="T3" fmla="*/ 0 h 1075"/>
                <a:gd name="T4" fmla="*/ 0 w 917"/>
                <a:gd name="T5" fmla="*/ 0 h 1075"/>
                <a:gd name="T6" fmla="*/ 0 w 917"/>
                <a:gd name="T7" fmla="*/ 0 h 1075"/>
                <a:gd name="T8" fmla="*/ 0 w 917"/>
                <a:gd name="T9" fmla="*/ 0 h 1075"/>
                <a:gd name="T10" fmla="*/ 0 w 917"/>
                <a:gd name="T11" fmla="*/ 0 h 1075"/>
                <a:gd name="T12" fmla="*/ 0 w 917"/>
                <a:gd name="T13" fmla="*/ 0 h 1075"/>
                <a:gd name="T14" fmla="*/ 0 w 917"/>
                <a:gd name="T15" fmla="*/ 0 h 1075"/>
                <a:gd name="T16" fmla="*/ 0 w 917"/>
                <a:gd name="T17" fmla="*/ 0 h 1075"/>
                <a:gd name="T18" fmla="*/ 0 w 917"/>
                <a:gd name="T19" fmla="*/ 0 h 1075"/>
                <a:gd name="T20" fmla="*/ 0 w 917"/>
                <a:gd name="T21" fmla="*/ 0 h 1075"/>
                <a:gd name="T22" fmla="*/ 0 w 917"/>
                <a:gd name="T23" fmla="*/ 0 h 1075"/>
                <a:gd name="T24" fmla="*/ 0 w 917"/>
                <a:gd name="T25" fmla="*/ 0 h 1075"/>
                <a:gd name="T26" fmla="*/ 0 w 917"/>
                <a:gd name="T27" fmla="*/ 0 h 1075"/>
                <a:gd name="T28" fmla="*/ 0 w 917"/>
                <a:gd name="T29" fmla="*/ 0 h 1075"/>
                <a:gd name="T30" fmla="*/ 0 w 917"/>
                <a:gd name="T31" fmla="*/ 0 h 1075"/>
                <a:gd name="T32" fmla="*/ 0 w 917"/>
                <a:gd name="T33" fmla="*/ 0 h 1075"/>
                <a:gd name="T34" fmla="*/ 0 w 917"/>
                <a:gd name="T35" fmla="*/ 0 h 1075"/>
                <a:gd name="T36" fmla="*/ 0 w 917"/>
                <a:gd name="T37" fmla="*/ 0 h 1075"/>
                <a:gd name="T38" fmla="*/ 0 w 917"/>
                <a:gd name="T39" fmla="*/ 0 h 1075"/>
                <a:gd name="T40" fmla="*/ 0 w 917"/>
                <a:gd name="T41" fmla="*/ 0 h 1075"/>
                <a:gd name="T42" fmla="*/ 0 w 917"/>
                <a:gd name="T43" fmla="*/ 0 h 1075"/>
                <a:gd name="T44" fmla="*/ 0 w 917"/>
                <a:gd name="T45" fmla="*/ 0 h 1075"/>
                <a:gd name="T46" fmla="*/ 0 w 917"/>
                <a:gd name="T47" fmla="*/ 0 h 1075"/>
                <a:gd name="T48" fmla="*/ 0 w 917"/>
                <a:gd name="T49" fmla="*/ 0 h 1075"/>
                <a:gd name="T50" fmla="*/ 0 w 917"/>
                <a:gd name="T51" fmla="*/ 0 h 1075"/>
                <a:gd name="T52" fmla="*/ 0 w 917"/>
                <a:gd name="T53" fmla="*/ 0 h 1075"/>
                <a:gd name="T54" fmla="*/ 0 w 917"/>
                <a:gd name="T55" fmla="*/ 0 h 1075"/>
                <a:gd name="T56" fmla="*/ 0 w 917"/>
                <a:gd name="T57" fmla="*/ 0 h 1075"/>
                <a:gd name="T58" fmla="*/ 0 w 917"/>
                <a:gd name="T59" fmla="*/ 0 h 1075"/>
                <a:gd name="T60" fmla="*/ 0 w 917"/>
                <a:gd name="T61" fmla="*/ 0 h 1075"/>
                <a:gd name="T62" fmla="*/ 0 w 917"/>
                <a:gd name="T63" fmla="*/ 0 h 1075"/>
                <a:gd name="T64" fmla="*/ 0 w 917"/>
                <a:gd name="T65" fmla="*/ 0 h 1075"/>
                <a:gd name="T66" fmla="*/ 0 w 917"/>
                <a:gd name="T67" fmla="*/ 0 h 1075"/>
                <a:gd name="T68" fmla="*/ 0 w 917"/>
                <a:gd name="T69" fmla="*/ 0 h 1075"/>
                <a:gd name="T70" fmla="*/ 0 w 917"/>
                <a:gd name="T71" fmla="*/ 0 h 1075"/>
                <a:gd name="T72" fmla="*/ 0 w 917"/>
                <a:gd name="T73" fmla="*/ 0 h 1075"/>
                <a:gd name="T74" fmla="*/ 0 w 917"/>
                <a:gd name="T75" fmla="*/ 0 h 1075"/>
                <a:gd name="T76" fmla="*/ 0 w 917"/>
                <a:gd name="T77" fmla="*/ 0 h 1075"/>
                <a:gd name="T78" fmla="*/ 0 w 917"/>
                <a:gd name="T79" fmla="*/ 0 h 1075"/>
                <a:gd name="T80" fmla="*/ 0 w 917"/>
                <a:gd name="T81" fmla="*/ 0 h 1075"/>
                <a:gd name="T82" fmla="*/ 0 w 917"/>
                <a:gd name="T83" fmla="*/ 0 h 1075"/>
                <a:gd name="T84" fmla="*/ 0 w 917"/>
                <a:gd name="T85" fmla="*/ 0 h 1075"/>
                <a:gd name="T86" fmla="*/ 0 w 917"/>
                <a:gd name="T87" fmla="*/ 0 h 1075"/>
                <a:gd name="T88" fmla="*/ 0 w 917"/>
                <a:gd name="T89" fmla="*/ 0 h 1075"/>
                <a:gd name="T90" fmla="*/ 0 w 917"/>
                <a:gd name="T91" fmla="*/ 0 h 1075"/>
                <a:gd name="T92" fmla="*/ 0 w 917"/>
                <a:gd name="T93" fmla="*/ 0 h 1075"/>
                <a:gd name="T94" fmla="*/ 0 w 917"/>
                <a:gd name="T95" fmla="*/ 0 h 1075"/>
                <a:gd name="T96" fmla="*/ 0 w 917"/>
                <a:gd name="T97" fmla="*/ 0 h 1075"/>
                <a:gd name="T98" fmla="*/ 0 w 917"/>
                <a:gd name="T99" fmla="*/ 0 h 1075"/>
                <a:gd name="T100" fmla="*/ 0 w 917"/>
                <a:gd name="T101" fmla="*/ 0 h 1075"/>
                <a:gd name="T102" fmla="*/ 0 w 917"/>
                <a:gd name="T103" fmla="*/ 0 h 1075"/>
                <a:gd name="T104" fmla="*/ 0 w 917"/>
                <a:gd name="T105" fmla="*/ 0 h 1075"/>
                <a:gd name="T106" fmla="*/ 0 w 917"/>
                <a:gd name="T107" fmla="*/ 0 h 1075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917"/>
                <a:gd name="T163" fmla="*/ 0 h 1075"/>
                <a:gd name="T164" fmla="*/ 917 w 917"/>
                <a:gd name="T165" fmla="*/ 1075 h 1075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917" h="1075">
                  <a:moveTo>
                    <a:pt x="201" y="165"/>
                  </a:moveTo>
                  <a:cubicBezTo>
                    <a:pt x="214" y="165"/>
                    <a:pt x="226" y="165"/>
                    <a:pt x="239" y="165"/>
                  </a:cubicBezTo>
                  <a:cubicBezTo>
                    <a:pt x="226" y="165"/>
                    <a:pt x="214" y="165"/>
                    <a:pt x="201" y="165"/>
                  </a:cubicBezTo>
                  <a:close/>
                  <a:moveTo>
                    <a:pt x="905" y="13"/>
                  </a:moveTo>
                  <a:cubicBezTo>
                    <a:pt x="905" y="13"/>
                    <a:pt x="829" y="0"/>
                    <a:pt x="804" y="0"/>
                  </a:cubicBezTo>
                  <a:cubicBezTo>
                    <a:pt x="792" y="0"/>
                    <a:pt x="716" y="13"/>
                    <a:pt x="716" y="13"/>
                  </a:cubicBezTo>
                  <a:cubicBezTo>
                    <a:pt x="716" y="13"/>
                    <a:pt x="653" y="13"/>
                    <a:pt x="653" y="51"/>
                  </a:cubicBezTo>
                  <a:cubicBezTo>
                    <a:pt x="641" y="76"/>
                    <a:pt x="603" y="190"/>
                    <a:pt x="603" y="190"/>
                  </a:cubicBezTo>
                  <a:cubicBezTo>
                    <a:pt x="603" y="240"/>
                    <a:pt x="603" y="240"/>
                    <a:pt x="603" y="240"/>
                  </a:cubicBezTo>
                  <a:cubicBezTo>
                    <a:pt x="540" y="215"/>
                    <a:pt x="540" y="215"/>
                    <a:pt x="540" y="215"/>
                  </a:cubicBezTo>
                  <a:cubicBezTo>
                    <a:pt x="540" y="215"/>
                    <a:pt x="465" y="202"/>
                    <a:pt x="427" y="190"/>
                  </a:cubicBezTo>
                  <a:cubicBezTo>
                    <a:pt x="402" y="177"/>
                    <a:pt x="264" y="177"/>
                    <a:pt x="252" y="165"/>
                  </a:cubicBezTo>
                  <a:cubicBezTo>
                    <a:pt x="239" y="202"/>
                    <a:pt x="226" y="240"/>
                    <a:pt x="239" y="266"/>
                  </a:cubicBezTo>
                  <a:cubicBezTo>
                    <a:pt x="239" y="278"/>
                    <a:pt x="226" y="304"/>
                    <a:pt x="277" y="291"/>
                  </a:cubicBezTo>
                  <a:cubicBezTo>
                    <a:pt x="327" y="278"/>
                    <a:pt x="365" y="278"/>
                    <a:pt x="365" y="278"/>
                  </a:cubicBezTo>
                  <a:cubicBezTo>
                    <a:pt x="390" y="329"/>
                    <a:pt x="390" y="329"/>
                    <a:pt x="390" y="329"/>
                  </a:cubicBezTo>
                  <a:cubicBezTo>
                    <a:pt x="390" y="329"/>
                    <a:pt x="377" y="367"/>
                    <a:pt x="352" y="380"/>
                  </a:cubicBezTo>
                  <a:cubicBezTo>
                    <a:pt x="340" y="392"/>
                    <a:pt x="327" y="468"/>
                    <a:pt x="327" y="468"/>
                  </a:cubicBezTo>
                  <a:cubicBezTo>
                    <a:pt x="402" y="531"/>
                    <a:pt x="402" y="531"/>
                    <a:pt x="402" y="531"/>
                  </a:cubicBezTo>
                  <a:cubicBezTo>
                    <a:pt x="402" y="531"/>
                    <a:pt x="390" y="620"/>
                    <a:pt x="390" y="632"/>
                  </a:cubicBezTo>
                  <a:cubicBezTo>
                    <a:pt x="402" y="658"/>
                    <a:pt x="365" y="708"/>
                    <a:pt x="365" y="721"/>
                  </a:cubicBezTo>
                  <a:cubicBezTo>
                    <a:pt x="352" y="734"/>
                    <a:pt x="340" y="759"/>
                    <a:pt x="340" y="759"/>
                  </a:cubicBezTo>
                  <a:cubicBezTo>
                    <a:pt x="302" y="708"/>
                    <a:pt x="302" y="708"/>
                    <a:pt x="302" y="708"/>
                  </a:cubicBezTo>
                  <a:cubicBezTo>
                    <a:pt x="302" y="708"/>
                    <a:pt x="264" y="759"/>
                    <a:pt x="239" y="746"/>
                  </a:cubicBezTo>
                  <a:cubicBezTo>
                    <a:pt x="214" y="734"/>
                    <a:pt x="189" y="658"/>
                    <a:pt x="176" y="670"/>
                  </a:cubicBezTo>
                  <a:cubicBezTo>
                    <a:pt x="164" y="683"/>
                    <a:pt x="139" y="683"/>
                    <a:pt x="139" y="683"/>
                  </a:cubicBezTo>
                  <a:cubicBezTo>
                    <a:pt x="151" y="759"/>
                    <a:pt x="151" y="759"/>
                    <a:pt x="151" y="759"/>
                  </a:cubicBezTo>
                  <a:cubicBezTo>
                    <a:pt x="151" y="759"/>
                    <a:pt x="76" y="746"/>
                    <a:pt x="63" y="746"/>
                  </a:cubicBezTo>
                  <a:cubicBezTo>
                    <a:pt x="51" y="746"/>
                    <a:pt x="38" y="797"/>
                    <a:pt x="38" y="797"/>
                  </a:cubicBezTo>
                  <a:cubicBezTo>
                    <a:pt x="88" y="822"/>
                    <a:pt x="88" y="822"/>
                    <a:pt x="88" y="822"/>
                  </a:cubicBezTo>
                  <a:cubicBezTo>
                    <a:pt x="88" y="873"/>
                    <a:pt x="88" y="873"/>
                    <a:pt x="88" y="873"/>
                  </a:cubicBezTo>
                  <a:cubicBezTo>
                    <a:pt x="63" y="923"/>
                    <a:pt x="63" y="923"/>
                    <a:pt x="63" y="923"/>
                  </a:cubicBezTo>
                  <a:cubicBezTo>
                    <a:pt x="63" y="923"/>
                    <a:pt x="38" y="898"/>
                    <a:pt x="26" y="898"/>
                  </a:cubicBezTo>
                  <a:cubicBezTo>
                    <a:pt x="13" y="898"/>
                    <a:pt x="0" y="936"/>
                    <a:pt x="0" y="949"/>
                  </a:cubicBezTo>
                  <a:cubicBezTo>
                    <a:pt x="0" y="961"/>
                    <a:pt x="13" y="987"/>
                    <a:pt x="26" y="987"/>
                  </a:cubicBezTo>
                  <a:cubicBezTo>
                    <a:pt x="51" y="999"/>
                    <a:pt x="88" y="1075"/>
                    <a:pt x="88" y="1075"/>
                  </a:cubicBezTo>
                  <a:cubicBezTo>
                    <a:pt x="88" y="1075"/>
                    <a:pt x="113" y="1037"/>
                    <a:pt x="126" y="1037"/>
                  </a:cubicBezTo>
                  <a:cubicBezTo>
                    <a:pt x="139" y="1037"/>
                    <a:pt x="189" y="999"/>
                    <a:pt x="189" y="999"/>
                  </a:cubicBezTo>
                  <a:cubicBezTo>
                    <a:pt x="189" y="999"/>
                    <a:pt x="252" y="1050"/>
                    <a:pt x="264" y="1050"/>
                  </a:cubicBezTo>
                  <a:cubicBezTo>
                    <a:pt x="277" y="1050"/>
                    <a:pt x="302" y="1037"/>
                    <a:pt x="302" y="1037"/>
                  </a:cubicBezTo>
                  <a:cubicBezTo>
                    <a:pt x="302" y="1037"/>
                    <a:pt x="302" y="999"/>
                    <a:pt x="314" y="999"/>
                  </a:cubicBezTo>
                  <a:cubicBezTo>
                    <a:pt x="340" y="999"/>
                    <a:pt x="377" y="987"/>
                    <a:pt x="377" y="987"/>
                  </a:cubicBezTo>
                  <a:cubicBezTo>
                    <a:pt x="377" y="987"/>
                    <a:pt x="390" y="1050"/>
                    <a:pt x="402" y="1062"/>
                  </a:cubicBezTo>
                  <a:cubicBezTo>
                    <a:pt x="415" y="1062"/>
                    <a:pt x="453" y="1050"/>
                    <a:pt x="465" y="1025"/>
                  </a:cubicBezTo>
                  <a:cubicBezTo>
                    <a:pt x="478" y="987"/>
                    <a:pt x="553" y="936"/>
                    <a:pt x="578" y="911"/>
                  </a:cubicBezTo>
                  <a:cubicBezTo>
                    <a:pt x="603" y="885"/>
                    <a:pt x="603" y="847"/>
                    <a:pt x="603" y="822"/>
                  </a:cubicBezTo>
                  <a:cubicBezTo>
                    <a:pt x="603" y="797"/>
                    <a:pt x="603" y="721"/>
                    <a:pt x="616" y="708"/>
                  </a:cubicBezTo>
                  <a:cubicBezTo>
                    <a:pt x="628" y="696"/>
                    <a:pt x="666" y="632"/>
                    <a:pt x="679" y="607"/>
                  </a:cubicBezTo>
                  <a:cubicBezTo>
                    <a:pt x="704" y="595"/>
                    <a:pt x="754" y="544"/>
                    <a:pt x="779" y="531"/>
                  </a:cubicBezTo>
                  <a:cubicBezTo>
                    <a:pt x="804" y="519"/>
                    <a:pt x="792" y="493"/>
                    <a:pt x="804" y="468"/>
                  </a:cubicBezTo>
                  <a:cubicBezTo>
                    <a:pt x="804" y="430"/>
                    <a:pt x="817" y="380"/>
                    <a:pt x="817" y="342"/>
                  </a:cubicBezTo>
                  <a:cubicBezTo>
                    <a:pt x="804" y="316"/>
                    <a:pt x="829" y="278"/>
                    <a:pt x="842" y="253"/>
                  </a:cubicBezTo>
                  <a:cubicBezTo>
                    <a:pt x="854" y="228"/>
                    <a:pt x="854" y="152"/>
                    <a:pt x="879" y="101"/>
                  </a:cubicBezTo>
                  <a:cubicBezTo>
                    <a:pt x="917" y="51"/>
                    <a:pt x="905" y="13"/>
                    <a:pt x="905" y="13"/>
                  </a:cubicBezTo>
                  <a:close/>
                </a:path>
              </a:pathLst>
            </a:custGeom>
            <a:grpFill/>
            <a:ln w="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891045"/>
              <a:endParaRPr lang="en-US" sz="1700" dirty="0">
                <a:solidFill>
                  <a:srgbClr val="003149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479" name="Freeform 286"/>
            <p:cNvSpPr>
              <a:spLocks noEditPoints="1"/>
            </p:cNvSpPr>
            <p:nvPr/>
          </p:nvSpPr>
          <p:spPr bwMode="gray">
            <a:xfrm>
              <a:off x="4356" y="2978"/>
              <a:ext cx="93" cy="109"/>
            </a:xfrm>
            <a:custGeom>
              <a:avLst/>
              <a:gdLst>
                <a:gd name="T0" fmla="*/ 0 w 917"/>
                <a:gd name="T1" fmla="*/ 0 h 1075"/>
                <a:gd name="T2" fmla="*/ 0 w 917"/>
                <a:gd name="T3" fmla="*/ 0 h 1075"/>
                <a:gd name="T4" fmla="*/ 0 w 917"/>
                <a:gd name="T5" fmla="*/ 0 h 1075"/>
                <a:gd name="T6" fmla="*/ 0 w 917"/>
                <a:gd name="T7" fmla="*/ 0 h 1075"/>
                <a:gd name="T8" fmla="*/ 0 w 917"/>
                <a:gd name="T9" fmla="*/ 0 h 1075"/>
                <a:gd name="T10" fmla="*/ 0 w 917"/>
                <a:gd name="T11" fmla="*/ 0 h 1075"/>
                <a:gd name="T12" fmla="*/ 0 w 917"/>
                <a:gd name="T13" fmla="*/ 0 h 1075"/>
                <a:gd name="T14" fmla="*/ 0 w 917"/>
                <a:gd name="T15" fmla="*/ 0 h 1075"/>
                <a:gd name="T16" fmla="*/ 0 w 917"/>
                <a:gd name="T17" fmla="*/ 0 h 1075"/>
                <a:gd name="T18" fmla="*/ 0 w 917"/>
                <a:gd name="T19" fmla="*/ 0 h 1075"/>
                <a:gd name="T20" fmla="*/ 0 w 917"/>
                <a:gd name="T21" fmla="*/ 0 h 1075"/>
                <a:gd name="T22" fmla="*/ 0 w 917"/>
                <a:gd name="T23" fmla="*/ 0 h 1075"/>
                <a:gd name="T24" fmla="*/ 0 w 917"/>
                <a:gd name="T25" fmla="*/ 0 h 1075"/>
                <a:gd name="T26" fmla="*/ 0 w 917"/>
                <a:gd name="T27" fmla="*/ 0 h 1075"/>
                <a:gd name="T28" fmla="*/ 0 w 917"/>
                <a:gd name="T29" fmla="*/ 0 h 1075"/>
                <a:gd name="T30" fmla="*/ 0 w 917"/>
                <a:gd name="T31" fmla="*/ 0 h 1075"/>
                <a:gd name="T32" fmla="*/ 0 w 917"/>
                <a:gd name="T33" fmla="*/ 0 h 1075"/>
                <a:gd name="T34" fmla="*/ 0 w 917"/>
                <a:gd name="T35" fmla="*/ 0 h 1075"/>
                <a:gd name="T36" fmla="*/ 0 w 917"/>
                <a:gd name="T37" fmla="*/ 0 h 1075"/>
                <a:gd name="T38" fmla="*/ 0 w 917"/>
                <a:gd name="T39" fmla="*/ 0 h 1075"/>
                <a:gd name="T40" fmla="*/ 0 w 917"/>
                <a:gd name="T41" fmla="*/ 0 h 1075"/>
                <a:gd name="T42" fmla="*/ 0 w 917"/>
                <a:gd name="T43" fmla="*/ 0 h 1075"/>
                <a:gd name="T44" fmla="*/ 0 w 917"/>
                <a:gd name="T45" fmla="*/ 0 h 1075"/>
                <a:gd name="T46" fmla="*/ 0 w 917"/>
                <a:gd name="T47" fmla="*/ 0 h 1075"/>
                <a:gd name="T48" fmla="*/ 0 w 917"/>
                <a:gd name="T49" fmla="*/ 0 h 1075"/>
                <a:gd name="T50" fmla="*/ 0 w 917"/>
                <a:gd name="T51" fmla="*/ 0 h 1075"/>
                <a:gd name="T52" fmla="*/ 0 w 917"/>
                <a:gd name="T53" fmla="*/ 0 h 1075"/>
                <a:gd name="T54" fmla="*/ 0 w 917"/>
                <a:gd name="T55" fmla="*/ 0 h 1075"/>
                <a:gd name="T56" fmla="*/ 0 w 917"/>
                <a:gd name="T57" fmla="*/ 0 h 1075"/>
                <a:gd name="T58" fmla="*/ 0 w 917"/>
                <a:gd name="T59" fmla="*/ 0 h 1075"/>
                <a:gd name="T60" fmla="*/ 0 w 917"/>
                <a:gd name="T61" fmla="*/ 0 h 1075"/>
                <a:gd name="T62" fmla="*/ 0 w 917"/>
                <a:gd name="T63" fmla="*/ 0 h 1075"/>
                <a:gd name="T64" fmla="*/ 0 w 917"/>
                <a:gd name="T65" fmla="*/ 0 h 1075"/>
                <a:gd name="T66" fmla="*/ 0 w 917"/>
                <a:gd name="T67" fmla="*/ 0 h 1075"/>
                <a:gd name="T68" fmla="*/ 0 w 917"/>
                <a:gd name="T69" fmla="*/ 0 h 1075"/>
                <a:gd name="T70" fmla="*/ 0 w 917"/>
                <a:gd name="T71" fmla="*/ 0 h 1075"/>
                <a:gd name="T72" fmla="*/ 0 w 917"/>
                <a:gd name="T73" fmla="*/ 0 h 1075"/>
                <a:gd name="T74" fmla="*/ 0 w 917"/>
                <a:gd name="T75" fmla="*/ 0 h 1075"/>
                <a:gd name="T76" fmla="*/ 0 w 917"/>
                <a:gd name="T77" fmla="*/ 0 h 1075"/>
                <a:gd name="T78" fmla="*/ 0 w 917"/>
                <a:gd name="T79" fmla="*/ 0 h 1075"/>
                <a:gd name="T80" fmla="*/ 0 w 917"/>
                <a:gd name="T81" fmla="*/ 0 h 1075"/>
                <a:gd name="T82" fmla="*/ 0 w 917"/>
                <a:gd name="T83" fmla="*/ 0 h 1075"/>
                <a:gd name="T84" fmla="*/ 0 w 917"/>
                <a:gd name="T85" fmla="*/ 0 h 1075"/>
                <a:gd name="T86" fmla="*/ 0 w 917"/>
                <a:gd name="T87" fmla="*/ 0 h 1075"/>
                <a:gd name="T88" fmla="*/ 0 w 917"/>
                <a:gd name="T89" fmla="*/ 0 h 1075"/>
                <a:gd name="T90" fmla="*/ 0 w 917"/>
                <a:gd name="T91" fmla="*/ 0 h 1075"/>
                <a:gd name="T92" fmla="*/ 0 w 917"/>
                <a:gd name="T93" fmla="*/ 0 h 1075"/>
                <a:gd name="T94" fmla="*/ 0 w 917"/>
                <a:gd name="T95" fmla="*/ 0 h 1075"/>
                <a:gd name="T96" fmla="*/ 0 w 917"/>
                <a:gd name="T97" fmla="*/ 0 h 1075"/>
                <a:gd name="T98" fmla="*/ 0 w 917"/>
                <a:gd name="T99" fmla="*/ 0 h 1075"/>
                <a:gd name="T100" fmla="*/ 0 w 917"/>
                <a:gd name="T101" fmla="*/ 0 h 1075"/>
                <a:gd name="T102" fmla="*/ 0 w 917"/>
                <a:gd name="T103" fmla="*/ 0 h 1075"/>
                <a:gd name="T104" fmla="*/ 0 w 917"/>
                <a:gd name="T105" fmla="*/ 0 h 1075"/>
                <a:gd name="T106" fmla="*/ 0 w 917"/>
                <a:gd name="T107" fmla="*/ 0 h 1075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917"/>
                <a:gd name="T163" fmla="*/ 0 h 1075"/>
                <a:gd name="T164" fmla="*/ 917 w 917"/>
                <a:gd name="T165" fmla="*/ 1075 h 1075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917" h="1075">
                  <a:moveTo>
                    <a:pt x="201" y="165"/>
                  </a:moveTo>
                  <a:cubicBezTo>
                    <a:pt x="214" y="165"/>
                    <a:pt x="226" y="165"/>
                    <a:pt x="239" y="165"/>
                  </a:cubicBezTo>
                  <a:cubicBezTo>
                    <a:pt x="226" y="165"/>
                    <a:pt x="214" y="165"/>
                    <a:pt x="201" y="165"/>
                  </a:cubicBezTo>
                  <a:close/>
                  <a:moveTo>
                    <a:pt x="905" y="13"/>
                  </a:moveTo>
                  <a:cubicBezTo>
                    <a:pt x="905" y="13"/>
                    <a:pt x="829" y="0"/>
                    <a:pt x="804" y="0"/>
                  </a:cubicBezTo>
                  <a:cubicBezTo>
                    <a:pt x="792" y="0"/>
                    <a:pt x="716" y="13"/>
                    <a:pt x="716" y="13"/>
                  </a:cubicBezTo>
                  <a:cubicBezTo>
                    <a:pt x="716" y="13"/>
                    <a:pt x="653" y="13"/>
                    <a:pt x="653" y="51"/>
                  </a:cubicBezTo>
                  <a:cubicBezTo>
                    <a:pt x="641" y="76"/>
                    <a:pt x="603" y="190"/>
                    <a:pt x="603" y="190"/>
                  </a:cubicBezTo>
                  <a:cubicBezTo>
                    <a:pt x="603" y="240"/>
                    <a:pt x="603" y="240"/>
                    <a:pt x="603" y="240"/>
                  </a:cubicBezTo>
                  <a:cubicBezTo>
                    <a:pt x="540" y="215"/>
                    <a:pt x="540" y="215"/>
                    <a:pt x="540" y="215"/>
                  </a:cubicBezTo>
                  <a:cubicBezTo>
                    <a:pt x="540" y="215"/>
                    <a:pt x="465" y="202"/>
                    <a:pt x="427" y="190"/>
                  </a:cubicBezTo>
                  <a:cubicBezTo>
                    <a:pt x="402" y="177"/>
                    <a:pt x="264" y="177"/>
                    <a:pt x="252" y="165"/>
                  </a:cubicBezTo>
                  <a:cubicBezTo>
                    <a:pt x="239" y="202"/>
                    <a:pt x="226" y="240"/>
                    <a:pt x="239" y="266"/>
                  </a:cubicBezTo>
                  <a:cubicBezTo>
                    <a:pt x="239" y="278"/>
                    <a:pt x="226" y="304"/>
                    <a:pt x="277" y="291"/>
                  </a:cubicBezTo>
                  <a:cubicBezTo>
                    <a:pt x="327" y="278"/>
                    <a:pt x="365" y="278"/>
                    <a:pt x="365" y="278"/>
                  </a:cubicBezTo>
                  <a:cubicBezTo>
                    <a:pt x="390" y="329"/>
                    <a:pt x="390" y="329"/>
                    <a:pt x="390" y="329"/>
                  </a:cubicBezTo>
                  <a:cubicBezTo>
                    <a:pt x="390" y="329"/>
                    <a:pt x="377" y="367"/>
                    <a:pt x="352" y="380"/>
                  </a:cubicBezTo>
                  <a:cubicBezTo>
                    <a:pt x="340" y="392"/>
                    <a:pt x="327" y="468"/>
                    <a:pt x="327" y="468"/>
                  </a:cubicBezTo>
                  <a:cubicBezTo>
                    <a:pt x="402" y="531"/>
                    <a:pt x="402" y="531"/>
                    <a:pt x="402" y="531"/>
                  </a:cubicBezTo>
                  <a:cubicBezTo>
                    <a:pt x="402" y="531"/>
                    <a:pt x="390" y="620"/>
                    <a:pt x="390" y="632"/>
                  </a:cubicBezTo>
                  <a:cubicBezTo>
                    <a:pt x="402" y="658"/>
                    <a:pt x="365" y="708"/>
                    <a:pt x="365" y="721"/>
                  </a:cubicBezTo>
                  <a:cubicBezTo>
                    <a:pt x="352" y="734"/>
                    <a:pt x="340" y="759"/>
                    <a:pt x="340" y="759"/>
                  </a:cubicBezTo>
                  <a:cubicBezTo>
                    <a:pt x="302" y="708"/>
                    <a:pt x="302" y="708"/>
                    <a:pt x="302" y="708"/>
                  </a:cubicBezTo>
                  <a:cubicBezTo>
                    <a:pt x="302" y="708"/>
                    <a:pt x="264" y="759"/>
                    <a:pt x="239" y="746"/>
                  </a:cubicBezTo>
                  <a:cubicBezTo>
                    <a:pt x="214" y="734"/>
                    <a:pt x="189" y="658"/>
                    <a:pt x="176" y="670"/>
                  </a:cubicBezTo>
                  <a:cubicBezTo>
                    <a:pt x="164" y="683"/>
                    <a:pt x="139" y="683"/>
                    <a:pt x="139" y="683"/>
                  </a:cubicBezTo>
                  <a:cubicBezTo>
                    <a:pt x="151" y="759"/>
                    <a:pt x="151" y="759"/>
                    <a:pt x="151" y="759"/>
                  </a:cubicBezTo>
                  <a:cubicBezTo>
                    <a:pt x="151" y="759"/>
                    <a:pt x="76" y="746"/>
                    <a:pt x="63" y="746"/>
                  </a:cubicBezTo>
                  <a:cubicBezTo>
                    <a:pt x="51" y="746"/>
                    <a:pt x="38" y="797"/>
                    <a:pt x="38" y="797"/>
                  </a:cubicBezTo>
                  <a:cubicBezTo>
                    <a:pt x="88" y="822"/>
                    <a:pt x="88" y="822"/>
                    <a:pt x="88" y="822"/>
                  </a:cubicBezTo>
                  <a:cubicBezTo>
                    <a:pt x="88" y="873"/>
                    <a:pt x="88" y="873"/>
                    <a:pt x="88" y="873"/>
                  </a:cubicBezTo>
                  <a:cubicBezTo>
                    <a:pt x="63" y="923"/>
                    <a:pt x="63" y="923"/>
                    <a:pt x="63" y="923"/>
                  </a:cubicBezTo>
                  <a:cubicBezTo>
                    <a:pt x="63" y="923"/>
                    <a:pt x="38" y="898"/>
                    <a:pt x="26" y="898"/>
                  </a:cubicBezTo>
                  <a:cubicBezTo>
                    <a:pt x="13" y="898"/>
                    <a:pt x="0" y="936"/>
                    <a:pt x="0" y="949"/>
                  </a:cubicBezTo>
                  <a:cubicBezTo>
                    <a:pt x="0" y="961"/>
                    <a:pt x="13" y="987"/>
                    <a:pt x="26" y="987"/>
                  </a:cubicBezTo>
                  <a:cubicBezTo>
                    <a:pt x="51" y="999"/>
                    <a:pt x="88" y="1075"/>
                    <a:pt x="88" y="1075"/>
                  </a:cubicBezTo>
                  <a:cubicBezTo>
                    <a:pt x="88" y="1075"/>
                    <a:pt x="113" y="1037"/>
                    <a:pt x="126" y="1037"/>
                  </a:cubicBezTo>
                  <a:cubicBezTo>
                    <a:pt x="139" y="1037"/>
                    <a:pt x="189" y="999"/>
                    <a:pt x="189" y="999"/>
                  </a:cubicBezTo>
                  <a:cubicBezTo>
                    <a:pt x="189" y="999"/>
                    <a:pt x="252" y="1050"/>
                    <a:pt x="264" y="1050"/>
                  </a:cubicBezTo>
                  <a:cubicBezTo>
                    <a:pt x="277" y="1050"/>
                    <a:pt x="302" y="1037"/>
                    <a:pt x="302" y="1037"/>
                  </a:cubicBezTo>
                  <a:cubicBezTo>
                    <a:pt x="302" y="1037"/>
                    <a:pt x="302" y="999"/>
                    <a:pt x="314" y="999"/>
                  </a:cubicBezTo>
                  <a:cubicBezTo>
                    <a:pt x="340" y="999"/>
                    <a:pt x="377" y="987"/>
                    <a:pt x="377" y="987"/>
                  </a:cubicBezTo>
                  <a:cubicBezTo>
                    <a:pt x="377" y="987"/>
                    <a:pt x="390" y="1050"/>
                    <a:pt x="402" y="1062"/>
                  </a:cubicBezTo>
                  <a:cubicBezTo>
                    <a:pt x="415" y="1062"/>
                    <a:pt x="453" y="1050"/>
                    <a:pt x="465" y="1025"/>
                  </a:cubicBezTo>
                  <a:cubicBezTo>
                    <a:pt x="478" y="987"/>
                    <a:pt x="553" y="936"/>
                    <a:pt x="578" y="911"/>
                  </a:cubicBezTo>
                  <a:cubicBezTo>
                    <a:pt x="603" y="885"/>
                    <a:pt x="603" y="847"/>
                    <a:pt x="603" y="822"/>
                  </a:cubicBezTo>
                  <a:cubicBezTo>
                    <a:pt x="603" y="797"/>
                    <a:pt x="603" y="721"/>
                    <a:pt x="616" y="708"/>
                  </a:cubicBezTo>
                  <a:cubicBezTo>
                    <a:pt x="628" y="696"/>
                    <a:pt x="666" y="632"/>
                    <a:pt x="679" y="607"/>
                  </a:cubicBezTo>
                  <a:cubicBezTo>
                    <a:pt x="704" y="595"/>
                    <a:pt x="754" y="544"/>
                    <a:pt x="779" y="531"/>
                  </a:cubicBezTo>
                  <a:cubicBezTo>
                    <a:pt x="804" y="519"/>
                    <a:pt x="792" y="493"/>
                    <a:pt x="804" y="468"/>
                  </a:cubicBezTo>
                  <a:cubicBezTo>
                    <a:pt x="804" y="430"/>
                    <a:pt x="817" y="380"/>
                    <a:pt x="817" y="342"/>
                  </a:cubicBezTo>
                  <a:cubicBezTo>
                    <a:pt x="804" y="316"/>
                    <a:pt x="829" y="278"/>
                    <a:pt x="842" y="253"/>
                  </a:cubicBezTo>
                  <a:cubicBezTo>
                    <a:pt x="854" y="228"/>
                    <a:pt x="854" y="152"/>
                    <a:pt x="879" y="101"/>
                  </a:cubicBezTo>
                  <a:cubicBezTo>
                    <a:pt x="917" y="51"/>
                    <a:pt x="905" y="13"/>
                    <a:pt x="905" y="13"/>
                  </a:cubicBez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891045"/>
              <a:endParaRPr lang="en-US" sz="1700" dirty="0">
                <a:solidFill>
                  <a:srgbClr val="003149"/>
                </a:solidFill>
                <a:cs typeface="Arial" panose="020B0604020202020204" pitchFamily="34" charset="0"/>
              </a:endParaRPr>
            </a:p>
          </p:txBody>
        </p:sp>
      </p:grpSp>
      <p:grpSp>
        <p:nvGrpSpPr>
          <p:cNvPr id="480" name="Group 287"/>
          <p:cNvGrpSpPr>
            <a:grpSpLocks/>
          </p:cNvGrpSpPr>
          <p:nvPr/>
        </p:nvGrpSpPr>
        <p:grpSpPr bwMode="gray">
          <a:xfrm>
            <a:off x="1359036" y="2594604"/>
            <a:ext cx="18856" cy="25373"/>
            <a:chOff x="4366" y="3080"/>
            <a:chExt cx="13" cy="16"/>
          </a:xfrm>
          <a:solidFill>
            <a:schemeClr val="accent3"/>
          </a:solidFill>
        </p:grpSpPr>
        <p:sp>
          <p:nvSpPr>
            <p:cNvPr id="481" name="Freeform 288"/>
            <p:cNvSpPr>
              <a:spLocks/>
            </p:cNvSpPr>
            <p:nvPr/>
          </p:nvSpPr>
          <p:spPr bwMode="gray">
            <a:xfrm>
              <a:off x="4366" y="3080"/>
              <a:ext cx="13" cy="16"/>
            </a:xfrm>
            <a:custGeom>
              <a:avLst/>
              <a:gdLst>
                <a:gd name="T0" fmla="*/ 0 w 133"/>
                <a:gd name="T1" fmla="*/ 0 h 159"/>
                <a:gd name="T2" fmla="*/ 0 w 133"/>
                <a:gd name="T3" fmla="*/ 0 h 159"/>
                <a:gd name="T4" fmla="*/ 0 w 133"/>
                <a:gd name="T5" fmla="*/ 0 h 159"/>
                <a:gd name="T6" fmla="*/ 0 w 133"/>
                <a:gd name="T7" fmla="*/ 0 h 159"/>
                <a:gd name="T8" fmla="*/ 0 w 133"/>
                <a:gd name="T9" fmla="*/ 0 h 159"/>
                <a:gd name="T10" fmla="*/ 0 w 133"/>
                <a:gd name="T11" fmla="*/ 0 h 159"/>
                <a:gd name="T12" fmla="*/ 0 w 133"/>
                <a:gd name="T13" fmla="*/ 0 h 159"/>
                <a:gd name="T14" fmla="*/ 0 w 133"/>
                <a:gd name="T15" fmla="*/ 0 h 159"/>
                <a:gd name="T16" fmla="*/ 0 w 133"/>
                <a:gd name="T17" fmla="*/ 0 h 159"/>
                <a:gd name="T18" fmla="*/ 0 w 133"/>
                <a:gd name="T19" fmla="*/ 0 h 15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33"/>
                <a:gd name="T31" fmla="*/ 0 h 159"/>
                <a:gd name="T32" fmla="*/ 133 w 133"/>
                <a:gd name="T33" fmla="*/ 159 h 15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33" h="159">
                  <a:moveTo>
                    <a:pt x="97" y="0"/>
                  </a:moveTo>
                  <a:cubicBezTo>
                    <a:pt x="97" y="0"/>
                    <a:pt x="49" y="37"/>
                    <a:pt x="36" y="37"/>
                  </a:cubicBezTo>
                  <a:cubicBezTo>
                    <a:pt x="24" y="37"/>
                    <a:pt x="0" y="74"/>
                    <a:pt x="0" y="74"/>
                  </a:cubicBezTo>
                  <a:cubicBezTo>
                    <a:pt x="24" y="159"/>
                    <a:pt x="24" y="159"/>
                    <a:pt x="24" y="159"/>
                  </a:cubicBezTo>
                  <a:cubicBezTo>
                    <a:pt x="61" y="159"/>
                    <a:pt x="61" y="159"/>
                    <a:pt x="61" y="159"/>
                  </a:cubicBezTo>
                  <a:cubicBezTo>
                    <a:pt x="61" y="122"/>
                    <a:pt x="61" y="122"/>
                    <a:pt x="61" y="122"/>
                  </a:cubicBezTo>
                  <a:cubicBezTo>
                    <a:pt x="73" y="74"/>
                    <a:pt x="73" y="74"/>
                    <a:pt x="73" y="74"/>
                  </a:cubicBezTo>
                  <a:cubicBezTo>
                    <a:pt x="133" y="25"/>
                    <a:pt x="133" y="25"/>
                    <a:pt x="133" y="25"/>
                  </a:cubicBezTo>
                  <a:cubicBezTo>
                    <a:pt x="133" y="25"/>
                    <a:pt x="133" y="25"/>
                    <a:pt x="133" y="25"/>
                  </a:cubicBezTo>
                  <a:cubicBezTo>
                    <a:pt x="121" y="13"/>
                    <a:pt x="97" y="0"/>
                    <a:pt x="97" y="0"/>
                  </a:cubicBezTo>
                </a:path>
              </a:pathLst>
            </a:custGeom>
            <a:grpFill/>
            <a:ln w="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891045"/>
              <a:endParaRPr lang="en-US" sz="1700" dirty="0">
                <a:solidFill>
                  <a:srgbClr val="003149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482" name="Freeform 289"/>
            <p:cNvSpPr>
              <a:spLocks/>
            </p:cNvSpPr>
            <p:nvPr/>
          </p:nvSpPr>
          <p:spPr bwMode="gray">
            <a:xfrm>
              <a:off x="4366" y="3080"/>
              <a:ext cx="13" cy="16"/>
            </a:xfrm>
            <a:custGeom>
              <a:avLst/>
              <a:gdLst>
                <a:gd name="T0" fmla="*/ 9 w 13"/>
                <a:gd name="T1" fmla="*/ 0 h 16"/>
                <a:gd name="T2" fmla="*/ 3 w 13"/>
                <a:gd name="T3" fmla="*/ 4 h 16"/>
                <a:gd name="T4" fmla="*/ 0 w 13"/>
                <a:gd name="T5" fmla="*/ 8 h 16"/>
                <a:gd name="T6" fmla="*/ 2 w 13"/>
                <a:gd name="T7" fmla="*/ 16 h 16"/>
                <a:gd name="T8" fmla="*/ 6 w 13"/>
                <a:gd name="T9" fmla="*/ 16 h 16"/>
                <a:gd name="T10" fmla="*/ 6 w 13"/>
                <a:gd name="T11" fmla="*/ 13 h 16"/>
                <a:gd name="T12" fmla="*/ 7 w 13"/>
                <a:gd name="T13" fmla="*/ 8 h 16"/>
                <a:gd name="T14" fmla="*/ 13 w 13"/>
                <a:gd name="T15" fmla="*/ 3 h 16"/>
                <a:gd name="T16" fmla="*/ 13 w 13"/>
                <a:gd name="T17" fmla="*/ 3 h 16"/>
                <a:gd name="T18" fmla="*/ 9 w 13"/>
                <a:gd name="T19" fmla="*/ 0 h 1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3"/>
                <a:gd name="T31" fmla="*/ 0 h 16"/>
                <a:gd name="T32" fmla="*/ 13 w 13"/>
                <a:gd name="T33" fmla="*/ 16 h 1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3" h="16">
                  <a:moveTo>
                    <a:pt x="9" y="0"/>
                  </a:moveTo>
                  <a:cubicBezTo>
                    <a:pt x="9" y="0"/>
                    <a:pt x="4" y="4"/>
                    <a:pt x="3" y="4"/>
                  </a:cubicBezTo>
                  <a:cubicBezTo>
                    <a:pt x="2" y="4"/>
                    <a:pt x="0" y="8"/>
                    <a:pt x="0" y="8"/>
                  </a:cubicBezTo>
                  <a:cubicBezTo>
                    <a:pt x="2" y="16"/>
                    <a:pt x="2" y="16"/>
                    <a:pt x="2" y="16"/>
                  </a:cubicBezTo>
                  <a:cubicBezTo>
                    <a:pt x="6" y="16"/>
                    <a:pt x="6" y="16"/>
                    <a:pt x="6" y="16"/>
                  </a:cubicBezTo>
                  <a:cubicBezTo>
                    <a:pt x="6" y="13"/>
                    <a:pt x="6" y="13"/>
                    <a:pt x="6" y="13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13" y="3"/>
                    <a:pt x="13" y="3"/>
                    <a:pt x="13" y="3"/>
                  </a:cubicBezTo>
                  <a:cubicBezTo>
                    <a:pt x="13" y="3"/>
                    <a:pt x="13" y="3"/>
                    <a:pt x="13" y="3"/>
                  </a:cubicBezTo>
                  <a:cubicBezTo>
                    <a:pt x="12" y="2"/>
                    <a:pt x="9" y="0"/>
                    <a:pt x="9" y="0"/>
                  </a:cubicBezTo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891045"/>
              <a:endParaRPr lang="en-US" sz="1700" dirty="0">
                <a:solidFill>
                  <a:srgbClr val="003149"/>
                </a:solidFill>
                <a:cs typeface="Arial" panose="020B0604020202020204" pitchFamily="34" charset="0"/>
              </a:endParaRPr>
            </a:p>
          </p:txBody>
        </p:sp>
      </p:grpSp>
      <p:grpSp>
        <p:nvGrpSpPr>
          <p:cNvPr id="483" name="Group 296"/>
          <p:cNvGrpSpPr>
            <a:grpSpLocks/>
          </p:cNvGrpSpPr>
          <p:nvPr/>
        </p:nvGrpSpPr>
        <p:grpSpPr bwMode="gray">
          <a:xfrm>
            <a:off x="1350264" y="2623807"/>
            <a:ext cx="233811" cy="244851"/>
            <a:chOff x="4360" y="3099"/>
            <a:chExt cx="159" cy="158"/>
          </a:xfrm>
          <a:solidFill>
            <a:schemeClr val="accent3"/>
          </a:solidFill>
        </p:grpSpPr>
        <p:sp>
          <p:nvSpPr>
            <p:cNvPr id="484" name="Freeform 297"/>
            <p:cNvSpPr>
              <a:spLocks/>
            </p:cNvSpPr>
            <p:nvPr/>
          </p:nvSpPr>
          <p:spPr bwMode="gray">
            <a:xfrm>
              <a:off x="4360" y="3099"/>
              <a:ext cx="159" cy="158"/>
            </a:xfrm>
            <a:custGeom>
              <a:avLst/>
              <a:gdLst>
                <a:gd name="T0" fmla="*/ 0 w 1567"/>
                <a:gd name="T1" fmla="*/ 0 h 1566"/>
                <a:gd name="T2" fmla="*/ 0 w 1567"/>
                <a:gd name="T3" fmla="*/ 0 h 1566"/>
                <a:gd name="T4" fmla="*/ 0 w 1567"/>
                <a:gd name="T5" fmla="*/ 0 h 1566"/>
                <a:gd name="T6" fmla="*/ 0 w 1567"/>
                <a:gd name="T7" fmla="*/ 0 h 1566"/>
                <a:gd name="T8" fmla="*/ 0 w 1567"/>
                <a:gd name="T9" fmla="*/ 0 h 1566"/>
                <a:gd name="T10" fmla="*/ 0 w 1567"/>
                <a:gd name="T11" fmla="*/ 0 h 1566"/>
                <a:gd name="T12" fmla="*/ 0 w 1567"/>
                <a:gd name="T13" fmla="*/ 0 h 1566"/>
                <a:gd name="T14" fmla="*/ 0 w 1567"/>
                <a:gd name="T15" fmla="*/ 0 h 1566"/>
                <a:gd name="T16" fmla="*/ 0 w 1567"/>
                <a:gd name="T17" fmla="*/ 0 h 1566"/>
                <a:gd name="T18" fmla="*/ 0 w 1567"/>
                <a:gd name="T19" fmla="*/ 0 h 1566"/>
                <a:gd name="T20" fmla="*/ 0 w 1567"/>
                <a:gd name="T21" fmla="*/ 0 h 1566"/>
                <a:gd name="T22" fmla="*/ 0 w 1567"/>
                <a:gd name="T23" fmla="*/ 0 h 1566"/>
                <a:gd name="T24" fmla="*/ 0 w 1567"/>
                <a:gd name="T25" fmla="*/ 0 h 1566"/>
                <a:gd name="T26" fmla="*/ 0 w 1567"/>
                <a:gd name="T27" fmla="*/ 0 h 1566"/>
                <a:gd name="T28" fmla="*/ 0 w 1567"/>
                <a:gd name="T29" fmla="*/ 0 h 1566"/>
                <a:gd name="T30" fmla="*/ 0 w 1567"/>
                <a:gd name="T31" fmla="*/ 0 h 1566"/>
                <a:gd name="T32" fmla="*/ 0 w 1567"/>
                <a:gd name="T33" fmla="*/ 0 h 1566"/>
                <a:gd name="T34" fmla="*/ 0 w 1567"/>
                <a:gd name="T35" fmla="*/ 0 h 1566"/>
                <a:gd name="T36" fmla="*/ 0 w 1567"/>
                <a:gd name="T37" fmla="*/ 0 h 1566"/>
                <a:gd name="T38" fmla="*/ 0 w 1567"/>
                <a:gd name="T39" fmla="*/ 0 h 1566"/>
                <a:gd name="T40" fmla="*/ 0 w 1567"/>
                <a:gd name="T41" fmla="*/ 0 h 1566"/>
                <a:gd name="T42" fmla="*/ 0 w 1567"/>
                <a:gd name="T43" fmla="*/ 0 h 1566"/>
                <a:gd name="T44" fmla="*/ 0 w 1567"/>
                <a:gd name="T45" fmla="*/ 0 h 1566"/>
                <a:gd name="T46" fmla="*/ 0 w 1567"/>
                <a:gd name="T47" fmla="*/ 0 h 1566"/>
                <a:gd name="T48" fmla="*/ 0 w 1567"/>
                <a:gd name="T49" fmla="*/ 0 h 1566"/>
                <a:gd name="T50" fmla="*/ 0 w 1567"/>
                <a:gd name="T51" fmla="*/ 0 h 1566"/>
                <a:gd name="T52" fmla="*/ 0 w 1567"/>
                <a:gd name="T53" fmla="*/ 0 h 1566"/>
                <a:gd name="T54" fmla="*/ 0 w 1567"/>
                <a:gd name="T55" fmla="*/ 0 h 1566"/>
                <a:gd name="T56" fmla="*/ 0 w 1567"/>
                <a:gd name="T57" fmla="*/ 0 h 1566"/>
                <a:gd name="T58" fmla="*/ 0 w 1567"/>
                <a:gd name="T59" fmla="*/ 0 h 1566"/>
                <a:gd name="T60" fmla="*/ 0 w 1567"/>
                <a:gd name="T61" fmla="*/ 0 h 1566"/>
                <a:gd name="T62" fmla="*/ 0 w 1567"/>
                <a:gd name="T63" fmla="*/ 0 h 1566"/>
                <a:gd name="T64" fmla="*/ 0 w 1567"/>
                <a:gd name="T65" fmla="*/ 0 h 1566"/>
                <a:gd name="T66" fmla="*/ 0 w 1567"/>
                <a:gd name="T67" fmla="*/ 0 h 1566"/>
                <a:gd name="T68" fmla="*/ 0 w 1567"/>
                <a:gd name="T69" fmla="*/ 0 h 1566"/>
                <a:gd name="T70" fmla="*/ 0 w 1567"/>
                <a:gd name="T71" fmla="*/ 0 h 1566"/>
                <a:gd name="T72" fmla="*/ 0 w 1567"/>
                <a:gd name="T73" fmla="*/ 0 h 1566"/>
                <a:gd name="T74" fmla="*/ 0 w 1567"/>
                <a:gd name="T75" fmla="*/ 0 h 1566"/>
                <a:gd name="T76" fmla="*/ 0 w 1567"/>
                <a:gd name="T77" fmla="*/ 0 h 1566"/>
                <a:gd name="T78" fmla="*/ 0 w 1567"/>
                <a:gd name="T79" fmla="*/ 0 h 1566"/>
                <a:gd name="T80" fmla="*/ 0 w 1567"/>
                <a:gd name="T81" fmla="*/ 0 h 1566"/>
                <a:gd name="T82" fmla="*/ 0 w 1567"/>
                <a:gd name="T83" fmla="*/ 0 h 1566"/>
                <a:gd name="T84" fmla="*/ 0 w 1567"/>
                <a:gd name="T85" fmla="*/ 0 h 1566"/>
                <a:gd name="T86" fmla="*/ 0 w 1567"/>
                <a:gd name="T87" fmla="*/ 0 h 1566"/>
                <a:gd name="T88" fmla="*/ 0 w 1567"/>
                <a:gd name="T89" fmla="*/ 0 h 1566"/>
                <a:gd name="T90" fmla="*/ 0 w 1567"/>
                <a:gd name="T91" fmla="*/ 0 h 1566"/>
                <a:gd name="T92" fmla="*/ 0 w 1567"/>
                <a:gd name="T93" fmla="*/ 0 h 1566"/>
                <a:gd name="T94" fmla="*/ 0 w 1567"/>
                <a:gd name="T95" fmla="*/ 0 h 156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1567"/>
                <a:gd name="T145" fmla="*/ 0 h 1566"/>
                <a:gd name="T146" fmla="*/ 1567 w 1567"/>
                <a:gd name="T147" fmla="*/ 1566 h 1566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1567" h="1566">
                  <a:moveTo>
                    <a:pt x="1554" y="770"/>
                  </a:moveTo>
                  <a:cubicBezTo>
                    <a:pt x="1554" y="745"/>
                    <a:pt x="1554" y="642"/>
                    <a:pt x="1554" y="642"/>
                  </a:cubicBezTo>
                  <a:cubicBezTo>
                    <a:pt x="1528" y="655"/>
                    <a:pt x="1477" y="655"/>
                    <a:pt x="1464" y="655"/>
                  </a:cubicBezTo>
                  <a:cubicBezTo>
                    <a:pt x="1451" y="655"/>
                    <a:pt x="1374" y="668"/>
                    <a:pt x="1374" y="668"/>
                  </a:cubicBezTo>
                  <a:cubicBezTo>
                    <a:pt x="1323" y="680"/>
                    <a:pt x="1323" y="680"/>
                    <a:pt x="1323" y="680"/>
                  </a:cubicBezTo>
                  <a:cubicBezTo>
                    <a:pt x="1323" y="680"/>
                    <a:pt x="1323" y="629"/>
                    <a:pt x="1336" y="616"/>
                  </a:cubicBezTo>
                  <a:cubicBezTo>
                    <a:pt x="1348" y="603"/>
                    <a:pt x="1323" y="513"/>
                    <a:pt x="1310" y="501"/>
                  </a:cubicBezTo>
                  <a:cubicBezTo>
                    <a:pt x="1284" y="488"/>
                    <a:pt x="1271" y="385"/>
                    <a:pt x="1284" y="359"/>
                  </a:cubicBezTo>
                  <a:cubicBezTo>
                    <a:pt x="1297" y="347"/>
                    <a:pt x="1284" y="295"/>
                    <a:pt x="1271" y="282"/>
                  </a:cubicBezTo>
                  <a:cubicBezTo>
                    <a:pt x="1271" y="257"/>
                    <a:pt x="1271" y="205"/>
                    <a:pt x="1271" y="192"/>
                  </a:cubicBezTo>
                  <a:cubicBezTo>
                    <a:pt x="1271" y="167"/>
                    <a:pt x="1117" y="180"/>
                    <a:pt x="1117" y="180"/>
                  </a:cubicBezTo>
                  <a:cubicBezTo>
                    <a:pt x="1130" y="128"/>
                    <a:pt x="1130" y="128"/>
                    <a:pt x="1130" y="128"/>
                  </a:cubicBezTo>
                  <a:cubicBezTo>
                    <a:pt x="1002" y="154"/>
                    <a:pt x="1002" y="154"/>
                    <a:pt x="1002" y="154"/>
                  </a:cubicBezTo>
                  <a:cubicBezTo>
                    <a:pt x="976" y="231"/>
                    <a:pt x="976" y="231"/>
                    <a:pt x="976" y="231"/>
                  </a:cubicBezTo>
                  <a:cubicBezTo>
                    <a:pt x="963" y="269"/>
                    <a:pt x="963" y="269"/>
                    <a:pt x="963" y="269"/>
                  </a:cubicBezTo>
                  <a:cubicBezTo>
                    <a:pt x="963" y="269"/>
                    <a:pt x="873" y="269"/>
                    <a:pt x="861" y="269"/>
                  </a:cubicBezTo>
                  <a:cubicBezTo>
                    <a:pt x="848" y="282"/>
                    <a:pt x="745" y="282"/>
                    <a:pt x="745" y="282"/>
                  </a:cubicBezTo>
                  <a:cubicBezTo>
                    <a:pt x="745" y="282"/>
                    <a:pt x="668" y="192"/>
                    <a:pt x="668" y="167"/>
                  </a:cubicBezTo>
                  <a:cubicBezTo>
                    <a:pt x="668" y="128"/>
                    <a:pt x="617" y="13"/>
                    <a:pt x="617" y="13"/>
                  </a:cubicBezTo>
                  <a:cubicBezTo>
                    <a:pt x="180" y="0"/>
                    <a:pt x="180" y="0"/>
                    <a:pt x="180" y="0"/>
                  </a:cubicBezTo>
                  <a:cubicBezTo>
                    <a:pt x="90" y="25"/>
                    <a:pt x="90" y="25"/>
                    <a:pt x="90" y="25"/>
                  </a:cubicBezTo>
                  <a:cubicBezTo>
                    <a:pt x="154" y="180"/>
                    <a:pt x="154" y="180"/>
                    <a:pt x="154" y="180"/>
                  </a:cubicBezTo>
                  <a:cubicBezTo>
                    <a:pt x="154" y="180"/>
                    <a:pt x="193" y="269"/>
                    <a:pt x="193" y="308"/>
                  </a:cubicBezTo>
                  <a:cubicBezTo>
                    <a:pt x="193" y="347"/>
                    <a:pt x="167" y="398"/>
                    <a:pt x="167" y="411"/>
                  </a:cubicBezTo>
                  <a:cubicBezTo>
                    <a:pt x="167" y="424"/>
                    <a:pt x="206" y="513"/>
                    <a:pt x="244" y="578"/>
                  </a:cubicBezTo>
                  <a:cubicBezTo>
                    <a:pt x="270" y="629"/>
                    <a:pt x="270" y="719"/>
                    <a:pt x="257" y="757"/>
                  </a:cubicBezTo>
                  <a:cubicBezTo>
                    <a:pt x="244" y="809"/>
                    <a:pt x="206" y="860"/>
                    <a:pt x="167" y="886"/>
                  </a:cubicBezTo>
                  <a:cubicBezTo>
                    <a:pt x="116" y="912"/>
                    <a:pt x="116" y="1001"/>
                    <a:pt x="103" y="1027"/>
                  </a:cubicBezTo>
                  <a:cubicBezTo>
                    <a:pt x="90" y="1053"/>
                    <a:pt x="77" y="1117"/>
                    <a:pt x="52" y="1194"/>
                  </a:cubicBezTo>
                  <a:cubicBezTo>
                    <a:pt x="26" y="1258"/>
                    <a:pt x="0" y="1284"/>
                    <a:pt x="13" y="1310"/>
                  </a:cubicBezTo>
                  <a:cubicBezTo>
                    <a:pt x="26" y="1335"/>
                    <a:pt x="0" y="1477"/>
                    <a:pt x="0" y="1477"/>
                  </a:cubicBezTo>
                  <a:cubicBezTo>
                    <a:pt x="39" y="1464"/>
                    <a:pt x="39" y="1464"/>
                    <a:pt x="39" y="1464"/>
                  </a:cubicBezTo>
                  <a:cubicBezTo>
                    <a:pt x="39" y="1464"/>
                    <a:pt x="77" y="1464"/>
                    <a:pt x="103" y="1477"/>
                  </a:cubicBezTo>
                  <a:cubicBezTo>
                    <a:pt x="129" y="1477"/>
                    <a:pt x="154" y="1438"/>
                    <a:pt x="167" y="1438"/>
                  </a:cubicBezTo>
                  <a:cubicBezTo>
                    <a:pt x="193" y="1425"/>
                    <a:pt x="244" y="1464"/>
                    <a:pt x="257" y="1477"/>
                  </a:cubicBezTo>
                  <a:cubicBezTo>
                    <a:pt x="283" y="1489"/>
                    <a:pt x="321" y="1489"/>
                    <a:pt x="321" y="1489"/>
                  </a:cubicBezTo>
                  <a:cubicBezTo>
                    <a:pt x="848" y="1489"/>
                    <a:pt x="848" y="1489"/>
                    <a:pt x="848" y="1489"/>
                  </a:cubicBezTo>
                  <a:cubicBezTo>
                    <a:pt x="912" y="1554"/>
                    <a:pt x="912" y="1554"/>
                    <a:pt x="912" y="1554"/>
                  </a:cubicBezTo>
                  <a:cubicBezTo>
                    <a:pt x="912" y="1554"/>
                    <a:pt x="1079" y="1554"/>
                    <a:pt x="1092" y="1554"/>
                  </a:cubicBezTo>
                  <a:cubicBezTo>
                    <a:pt x="1105" y="1566"/>
                    <a:pt x="1156" y="1566"/>
                    <a:pt x="1169" y="1554"/>
                  </a:cubicBezTo>
                  <a:cubicBezTo>
                    <a:pt x="1182" y="1554"/>
                    <a:pt x="1233" y="1566"/>
                    <a:pt x="1233" y="1566"/>
                  </a:cubicBezTo>
                  <a:cubicBezTo>
                    <a:pt x="1233" y="1566"/>
                    <a:pt x="1477" y="1515"/>
                    <a:pt x="1477" y="1515"/>
                  </a:cubicBezTo>
                  <a:cubicBezTo>
                    <a:pt x="1464" y="1515"/>
                    <a:pt x="1297" y="1335"/>
                    <a:pt x="1297" y="1335"/>
                  </a:cubicBezTo>
                  <a:cubicBezTo>
                    <a:pt x="1297" y="912"/>
                    <a:pt x="1297" y="912"/>
                    <a:pt x="1297" y="912"/>
                  </a:cubicBezTo>
                  <a:cubicBezTo>
                    <a:pt x="1554" y="912"/>
                    <a:pt x="1554" y="912"/>
                    <a:pt x="1554" y="912"/>
                  </a:cubicBezTo>
                  <a:cubicBezTo>
                    <a:pt x="1541" y="860"/>
                    <a:pt x="1541" y="860"/>
                    <a:pt x="1541" y="860"/>
                  </a:cubicBezTo>
                  <a:cubicBezTo>
                    <a:pt x="1567" y="822"/>
                    <a:pt x="1567" y="822"/>
                    <a:pt x="1567" y="822"/>
                  </a:cubicBezTo>
                  <a:cubicBezTo>
                    <a:pt x="1567" y="822"/>
                    <a:pt x="1554" y="783"/>
                    <a:pt x="1554" y="770"/>
                  </a:cubicBezTo>
                </a:path>
              </a:pathLst>
            </a:custGeom>
            <a:grpFill/>
            <a:ln w="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891045"/>
              <a:endParaRPr lang="en-US" sz="1700" dirty="0">
                <a:solidFill>
                  <a:srgbClr val="003149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485" name="Freeform 298"/>
            <p:cNvSpPr>
              <a:spLocks/>
            </p:cNvSpPr>
            <p:nvPr/>
          </p:nvSpPr>
          <p:spPr bwMode="gray">
            <a:xfrm>
              <a:off x="4360" y="3099"/>
              <a:ext cx="159" cy="158"/>
            </a:xfrm>
            <a:custGeom>
              <a:avLst/>
              <a:gdLst>
                <a:gd name="T0" fmla="*/ 157 w 159"/>
                <a:gd name="T1" fmla="*/ 78 h 158"/>
                <a:gd name="T2" fmla="*/ 157 w 159"/>
                <a:gd name="T3" fmla="*/ 65 h 158"/>
                <a:gd name="T4" fmla="*/ 148 w 159"/>
                <a:gd name="T5" fmla="*/ 66 h 158"/>
                <a:gd name="T6" fmla="*/ 139 w 159"/>
                <a:gd name="T7" fmla="*/ 67 h 158"/>
                <a:gd name="T8" fmla="*/ 134 w 159"/>
                <a:gd name="T9" fmla="*/ 68 h 158"/>
                <a:gd name="T10" fmla="*/ 135 w 159"/>
                <a:gd name="T11" fmla="*/ 62 h 158"/>
                <a:gd name="T12" fmla="*/ 133 w 159"/>
                <a:gd name="T13" fmla="*/ 50 h 158"/>
                <a:gd name="T14" fmla="*/ 130 w 159"/>
                <a:gd name="T15" fmla="*/ 36 h 158"/>
                <a:gd name="T16" fmla="*/ 129 w 159"/>
                <a:gd name="T17" fmla="*/ 28 h 158"/>
                <a:gd name="T18" fmla="*/ 129 w 159"/>
                <a:gd name="T19" fmla="*/ 19 h 158"/>
                <a:gd name="T20" fmla="*/ 113 w 159"/>
                <a:gd name="T21" fmla="*/ 18 h 158"/>
                <a:gd name="T22" fmla="*/ 115 w 159"/>
                <a:gd name="T23" fmla="*/ 13 h 158"/>
                <a:gd name="T24" fmla="*/ 102 w 159"/>
                <a:gd name="T25" fmla="*/ 15 h 158"/>
                <a:gd name="T26" fmla="*/ 99 w 159"/>
                <a:gd name="T27" fmla="*/ 23 h 158"/>
                <a:gd name="T28" fmla="*/ 98 w 159"/>
                <a:gd name="T29" fmla="*/ 27 h 158"/>
                <a:gd name="T30" fmla="*/ 87 w 159"/>
                <a:gd name="T31" fmla="*/ 27 h 158"/>
                <a:gd name="T32" fmla="*/ 76 w 159"/>
                <a:gd name="T33" fmla="*/ 28 h 158"/>
                <a:gd name="T34" fmla="*/ 68 w 159"/>
                <a:gd name="T35" fmla="*/ 17 h 158"/>
                <a:gd name="T36" fmla="*/ 63 w 159"/>
                <a:gd name="T37" fmla="*/ 1 h 158"/>
                <a:gd name="T38" fmla="*/ 19 w 159"/>
                <a:gd name="T39" fmla="*/ 0 h 158"/>
                <a:gd name="T40" fmla="*/ 10 w 159"/>
                <a:gd name="T41" fmla="*/ 2 h 158"/>
                <a:gd name="T42" fmla="*/ 16 w 159"/>
                <a:gd name="T43" fmla="*/ 18 h 158"/>
                <a:gd name="T44" fmla="*/ 20 w 159"/>
                <a:gd name="T45" fmla="*/ 31 h 158"/>
                <a:gd name="T46" fmla="*/ 17 w 159"/>
                <a:gd name="T47" fmla="*/ 41 h 158"/>
                <a:gd name="T48" fmla="*/ 25 w 159"/>
                <a:gd name="T49" fmla="*/ 58 h 158"/>
                <a:gd name="T50" fmla="*/ 26 w 159"/>
                <a:gd name="T51" fmla="*/ 76 h 158"/>
                <a:gd name="T52" fmla="*/ 17 w 159"/>
                <a:gd name="T53" fmla="*/ 89 h 158"/>
                <a:gd name="T54" fmla="*/ 11 w 159"/>
                <a:gd name="T55" fmla="*/ 104 h 158"/>
                <a:gd name="T56" fmla="*/ 6 w 159"/>
                <a:gd name="T57" fmla="*/ 120 h 158"/>
                <a:gd name="T58" fmla="*/ 2 w 159"/>
                <a:gd name="T59" fmla="*/ 132 h 158"/>
                <a:gd name="T60" fmla="*/ 0 w 159"/>
                <a:gd name="T61" fmla="*/ 149 h 158"/>
                <a:gd name="T62" fmla="*/ 4 w 159"/>
                <a:gd name="T63" fmla="*/ 148 h 158"/>
                <a:gd name="T64" fmla="*/ 11 w 159"/>
                <a:gd name="T65" fmla="*/ 149 h 158"/>
                <a:gd name="T66" fmla="*/ 17 w 159"/>
                <a:gd name="T67" fmla="*/ 145 h 158"/>
                <a:gd name="T68" fmla="*/ 26 w 159"/>
                <a:gd name="T69" fmla="*/ 149 h 158"/>
                <a:gd name="T70" fmla="*/ 33 w 159"/>
                <a:gd name="T71" fmla="*/ 150 h 158"/>
                <a:gd name="T72" fmla="*/ 86 w 159"/>
                <a:gd name="T73" fmla="*/ 150 h 158"/>
                <a:gd name="T74" fmla="*/ 93 w 159"/>
                <a:gd name="T75" fmla="*/ 157 h 158"/>
                <a:gd name="T76" fmla="*/ 111 w 159"/>
                <a:gd name="T77" fmla="*/ 157 h 158"/>
                <a:gd name="T78" fmla="*/ 118 w 159"/>
                <a:gd name="T79" fmla="*/ 157 h 158"/>
                <a:gd name="T80" fmla="*/ 125 w 159"/>
                <a:gd name="T81" fmla="*/ 158 h 158"/>
                <a:gd name="T82" fmla="*/ 150 w 159"/>
                <a:gd name="T83" fmla="*/ 153 h 158"/>
                <a:gd name="T84" fmla="*/ 131 w 159"/>
                <a:gd name="T85" fmla="*/ 135 h 158"/>
                <a:gd name="T86" fmla="*/ 131 w 159"/>
                <a:gd name="T87" fmla="*/ 92 h 158"/>
                <a:gd name="T88" fmla="*/ 157 w 159"/>
                <a:gd name="T89" fmla="*/ 92 h 158"/>
                <a:gd name="T90" fmla="*/ 156 w 159"/>
                <a:gd name="T91" fmla="*/ 87 h 158"/>
                <a:gd name="T92" fmla="*/ 159 w 159"/>
                <a:gd name="T93" fmla="*/ 83 h 158"/>
                <a:gd name="T94" fmla="*/ 157 w 159"/>
                <a:gd name="T95" fmla="*/ 78 h 158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159"/>
                <a:gd name="T145" fmla="*/ 0 h 158"/>
                <a:gd name="T146" fmla="*/ 159 w 159"/>
                <a:gd name="T147" fmla="*/ 158 h 158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159" h="158">
                  <a:moveTo>
                    <a:pt x="157" y="78"/>
                  </a:moveTo>
                  <a:cubicBezTo>
                    <a:pt x="157" y="75"/>
                    <a:pt x="157" y="65"/>
                    <a:pt x="157" y="65"/>
                  </a:cubicBezTo>
                  <a:cubicBezTo>
                    <a:pt x="155" y="66"/>
                    <a:pt x="150" y="66"/>
                    <a:pt x="148" y="66"/>
                  </a:cubicBezTo>
                  <a:cubicBezTo>
                    <a:pt x="147" y="66"/>
                    <a:pt x="139" y="67"/>
                    <a:pt x="139" y="67"/>
                  </a:cubicBezTo>
                  <a:cubicBezTo>
                    <a:pt x="134" y="68"/>
                    <a:pt x="134" y="68"/>
                    <a:pt x="134" y="68"/>
                  </a:cubicBezTo>
                  <a:cubicBezTo>
                    <a:pt x="134" y="68"/>
                    <a:pt x="134" y="63"/>
                    <a:pt x="135" y="62"/>
                  </a:cubicBezTo>
                  <a:cubicBezTo>
                    <a:pt x="137" y="61"/>
                    <a:pt x="134" y="52"/>
                    <a:pt x="133" y="50"/>
                  </a:cubicBezTo>
                  <a:cubicBezTo>
                    <a:pt x="130" y="49"/>
                    <a:pt x="129" y="39"/>
                    <a:pt x="130" y="36"/>
                  </a:cubicBezTo>
                  <a:cubicBezTo>
                    <a:pt x="131" y="35"/>
                    <a:pt x="130" y="30"/>
                    <a:pt x="129" y="28"/>
                  </a:cubicBezTo>
                  <a:cubicBezTo>
                    <a:pt x="129" y="26"/>
                    <a:pt x="129" y="21"/>
                    <a:pt x="129" y="19"/>
                  </a:cubicBezTo>
                  <a:cubicBezTo>
                    <a:pt x="129" y="17"/>
                    <a:pt x="113" y="18"/>
                    <a:pt x="113" y="18"/>
                  </a:cubicBezTo>
                  <a:cubicBezTo>
                    <a:pt x="115" y="13"/>
                    <a:pt x="115" y="13"/>
                    <a:pt x="115" y="13"/>
                  </a:cubicBezTo>
                  <a:cubicBezTo>
                    <a:pt x="102" y="15"/>
                    <a:pt x="102" y="15"/>
                    <a:pt x="102" y="15"/>
                  </a:cubicBezTo>
                  <a:cubicBezTo>
                    <a:pt x="99" y="23"/>
                    <a:pt x="99" y="23"/>
                    <a:pt x="99" y="23"/>
                  </a:cubicBezTo>
                  <a:cubicBezTo>
                    <a:pt x="98" y="27"/>
                    <a:pt x="98" y="27"/>
                    <a:pt x="98" y="27"/>
                  </a:cubicBezTo>
                  <a:cubicBezTo>
                    <a:pt x="98" y="27"/>
                    <a:pt x="89" y="27"/>
                    <a:pt x="87" y="27"/>
                  </a:cubicBezTo>
                  <a:cubicBezTo>
                    <a:pt x="86" y="28"/>
                    <a:pt x="76" y="28"/>
                    <a:pt x="76" y="28"/>
                  </a:cubicBezTo>
                  <a:cubicBezTo>
                    <a:pt x="76" y="28"/>
                    <a:pt x="68" y="19"/>
                    <a:pt x="68" y="17"/>
                  </a:cubicBezTo>
                  <a:cubicBezTo>
                    <a:pt x="68" y="13"/>
                    <a:pt x="63" y="1"/>
                    <a:pt x="63" y="1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16" y="18"/>
                    <a:pt x="16" y="18"/>
                    <a:pt x="16" y="18"/>
                  </a:cubicBezTo>
                  <a:cubicBezTo>
                    <a:pt x="16" y="18"/>
                    <a:pt x="20" y="27"/>
                    <a:pt x="20" y="31"/>
                  </a:cubicBezTo>
                  <a:cubicBezTo>
                    <a:pt x="20" y="35"/>
                    <a:pt x="17" y="40"/>
                    <a:pt x="17" y="41"/>
                  </a:cubicBezTo>
                  <a:cubicBezTo>
                    <a:pt x="17" y="43"/>
                    <a:pt x="21" y="52"/>
                    <a:pt x="25" y="58"/>
                  </a:cubicBezTo>
                  <a:cubicBezTo>
                    <a:pt x="28" y="63"/>
                    <a:pt x="28" y="72"/>
                    <a:pt x="26" y="76"/>
                  </a:cubicBezTo>
                  <a:cubicBezTo>
                    <a:pt x="25" y="82"/>
                    <a:pt x="21" y="87"/>
                    <a:pt x="17" y="89"/>
                  </a:cubicBezTo>
                  <a:cubicBezTo>
                    <a:pt x="12" y="92"/>
                    <a:pt x="12" y="101"/>
                    <a:pt x="11" y="104"/>
                  </a:cubicBezTo>
                  <a:cubicBezTo>
                    <a:pt x="10" y="106"/>
                    <a:pt x="8" y="113"/>
                    <a:pt x="6" y="120"/>
                  </a:cubicBezTo>
                  <a:cubicBezTo>
                    <a:pt x="3" y="127"/>
                    <a:pt x="0" y="130"/>
                    <a:pt x="2" y="132"/>
                  </a:cubicBezTo>
                  <a:cubicBezTo>
                    <a:pt x="3" y="135"/>
                    <a:pt x="0" y="149"/>
                    <a:pt x="0" y="149"/>
                  </a:cubicBezTo>
                  <a:cubicBezTo>
                    <a:pt x="4" y="148"/>
                    <a:pt x="4" y="148"/>
                    <a:pt x="4" y="148"/>
                  </a:cubicBezTo>
                  <a:cubicBezTo>
                    <a:pt x="4" y="148"/>
                    <a:pt x="8" y="148"/>
                    <a:pt x="11" y="149"/>
                  </a:cubicBezTo>
                  <a:cubicBezTo>
                    <a:pt x="14" y="149"/>
                    <a:pt x="16" y="145"/>
                    <a:pt x="17" y="145"/>
                  </a:cubicBezTo>
                  <a:cubicBezTo>
                    <a:pt x="20" y="144"/>
                    <a:pt x="25" y="148"/>
                    <a:pt x="26" y="149"/>
                  </a:cubicBezTo>
                  <a:cubicBezTo>
                    <a:pt x="29" y="150"/>
                    <a:pt x="33" y="150"/>
                    <a:pt x="33" y="150"/>
                  </a:cubicBezTo>
                  <a:cubicBezTo>
                    <a:pt x="86" y="150"/>
                    <a:pt x="86" y="150"/>
                    <a:pt x="86" y="150"/>
                  </a:cubicBezTo>
                  <a:cubicBezTo>
                    <a:pt x="93" y="157"/>
                    <a:pt x="93" y="157"/>
                    <a:pt x="93" y="157"/>
                  </a:cubicBezTo>
                  <a:cubicBezTo>
                    <a:pt x="93" y="157"/>
                    <a:pt x="109" y="157"/>
                    <a:pt x="111" y="157"/>
                  </a:cubicBezTo>
                  <a:cubicBezTo>
                    <a:pt x="112" y="158"/>
                    <a:pt x="117" y="158"/>
                    <a:pt x="118" y="157"/>
                  </a:cubicBezTo>
                  <a:cubicBezTo>
                    <a:pt x="120" y="157"/>
                    <a:pt x="125" y="158"/>
                    <a:pt x="125" y="158"/>
                  </a:cubicBezTo>
                  <a:cubicBezTo>
                    <a:pt x="125" y="158"/>
                    <a:pt x="150" y="153"/>
                    <a:pt x="150" y="153"/>
                  </a:cubicBezTo>
                  <a:cubicBezTo>
                    <a:pt x="148" y="153"/>
                    <a:pt x="131" y="135"/>
                    <a:pt x="131" y="135"/>
                  </a:cubicBezTo>
                  <a:cubicBezTo>
                    <a:pt x="131" y="92"/>
                    <a:pt x="131" y="92"/>
                    <a:pt x="131" y="92"/>
                  </a:cubicBezTo>
                  <a:cubicBezTo>
                    <a:pt x="157" y="92"/>
                    <a:pt x="157" y="92"/>
                    <a:pt x="157" y="92"/>
                  </a:cubicBezTo>
                  <a:cubicBezTo>
                    <a:pt x="156" y="87"/>
                    <a:pt x="156" y="87"/>
                    <a:pt x="156" y="87"/>
                  </a:cubicBezTo>
                  <a:cubicBezTo>
                    <a:pt x="159" y="83"/>
                    <a:pt x="159" y="83"/>
                    <a:pt x="159" y="83"/>
                  </a:cubicBezTo>
                  <a:cubicBezTo>
                    <a:pt x="159" y="83"/>
                    <a:pt x="157" y="79"/>
                    <a:pt x="157" y="78"/>
                  </a:cubicBezTo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891045"/>
              <a:endParaRPr lang="en-US" sz="1700" dirty="0">
                <a:solidFill>
                  <a:srgbClr val="003149"/>
                </a:solidFill>
                <a:cs typeface="Arial" panose="020B0604020202020204" pitchFamily="34" charset="0"/>
              </a:endParaRPr>
            </a:p>
          </p:txBody>
        </p:sp>
      </p:grpSp>
      <p:grpSp>
        <p:nvGrpSpPr>
          <p:cNvPr id="486" name="Group 299"/>
          <p:cNvGrpSpPr>
            <a:grpSpLocks/>
          </p:cNvGrpSpPr>
          <p:nvPr/>
        </p:nvGrpSpPr>
        <p:grpSpPr bwMode="gray">
          <a:xfrm>
            <a:off x="1543837" y="2668226"/>
            <a:ext cx="218726" cy="200447"/>
            <a:chOff x="4492" y="3127"/>
            <a:chExt cx="149" cy="130"/>
          </a:xfrm>
          <a:solidFill>
            <a:schemeClr val="accent3"/>
          </a:solidFill>
        </p:grpSpPr>
        <p:sp>
          <p:nvSpPr>
            <p:cNvPr id="487" name="Freeform 300"/>
            <p:cNvSpPr>
              <a:spLocks/>
            </p:cNvSpPr>
            <p:nvPr/>
          </p:nvSpPr>
          <p:spPr bwMode="gray">
            <a:xfrm>
              <a:off x="4492" y="3127"/>
              <a:ext cx="149" cy="130"/>
            </a:xfrm>
            <a:custGeom>
              <a:avLst/>
              <a:gdLst>
                <a:gd name="T0" fmla="*/ 0 w 1475"/>
                <a:gd name="T1" fmla="*/ 0 h 1283"/>
                <a:gd name="T2" fmla="*/ 0 w 1475"/>
                <a:gd name="T3" fmla="*/ 0 h 1283"/>
                <a:gd name="T4" fmla="*/ 0 w 1475"/>
                <a:gd name="T5" fmla="*/ 0 h 1283"/>
                <a:gd name="T6" fmla="*/ 0 w 1475"/>
                <a:gd name="T7" fmla="*/ 0 h 1283"/>
                <a:gd name="T8" fmla="*/ 0 w 1475"/>
                <a:gd name="T9" fmla="*/ 0 h 1283"/>
                <a:gd name="T10" fmla="*/ 0 w 1475"/>
                <a:gd name="T11" fmla="*/ 0 h 1283"/>
                <a:gd name="T12" fmla="*/ 0 w 1475"/>
                <a:gd name="T13" fmla="*/ 0 h 1283"/>
                <a:gd name="T14" fmla="*/ 0 w 1475"/>
                <a:gd name="T15" fmla="*/ 0 h 1283"/>
                <a:gd name="T16" fmla="*/ 0 w 1475"/>
                <a:gd name="T17" fmla="*/ 0 h 1283"/>
                <a:gd name="T18" fmla="*/ 0 w 1475"/>
                <a:gd name="T19" fmla="*/ 0 h 1283"/>
                <a:gd name="T20" fmla="*/ 0 w 1475"/>
                <a:gd name="T21" fmla="*/ 0 h 1283"/>
                <a:gd name="T22" fmla="*/ 0 w 1475"/>
                <a:gd name="T23" fmla="*/ 0 h 1283"/>
                <a:gd name="T24" fmla="*/ 0 w 1475"/>
                <a:gd name="T25" fmla="*/ 0 h 1283"/>
                <a:gd name="T26" fmla="*/ 0 w 1475"/>
                <a:gd name="T27" fmla="*/ 0 h 1283"/>
                <a:gd name="T28" fmla="*/ 0 w 1475"/>
                <a:gd name="T29" fmla="*/ 0 h 1283"/>
                <a:gd name="T30" fmla="*/ 0 w 1475"/>
                <a:gd name="T31" fmla="*/ 0 h 1283"/>
                <a:gd name="T32" fmla="*/ 0 w 1475"/>
                <a:gd name="T33" fmla="*/ 0 h 1283"/>
                <a:gd name="T34" fmla="*/ 0 w 1475"/>
                <a:gd name="T35" fmla="*/ 0 h 1283"/>
                <a:gd name="T36" fmla="*/ 0 w 1475"/>
                <a:gd name="T37" fmla="*/ 0 h 1283"/>
                <a:gd name="T38" fmla="*/ 0 w 1475"/>
                <a:gd name="T39" fmla="*/ 0 h 1283"/>
                <a:gd name="T40" fmla="*/ 0 w 1475"/>
                <a:gd name="T41" fmla="*/ 0 h 1283"/>
                <a:gd name="T42" fmla="*/ 0 w 1475"/>
                <a:gd name="T43" fmla="*/ 0 h 1283"/>
                <a:gd name="T44" fmla="*/ 0 w 1475"/>
                <a:gd name="T45" fmla="*/ 0 h 1283"/>
                <a:gd name="T46" fmla="*/ 0 w 1475"/>
                <a:gd name="T47" fmla="*/ 0 h 1283"/>
                <a:gd name="T48" fmla="*/ 0 w 1475"/>
                <a:gd name="T49" fmla="*/ 0 h 1283"/>
                <a:gd name="T50" fmla="*/ 0 w 1475"/>
                <a:gd name="T51" fmla="*/ 0 h 1283"/>
                <a:gd name="T52" fmla="*/ 0 w 1475"/>
                <a:gd name="T53" fmla="*/ 0 h 1283"/>
                <a:gd name="T54" fmla="*/ 0 w 1475"/>
                <a:gd name="T55" fmla="*/ 0 h 1283"/>
                <a:gd name="T56" fmla="*/ 0 w 1475"/>
                <a:gd name="T57" fmla="*/ 0 h 1283"/>
                <a:gd name="T58" fmla="*/ 0 w 1475"/>
                <a:gd name="T59" fmla="*/ 0 h 1283"/>
                <a:gd name="T60" fmla="*/ 0 w 1475"/>
                <a:gd name="T61" fmla="*/ 0 h 1283"/>
                <a:gd name="T62" fmla="*/ 0 w 1475"/>
                <a:gd name="T63" fmla="*/ 0 h 1283"/>
                <a:gd name="T64" fmla="*/ 0 w 1475"/>
                <a:gd name="T65" fmla="*/ 0 h 1283"/>
                <a:gd name="T66" fmla="*/ 0 w 1475"/>
                <a:gd name="T67" fmla="*/ 0 h 1283"/>
                <a:gd name="T68" fmla="*/ 0 w 1475"/>
                <a:gd name="T69" fmla="*/ 0 h 1283"/>
                <a:gd name="T70" fmla="*/ 0 w 1475"/>
                <a:gd name="T71" fmla="*/ 0 h 1283"/>
                <a:gd name="T72" fmla="*/ 0 w 1475"/>
                <a:gd name="T73" fmla="*/ 0 h 1283"/>
                <a:gd name="T74" fmla="*/ 0 w 1475"/>
                <a:gd name="T75" fmla="*/ 0 h 1283"/>
                <a:gd name="T76" fmla="*/ 0 w 1475"/>
                <a:gd name="T77" fmla="*/ 0 h 1283"/>
                <a:gd name="T78" fmla="*/ 0 w 1475"/>
                <a:gd name="T79" fmla="*/ 0 h 1283"/>
                <a:gd name="T80" fmla="*/ 0 w 1475"/>
                <a:gd name="T81" fmla="*/ 0 h 1283"/>
                <a:gd name="T82" fmla="*/ 0 w 1475"/>
                <a:gd name="T83" fmla="*/ 0 h 1283"/>
                <a:gd name="T84" fmla="*/ 0 w 1475"/>
                <a:gd name="T85" fmla="*/ 0 h 1283"/>
                <a:gd name="T86" fmla="*/ 0 w 1475"/>
                <a:gd name="T87" fmla="*/ 0 h 1283"/>
                <a:gd name="T88" fmla="*/ 0 w 1475"/>
                <a:gd name="T89" fmla="*/ 0 h 1283"/>
                <a:gd name="T90" fmla="*/ 0 w 1475"/>
                <a:gd name="T91" fmla="*/ 0 h 1283"/>
                <a:gd name="T92" fmla="*/ 0 w 1475"/>
                <a:gd name="T93" fmla="*/ 0 h 1283"/>
                <a:gd name="T94" fmla="*/ 0 w 1475"/>
                <a:gd name="T95" fmla="*/ 0 h 1283"/>
                <a:gd name="T96" fmla="*/ 0 w 1475"/>
                <a:gd name="T97" fmla="*/ 0 h 1283"/>
                <a:gd name="T98" fmla="*/ 0 w 1475"/>
                <a:gd name="T99" fmla="*/ 0 h 1283"/>
                <a:gd name="T100" fmla="*/ 0 w 1475"/>
                <a:gd name="T101" fmla="*/ 0 h 1283"/>
                <a:gd name="T102" fmla="*/ 0 w 1475"/>
                <a:gd name="T103" fmla="*/ 0 h 1283"/>
                <a:gd name="T104" fmla="*/ 0 w 1475"/>
                <a:gd name="T105" fmla="*/ 0 h 1283"/>
                <a:gd name="T106" fmla="*/ 0 w 1475"/>
                <a:gd name="T107" fmla="*/ 0 h 1283"/>
                <a:gd name="T108" fmla="*/ 0 w 1475"/>
                <a:gd name="T109" fmla="*/ 0 h 1283"/>
                <a:gd name="T110" fmla="*/ 0 w 1475"/>
                <a:gd name="T111" fmla="*/ 0 h 1283"/>
                <a:gd name="T112" fmla="*/ 0 w 1475"/>
                <a:gd name="T113" fmla="*/ 0 h 1283"/>
                <a:gd name="T114" fmla="*/ 0 w 1475"/>
                <a:gd name="T115" fmla="*/ 0 h 1283"/>
                <a:gd name="T116" fmla="*/ 0 w 1475"/>
                <a:gd name="T117" fmla="*/ 0 h 1283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1475"/>
                <a:gd name="T178" fmla="*/ 0 h 1283"/>
                <a:gd name="T179" fmla="*/ 1475 w 1475"/>
                <a:gd name="T180" fmla="*/ 1283 h 1283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1475" h="1283">
                  <a:moveTo>
                    <a:pt x="1424" y="398"/>
                  </a:moveTo>
                  <a:cubicBezTo>
                    <a:pt x="1424" y="334"/>
                    <a:pt x="1424" y="334"/>
                    <a:pt x="1424" y="334"/>
                  </a:cubicBezTo>
                  <a:cubicBezTo>
                    <a:pt x="1475" y="308"/>
                    <a:pt x="1475" y="308"/>
                    <a:pt x="1475" y="308"/>
                  </a:cubicBezTo>
                  <a:cubicBezTo>
                    <a:pt x="1449" y="244"/>
                    <a:pt x="1449" y="244"/>
                    <a:pt x="1449" y="244"/>
                  </a:cubicBezTo>
                  <a:cubicBezTo>
                    <a:pt x="1424" y="205"/>
                    <a:pt x="1424" y="205"/>
                    <a:pt x="1424" y="205"/>
                  </a:cubicBezTo>
                  <a:cubicBezTo>
                    <a:pt x="1424" y="205"/>
                    <a:pt x="1385" y="180"/>
                    <a:pt x="1385" y="167"/>
                  </a:cubicBezTo>
                  <a:cubicBezTo>
                    <a:pt x="1360" y="154"/>
                    <a:pt x="1257" y="103"/>
                    <a:pt x="1219" y="77"/>
                  </a:cubicBezTo>
                  <a:cubicBezTo>
                    <a:pt x="1180" y="51"/>
                    <a:pt x="1103" y="0"/>
                    <a:pt x="1103" y="0"/>
                  </a:cubicBezTo>
                  <a:cubicBezTo>
                    <a:pt x="872" y="51"/>
                    <a:pt x="872" y="51"/>
                    <a:pt x="872" y="51"/>
                  </a:cubicBezTo>
                  <a:cubicBezTo>
                    <a:pt x="872" y="51"/>
                    <a:pt x="872" y="103"/>
                    <a:pt x="859" y="103"/>
                  </a:cubicBezTo>
                  <a:cubicBezTo>
                    <a:pt x="834" y="103"/>
                    <a:pt x="808" y="141"/>
                    <a:pt x="808" y="141"/>
                  </a:cubicBezTo>
                  <a:cubicBezTo>
                    <a:pt x="808" y="141"/>
                    <a:pt x="834" y="154"/>
                    <a:pt x="834" y="193"/>
                  </a:cubicBezTo>
                  <a:cubicBezTo>
                    <a:pt x="834" y="231"/>
                    <a:pt x="847" y="308"/>
                    <a:pt x="847" y="321"/>
                  </a:cubicBezTo>
                  <a:cubicBezTo>
                    <a:pt x="834" y="334"/>
                    <a:pt x="821" y="398"/>
                    <a:pt x="821" y="424"/>
                  </a:cubicBezTo>
                  <a:cubicBezTo>
                    <a:pt x="808" y="462"/>
                    <a:pt x="872" y="513"/>
                    <a:pt x="872" y="513"/>
                  </a:cubicBezTo>
                  <a:cubicBezTo>
                    <a:pt x="911" y="539"/>
                    <a:pt x="911" y="539"/>
                    <a:pt x="911" y="539"/>
                  </a:cubicBezTo>
                  <a:cubicBezTo>
                    <a:pt x="962" y="552"/>
                    <a:pt x="962" y="552"/>
                    <a:pt x="962" y="552"/>
                  </a:cubicBezTo>
                  <a:cubicBezTo>
                    <a:pt x="962" y="552"/>
                    <a:pt x="949" y="513"/>
                    <a:pt x="975" y="513"/>
                  </a:cubicBezTo>
                  <a:cubicBezTo>
                    <a:pt x="988" y="513"/>
                    <a:pt x="988" y="513"/>
                    <a:pt x="988" y="513"/>
                  </a:cubicBezTo>
                  <a:cubicBezTo>
                    <a:pt x="988" y="680"/>
                    <a:pt x="988" y="680"/>
                    <a:pt x="988" y="680"/>
                  </a:cubicBezTo>
                  <a:cubicBezTo>
                    <a:pt x="962" y="680"/>
                    <a:pt x="962" y="680"/>
                    <a:pt x="962" y="680"/>
                  </a:cubicBezTo>
                  <a:cubicBezTo>
                    <a:pt x="962" y="680"/>
                    <a:pt x="975" y="642"/>
                    <a:pt x="949" y="655"/>
                  </a:cubicBezTo>
                  <a:cubicBezTo>
                    <a:pt x="911" y="667"/>
                    <a:pt x="885" y="693"/>
                    <a:pt x="885" y="667"/>
                  </a:cubicBezTo>
                  <a:cubicBezTo>
                    <a:pt x="872" y="642"/>
                    <a:pt x="847" y="603"/>
                    <a:pt x="834" y="590"/>
                  </a:cubicBezTo>
                  <a:cubicBezTo>
                    <a:pt x="808" y="590"/>
                    <a:pt x="757" y="552"/>
                    <a:pt x="744" y="552"/>
                  </a:cubicBezTo>
                  <a:cubicBezTo>
                    <a:pt x="718" y="539"/>
                    <a:pt x="680" y="462"/>
                    <a:pt x="680" y="462"/>
                  </a:cubicBezTo>
                  <a:cubicBezTo>
                    <a:pt x="680" y="462"/>
                    <a:pt x="629" y="424"/>
                    <a:pt x="629" y="449"/>
                  </a:cubicBezTo>
                  <a:cubicBezTo>
                    <a:pt x="629" y="462"/>
                    <a:pt x="616" y="501"/>
                    <a:pt x="603" y="488"/>
                  </a:cubicBezTo>
                  <a:cubicBezTo>
                    <a:pt x="577" y="488"/>
                    <a:pt x="513" y="488"/>
                    <a:pt x="488" y="475"/>
                  </a:cubicBezTo>
                  <a:cubicBezTo>
                    <a:pt x="462" y="462"/>
                    <a:pt x="423" y="449"/>
                    <a:pt x="423" y="436"/>
                  </a:cubicBezTo>
                  <a:cubicBezTo>
                    <a:pt x="423" y="424"/>
                    <a:pt x="423" y="385"/>
                    <a:pt x="423" y="385"/>
                  </a:cubicBezTo>
                  <a:cubicBezTo>
                    <a:pt x="346" y="411"/>
                    <a:pt x="346" y="411"/>
                    <a:pt x="346" y="411"/>
                  </a:cubicBezTo>
                  <a:cubicBezTo>
                    <a:pt x="346" y="411"/>
                    <a:pt x="295" y="436"/>
                    <a:pt x="295" y="411"/>
                  </a:cubicBezTo>
                  <a:cubicBezTo>
                    <a:pt x="295" y="385"/>
                    <a:pt x="269" y="347"/>
                    <a:pt x="257" y="359"/>
                  </a:cubicBezTo>
                  <a:cubicBezTo>
                    <a:pt x="257" y="359"/>
                    <a:pt x="257" y="449"/>
                    <a:pt x="257" y="475"/>
                  </a:cubicBezTo>
                  <a:cubicBezTo>
                    <a:pt x="257" y="501"/>
                    <a:pt x="269" y="526"/>
                    <a:pt x="269" y="526"/>
                  </a:cubicBezTo>
                  <a:cubicBezTo>
                    <a:pt x="244" y="578"/>
                    <a:pt x="244" y="578"/>
                    <a:pt x="244" y="578"/>
                  </a:cubicBezTo>
                  <a:cubicBezTo>
                    <a:pt x="257" y="616"/>
                    <a:pt x="257" y="616"/>
                    <a:pt x="257" y="616"/>
                  </a:cubicBezTo>
                  <a:cubicBezTo>
                    <a:pt x="0" y="629"/>
                    <a:pt x="0" y="629"/>
                    <a:pt x="0" y="629"/>
                  </a:cubicBezTo>
                  <a:cubicBezTo>
                    <a:pt x="0" y="1052"/>
                    <a:pt x="0" y="1052"/>
                    <a:pt x="0" y="1052"/>
                  </a:cubicBezTo>
                  <a:cubicBezTo>
                    <a:pt x="0" y="1052"/>
                    <a:pt x="167" y="1232"/>
                    <a:pt x="180" y="1232"/>
                  </a:cubicBezTo>
                  <a:cubicBezTo>
                    <a:pt x="180" y="1232"/>
                    <a:pt x="308" y="1219"/>
                    <a:pt x="321" y="1219"/>
                  </a:cubicBezTo>
                  <a:cubicBezTo>
                    <a:pt x="334" y="1219"/>
                    <a:pt x="411" y="1258"/>
                    <a:pt x="411" y="1258"/>
                  </a:cubicBezTo>
                  <a:cubicBezTo>
                    <a:pt x="411" y="1258"/>
                    <a:pt x="513" y="1283"/>
                    <a:pt x="526" y="1271"/>
                  </a:cubicBezTo>
                  <a:cubicBezTo>
                    <a:pt x="552" y="1271"/>
                    <a:pt x="590" y="1283"/>
                    <a:pt x="590" y="1283"/>
                  </a:cubicBezTo>
                  <a:cubicBezTo>
                    <a:pt x="590" y="1283"/>
                    <a:pt x="641" y="1258"/>
                    <a:pt x="667" y="1232"/>
                  </a:cubicBezTo>
                  <a:cubicBezTo>
                    <a:pt x="693" y="1194"/>
                    <a:pt x="731" y="1129"/>
                    <a:pt x="744" y="1129"/>
                  </a:cubicBezTo>
                  <a:cubicBezTo>
                    <a:pt x="757" y="1129"/>
                    <a:pt x="859" y="1078"/>
                    <a:pt x="859" y="1078"/>
                  </a:cubicBezTo>
                  <a:cubicBezTo>
                    <a:pt x="885" y="1001"/>
                    <a:pt x="885" y="1001"/>
                    <a:pt x="885" y="1001"/>
                  </a:cubicBezTo>
                  <a:cubicBezTo>
                    <a:pt x="885" y="1001"/>
                    <a:pt x="936" y="975"/>
                    <a:pt x="988" y="975"/>
                  </a:cubicBezTo>
                  <a:cubicBezTo>
                    <a:pt x="1026" y="975"/>
                    <a:pt x="1065" y="963"/>
                    <a:pt x="1065" y="963"/>
                  </a:cubicBezTo>
                  <a:cubicBezTo>
                    <a:pt x="1065" y="963"/>
                    <a:pt x="1039" y="911"/>
                    <a:pt x="1039" y="886"/>
                  </a:cubicBezTo>
                  <a:cubicBezTo>
                    <a:pt x="1052" y="860"/>
                    <a:pt x="1385" y="757"/>
                    <a:pt x="1385" y="757"/>
                  </a:cubicBezTo>
                  <a:cubicBezTo>
                    <a:pt x="1360" y="693"/>
                    <a:pt x="1360" y="693"/>
                    <a:pt x="1360" y="693"/>
                  </a:cubicBezTo>
                  <a:cubicBezTo>
                    <a:pt x="1360" y="693"/>
                    <a:pt x="1398" y="655"/>
                    <a:pt x="1398" y="629"/>
                  </a:cubicBezTo>
                  <a:cubicBezTo>
                    <a:pt x="1398" y="616"/>
                    <a:pt x="1398" y="578"/>
                    <a:pt x="1398" y="578"/>
                  </a:cubicBezTo>
                  <a:cubicBezTo>
                    <a:pt x="1449" y="539"/>
                    <a:pt x="1449" y="539"/>
                    <a:pt x="1449" y="539"/>
                  </a:cubicBezTo>
                  <a:cubicBezTo>
                    <a:pt x="1449" y="539"/>
                    <a:pt x="1437" y="488"/>
                    <a:pt x="1437" y="475"/>
                  </a:cubicBezTo>
                  <a:cubicBezTo>
                    <a:pt x="1437" y="462"/>
                    <a:pt x="1424" y="398"/>
                    <a:pt x="1424" y="398"/>
                  </a:cubicBezTo>
                </a:path>
              </a:pathLst>
            </a:custGeom>
            <a:grpFill/>
            <a:ln w="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891045"/>
              <a:endParaRPr lang="en-US" sz="1700" dirty="0">
                <a:solidFill>
                  <a:srgbClr val="003149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488" name="Freeform 301"/>
            <p:cNvSpPr>
              <a:spLocks/>
            </p:cNvSpPr>
            <p:nvPr/>
          </p:nvSpPr>
          <p:spPr bwMode="gray">
            <a:xfrm>
              <a:off x="4492" y="3127"/>
              <a:ext cx="149" cy="130"/>
            </a:xfrm>
            <a:custGeom>
              <a:avLst/>
              <a:gdLst>
                <a:gd name="T0" fmla="*/ 143 w 149"/>
                <a:gd name="T1" fmla="*/ 41 h 130"/>
                <a:gd name="T2" fmla="*/ 143 w 149"/>
                <a:gd name="T3" fmla="*/ 34 h 130"/>
                <a:gd name="T4" fmla="*/ 149 w 149"/>
                <a:gd name="T5" fmla="*/ 32 h 130"/>
                <a:gd name="T6" fmla="*/ 146 w 149"/>
                <a:gd name="T7" fmla="*/ 25 h 130"/>
                <a:gd name="T8" fmla="*/ 143 w 149"/>
                <a:gd name="T9" fmla="*/ 21 h 130"/>
                <a:gd name="T10" fmla="*/ 140 w 149"/>
                <a:gd name="T11" fmla="*/ 17 h 130"/>
                <a:gd name="T12" fmla="*/ 123 w 149"/>
                <a:gd name="T13" fmla="*/ 8 h 130"/>
                <a:gd name="T14" fmla="*/ 111 w 149"/>
                <a:gd name="T15" fmla="*/ 0 h 130"/>
                <a:gd name="T16" fmla="*/ 88 w 149"/>
                <a:gd name="T17" fmla="*/ 6 h 130"/>
                <a:gd name="T18" fmla="*/ 86 w 149"/>
                <a:gd name="T19" fmla="*/ 11 h 130"/>
                <a:gd name="T20" fmla="*/ 81 w 149"/>
                <a:gd name="T21" fmla="*/ 15 h 130"/>
                <a:gd name="T22" fmla="*/ 84 w 149"/>
                <a:gd name="T23" fmla="*/ 20 h 130"/>
                <a:gd name="T24" fmla="*/ 85 w 149"/>
                <a:gd name="T25" fmla="*/ 33 h 130"/>
                <a:gd name="T26" fmla="*/ 83 w 149"/>
                <a:gd name="T27" fmla="*/ 43 h 130"/>
                <a:gd name="T28" fmla="*/ 88 w 149"/>
                <a:gd name="T29" fmla="*/ 52 h 130"/>
                <a:gd name="T30" fmla="*/ 92 w 149"/>
                <a:gd name="T31" fmla="*/ 55 h 130"/>
                <a:gd name="T32" fmla="*/ 97 w 149"/>
                <a:gd name="T33" fmla="*/ 56 h 130"/>
                <a:gd name="T34" fmla="*/ 98 w 149"/>
                <a:gd name="T35" fmla="*/ 52 h 130"/>
                <a:gd name="T36" fmla="*/ 99 w 149"/>
                <a:gd name="T37" fmla="*/ 52 h 130"/>
                <a:gd name="T38" fmla="*/ 99 w 149"/>
                <a:gd name="T39" fmla="*/ 69 h 130"/>
                <a:gd name="T40" fmla="*/ 97 w 149"/>
                <a:gd name="T41" fmla="*/ 69 h 130"/>
                <a:gd name="T42" fmla="*/ 95 w 149"/>
                <a:gd name="T43" fmla="*/ 67 h 130"/>
                <a:gd name="T44" fmla="*/ 89 w 149"/>
                <a:gd name="T45" fmla="*/ 68 h 130"/>
                <a:gd name="T46" fmla="*/ 84 w 149"/>
                <a:gd name="T47" fmla="*/ 60 h 130"/>
                <a:gd name="T48" fmla="*/ 75 w 149"/>
                <a:gd name="T49" fmla="*/ 56 h 130"/>
                <a:gd name="T50" fmla="*/ 68 w 149"/>
                <a:gd name="T51" fmla="*/ 47 h 130"/>
                <a:gd name="T52" fmla="*/ 63 w 149"/>
                <a:gd name="T53" fmla="*/ 46 h 130"/>
                <a:gd name="T54" fmla="*/ 61 w 149"/>
                <a:gd name="T55" fmla="*/ 50 h 130"/>
                <a:gd name="T56" fmla="*/ 49 w 149"/>
                <a:gd name="T57" fmla="*/ 48 h 130"/>
                <a:gd name="T58" fmla="*/ 42 w 149"/>
                <a:gd name="T59" fmla="*/ 44 h 130"/>
                <a:gd name="T60" fmla="*/ 42 w 149"/>
                <a:gd name="T61" fmla="*/ 39 h 130"/>
                <a:gd name="T62" fmla="*/ 35 w 149"/>
                <a:gd name="T63" fmla="*/ 42 h 130"/>
                <a:gd name="T64" fmla="*/ 29 w 149"/>
                <a:gd name="T65" fmla="*/ 42 h 130"/>
                <a:gd name="T66" fmla="*/ 26 w 149"/>
                <a:gd name="T67" fmla="*/ 37 h 130"/>
                <a:gd name="T68" fmla="*/ 26 w 149"/>
                <a:gd name="T69" fmla="*/ 48 h 130"/>
                <a:gd name="T70" fmla="*/ 27 w 149"/>
                <a:gd name="T71" fmla="*/ 54 h 130"/>
                <a:gd name="T72" fmla="*/ 24 w 149"/>
                <a:gd name="T73" fmla="*/ 59 h 130"/>
                <a:gd name="T74" fmla="*/ 26 w 149"/>
                <a:gd name="T75" fmla="*/ 63 h 130"/>
                <a:gd name="T76" fmla="*/ 0 w 149"/>
                <a:gd name="T77" fmla="*/ 64 h 130"/>
                <a:gd name="T78" fmla="*/ 0 w 149"/>
                <a:gd name="T79" fmla="*/ 107 h 130"/>
                <a:gd name="T80" fmla="*/ 18 w 149"/>
                <a:gd name="T81" fmla="*/ 125 h 130"/>
                <a:gd name="T82" fmla="*/ 32 w 149"/>
                <a:gd name="T83" fmla="*/ 124 h 130"/>
                <a:gd name="T84" fmla="*/ 41 w 149"/>
                <a:gd name="T85" fmla="*/ 127 h 130"/>
                <a:gd name="T86" fmla="*/ 53 w 149"/>
                <a:gd name="T87" fmla="*/ 129 h 130"/>
                <a:gd name="T88" fmla="*/ 59 w 149"/>
                <a:gd name="T89" fmla="*/ 130 h 130"/>
                <a:gd name="T90" fmla="*/ 67 w 149"/>
                <a:gd name="T91" fmla="*/ 125 h 130"/>
                <a:gd name="T92" fmla="*/ 75 w 149"/>
                <a:gd name="T93" fmla="*/ 114 h 130"/>
                <a:gd name="T94" fmla="*/ 86 w 149"/>
                <a:gd name="T95" fmla="*/ 109 h 130"/>
                <a:gd name="T96" fmla="*/ 89 w 149"/>
                <a:gd name="T97" fmla="*/ 102 h 130"/>
                <a:gd name="T98" fmla="*/ 99 w 149"/>
                <a:gd name="T99" fmla="*/ 99 h 130"/>
                <a:gd name="T100" fmla="*/ 107 w 149"/>
                <a:gd name="T101" fmla="*/ 98 h 130"/>
                <a:gd name="T102" fmla="*/ 105 w 149"/>
                <a:gd name="T103" fmla="*/ 90 h 130"/>
                <a:gd name="T104" fmla="*/ 140 w 149"/>
                <a:gd name="T105" fmla="*/ 77 h 130"/>
                <a:gd name="T106" fmla="*/ 137 w 149"/>
                <a:gd name="T107" fmla="*/ 70 h 130"/>
                <a:gd name="T108" fmla="*/ 141 w 149"/>
                <a:gd name="T109" fmla="*/ 64 h 130"/>
                <a:gd name="T110" fmla="*/ 141 w 149"/>
                <a:gd name="T111" fmla="*/ 59 h 130"/>
                <a:gd name="T112" fmla="*/ 146 w 149"/>
                <a:gd name="T113" fmla="*/ 55 h 130"/>
                <a:gd name="T114" fmla="*/ 145 w 149"/>
                <a:gd name="T115" fmla="*/ 48 h 130"/>
                <a:gd name="T116" fmla="*/ 143 w 149"/>
                <a:gd name="T117" fmla="*/ 41 h 130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149"/>
                <a:gd name="T178" fmla="*/ 0 h 130"/>
                <a:gd name="T179" fmla="*/ 149 w 149"/>
                <a:gd name="T180" fmla="*/ 130 h 130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149" h="130">
                  <a:moveTo>
                    <a:pt x="143" y="41"/>
                  </a:moveTo>
                  <a:cubicBezTo>
                    <a:pt x="143" y="34"/>
                    <a:pt x="143" y="34"/>
                    <a:pt x="143" y="34"/>
                  </a:cubicBezTo>
                  <a:cubicBezTo>
                    <a:pt x="149" y="32"/>
                    <a:pt x="149" y="32"/>
                    <a:pt x="149" y="32"/>
                  </a:cubicBezTo>
                  <a:cubicBezTo>
                    <a:pt x="146" y="25"/>
                    <a:pt x="146" y="25"/>
                    <a:pt x="146" y="25"/>
                  </a:cubicBezTo>
                  <a:cubicBezTo>
                    <a:pt x="143" y="21"/>
                    <a:pt x="143" y="21"/>
                    <a:pt x="143" y="21"/>
                  </a:cubicBezTo>
                  <a:cubicBezTo>
                    <a:pt x="143" y="21"/>
                    <a:pt x="140" y="19"/>
                    <a:pt x="140" y="17"/>
                  </a:cubicBezTo>
                  <a:cubicBezTo>
                    <a:pt x="137" y="16"/>
                    <a:pt x="127" y="11"/>
                    <a:pt x="123" y="8"/>
                  </a:cubicBezTo>
                  <a:cubicBezTo>
                    <a:pt x="119" y="6"/>
                    <a:pt x="111" y="0"/>
                    <a:pt x="111" y="0"/>
                  </a:cubicBezTo>
                  <a:cubicBezTo>
                    <a:pt x="88" y="6"/>
                    <a:pt x="88" y="6"/>
                    <a:pt x="88" y="6"/>
                  </a:cubicBezTo>
                  <a:cubicBezTo>
                    <a:pt x="88" y="6"/>
                    <a:pt x="88" y="11"/>
                    <a:pt x="86" y="11"/>
                  </a:cubicBezTo>
                  <a:cubicBezTo>
                    <a:pt x="84" y="11"/>
                    <a:pt x="81" y="15"/>
                    <a:pt x="81" y="15"/>
                  </a:cubicBezTo>
                  <a:cubicBezTo>
                    <a:pt x="81" y="15"/>
                    <a:pt x="84" y="16"/>
                    <a:pt x="84" y="20"/>
                  </a:cubicBezTo>
                  <a:cubicBezTo>
                    <a:pt x="84" y="24"/>
                    <a:pt x="85" y="32"/>
                    <a:pt x="85" y="33"/>
                  </a:cubicBezTo>
                  <a:cubicBezTo>
                    <a:pt x="84" y="34"/>
                    <a:pt x="83" y="41"/>
                    <a:pt x="83" y="43"/>
                  </a:cubicBezTo>
                  <a:cubicBezTo>
                    <a:pt x="81" y="47"/>
                    <a:pt x="88" y="52"/>
                    <a:pt x="88" y="52"/>
                  </a:cubicBezTo>
                  <a:cubicBezTo>
                    <a:pt x="92" y="55"/>
                    <a:pt x="92" y="55"/>
                    <a:pt x="92" y="55"/>
                  </a:cubicBezTo>
                  <a:cubicBezTo>
                    <a:pt x="97" y="56"/>
                    <a:pt x="97" y="56"/>
                    <a:pt x="97" y="56"/>
                  </a:cubicBezTo>
                  <a:cubicBezTo>
                    <a:pt x="97" y="56"/>
                    <a:pt x="95" y="52"/>
                    <a:pt x="98" y="52"/>
                  </a:cubicBezTo>
                  <a:cubicBezTo>
                    <a:pt x="99" y="52"/>
                    <a:pt x="99" y="52"/>
                    <a:pt x="99" y="52"/>
                  </a:cubicBezTo>
                  <a:cubicBezTo>
                    <a:pt x="99" y="69"/>
                    <a:pt x="99" y="69"/>
                    <a:pt x="99" y="69"/>
                  </a:cubicBezTo>
                  <a:cubicBezTo>
                    <a:pt x="97" y="69"/>
                    <a:pt x="97" y="69"/>
                    <a:pt x="97" y="69"/>
                  </a:cubicBezTo>
                  <a:cubicBezTo>
                    <a:pt x="97" y="69"/>
                    <a:pt x="98" y="65"/>
                    <a:pt x="95" y="67"/>
                  </a:cubicBezTo>
                  <a:cubicBezTo>
                    <a:pt x="92" y="68"/>
                    <a:pt x="89" y="70"/>
                    <a:pt x="89" y="68"/>
                  </a:cubicBezTo>
                  <a:cubicBezTo>
                    <a:pt x="88" y="65"/>
                    <a:pt x="85" y="61"/>
                    <a:pt x="84" y="60"/>
                  </a:cubicBezTo>
                  <a:cubicBezTo>
                    <a:pt x="81" y="60"/>
                    <a:pt x="76" y="56"/>
                    <a:pt x="75" y="56"/>
                  </a:cubicBezTo>
                  <a:cubicBezTo>
                    <a:pt x="72" y="55"/>
                    <a:pt x="68" y="47"/>
                    <a:pt x="68" y="47"/>
                  </a:cubicBezTo>
                  <a:cubicBezTo>
                    <a:pt x="68" y="47"/>
                    <a:pt x="63" y="43"/>
                    <a:pt x="63" y="46"/>
                  </a:cubicBezTo>
                  <a:cubicBezTo>
                    <a:pt x="63" y="47"/>
                    <a:pt x="62" y="51"/>
                    <a:pt x="61" y="50"/>
                  </a:cubicBezTo>
                  <a:cubicBezTo>
                    <a:pt x="58" y="50"/>
                    <a:pt x="51" y="50"/>
                    <a:pt x="49" y="48"/>
                  </a:cubicBezTo>
                  <a:cubicBezTo>
                    <a:pt x="46" y="47"/>
                    <a:pt x="42" y="46"/>
                    <a:pt x="42" y="44"/>
                  </a:cubicBezTo>
                  <a:cubicBezTo>
                    <a:pt x="42" y="43"/>
                    <a:pt x="42" y="39"/>
                    <a:pt x="42" y="39"/>
                  </a:cubicBezTo>
                  <a:cubicBezTo>
                    <a:pt x="35" y="42"/>
                    <a:pt x="35" y="42"/>
                    <a:pt x="35" y="42"/>
                  </a:cubicBezTo>
                  <a:cubicBezTo>
                    <a:pt x="35" y="42"/>
                    <a:pt x="29" y="44"/>
                    <a:pt x="29" y="42"/>
                  </a:cubicBezTo>
                  <a:cubicBezTo>
                    <a:pt x="29" y="39"/>
                    <a:pt x="27" y="35"/>
                    <a:pt x="26" y="37"/>
                  </a:cubicBezTo>
                  <a:cubicBezTo>
                    <a:pt x="26" y="37"/>
                    <a:pt x="26" y="46"/>
                    <a:pt x="26" y="48"/>
                  </a:cubicBezTo>
                  <a:cubicBezTo>
                    <a:pt x="26" y="51"/>
                    <a:pt x="27" y="54"/>
                    <a:pt x="27" y="54"/>
                  </a:cubicBezTo>
                  <a:cubicBezTo>
                    <a:pt x="24" y="59"/>
                    <a:pt x="24" y="59"/>
                    <a:pt x="24" y="59"/>
                  </a:cubicBezTo>
                  <a:cubicBezTo>
                    <a:pt x="26" y="63"/>
                    <a:pt x="26" y="63"/>
                    <a:pt x="26" y="63"/>
                  </a:cubicBezTo>
                  <a:cubicBezTo>
                    <a:pt x="0" y="64"/>
                    <a:pt x="0" y="64"/>
                    <a:pt x="0" y="64"/>
                  </a:cubicBezTo>
                  <a:cubicBezTo>
                    <a:pt x="0" y="107"/>
                    <a:pt x="0" y="107"/>
                    <a:pt x="0" y="107"/>
                  </a:cubicBezTo>
                  <a:cubicBezTo>
                    <a:pt x="0" y="107"/>
                    <a:pt x="17" y="125"/>
                    <a:pt x="18" y="125"/>
                  </a:cubicBezTo>
                  <a:cubicBezTo>
                    <a:pt x="18" y="125"/>
                    <a:pt x="31" y="124"/>
                    <a:pt x="32" y="124"/>
                  </a:cubicBezTo>
                  <a:cubicBezTo>
                    <a:pt x="33" y="124"/>
                    <a:pt x="41" y="127"/>
                    <a:pt x="41" y="127"/>
                  </a:cubicBezTo>
                  <a:cubicBezTo>
                    <a:pt x="41" y="127"/>
                    <a:pt x="51" y="130"/>
                    <a:pt x="53" y="129"/>
                  </a:cubicBezTo>
                  <a:cubicBezTo>
                    <a:pt x="55" y="129"/>
                    <a:pt x="59" y="130"/>
                    <a:pt x="59" y="130"/>
                  </a:cubicBezTo>
                  <a:cubicBezTo>
                    <a:pt x="59" y="130"/>
                    <a:pt x="64" y="127"/>
                    <a:pt x="67" y="125"/>
                  </a:cubicBezTo>
                  <a:cubicBezTo>
                    <a:pt x="70" y="121"/>
                    <a:pt x="73" y="114"/>
                    <a:pt x="75" y="114"/>
                  </a:cubicBezTo>
                  <a:cubicBezTo>
                    <a:pt x="76" y="114"/>
                    <a:pt x="86" y="109"/>
                    <a:pt x="86" y="109"/>
                  </a:cubicBezTo>
                  <a:cubicBezTo>
                    <a:pt x="89" y="102"/>
                    <a:pt x="89" y="102"/>
                    <a:pt x="89" y="102"/>
                  </a:cubicBezTo>
                  <a:cubicBezTo>
                    <a:pt x="89" y="102"/>
                    <a:pt x="94" y="99"/>
                    <a:pt x="99" y="99"/>
                  </a:cubicBezTo>
                  <a:cubicBezTo>
                    <a:pt x="103" y="99"/>
                    <a:pt x="107" y="98"/>
                    <a:pt x="107" y="98"/>
                  </a:cubicBezTo>
                  <a:cubicBezTo>
                    <a:pt x="107" y="98"/>
                    <a:pt x="105" y="92"/>
                    <a:pt x="105" y="90"/>
                  </a:cubicBezTo>
                  <a:cubicBezTo>
                    <a:pt x="106" y="87"/>
                    <a:pt x="140" y="77"/>
                    <a:pt x="140" y="77"/>
                  </a:cubicBezTo>
                  <a:cubicBezTo>
                    <a:pt x="137" y="70"/>
                    <a:pt x="137" y="70"/>
                    <a:pt x="137" y="70"/>
                  </a:cubicBezTo>
                  <a:cubicBezTo>
                    <a:pt x="137" y="70"/>
                    <a:pt x="141" y="67"/>
                    <a:pt x="141" y="64"/>
                  </a:cubicBezTo>
                  <a:cubicBezTo>
                    <a:pt x="141" y="63"/>
                    <a:pt x="141" y="59"/>
                    <a:pt x="141" y="59"/>
                  </a:cubicBezTo>
                  <a:cubicBezTo>
                    <a:pt x="146" y="55"/>
                    <a:pt x="146" y="55"/>
                    <a:pt x="146" y="55"/>
                  </a:cubicBezTo>
                  <a:cubicBezTo>
                    <a:pt x="146" y="55"/>
                    <a:pt x="145" y="50"/>
                    <a:pt x="145" y="48"/>
                  </a:cubicBezTo>
                  <a:cubicBezTo>
                    <a:pt x="145" y="47"/>
                    <a:pt x="143" y="41"/>
                    <a:pt x="143" y="41"/>
                  </a:cubicBezTo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891045"/>
              <a:endParaRPr lang="en-US" sz="1700" dirty="0">
                <a:solidFill>
                  <a:srgbClr val="003149"/>
                </a:solidFill>
                <a:cs typeface="Arial" panose="020B0604020202020204" pitchFamily="34" charset="0"/>
              </a:endParaRPr>
            </a:p>
          </p:txBody>
        </p:sp>
      </p:grpSp>
      <p:grpSp>
        <p:nvGrpSpPr>
          <p:cNvPr id="489" name="Group 302"/>
          <p:cNvGrpSpPr>
            <a:grpSpLocks/>
          </p:cNvGrpSpPr>
          <p:nvPr/>
        </p:nvGrpSpPr>
        <p:grpSpPr bwMode="gray">
          <a:xfrm>
            <a:off x="1742452" y="2697370"/>
            <a:ext cx="59082" cy="153507"/>
            <a:chOff x="4627" y="3146"/>
            <a:chExt cx="41" cy="99"/>
          </a:xfrm>
          <a:solidFill>
            <a:schemeClr val="accent3"/>
          </a:solidFill>
        </p:grpSpPr>
        <p:sp>
          <p:nvSpPr>
            <p:cNvPr id="490" name="Freeform 303"/>
            <p:cNvSpPr>
              <a:spLocks/>
            </p:cNvSpPr>
            <p:nvPr/>
          </p:nvSpPr>
          <p:spPr bwMode="gray">
            <a:xfrm>
              <a:off x="4627" y="3146"/>
              <a:ext cx="41" cy="99"/>
            </a:xfrm>
            <a:custGeom>
              <a:avLst/>
              <a:gdLst>
                <a:gd name="T0" fmla="*/ 0 w 408"/>
                <a:gd name="T1" fmla="*/ 0 h 984"/>
                <a:gd name="T2" fmla="*/ 0 w 408"/>
                <a:gd name="T3" fmla="*/ 0 h 984"/>
                <a:gd name="T4" fmla="*/ 0 w 408"/>
                <a:gd name="T5" fmla="*/ 0 h 984"/>
                <a:gd name="T6" fmla="*/ 0 w 408"/>
                <a:gd name="T7" fmla="*/ 0 h 984"/>
                <a:gd name="T8" fmla="*/ 0 w 408"/>
                <a:gd name="T9" fmla="*/ 0 h 984"/>
                <a:gd name="T10" fmla="*/ 0 w 408"/>
                <a:gd name="T11" fmla="*/ 0 h 984"/>
                <a:gd name="T12" fmla="*/ 0 w 408"/>
                <a:gd name="T13" fmla="*/ 0 h 984"/>
                <a:gd name="T14" fmla="*/ 0 w 408"/>
                <a:gd name="T15" fmla="*/ 0 h 984"/>
                <a:gd name="T16" fmla="*/ 0 w 408"/>
                <a:gd name="T17" fmla="*/ 0 h 984"/>
                <a:gd name="T18" fmla="*/ 0 w 408"/>
                <a:gd name="T19" fmla="*/ 0 h 984"/>
                <a:gd name="T20" fmla="*/ 0 w 408"/>
                <a:gd name="T21" fmla="*/ 0 h 984"/>
                <a:gd name="T22" fmla="*/ 0 w 408"/>
                <a:gd name="T23" fmla="*/ 0 h 984"/>
                <a:gd name="T24" fmla="*/ 0 w 408"/>
                <a:gd name="T25" fmla="*/ 0 h 984"/>
                <a:gd name="T26" fmla="*/ 0 w 408"/>
                <a:gd name="T27" fmla="*/ 0 h 984"/>
                <a:gd name="T28" fmla="*/ 0 w 408"/>
                <a:gd name="T29" fmla="*/ 0 h 984"/>
                <a:gd name="T30" fmla="*/ 0 w 408"/>
                <a:gd name="T31" fmla="*/ 0 h 984"/>
                <a:gd name="T32" fmla="*/ 0 w 408"/>
                <a:gd name="T33" fmla="*/ 0 h 984"/>
                <a:gd name="T34" fmla="*/ 0 w 408"/>
                <a:gd name="T35" fmla="*/ 0 h 984"/>
                <a:gd name="T36" fmla="*/ 0 w 408"/>
                <a:gd name="T37" fmla="*/ 0 h 984"/>
                <a:gd name="T38" fmla="*/ 0 w 408"/>
                <a:gd name="T39" fmla="*/ 0 h 984"/>
                <a:gd name="T40" fmla="*/ 0 w 408"/>
                <a:gd name="T41" fmla="*/ 0 h 984"/>
                <a:gd name="T42" fmla="*/ 0 w 408"/>
                <a:gd name="T43" fmla="*/ 0 h 984"/>
                <a:gd name="T44" fmla="*/ 0 w 408"/>
                <a:gd name="T45" fmla="*/ 0 h 984"/>
                <a:gd name="T46" fmla="*/ 0 w 408"/>
                <a:gd name="T47" fmla="*/ 0 h 984"/>
                <a:gd name="T48" fmla="*/ 0 w 408"/>
                <a:gd name="T49" fmla="*/ 0 h 984"/>
                <a:gd name="T50" fmla="*/ 0 w 408"/>
                <a:gd name="T51" fmla="*/ 0 h 984"/>
                <a:gd name="T52" fmla="*/ 0 w 408"/>
                <a:gd name="T53" fmla="*/ 0 h 984"/>
                <a:gd name="T54" fmla="*/ 0 w 408"/>
                <a:gd name="T55" fmla="*/ 0 h 984"/>
                <a:gd name="T56" fmla="*/ 0 w 408"/>
                <a:gd name="T57" fmla="*/ 0 h 984"/>
                <a:gd name="T58" fmla="*/ 0 w 408"/>
                <a:gd name="T59" fmla="*/ 0 h 984"/>
                <a:gd name="T60" fmla="*/ 0 w 408"/>
                <a:gd name="T61" fmla="*/ 0 h 984"/>
                <a:gd name="T62" fmla="*/ 0 w 408"/>
                <a:gd name="T63" fmla="*/ 0 h 984"/>
                <a:gd name="T64" fmla="*/ 0 w 408"/>
                <a:gd name="T65" fmla="*/ 0 h 984"/>
                <a:gd name="T66" fmla="*/ 0 w 408"/>
                <a:gd name="T67" fmla="*/ 0 h 984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408"/>
                <a:gd name="T103" fmla="*/ 0 h 984"/>
                <a:gd name="T104" fmla="*/ 408 w 408"/>
                <a:gd name="T105" fmla="*/ 984 h 984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408" h="984">
                  <a:moveTo>
                    <a:pt x="395" y="656"/>
                  </a:moveTo>
                  <a:cubicBezTo>
                    <a:pt x="382" y="631"/>
                    <a:pt x="316" y="530"/>
                    <a:pt x="290" y="530"/>
                  </a:cubicBezTo>
                  <a:cubicBezTo>
                    <a:pt x="276" y="530"/>
                    <a:pt x="237" y="517"/>
                    <a:pt x="237" y="517"/>
                  </a:cubicBezTo>
                  <a:cubicBezTo>
                    <a:pt x="237" y="517"/>
                    <a:pt x="224" y="404"/>
                    <a:pt x="211" y="379"/>
                  </a:cubicBezTo>
                  <a:cubicBezTo>
                    <a:pt x="211" y="353"/>
                    <a:pt x="237" y="290"/>
                    <a:pt x="237" y="290"/>
                  </a:cubicBezTo>
                  <a:cubicBezTo>
                    <a:pt x="276" y="265"/>
                    <a:pt x="276" y="265"/>
                    <a:pt x="276" y="265"/>
                  </a:cubicBezTo>
                  <a:cubicBezTo>
                    <a:pt x="276" y="265"/>
                    <a:pt x="263" y="227"/>
                    <a:pt x="250" y="202"/>
                  </a:cubicBezTo>
                  <a:cubicBezTo>
                    <a:pt x="237" y="177"/>
                    <a:pt x="237" y="89"/>
                    <a:pt x="211" y="38"/>
                  </a:cubicBezTo>
                  <a:cubicBezTo>
                    <a:pt x="184" y="0"/>
                    <a:pt x="158" y="13"/>
                    <a:pt x="145" y="26"/>
                  </a:cubicBezTo>
                  <a:cubicBezTo>
                    <a:pt x="132" y="26"/>
                    <a:pt x="52" y="13"/>
                    <a:pt x="26" y="0"/>
                  </a:cubicBezTo>
                  <a:cubicBezTo>
                    <a:pt x="26" y="13"/>
                    <a:pt x="66" y="38"/>
                    <a:pt x="66" y="38"/>
                  </a:cubicBezTo>
                  <a:cubicBezTo>
                    <a:pt x="92" y="76"/>
                    <a:pt x="92" y="76"/>
                    <a:pt x="92" y="76"/>
                  </a:cubicBezTo>
                  <a:cubicBezTo>
                    <a:pt x="118" y="139"/>
                    <a:pt x="118" y="139"/>
                    <a:pt x="118" y="139"/>
                  </a:cubicBezTo>
                  <a:cubicBezTo>
                    <a:pt x="66" y="164"/>
                    <a:pt x="66" y="164"/>
                    <a:pt x="66" y="164"/>
                  </a:cubicBezTo>
                  <a:cubicBezTo>
                    <a:pt x="66" y="227"/>
                    <a:pt x="66" y="227"/>
                    <a:pt x="66" y="227"/>
                  </a:cubicBezTo>
                  <a:cubicBezTo>
                    <a:pt x="66" y="227"/>
                    <a:pt x="79" y="290"/>
                    <a:pt x="79" y="303"/>
                  </a:cubicBezTo>
                  <a:cubicBezTo>
                    <a:pt x="79" y="316"/>
                    <a:pt x="92" y="366"/>
                    <a:pt x="92" y="366"/>
                  </a:cubicBezTo>
                  <a:cubicBezTo>
                    <a:pt x="39" y="404"/>
                    <a:pt x="39" y="404"/>
                    <a:pt x="39" y="404"/>
                  </a:cubicBezTo>
                  <a:cubicBezTo>
                    <a:pt x="39" y="404"/>
                    <a:pt x="39" y="442"/>
                    <a:pt x="39" y="454"/>
                  </a:cubicBezTo>
                  <a:cubicBezTo>
                    <a:pt x="39" y="480"/>
                    <a:pt x="0" y="517"/>
                    <a:pt x="0" y="517"/>
                  </a:cubicBezTo>
                  <a:cubicBezTo>
                    <a:pt x="26" y="580"/>
                    <a:pt x="26" y="580"/>
                    <a:pt x="26" y="580"/>
                  </a:cubicBezTo>
                  <a:cubicBezTo>
                    <a:pt x="52" y="568"/>
                    <a:pt x="52" y="568"/>
                    <a:pt x="52" y="568"/>
                  </a:cubicBezTo>
                  <a:cubicBezTo>
                    <a:pt x="105" y="631"/>
                    <a:pt x="105" y="631"/>
                    <a:pt x="105" y="631"/>
                  </a:cubicBezTo>
                  <a:cubicBezTo>
                    <a:pt x="105" y="631"/>
                    <a:pt x="184" y="618"/>
                    <a:pt x="211" y="618"/>
                  </a:cubicBezTo>
                  <a:cubicBezTo>
                    <a:pt x="237" y="618"/>
                    <a:pt x="250" y="681"/>
                    <a:pt x="237" y="719"/>
                  </a:cubicBezTo>
                  <a:cubicBezTo>
                    <a:pt x="211" y="769"/>
                    <a:pt x="197" y="820"/>
                    <a:pt x="197" y="820"/>
                  </a:cubicBezTo>
                  <a:cubicBezTo>
                    <a:pt x="197" y="820"/>
                    <a:pt x="224" y="896"/>
                    <a:pt x="263" y="908"/>
                  </a:cubicBezTo>
                  <a:cubicBezTo>
                    <a:pt x="290" y="933"/>
                    <a:pt x="303" y="971"/>
                    <a:pt x="303" y="971"/>
                  </a:cubicBezTo>
                  <a:cubicBezTo>
                    <a:pt x="303" y="971"/>
                    <a:pt x="329" y="984"/>
                    <a:pt x="329" y="946"/>
                  </a:cubicBezTo>
                  <a:cubicBezTo>
                    <a:pt x="329" y="908"/>
                    <a:pt x="316" y="908"/>
                    <a:pt x="316" y="896"/>
                  </a:cubicBezTo>
                  <a:cubicBezTo>
                    <a:pt x="303" y="883"/>
                    <a:pt x="329" y="858"/>
                    <a:pt x="329" y="858"/>
                  </a:cubicBezTo>
                  <a:cubicBezTo>
                    <a:pt x="395" y="845"/>
                    <a:pt x="395" y="845"/>
                    <a:pt x="395" y="845"/>
                  </a:cubicBezTo>
                  <a:cubicBezTo>
                    <a:pt x="395" y="769"/>
                    <a:pt x="395" y="769"/>
                    <a:pt x="395" y="769"/>
                  </a:cubicBezTo>
                  <a:cubicBezTo>
                    <a:pt x="395" y="769"/>
                    <a:pt x="408" y="681"/>
                    <a:pt x="395" y="656"/>
                  </a:cubicBezTo>
                </a:path>
              </a:pathLst>
            </a:custGeom>
            <a:grpFill/>
            <a:ln w="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891045"/>
              <a:endParaRPr lang="en-US" sz="1700" dirty="0">
                <a:solidFill>
                  <a:srgbClr val="003149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491" name="Freeform 304"/>
            <p:cNvSpPr>
              <a:spLocks/>
            </p:cNvSpPr>
            <p:nvPr/>
          </p:nvSpPr>
          <p:spPr bwMode="gray">
            <a:xfrm>
              <a:off x="4627" y="3146"/>
              <a:ext cx="41" cy="99"/>
            </a:xfrm>
            <a:custGeom>
              <a:avLst/>
              <a:gdLst>
                <a:gd name="T0" fmla="*/ 40 w 41"/>
                <a:gd name="T1" fmla="*/ 66 h 99"/>
                <a:gd name="T2" fmla="*/ 29 w 41"/>
                <a:gd name="T3" fmla="*/ 53 h 99"/>
                <a:gd name="T4" fmla="*/ 24 w 41"/>
                <a:gd name="T5" fmla="*/ 52 h 99"/>
                <a:gd name="T6" fmla="*/ 21 w 41"/>
                <a:gd name="T7" fmla="*/ 38 h 99"/>
                <a:gd name="T8" fmla="*/ 24 w 41"/>
                <a:gd name="T9" fmla="*/ 29 h 99"/>
                <a:gd name="T10" fmla="*/ 28 w 41"/>
                <a:gd name="T11" fmla="*/ 27 h 99"/>
                <a:gd name="T12" fmla="*/ 25 w 41"/>
                <a:gd name="T13" fmla="*/ 20 h 99"/>
                <a:gd name="T14" fmla="*/ 21 w 41"/>
                <a:gd name="T15" fmla="*/ 4 h 99"/>
                <a:gd name="T16" fmla="*/ 15 w 41"/>
                <a:gd name="T17" fmla="*/ 3 h 99"/>
                <a:gd name="T18" fmla="*/ 3 w 41"/>
                <a:gd name="T19" fmla="*/ 0 h 99"/>
                <a:gd name="T20" fmla="*/ 7 w 41"/>
                <a:gd name="T21" fmla="*/ 4 h 99"/>
                <a:gd name="T22" fmla="*/ 9 w 41"/>
                <a:gd name="T23" fmla="*/ 8 h 99"/>
                <a:gd name="T24" fmla="*/ 12 w 41"/>
                <a:gd name="T25" fmla="*/ 14 h 99"/>
                <a:gd name="T26" fmla="*/ 7 w 41"/>
                <a:gd name="T27" fmla="*/ 16 h 99"/>
                <a:gd name="T28" fmla="*/ 7 w 41"/>
                <a:gd name="T29" fmla="*/ 23 h 99"/>
                <a:gd name="T30" fmla="*/ 8 w 41"/>
                <a:gd name="T31" fmla="*/ 30 h 99"/>
                <a:gd name="T32" fmla="*/ 9 w 41"/>
                <a:gd name="T33" fmla="*/ 37 h 99"/>
                <a:gd name="T34" fmla="*/ 4 w 41"/>
                <a:gd name="T35" fmla="*/ 41 h 99"/>
                <a:gd name="T36" fmla="*/ 4 w 41"/>
                <a:gd name="T37" fmla="*/ 46 h 99"/>
                <a:gd name="T38" fmla="*/ 0 w 41"/>
                <a:gd name="T39" fmla="*/ 52 h 99"/>
                <a:gd name="T40" fmla="*/ 3 w 41"/>
                <a:gd name="T41" fmla="*/ 58 h 99"/>
                <a:gd name="T42" fmla="*/ 5 w 41"/>
                <a:gd name="T43" fmla="*/ 57 h 99"/>
                <a:gd name="T44" fmla="*/ 11 w 41"/>
                <a:gd name="T45" fmla="*/ 64 h 99"/>
                <a:gd name="T46" fmla="*/ 21 w 41"/>
                <a:gd name="T47" fmla="*/ 62 h 99"/>
                <a:gd name="T48" fmla="*/ 24 w 41"/>
                <a:gd name="T49" fmla="*/ 73 h 99"/>
                <a:gd name="T50" fmla="*/ 20 w 41"/>
                <a:gd name="T51" fmla="*/ 83 h 99"/>
                <a:gd name="T52" fmla="*/ 27 w 41"/>
                <a:gd name="T53" fmla="*/ 92 h 99"/>
                <a:gd name="T54" fmla="*/ 31 w 41"/>
                <a:gd name="T55" fmla="*/ 98 h 99"/>
                <a:gd name="T56" fmla="*/ 33 w 41"/>
                <a:gd name="T57" fmla="*/ 95 h 99"/>
                <a:gd name="T58" fmla="*/ 32 w 41"/>
                <a:gd name="T59" fmla="*/ 90 h 99"/>
                <a:gd name="T60" fmla="*/ 33 w 41"/>
                <a:gd name="T61" fmla="*/ 87 h 99"/>
                <a:gd name="T62" fmla="*/ 40 w 41"/>
                <a:gd name="T63" fmla="*/ 85 h 99"/>
                <a:gd name="T64" fmla="*/ 40 w 41"/>
                <a:gd name="T65" fmla="*/ 78 h 99"/>
                <a:gd name="T66" fmla="*/ 40 w 41"/>
                <a:gd name="T67" fmla="*/ 66 h 99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41"/>
                <a:gd name="T103" fmla="*/ 0 h 99"/>
                <a:gd name="T104" fmla="*/ 41 w 41"/>
                <a:gd name="T105" fmla="*/ 99 h 99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41" h="99">
                  <a:moveTo>
                    <a:pt x="40" y="66"/>
                  </a:moveTo>
                  <a:cubicBezTo>
                    <a:pt x="39" y="64"/>
                    <a:pt x="32" y="53"/>
                    <a:pt x="29" y="53"/>
                  </a:cubicBezTo>
                  <a:cubicBezTo>
                    <a:pt x="28" y="53"/>
                    <a:pt x="24" y="52"/>
                    <a:pt x="24" y="52"/>
                  </a:cubicBezTo>
                  <a:cubicBezTo>
                    <a:pt x="24" y="52"/>
                    <a:pt x="23" y="41"/>
                    <a:pt x="21" y="38"/>
                  </a:cubicBezTo>
                  <a:cubicBezTo>
                    <a:pt x="21" y="36"/>
                    <a:pt x="24" y="29"/>
                    <a:pt x="24" y="29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7"/>
                    <a:pt x="27" y="23"/>
                    <a:pt x="25" y="20"/>
                  </a:cubicBezTo>
                  <a:cubicBezTo>
                    <a:pt x="24" y="18"/>
                    <a:pt x="24" y="9"/>
                    <a:pt x="21" y="4"/>
                  </a:cubicBezTo>
                  <a:cubicBezTo>
                    <a:pt x="19" y="0"/>
                    <a:pt x="16" y="1"/>
                    <a:pt x="15" y="3"/>
                  </a:cubicBezTo>
                  <a:cubicBezTo>
                    <a:pt x="13" y="3"/>
                    <a:pt x="5" y="1"/>
                    <a:pt x="3" y="0"/>
                  </a:cubicBezTo>
                  <a:cubicBezTo>
                    <a:pt x="3" y="1"/>
                    <a:pt x="7" y="4"/>
                    <a:pt x="7" y="4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12" y="14"/>
                    <a:pt x="12" y="14"/>
                    <a:pt x="12" y="14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7" y="23"/>
                    <a:pt x="8" y="29"/>
                    <a:pt x="8" y="30"/>
                  </a:cubicBezTo>
                  <a:cubicBezTo>
                    <a:pt x="8" y="32"/>
                    <a:pt x="9" y="37"/>
                    <a:pt x="9" y="37"/>
                  </a:cubicBezTo>
                  <a:cubicBezTo>
                    <a:pt x="4" y="41"/>
                    <a:pt x="4" y="41"/>
                    <a:pt x="4" y="41"/>
                  </a:cubicBezTo>
                  <a:cubicBezTo>
                    <a:pt x="4" y="41"/>
                    <a:pt x="4" y="45"/>
                    <a:pt x="4" y="46"/>
                  </a:cubicBezTo>
                  <a:cubicBezTo>
                    <a:pt x="4" y="48"/>
                    <a:pt x="0" y="52"/>
                    <a:pt x="0" y="52"/>
                  </a:cubicBezTo>
                  <a:cubicBezTo>
                    <a:pt x="3" y="58"/>
                    <a:pt x="3" y="58"/>
                    <a:pt x="3" y="58"/>
                  </a:cubicBezTo>
                  <a:cubicBezTo>
                    <a:pt x="5" y="57"/>
                    <a:pt x="5" y="57"/>
                    <a:pt x="5" y="57"/>
                  </a:cubicBezTo>
                  <a:cubicBezTo>
                    <a:pt x="11" y="64"/>
                    <a:pt x="11" y="64"/>
                    <a:pt x="11" y="64"/>
                  </a:cubicBezTo>
                  <a:cubicBezTo>
                    <a:pt x="11" y="64"/>
                    <a:pt x="19" y="62"/>
                    <a:pt x="21" y="62"/>
                  </a:cubicBezTo>
                  <a:cubicBezTo>
                    <a:pt x="24" y="62"/>
                    <a:pt x="25" y="69"/>
                    <a:pt x="24" y="73"/>
                  </a:cubicBezTo>
                  <a:cubicBezTo>
                    <a:pt x="21" y="78"/>
                    <a:pt x="20" y="83"/>
                    <a:pt x="20" y="83"/>
                  </a:cubicBezTo>
                  <a:cubicBezTo>
                    <a:pt x="20" y="83"/>
                    <a:pt x="23" y="90"/>
                    <a:pt x="27" y="92"/>
                  </a:cubicBezTo>
                  <a:cubicBezTo>
                    <a:pt x="29" y="94"/>
                    <a:pt x="31" y="98"/>
                    <a:pt x="31" y="98"/>
                  </a:cubicBezTo>
                  <a:cubicBezTo>
                    <a:pt x="31" y="98"/>
                    <a:pt x="33" y="99"/>
                    <a:pt x="33" y="95"/>
                  </a:cubicBezTo>
                  <a:cubicBezTo>
                    <a:pt x="33" y="92"/>
                    <a:pt x="32" y="92"/>
                    <a:pt x="32" y="90"/>
                  </a:cubicBezTo>
                  <a:cubicBezTo>
                    <a:pt x="31" y="89"/>
                    <a:pt x="33" y="87"/>
                    <a:pt x="33" y="87"/>
                  </a:cubicBezTo>
                  <a:cubicBezTo>
                    <a:pt x="40" y="85"/>
                    <a:pt x="40" y="85"/>
                    <a:pt x="40" y="85"/>
                  </a:cubicBezTo>
                  <a:cubicBezTo>
                    <a:pt x="40" y="78"/>
                    <a:pt x="40" y="78"/>
                    <a:pt x="40" y="78"/>
                  </a:cubicBezTo>
                  <a:cubicBezTo>
                    <a:pt x="40" y="78"/>
                    <a:pt x="41" y="69"/>
                    <a:pt x="40" y="66"/>
                  </a:cubicBezTo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891045"/>
              <a:endParaRPr lang="en-US" sz="1700" dirty="0">
                <a:solidFill>
                  <a:srgbClr val="003149"/>
                </a:solidFill>
                <a:cs typeface="Arial" panose="020B0604020202020204" pitchFamily="34" charset="0"/>
              </a:endParaRPr>
            </a:p>
          </p:txBody>
        </p:sp>
      </p:grpSp>
      <p:grpSp>
        <p:nvGrpSpPr>
          <p:cNvPr id="492" name="Group 305"/>
          <p:cNvGrpSpPr>
            <a:grpSpLocks/>
          </p:cNvGrpSpPr>
          <p:nvPr/>
        </p:nvGrpSpPr>
        <p:grpSpPr bwMode="gray">
          <a:xfrm>
            <a:off x="1695949" y="2717663"/>
            <a:ext cx="196099" cy="341269"/>
            <a:chOff x="4596" y="3159"/>
            <a:chExt cx="133" cy="220"/>
          </a:xfrm>
          <a:solidFill>
            <a:schemeClr val="accent3"/>
          </a:solidFill>
        </p:grpSpPr>
        <p:sp>
          <p:nvSpPr>
            <p:cNvPr id="493" name="Freeform 306"/>
            <p:cNvSpPr>
              <a:spLocks/>
            </p:cNvSpPr>
            <p:nvPr/>
          </p:nvSpPr>
          <p:spPr bwMode="gray">
            <a:xfrm>
              <a:off x="4596" y="3159"/>
              <a:ext cx="133" cy="220"/>
            </a:xfrm>
            <a:custGeom>
              <a:avLst/>
              <a:gdLst>
                <a:gd name="T0" fmla="*/ 0 w 1317"/>
                <a:gd name="T1" fmla="*/ 0 h 2175"/>
                <a:gd name="T2" fmla="*/ 0 w 1317"/>
                <a:gd name="T3" fmla="*/ 0 h 2175"/>
                <a:gd name="T4" fmla="*/ 0 w 1317"/>
                <a:gd name="T5" fmla="*/ 0 h 2175"/>
                <a:gd name="T6" fmla="*/ 0 w 1317"/>
                <a:gd name="T7" fmla="*/ 0 h 2175"/>
                <a:gd name="T8" fmla="*/ 0 w 1317"/>
                <a:gd name="T9" fmla="*/ 0 h 2175"/>
                <a:gd name="T10" fmla="*/ 0 w 1317"/>
                <a:gd name="T11" fmla="*/ 0 h 2175"/>
                <a:gd name="T12" fmla="*/ 0 w 1317"/>
                <a:gd name="T13" fmla="*/ 0 h 2175"/>
                <a:gd name="T14" fmla="*/ 0 w 1317"/>
                <a:gd name="T15" fmla="*/ 0 h 2175"/>
                <a:gd name="T16" fmla="*/ 0 w 1317"/>
                <a:gd name="T17" fmla="*/ 0 h 2175"/>
                <a:gd name="T18" fmla="*/ 0 w 1317"/>
                <a:gd name="T19" fmla="*/ 0 h 2175"/>
                <a:gd name="T20" fmla="*/ 0 w 1317"/>
                <a:gd name="T21" fmla="*/ 0 h 2175"/>
                <a:gd name="T22" fmla="*/ 0 w 1317"/>
                <a:gd name="T23" fmla="*/ 0 h 2175"/>
                <a:gd name="T24" fmla="*/ 0 w 1317"/>
                <a:gd name="T25" fmla="*/ 0 h 2175"/>
                <a:gd name="T26" fmla="*/ 0 w 1317"/>
                <a:gd name="T27" fmla="*/ 0 h 2175"/>
                <a:gd name="T28" fmla="*/ 0 w 1317"/>
                <a:gd name="T29" fmla="*/ 0 h 2175"/>
                <a:gd name="T30" fmla="*/ 0 w 1317"/>
                <a:gd name="T31" fmla="*/ 0 h 2175"/>
                <a:gd name="T32" fmla="*/ 0 w 1317"/>
                <a:gd name="T33" fmla="*/ 0 h 2175"/>
                <a:gd name="T34" fmla="*/ 0 w 1317"/>
                <a:gd name="T35" fmla="*/ 0 h 2175"/>
                <a:gd name="T36" fmla="*/ 0 w 1317"/>
                <a:gd name="T37" fmla="*/ 0 h 2175"/>
                <a:gd name="T38" fmla="*/ 0 w 1317"/>
                <a:gd name="T39" fmla="*/ 0 h 2175"/>
                <a:gd name="T40" fmla="*/ 0 w 1317"/>
                <a:gd name="T41" fmla="*/ 0 h 2175"/>
                <a:gd name="T42" fmla="*/ 0 w 1317"/>
                <a:gd name="T43" fmla="*/ 0 h 2175"/>
                <a:gd name="T44" fmla="*/ 0 w 1317"/>
                <a:gd name="T45" fmla="*/ 0 h 2175"/>
                <a:gd name="T46" fmla="*/ 0 w 1317"/>
                <a:gd name="T47" fmla="*/ 0 h 2175"/>
                <a:gd name="T48" fmla="*/ 0 w 1317"/>
                <a:gd name="T49" fmla="*/ 0 h 2175"/>
                <a:gd name="T50" fmla="*/ 0 w 1317"/>
                <a:gd name="T51" fmla="*/ 0 h 2175"/>
                <a:gd name="T52" fmla="*/ 0 w 1317"/>
                <a:gd name="T53" fmla="*/ 0 h 2175"/>
                <a:gd name="T54" fmla="*/ 0 w 1317"/>
                <a:gd name="T55" fmla="*/ 0 h 2175"/>
                <a:gd name="T56" fmla="*/ 0 w 1317"/>
                <a:gd name="T57" fmla="*/ 0 h 2175"/>
                <a:gd name="T58" fmla="*/ 0 w 1317"/>
                <a:gd name="T59" fmla="*/ 0 h 2175"/>
                <a:gd name="T60" fmla="*/ 0 w 1317"/>
                <a:gd name="T61" fmla="*/ 0 h 2175"/>
                <a:gd name="T62" fmla="*/ 0 w 1317"/>
                <a:gd name="T63" fmla="*/ 0 h 2175"/>
                <a:gd name="T64" fmla="*/ 0 w 1317"/>
                <a:gd name="T65" fmla="*/ 0 h 2175"/>
                <a:gd name="T66" fmla="*/ 0 w 1317"/>
                <a:gd name="T67" fmla="*/ 0 h 2175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1317"/>
                <a:gd name="T103" fmla="*/ 0 h 2175"/>
                <a:gd name="T104" fmla="*/ 1317 w 1317"/>
                <a:gd name="T105" fmla="*/ 2175 h 2175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1317" h="2175">
                  <a:moveTo>
                    <a:pt x="1304" y="470"/>
                  </a:moveTo>
                  <a:cubicBezTo>
                    <a:pt x="1304" y="432"/>
                    <a:pt x="1279" y="394"/>
                    <a:pt x="1292" y="356"/>
                  </a:cubicBezTo>
                  <a:cubicBezTo>
                    <a:pt x="1304" y="305"/>
                    <a:pt x="1266" y="140"/>
                    <a:pt x="1279" y="127"/>
                  </a:cubicBezTo>
                  <a:cubicBezTo>
                    <a:pt x="1279" y="102"/>
                    <a:pt x="1279" y="0"/>
                    <a:pt x="1279" y="0"/>
                  </a:cubicBezTo>
                  <a:cubicBezTo>
                    <a:pt x="1279" y="0"/>
                    <a:pt x="1266" y="25"/>
                    <a:pt x="1241" y="25"/>
                  </a:cubicBezTo>
                  <a:cubicBezTo>
                    <a:pt x="1229" y="25"/>
                    <a:pt x="1165" y="63"/>
                    <a:pt x="1140" y="76"/>
                  </a:cubicBezTo>
                  <a:cubicBezTo>
                    <a:pt x="1115" y="89"/>
                    <a:pt x="1064" y="102"/>
                    <a:pt x="1039" y="114"/>
                  </a:cubicBezTo>
                  <a:cubicBezTo>
                    <a:pt x="1013" y="127"/>
                    <a:pt x="1001" y="89"/>
                    <a:pt x="963" y="114"/>
                  </a:cubicBezTo>
                  <a:cubicBezTo>
                    <a:pt x="925" y="127"/>
                    <a:pt x="937" y="152"/>
                    <a:pt x="899" y="152"/>
                  </a:cubicBezTo>
                  <a:cubicBezTo>
                    <a:pt x="861" y="140"/>
                    <a:pt x="849" y="140"/>
                    <a:pt x="811" y="152"/>
                  </a:cubicBezTo>
                  <a:cubicBezTo>
                    <a:pt x="773" y="165"/>
                    <a:pt x="747" y="165"/>
                    <a:pt x="735" y="140"/>
                  </a:cubicBezTo>
                  <a:cubicBezTo>
                    <a:pt x="735" y="114"/>
                    <a:pt x="697" y="140"/>
                    <a:pt x="671" y="140"/>
                  </a:cubicBezTo>
                  <a:cubicBezTo>
                    <a:pt x="659" y="140"/>
                    <a:pt x="583" y="140"/>
                    <a:pt x="583" y="140"/>
                  </a:cubicBezTo>
                  <a:cubicBezTo>
                    <a:pt x="545" y="165"/>
                    <a:pt x="545" y="165"/>
                    <a:pt x="545" y="165"/>
                  </a:cubicBezTo>
                  <a:cubicBezTo>
                    <a:pt x="545" y="165"/>
                    <a:pt x="520" y="229"/>
                    <a:pt x="520" y="254"/>
                  </a:cubicBezTo>
                  <a:cubicBezTo>
                    <a:pt x="532" y="280"/>
                    <a:pt x="545" y="394"/>
                    <a:pt x="545" y="394"/>
                  </a:cubicBezTo>
                  <a:cubicBezTo>
                    <a:pt x="545" y="394"/>
                    <a:pt x="583" y="407"/>
                    <a:pt x="596" y="407"/>
                  </a:cubicBezTo>
                  <a:cubicBezTo>
                    <a:pt x="621" y="407"/>
                    <a:pt x="684" y="509"/>
                    <a:pt x="697" y="534"/>
                  </a:cubicBezTo>
                  <a:cubicBezTo>
                    <a:pt x="709" y="559"/>
                    <a:pt x="697" y="648"/>
                    <a:pt x="697" y="648"/>
                  </a:cubicBezTo>
                  <a:cubicBezTo>
                    <a:pt x="697" y="725"/>
                    <a:pt x="697" y="725"/>
                    <a:pt x="697" y="725"/>
                  </a:cubicBezTo>
                  <a:cubicBezTo>
                    <a:pt x="633" y="738"/>
                    <a:pt x="633" y="738"/>
                    <a:pt x="633" y="738"/>
                  </a:cubicBezTo>
                  <a:cubicBezTo>
                    <a:pt x="633" y="738"/>
                    <a:pt x="608" y="763"/>
                    <a:pt x="621" y="776"/>
                  </a:cubicBezTo>
                  <a:cubicBezTo>
                    <a:pt x="621" y="788"/>
                    <a:pt x="633" y="788"/>
                    <a:pt x="633" y="827"/>
                  </a:cubicBezTo>
                  <a:cubicBezTo>
                    <a:pt x="633" y="865"/>
                    <a:pt x="608" y="852"/>
                    <a:pt x="608" y="852"/>
                  </a:cubicBezTo>
                  <a:cubicBezTo>
                    <a:pt x="608" y="852"/>
                    <a:pt x="596" y="814"/>
                    <a:pt x="570" y="788"/>
                  </a:cubicBezTo>
                  <a:cubicBezTo>
                    <a:pt x="532" y="776"/>
                    <a:pt x="507" y="699"/>
                    <a:pt x="507" y="699"/>
                  </a:cubicBezTo>
                  <a:cubicBezTo>
                    <a:pt x="507" y="699"/>
                    <a:pt x="520" y="648"/>
                    <a:pt x="545" y="598"/>
                  </a:cubicBezTo>
                  <a:cubicBezTo>
                    <a:pt x="558" y="559"/>
                    <a:pt x="545" y="496"/>
                    <a:pt x="520" y="496"/>
                  </a:cubicBezTo>
                  <a:cubicBezTo>
                    <a:pt x="494" y="496"/>
                    <a:pt x="418" y="509"/>
                    <a:pt x="418" y="509"/>
                  </a:cubicBezTo>
                  <a:cubicBezTo>
                    <a:pt x="368" y="445"/>
                    <a:pt x="368" y="445"/>
                    <a:pt x="368" y="445"/>
                  </a:cubicBezTo>
                  <a:cubicBezTo>
                    <a:pt x="342" y="458"/>
                    <a:pt x="342" y="458"/>
                    <a:pt x="342" y="458"/>
                  </a:cubicBezTo>
                  <a:cubicBezTo>
                    <a:pt x="342" y="458"/>
                    <a:pt x="13" y="559"/>
                    <a:pt x="0" y="585"/>
                  </a:cubicBezTo>
                  <a:cubicBezTo>
                    <a:pt x="0" y="610"/>
                    <a:pt x="26" y="661"/>
                    <a:pt x="26" y="661"/>
                  </a:cubicBezTo>
                  <a:cubicBezTo>
                    <a:pt x="26" y="712"/>
                    <a:pt x="26" y="712"/>
                    <a:pt x="26" y="712"/>
                  </a:cubicBezTo>
                  <a:cubicBezTo>
                    <a:pt x="102" y="712"/>
                    <a:pt x="102" y="712"/>
                    <a:pt x="102" y="712"/>
                  </a:cubicBezTo>
                  <a:cubicBezTo>
                    <a:pt x="102" y="712"/>
                    <a:pt x="165" y="738"/>
                    <a:pt x="178" y="738"/>
                  </a:cubicBezTo>
                  <a:cubicBezTo>
                    <a:pt x="203" y="738"/>
                    <a:pt x="241" y="763"/>
                    <a:pt x="266" y="776"/>
                  </a:cubicBezTo>
                  <a:cubicBezTo>
                    <a:pt x="279" y="776"/>
                    <a:pt x="330" y="788"/>
                    <a:pt x="342" y="801"/>
                  </a:cubicBezTo>
                  <a:cubicBezTo>
                    <a:pt x="355" y="801"/>
                    <a:pt x="342" y="890"/>
                    <a:pt x="342" y="928"/>
                  </a:cubicBezTo>
                  <a:cubicBezTo>
                    <a:pt x="342" y="954"/>
                    <a:pt x="355" y="1017"/>
                    <a:pt x="342" y="1030"/>
                  </a:cubicBezTo>
                  <a:cubicBezTo>
                    <a:pt x="330" y="1056"/>
                    <a:pt x="330" y="1081"/>
                    <a:pt x="317" y="1081"/>
                  </a:cubicBezTo>
                  <a:cubicBezTo>
                    <a:pt x="292" y="1081"/>
                    <a:pt x="330" y="1119"/>
                    <a:pt x="330" y="1145"/>
                  </a:cubicBezTo>
                  <a:cubicBezTo>
                    <a:pt x="317" y="1170"/>
                    <a:pt x="355" y="1195"/>
                    <a:pt x="355" y="1208"/>
                  </a:cubicBezTo>
                  <a:cubicBezTo>
                    <a:pt x="355" y="1221"/>
                    <a:pt x="342" y="1272"/>
                    <a:pt x="330" y="1284"/>
                  </a:cubicBezTo>
                  <a:cubicBezTo>
                    <a:pt x="304" y="1310"/>
                    <a:pt x="304" y="1310"/>
                    <a:pt x="292" y="1335"/>
                  </a:cubicBezTo>
                  <a:cubicBezTo>
                    <a:pt x="279" y="1348"/>
                    <a:pt x="279" y="1399"/>
                    <a:pt x="279" y="1399"/>
                  </a:cubicBezTo>
                  <a:cubicBezTo>
                    <a:pt x="140" y="1552"/>
                    <a:pt x="140" y="1552"/>
                    <a:pt x="140" y="1552"/>
                  </a:cubicBezTo>
                  <a:cubicBezTo>
                    <a:pt x="140" y="1552"/>
                    <a:pt x="165" y="1615"/>
                    <a:pt x="152" y="1628"/>
                  </a:cubicBezTo>
                  <a:cubicBezTo>
                    <a:pt x="152" y="1641"/>
                    <a:pt x="190" y="1742"/>
                    <a:pt x="203" y="1768"/>
                  </a:cubicBezTo>
                  <a:cubicBezTo>
                    <a:pt x="228" y="1806"/>
                    <a:pt x="228" y="1882"/>
                    <a:pt x="228" y="1920"/>
                  </a:cubicBezTo>
                  <a:cubicBezTo>
                    <a:pt x="228" y="1971"/>
                    <a:pt x="216" y="2035"/>
                    <a:pt x="228" y="2048"/>
                  </a:cubicBezTo>
                  <a:cubicBezTo>
                    <a:pt x="241" y="2048"/>
                    <a:pt x="228" y="2162"/>
                    <a:pt x="228" y="2162"/>
                  </a:cubicBezTo>
                  <a:cubicBezTo>
                    <a:pt x="330" y="2175"/>
                    <a:pt x="330" y="2175"/>
                    <a:pt x="330" y="2175"/>
                  </a:cubicBezTo>
                  <a:cubicBezTo>
                    <a:pt x="330" y="2175"/>
                    <a:pt x="330" y="2060"/>
                    <a:pt x="330" y="2009"/>
                  </a:cubicBezTo>
                  <a:cubicBezTo>
                    <a:pt x="330" y="1971"/>
                    <a:pt x="342" y="1971"/>
                    <a:pt x="380" y="1959"/>
                  </a:cubicBezTo>
                  <a:cubicBezTo>
                    <a:pt x="418" y="1933"/>
                    <a:pt x="596" y="1870"/>
                    <a:pt x="621" y="1844"/>
                  </a:cubicBezTo>
                  <a:cubicBezTo>
                    <a:pt x="646" y="1831"/>
                    <a:pt x="659" y="1781"/>
                    <a:pt x="659" y="1742"/>
                  </a:cubicBezTo>
                  <a:cubicBezTo>
                    <a:pt x="671" y="1691"/>
                    <a:pt x="659" y="1577"/>
                    <a:pt x="659" y="1552"/>
                  </a:cubicBezTo>
                  <a:cubicBezTo>
                    <a:pt x="659" y="1526"/>
                    <a:pt x="633" y="1526"/>
                    <a:pt x="633" y="1526"/>
                  </a:cubicBezTo>
                  <a:cubicBezTo>
                    <a:pt x="633" y="1526"/>
                    <a:pt x="621" y="1488"/>
                    <a:pt x="621" y="1437"/>
                  </a:cubicBezTo>
                  <a:cubicBezTo>
                    <a:pt x="621" y="1373"/>
                    <a:pt x="583" y="1323"/>
                    <a:pt x="558" y="1310"/>
                  </a:cubicBezTo>
                  <a:cubicBezTo>
                    <a:pt x="532" y="1284"/>
                    <a:pt x="558" y="1246"/>
                    <a:pt x="583" y="1208"/>
                  </a:cubicBezTo>
                  <a:cubicBezTo>
                    <a:pt x="608" y="1183"/>
                    <a:pt x="659" y="1145"/>
                    <a:pt x="684" y="1132"/>
                  </a:cubicBezTo>
                  <a:cubicBezTo>
                    <a:pt x="697" y="1106"/>
                    <a:pt x="773" y="1081"/>
                    <a:pt x="773" y="1081"/>
                  </a:cubicBezTo>
                  <a:cubicBezTo>
                    <a:pt x="773" y="1081"/>
                    <a:pt x="773" y="1043"/>
                    <a:pt x="785" y="1030"/>
                  </a:cubicBezTo>
                  <a:cubicBezTo>
                    <a:pt x="811" y="1017"/>
                    <a:pt x="925" y="890"/>
                    <a:pt x="963" y="890"/>
                  </a:cubicBezTo>
                  <a:cubicBezTo>
                    <a:pt x="1013" y="890"/>
                    <a:pt x="1153" y="788"/>
                    <a:pt x="1178" y="776"/>
                  </a:cubicBezTo>
                  <a:cubicBezTo>
                    <a:pt x="1216" y="763"/>
                    <a:pt x="1266" y="648"/>
                    <a:pt x="1292" y="623"/>
                  </a:cubicBezTo>
                  <a:cubicBezTo>
                    <a:pt x="1304" y="598"/>
                    <a:pt x="1317" y="509"/>
                    <a:pt x="1304" y="470"/>
                  </a:cubicBezTo>
                </a:path>
              </a:pathLst>
            </a:custGeom>
            <a:grpFill/>
            <a:ln w="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891045"/>
              <a:endParaRPr lang="en-US" sz="1700" dirty="0">
                <a:solidFill>
                  <a:srgbClr val="003149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494" name="Freeform 307"/>
            <p:cNvSpPr>
              <a:spLocks/>
            </p:cNvSpPr>
            <p:nvPr/>
          </p:nvSpPr>
          <p:spPr bwMode="gray">
            <a:xfrm>
              <a:off x="4596" y="3159"/>
              <a:ext cx="133" cy="220"/>
            </a:xfrm>
            <a:custGeom>
              <a:avLst/>
              <a:gdLst>
                <a:gd name="T0" fmla="*/ 130 w 133"/>
                <a:gd name="T1" fmla="*/ 36 h 220"/>
                <a:gd name="T2" fmla="*/ 129 w 133"/>
                <a:gd name="T3" fmla="*/ 0 h 220"/>
                <a:gd name="T4" fmla="*/ 115 w 133"/>
                <a:gd name="T5" fmla="*/ 8 h 220"/>
                <a:gd name="T6" fmla="*/ 97 w 133"/>
                <a:gd name="T7" fmla="*/ 12 h 220"/>
                <a:gd name="T8" fmla="*/ 82 w 133"/>
                <a:gd name="T9" fmla="*/ 16 h 220"/>
                <a:gd name="T10" fmla="*/ 68 w 133"/>
                <a:gd name="T11" fmla="*/ 15 h 220"/>
                <a:gd name="T12" fmla="*/ 55 w 133"/>
                <a:gd name="T13" fmla="*/ 17 h 220"/>
                <a:gd name="T14" fmla="*/ 55 w 133"/>
                <a:gd name="T15" fmla="*/ 40 h 220"/>
                <a:gd name="T16" fmla="*/ 70 w 133"/>
                <a:gd name="T17" fmla="*/ 54 h 220"/>
                <a:gd name="T18" fmla="*/ 70 w 133"/>
                <a:gd name="T19" fmla="*/ 74 h 220"/>
                <a:gd name="T20" fmla="*/ 63 w 133"/>
                <a:gd name="T21" fmla="*/ 79 h 220"/>
                <a:gd name="T22" fmla="*/ 61 w 133"/>
                <a:gd name="T23" fmla="*/ 86 h 220"/>
                <a:gd name="T24" fmla="*/ 51 w 133"/>
                <a:gd name="T25" fmla="*/ 71 h 220"/>
                <a:gd name="T26" fmla="*/ 52 w 133"/>
                <a:gd name="T27" fmla="*/ 51 h 220"/>
                <a:gd name="T28" fmla="*/ 37 w 133"/>
                <a:gd name="T29" fmla="*/ 45 h 220"/>
                <a:gd name="T30" fmla="*/ 0 w 133"/>
                <a:gd name="T31" fmla="*/ 60 h 220"/>
                <a:gd name="T32" fmla="*/ 3 w 133"/>
                <a:gd name="T33" fmla="*/ 72 h 220"/>
                <a:gd name="T34" fmla="*/ 18 w 133"/>
                <a:gd name="T35" fmla="*/ 75 h 220"/>
                <a:gd name="T36" fmla="*/ 34 w 133"/>
                <a:gd name="T37" fmla="*/ 81 h 220"/>
                <a:gd name="T38" fmla="*/ 34 w 133"/>
                <a:gd name="T39" fmla="*/ 104 h 220"/>
                <a:gd name="T40" fmla="*/ 33 w 133"/>
                <a:gd name="T41" fmla="*/ 116 h 220"/>
                <a:gd name="T42" fmla="*/ 33 w 133"/>
                <a:gd name="T43" fmla="*/ 130 h 220"/>
                <a:gd name="T44" fmla="*/ 28 w 133"/>
                <a:gd name="T45" fmla="*/ 142 h 220"/>
                <a:gd name="T46" fmla="*/ 15 w 133"/>
                <a:gd name="T47" fmla="*/ 165 h 220"/>
                <a:gd name="T48" fmla="*/ 23 w 133"/>
                <a:gd name="T49" fmla="*/ 194 h 220"/>
                <a:gd name="T50" fmla="*/ 23 w 133"/>
                <a:gd name="T51" fmla="*/ 219 h 220"/>
                <a:gd name="T52" fmla="*/ 33 w 133"/>
                <a:gd name="T53" fmla="*/ 203 h 220"/>
                <a:gd name="T54" fmla="*/ 63 w 133"/>
                <a:gd name="T55" fmla="*/ 187 h 220"/>
                <a:gd name="T56" fmla="*/ 66 w 133"/>
                <a:gd name="T57" fmla="*/ 157 h 220"/>
                <a:gd name="T58" fmla="*/ 63 w 133"/>
                <a:gd name="T59" fmla="*/ 146 h 220"/>
                <a:gd name="T60" fmla="*/ 59 w 133"/>
                <a:gd name="T61" fmla="*/ 122 h 220"/>
                <a:gd name="T62" fmla="*/ 78 w 133"/>
                <a:gd name="T63" fmla="*/ 110 h 220"/>
                <a:gd name="T64" fmla="*/ 97 w 133"/>
                <a:gd name="T65" fmla="*/ 90 h 220"/>
                <a:gd name="T66" fmla="*/ 130 w 133"/>
                <a:gd name="T67" fmla="*/ 63 h 220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133"/>
                <a:gd name="T103" fmla="*/ 0 h 220"/>
                <a:gd name="T104" fmla="*/ 133 w 133"/>
                <a:gd name="T105" fmla="*/ 220 h 220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133" h="220">
                  <a:moveTo>
                    <a:pt x="132" y="48"/>
                  </a:moveTo>
                  <a:cubicBezTo>
                    <a:pt x="132" y="44"/>
                    <a:pt x="129" y="40"/>
                    <a:pt x="130" y="36"/>
                  </a:cubicBezTo>
                  <a:cubicBezTo>
                    <a:pt x="132" y="31"/>
                    <a:pt x="128" y="15"/>
                    <a:pt x="129" y="13"/>
                  </a:cubicBezTo>
                  <a:cubicBezTo>
                    <a:pt x="129" y="11"/>
                    <a:pt x="129" y="0"/>
                    <a:pt x="129" y="0"/>
                  </a:cubicBezTo>
                  <a:cubicBezTo>
                    <a:pt x="129" y="0"/>
                    <a:pt x="128" y="3"/>
                    <a:pt x="125" y="3"/>
                  </a:cubicBezTo>
                  <a:cubicBezTo>
                    <a:pt x="124" y="3"/>
                    <a:pt x="118" y="7"/>
                    <a:pt x="115" y="8"/>
                  </a:cubicBezTo>
                  <a:cubicBezTo>
                    <a:pt x="113" y="9"/>
                    <a:pt x="107" y="11"/>
                    <a:pt x="105" y="12"/>
                  </a:cubicBezTo>
                  <a:cubicBezTo>
                    <a:pt x="102" y="13"/>
                    <a:pt x="101" y="9"/>
                    <a:pt x="97" y="12"/>
                  </a:cubicBezTo>
                  <a:cubicBezTo>
                    <a:pt x="93" y="13"/>
                    <a:pt x="95" y="16"/>
                    <a:pt x="91" y="16"/>
                  </a:cubicBezTo>
                  <a:cubicBezTo>
                    <a:pt x="87" y="15"/>
                    <a:pt x="86" y="15"/>
                    <a:pt x="82" y="16"/>
                  </a:cubicBezTo>
                  <a:cubicBezTo>
                    <a:pt x="78" y="17"/>
                    <a:pt x="75" y="17"/>
                    <a:pt x="74" y="15"/>
                  </a:cubicBezTo>
                  <a:cubicBezTo>
                    <a:pt x="74" y="12"/>
                    <a:pt x="70" y="15"/>
                    <a:pt x="68" y="15"/>
                  </a:cubicBezTo>
                  <a:cubicBezTo>
                    <a:pt x="66" y="15"/>
                    <a:pt x="59" y="15"/>
                    <a:pt x="59" y="15"/>
                  </a:cubicBezTo>
                  <a:cubicBezTo>
                    <a:pt x="55" y="17"/>
                    <a:pt x="55" y="17"/>
                    <a:pt x="55" y="17"/>
                  </a:cubicBezTo>
                  <a:cubicBezTo>
                    <a:pt x="55" y="17"/>
                    <a:pt x="52" y="24"/>
                    <a:pt x="52" y="26"/>
                  </a:cubicBezTo>
                  <a:cubicBezTo>
                    <a:pt x="54" y="29"/>
                    <a:pt x="55" y="40"/>
                    <a:pt x="55" y="40"/>
                  </a:cubicBezTo>
                  <a:cubicBezTo>
                    <a:pt x="55" y="40"/>
                    <a:pt x="59" y="42"/>
                    <a:pt x="60" y="42"/>
                  </a:cubicBezTo>
                  <a:cubicBezTo>
                    <a:pt x="63" y="42"/>
                    <a:pt x="69" y="52"/>
                    <a:pt x="70" y="54"/>
                  </a:cubicBezTo>
                  <a:cubicBezTo>
                    <a:pt x="72" y="57"/>
                    <a:pt x="70" y="66"/>
                    <a:pt x="70" y="66"/>
                  </a:cubicBezTo>
                  <a:cubicBezTo>
                    <a:pt x="70" y="74"/>
                    <a:pt x="70" y="74"/>
                    <a:pt x="70" y="74"/>
                  </a:cubicBezTo>
                  <a:cubicBezTo>
                    <a:pt x="64" y="75"/>
                    <a:pt x="64" y="75"/>
                    <a:pt x="64" y="75"/>
                  </a:cubicBezTo>
                  <a:cubicBezTo>
                    <a:pt x="64" y="75"/>
                    <a:pt x="61" y="77"/>
                    <a:pt x="63" y="79"/>
                  </a:cubicBezTo>
                  <a:cubicBezTo>
                    <a:pt x="63" y="80"/>
                    <a:pt x="64" y="80"/>
                    <a:pt x="64" y="84"/>
                  </a:cubicBezTo>
                  <a:cubicBezTo>
                    <a:pt x="64" y="88"/>
                    <a:pt x="61" y="86"/>
                    <a:pt x="61" y="86"/>
                  </a:cubicBezTo>
                  <a:cubicBezTo>
                    <a:pt x="61" y="86"/>
                    <a:pt x="60" y="83"/>
                    <a:pt x="58" y="80"/>
                  </a:cubicBezTo>
                  <a:cubicBezTo>
                    <a:pt x="54" y="79"/>
                    <a:pt x="51" y="71"/>
                    <a:pt x="51" y="71"/>
                  </a:cubicBezTo>
                  <a:cubicBezTo>
                    <a:pt x="51" y="71"/>
                    <a:pt x="52" y="66"/>
                    <a:pt x="55" y="61"/>
                  </a:cubicBezTo>
                  <a:cubicBezTo>
                    <a:pt x="56" y="57"/>
                    <a:pt x="55" y="51"/>
                    <a:pt x="52" y="51"/>
                  </a:cubicBezTo>
                  <a:cubicBezTo>
                    <a:pt x="50" y="51"/>
                    <a:pt x="42" y="52"/>
                    <a:pt x="42" y="52"/>
                  </a:cubicBezTo>
                  <a:cubicBezTo>
                    <a:pt x="37" y="45"/>
                    <a:pt x="37" y="45"/>
                    <a:pt x="37" y="45"/>
                  </a:cubicBezTo>
                  <a:cubicBezTo>
                    <a:pt x="34" y="47"/>
                    <a:pt x="34" y="47"/>
                    <a:pt x="34" y="47"/>
                  </a:cubicBezTo>
                  <a:cubicBezTo>
                    <a:pt x="34" y="47"/>
                    <a:pt x="1" y="57"/>
                    <a:pt x="0" y="60"/>
                  </a:cubicBezTo>
                  <a:cubicBezTo>
                    <a:pt x="0" y="62"/>
                    <a:pt x="3" y="67"/>
                    <a:pt x="3" y="67"/>
                  </a:cubicBezTo>
                  <a:cubicBezTo>
                    <a:pt x="3" y="72"/>
                    <a:pt x="3" y="72"/>
                    <a:pt x="3" y="72"/>
                  </a:cubicBezTo>
                  <a:cubicBezTo>
                    <a:pt x="10" y="72"/>
                    <a:pt x="10" y="72"/>
                    <a:pt x="10" y="72"/>
                  </a:cubicBezTo>
                  <a:cubicBezTo>
                    <a:pt x="10" y="72"/>
                    <a:pt x="17" y="75"/>
                    <a:pt x="18" y="75"/>
                  </a:cubicBezTo>
                  <a:cubicBezTo>
                    <a:pt x="20" y="75"/>
                    <a:pt x="24" y="77"/>
                    <a:pt x="27" y="79"/>
                  </a:cubicBezTo>
                  <a:cubicBezTo>
                    <a:pt x="28" y="79"/>
                    <a:pt x="33" y="80"/>
                    <a:pt x="34" y="81"/>
                  </a:cubicBezTo>
                  <a:cubicBezTo>
                    <a:pt x="36" y="81"/>
                    <a:pt x="34" y="90"/>
                    <a:pt x="34" y="94"/>
                  </a:cubicBezTo>
                  <a:cubicBezTo>
                    <a:pt x="34" y="97"/>
                    <a:pt x="36" y="103"/>
                    <a:pt x="34" y="104"/>
                  </a:cubicBezTo>
                  <a:cubicBezTo>
                    <a:pt x="33" y="107"/>
                    <a:pt x="33" y="110"/>
                    <a:pt x="32" y="110"/>
                  </a:cubicBezTo>
                  <a:cubicBezTo>
                    <a:pt x="29" y="110"/>
                    <a:pt x="33" y="113"/>
                    <a:pt x="33" y="116"/>
                  </a:cubicBezTo>
                  <a:cubicBezTo>
                    <a:pt x="32" y="119"/>
                    <a:pt x="36" y="121"/>
                    <a:pt x="36" y="122"/>
                  </a:cubicBezTo>
                  <a:cubicBezTo>
                    <a:pt x="36" y="124"/>
                    <a:pt x="34" y="129"/>
                    <a:pt x="33" y="130"/>
                  </a:cubicBezTo>
                  <a:cubicBezTo>
                    <a:pt x="31" y="133"/>
                    <a:pt x="31" y="133"/>
                    <a:pt x="29" y="135"/>
                  </a:cubicBezTo>
                  <a:cubicBezTo>
                    <a:pt x="28" y="137"/>
                    <a:pt x="28" y="142"/>
                    <a:pt x="28" y="142"/>
                  </a:cubicBezTo>
                  <a:cubicBezTo>
                    <a:pt x="14" y="157"/>
                    <a:pt x="14" y="157"/>
                    <a:pt x="14" y="157"/>
                  </a:cubicBezTo>
                  <a:cubicBezTo>
                    <a:pt x="14" y="157"/>
                    <a:pt x="17" y="164"/>
                    <a:pt x="15" y="165"/>
                  </a:cubicBezTo>
                  <a:cubicBezTo>
                    <a:pt x="15" y="166"/>
                    <a:pt x="19" y="176"/>
                    <a:pt x="20" y="179"/>
                  </a:cubicBezTo>
                  <a:cubicBezTo>
                    <a:pt x="23" y="183"/>
                    <a:pt x="23" y="191"/>
                    <a:pt x="23" y="194"/>
                  </a:cubicBezTo>
                  <a:cubicBezTo>
                    <a:pt x="23" y="200"/>
                    <a:pt x="22" y="206"/>
                    <a:pt x="23" y="207"/>
                  </a:cubicBezTo>
                  <a:cubicBezTo>
                    <a:pt x="24" y="207"/>
                    <a:pt x="23" y="219"/>
                    <a:pt x="23" y="219"/>
                  </a:cubicBezTo>
                  <a:cubicBezTo>
                    <a:pt x="33" y="220"/>
                    <a:pt x="33" y="220"/>
                    <a:pt x="33" y="220"/>
                  </a:cubicBezTo>
                  <a:cubicBezTo>
                    <a:pt x="33" y="220"/>
                    <a:pt x="33" y="209"/>
                    <a:pt x="33" y="203"/>
                  </a:cubicBezTo>
                  <a:cubicBezTo>
                    <a:pt x="33" y="200"/>
                    <a:pt x="34" y="200"/>
                    <a:pt x="38" y="198"/>
                  </a:cubicBezTo>
                  <a:cubicBezTo>
                    <a:pt x="42" y="196"/>
                    <a:pt x="60" y="189"/>
                    <a:pt x="63" y="187"/>
                  </a:cubicBezTo>
                  <a:cubicBezTo>
                    <a:pt x="65" y="185"/>
                    <a:pt x="66" y="180"/>
                    <a:pt x="66" y="176"/>
                  </a:cubicBezTo>
                  <a:cubicBezTo>
                    <a:pt x="68" y="171"/>
                    <a:pt x="66" y="160"/>
                    <a:pt x="66" y="157"/>
                  </a:cubicBezTo>
                  <a:cubicBezTo>
                    <a:pt x="66" y="155"/>
                    <a:pt x="64" y="155"/>
                    <a:pt x="64" y="155"/>
                  </a:cubicBezTo>
                  <a:cubicBezTo>
                    <a:pt x="64" y="155"/>
                    <a:pt x="63" y="151"/>
                    <a:pt x="63" y="146"/>
                  </a:cubicBezTo>
                  <a:cubicBezTo>
                    <a:pt x="63" y="139"/>
                    <a:pt x="59" y="134"/>
                    <a:pt x="56" y="133"/>
                  </a:cubicBezTo>
                  <a:cubicBezTo>
                    <a:pt x="54" y="130"/>
                    <a:pt x="56" y="126"/>
                    <a:pt x="59" y="122"/>
                  </a:cubicBezTo>
                  <a:cubicBezTo>
                    <a:pt x="61" y="120"/>
                    <a:pt x="66" y="116"/>
                    <a:pt x="69" y="115"/>
                  </a:cubicBezTo>
                  <a:cubicBezTo>
                    <a:pt x="70" y="112"/>
                    <a:pt x="78" y="110"/>
                    <a:pt x="78" y="110"/>
                  </a:cubicBezTo>
                  <a:cubicBezTo>
                    <a:pt x="78" y="110"/>
                    <a:pt x="78" y="106"/>
                    <a:pt x="79" y="104"/>
                  </a:cubicBezTo>
                  <a:cubicBezTo>
                    <a:pt x="82" y="103"/>
                    <a:pt x="93" y="90"/>
                    <a:pt x="97" y="90"/>
                  </a:cubicBezTo>
                  <a:cubicBezTo>
                    <a:pt x="102" y="90"/>
                    <a:pt x="116" y="80"/>
                    <a:pt x="119" y="79"/>
                  </a:cubicBezTo>
                  <a:cubicBezTo>
                    <a:pt x="123" y="77"/>
                    <a:pt x="128" y="66"/>
                    <a:pt x="130" y="63"/>
                  </a:cubicBezTo>
                  <a:cubicBezTo>
                    <a:pt x="132" y="61"/>
                    <a:pt x="133" y="52"/>
                    <a:pt x="132" y="48"/>
                  </a:cubicBezTo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891045"/>
              <a:endParaRPr lang="en-US" sz="1700" dirty="0">
                <a:solidFill>
                  <a:srgbClr val="003149"/>
                </a:solidFill>
                <a:cs typeface="Arial" panose="020B0604020202020204" pitchFamily="34" charset="0"/>
              </a:endParaRPr>
            </a:p>
          </p:txBody>
        </p:sp>
      </p:grpSp>
      <p:grpSp>
        <p:nvGrpSpPr>
          <p:cNvPr id="495" name="Group 308"/>
          <p:cNvGrpSpPr>
            <a:grpSpLocks/>
          </p:cNvGrpSpPr>
          <p:nvPr/>
        </p:nvGrpSpPr>
        <p:grpSpPr bwMode="gray">
          <a:xfrm>
            <a:off x="1602928" y="2801395"/>
            <a:ext cx="145817" cy="157314"/>
            <a:chOff x="4532" y="3213"/>
            <a:chExt cx="100" cy="102"/>
          </a:xfrm>
          <a:solidFill>
            <a:schemeClr val="accent3"/>
          </a:solidFill>
        </p:grpSpPr>
        <p:sp>
          <p:nvSpPr>
            <p:cNvPr id="496" name="Freeform 309"/>
            <p:cNvSpPr>
              <a:spLocks noEditPoints="1"/>
            </p:cNvSpPr>
            <p:nvPr/>
          </p:nvSpPr>
          <p:spPr bwMode="gray">
            <a:xfrm>
              <a:off x="4532" y="3213"/>
              <a:ext cx="100" cy="102"/>
            </a:xfrm>
            <a:custGeom>
              <a:avLst/>
              <a:gdLst>
                <a:gd name="T0" fmla="*/ 0 w 992"/>
                <a:gd name="T1" fmla="*/ 0 h 1008"/>
                <a:gd name="T2" fmla="*/ 0 w 992"/>
                <a:gd name="T3" fmla="*/ 0 h 1008"/>
                <a:gd name="T4" fmla="*/ 0 w 992"/>
                <a:gd name="T5" fmla="*/ 0 h 1008"/>
                <a:gd name="T6" fmla="*/ 0 w 992"/>
                <a:gd name="T7" fmla="*/ 0 h 1008"/>
                <a:gd name="T8" fmla="*/ 0 w 992"/>
                <a:gd name="T9" fmla="*/ 0 h 1008"/>
                <a:gd name="T10" fmla="*/ 0 w 992"/>
                <a:gd name="T11" fmla="*/ 0 h 1008"/>
                <a:gd name="T12" fmla="*/ 0 w 992"/>
                <a:gd name="T13" fmla="*/ 0 h 1008"/>
                <a:gd name="T14" fmla="*/ 0 w 992"/>
                <a:gd name="T15" fmla="*/ 0 h 1008"/>
                <a:gd name="T16" fmla="*/ 0 w 992"/>
                <a:gd name="T17" fmla="*/ 0 h 1008"/>
                <a:gd name="T18" fmla="*/ 0 w 992"/>
                <a:gd name="T19" fmla="*/ 0 h 1008"/>
                <a:gd name="T20" fmla="*/ 0 w 992"/>
                <a:gd name="T21" fmla="*/ 0 h 1008"/>
                <a:gd name="T22" fmla="*/ 0 w 992"/>
                <a:gd name="T23" fmla="*/ 0 h 1008"/>
                <a:gd name="T24" fmla="*/ 0 w 992"/>
                <a:gd name="T25" fmla="*/ 0 h 1008"/>
                <a:gd name="T26" fmla="*/ 0 w 992"/>
                <a:gd name="T27" fmla="*/ 0 h 1008"/>
                <a:gd name="T28" fmla="*/ 0 w 992"/>
                <a:gd name="T29" fmla="*/ 0 h 1008"/>
                <a:gd name="T30" fmla="*/ 0 w 992"/>
                <a:gd name="T31" fmla="*/ 0 h 1008"/>
                <a:gd name="T32" fmla="*/ 0 w 992"/>
                <a:gd name="T33" fmla="*/ 0 h 1008"/>
                <a:gd name="T34" fmla="*/ 0 w 992"/>
                <a:gd name="T35" fmla="*/ 0 h 1008"/>
                <a:gd name="T36" fmla="*/ 0 w 992"/>
                <a:gd name="T37" fmla="*/ 0 h 1008"/>
                <a:gd name="T38" fmla="*/ 0 w 992"/>
                <a:gd name="T39" fmla="*/ 0 h 1008"/>
                <a:gd name="T40" fmla="*/ 0 w 992"/>
                <a:gd name="T41" fmla="*/ 0 h 1008"/>
                <a:gd name="T42" fmla="*/ 0 w 992"/>
                <a:gd name="T43" fmla="*/ 0 h 1008"/>
                <a:gd name="T44" fmla="*/ 0 w 992"/>
                <a:gd name="T45" fmla="*/ 0 h 1008"/>
                <a:gd name="T46" fmla="*/ 0 w 992"/>
                <a:gd name="T47" fmla="*/ 0 h 1008"/>
                <a:gd name="T48" fmla="*/ 0 w 992"/>
                <a:gd name="T49" fmla="*/ 0 h 1008"/>
                <a:gd name="T50" fmla="*/ 0 w 992"/>
                <a:gd name="T51" fmla="*/ 0 h 1008"/>
                <a:gd name="T52" fmla="*/ 0 w 992"/>
                <a:gd name="T53" fmla="*/ 0 h 1008"/>
                <a:gd name="T54" fmla="*/ 0 w 992"/>
                <a:gd name="T55" fmla="*/ 0 h 1008"/>
                <a:gd name="T56" fmla="*/ 0 w 992"/>
                <a:gd name="T57" fmla="*/ 0 h 1008"/>
                <a:gd name="T58" fmla="*/ 0 w 992"/>
                <a:gd name="T59" fmla="*/ 0 h 1008"/>
                <a:gd name="T60" fmla="*/ 0 w 992"/>
                <a:gd name="T61" fmla="*/ 0 h 1008"/>
                <a:gd name="T62" fmla="*/ 0 w 992"/>
                <a:gd name="T63" fmla="*/ 0 h 1008"/>
                <a:gd name="T64" fmla="*/ 0 w 992"/>
                <a:gd name="T65" fmla="*/ 0 h 1008"/>
                <a:gd name="T66" fmla="*/ 0 w 992"/>
                <a:gd name="T67" fmla="*/ 0 h 1008"/>
                <a:gd name="T68" fmla="*/ 0 w 992"/>
                <a:gd name="T69" fmla="*/ 0 h 1008"/>
                <a:gd name="T70" fmla="*/ 0 w 992"/>
                <a:gd name="T71" fmla="*/ 0 h 1008"/>
                <a:gd name="T72" fmla="*/ 0 w 992"/>
                <a:gd name="T73" fmla="*/ 0 h 1008"/>
                <a:gd name="T74" fmla="*/ 0 w 992"/>
                <a:gd name="T75" fmla="*/ 0 h 1008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992"/>
                <a:gd name="T115" fmla="*/ 0 h 1008"/>
                <a:gd name="T116" fmla="*/ 992 w 992"/>
                <a:gd name="T117" fmla="*/ 1008 h 1008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992" h="1008">
                  <a:moveTo>
                    <a:pt x="734" y="0"/>
                  </a:moveTo>
                  <a:cubicBezTo>
                    <a:pt x="721" y="0"/>
                    <a:pt x="721" y="0"/>
                    <a:pt x="721" y="0"/>
                  </a:cubicBezTo>
                  <a:cubicBezTo>
                    <a:pt x="683" y="13"/>
                    <a:pt x="644" y="38"/>
                    <a:pt x="631" y="38"/>
                  </a:cubicBezTo>
                  <a:cubicBezTo>
                    <a:pt x="644" y="38"/>
                    <a:pt x="683" y="13"/>
                    <a:pt x="734" y="0"/>
                  </a:cubicBezTo>
                  <a:close/>
                  <a:moveTo>
                    <a:pt x="966" y="600"/>
                  </a:moveTo>
                  <a:cubicBezTo>
                    <a:pt x="966" y="575"/>
                    <a:pt x="927" y="536"/>
                    <a:pt x="953" y="536"/>
                  </a:cubicBezTo>
                  <a:cubicBezTo>
                    <a:pt x="966" y="536"/>
                    <a:pt x="966" y="511"/>
                    <a:pt x="979" y="485"/>
                  </a:cubicBezTo>
                  <a:cubicBezTo>
                    <a:pt x="992" y="472"/>
                    <a:pt x="979" y="409"/>
                    <a:pt x="979" y="383"/>
                  </a:cubicBezTo>
                  <a:cubicBezTo>
                    <a:pt x="979" y="345"/>
                    <a:pt x="992" y="255"/>
                    <a:pt x="979" y="255"/>
                  </a:cubicBezTo>
                  <a:cubicBezTo>
                    <a:pt x="966" y="243"/>
                    <a:pt x="915" y="230"/>
                    <a:pt x="902" y="230"/>
                  </a:cubicBezTo>
                  <a:cubicBezTo>
                    <a:pt x="876" y="217"/>
                    <a:pt x="837" y="192"/>
                    <a:pt x="811" y="192"/>
                  </a:cubicBezTo>
                  <a:cubicBezTo>
                    <a:pt x="799" y="192"/>
                    <a:pt x="734" y="166"/>
                    <a:pt x="734" y="166"/>
                  </a:cubicBezTo>
                  <a:cubicBezTo>
                    <a:pt x="657" y="166"/>
                    <a:pt x="657" y="166"/>
                    <a:pt x="657" y="166"/>
                  </a:cubicBezTo>
                  <a:cubicBezTo>
                    <a:pt x="657" y="115"/>
                    <a:pt x="657" y="115"/>
                    <a:pt x="657" y="115"/>
                  </a:cubicBezTo>
                  <a:cubicBezTo>
                    <a:pt x="657" y="115"/>
                    <a:pt x="657" y="115"/>
                    <a:pt x="657" y="115"/>
                  </a:cubicBezTo>
                  <a:cubicBezTo>
                    <a:pt x="657" y="115"/>
                    <a:pt x="618" y="128"/>
                    <a:pt x="580" y="128"/>
                  </a:cubicBezTo>
                  <a:cubicBezTo>
                    <a:pt x="528" y="128"/>
                    <a:pt x="477" y="153"/>
                    <a:pt x="477" y="153"/>
                  </a:cubicBezTo>
                  <a:cubicBezTo>
                    <a:pt x="451" y="230"/>
                    <a:pt x="451" y="230"/>
                    <a:pt x="451" y="230"/>
                  </a:cubicBezTo>
                  <a:cubicBezTo>
                    <a:pt x="451" y="230"/>
                    <a:pt x="348" y="281"/>
                    <a:pt x="335" y="281"/>
                  </a:cubicBezTo>
                  <a:cubicBezTo>
                    <a:pt x="322" y="281"/>
                    <a:pt x="283" y="345"/>
                    <a:pt x="258" y="383"/>
                  </a:cubicBezTo>
                  <a:cubicBezTo>
                    <a:pt x="232" y="409"/>
                    <a:pt x="180" y="434"/>
                    <a:pt x="180" y="434"/>
                  </a:cubicBezTo>
                  <a:cubicBezTo>
                    <a:pt x="180" y="434"/>
                    <a:pt x="142" y="421"/>
                    <a:pt x="116" y="421"/>
                  </a:cubicBezTo>
                  <a:cubicBezTo>
                    <a:pt x="103" y="434"/>
                    <a:pt x="0" y="409"/>
                    <a:pt x="0" y="409"/>
                  </a:cubicBezTo>
                  <a:cubicBezTo>
                    <a:pt x="0" y="409"/>
                    <a:pt x="65" y="498"/>
                    <a:pt x="65" y="511"/>
                  </a:cubicBezTo>
                  <a:cubicBezTo>
                    <a:pt x="77" y="523"/>
                    <a:pt x="129" y="626"/>
                    <a:pt x="129" y="626"/>
                  </a:cubicBezTo>
                  <a:cubicBezTo>
                    <a:pt x="271" y="715"/>
                    <a:pt x="271" y="715"/>
                    <a:pt x="271" y="715"/>
                  </a:cubicBezTo>
                  <a:cubicBezTo>
                    <a:pt x="309" y="766"/>
                    <a:pt x="309" y="766"/>
                    <a:pt x="309" y="766"/>
                  </a:cubicBezTo>
                  <a:cubicBezTo>
                    <a:pt x="309" y="766"/>
                    <a:pt x="309" y="791"/>
                    <a:pt x="309" y="817"/>
                  </a:cubicBezTo>
                  <a:cubicBezTo>
                    <a:pt x="322" y="830"/>
                    <a:pt x="348" y="894"/>
                    <a:pt x="374" y="906"/>
                  </a:cubicBezTo>
                  <a:cubicBezTo>
                    <a:pt x="399" y="906"/>
                    <a:pt x="490" y="932"/>
                    <a:pt x="490" y="932"/>
                  </a:cubicBezTo>
                  <a:cubicBezTo>
                    <a:pt x="490" y="932"/>
                    <a:pt x="502" y="957"/>
                    <a:pt x="515" y="970"/>
                  </a:cubicBezTo>
                  <a:cubicBezTo>
                    <a:pt x="515" y="996"/>
                    <a:pt x="605" y="996"/>
                    <a:pt x="631" y="1008"/>
                  </a:cubicBezTo>
                  <a:cubicBezTo>
                    <a:pt x="657" y="1008"/>
                    <a:pt x="760" y="996"/>
                    <a:pt x="773" y="1008"/>
                  </a:cubicBezTo>
                  <a:cubicBezTo>
                    <a:pt x="915" y="855"/>
                    <a:pt x="915" y="855"/>
                    <a:pt x="915" y="855"/>
                  </a:cubicBezTo>
                  <a:cubicBezTo>
                    <a:pt x="915" y="855"/>
                    <a:pt x="915" y="804"/>
                    <a:pt x="927" y="791"/>
                  </a:cubicBezTo>
                  <a:cubicBezTo>
                    <a:pt x="940" y="766"/>
                    <a:pt x="940" y="766"/>
                    <a:pt x="966" y="740"/>
                  </a:cubicBezTo>
                  <a:cubicBezTo>
                    <a:pt x="979" y="728"/>
                    <a:pt x="992" y="677"/>
                    <a:pt x="992" y="664"/>
                  </a:cubicBezTo>
                  <a:cubicBezTo>
                    <a:pt x="992" y="651"/>
                    <a:pt x="953" y="626"/>
                    <a:pt x="966" y="600"/>
                  </a:cubicBezTo>
                  <a:close/>
                </a:path>
              </a:pathLst>
            </a:custGeom>
            <a:grpFill/>
            <a:ln w="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891045"/>
              <a:endParaRPr lang="en-US" sz="1700" dirty="0">
                <a:solidFill>
                  <a:srgbClr val="003149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497" name="Freeform 310"/>
            <p:cNvSpPr>
              <a:spLocks noEditPoints="1"/>
            </p:cNvSpPr>
            <p:nvPr/>
          </p:nvSpPr>
          <p:spPr bwMode="gray">
            <a:xfrm>
              <a:off x="4532" y="3213"/>
              <a:ext cx="100" cy="102"/>
            </a:xfrm>
            <a:custGeom>
              <a:avLst/>
              <a:gdLst>
                <a:gd name="T0" fmla="*/ 0 w 992"/>
                <a:gd name="T1" fmla="*/ 0 h 1008"/>
                <a:gd name="T2" fmla="*/ 0 w 992"/>
                <a:gd name="T3" fmla="*/ 0 h 1008"/>
                <a:gd name="T4" fmla="*/ 0 w 992"/>
                <a:gd name="T5" fmla="*/ 0 h 1008"/>
                <a:gd name="T6" fmla="*/ 0 w 992"/>
                <a:gd name="T7" fmla="*/ 0 h 1008"/>
                <a:gd name="T8" fmla="*/ 0 w 992"/>
                <a:gd name="T9" fmla="*/ 0 h 1008"/>
                <a:gd name="T10" fmla="*/ 0 w 992"/>
                <a:gd name="T11" fmla="*/ 0 h 1008"/>
                <a:gd name="T12" fmla="*/ 0 w 992"/>
                <a:gd name="T13" fmla="*/ 0 h 1008"/>
                <a:gd name="T14" fmla="*/ 0 w 992"/>
                <a:gd name="T15" fmla="*/ 0 h 1008"/>
                <a:gd name="T16" fmla="*/ 0 w 992"/>
                <a:gd name="T17" fmla="*/ 0 h 1008"/>
                <a:gd name="T18" fmla="*/ 0 w 992"/>
                <a:gd name="T19" fmla="*/ 0 h 1008"/>
                <a:gd name="T20" fmla="*/ 0 w 992"/>
                <a:gd name="T21" fmla="*/ 0 h 1008"/>
                <a:gd name="T22" fmla="*/ 0 w 992"/>
                <a:gd name="T23" fmla="*/ 0 h 1008"/>
                <a:gd name="T24" fmla="*/ 0 w 992"/>
                <a:gd name="T25" fmla="*/ 0 h 1008"/>
                <a:gd name="T26" fmla="*/ 0 w 992"/>
                <a:gd name="T27" fmla="*/ 0 h 1008"/>
                <a:gd name="T28" fmla="*/ 0 w 992"/>
                <a:gd name="T29" fmla="*/ 0 h 1008"/>
                <a:gd name="T30" fmla="*/ 0 w 992"/>
                <a:gd name="T31" fmla="*/ 0 h 1008"/>
                <a:gd name="T32" fmla="*/ 0 w 992"/>
                <a:gd name="T33" fmla="*/ 0 h 1008"/>
                <a:gd name="T34" fmla="*/ 0 w 992"/>
                <a:gd name="T35" fmla="*/ 0 h 1008"/>
                <a:gd name="T36" fmla="*/ 0 w 992"/>
                <a:gd name="T37" fmla="*/ 0 h 1008"/>
                <a:gd name="T38" fmla="*/ 0 w 992"/>
                <a:gd name="T39" fmla="*/ 0 h 1008"/>
                <a:gd name="T40" fmla="*/ 0 w 992"/>
                <a:gd name="T41" fmla="*/ 0 h 1008"/>
                <a:gd name="T42" fmla="*/ 0 w 992"/>
                <a:gd name="T43" fmla="*/ 0 h 1008"/>
                <a:gd name="T44" fmla="*/ 0 w 992"/>
                <a:gd name="T45" fmla="*/ 0 h 1008"/>
                <a:gd name="T46" fmla="*/ 0 w 992"/>
                <a:gd name="T47" fmla="*/ 0 h 1008"/>
                <a:gd name="T48" fmla="*/ 0 w 992"/>
                <a:gd name="T49" fmla="*/ 0 h 1008"/>
                <a:gd name="T50" fmla="*/ 0 w 992"/>
                <a:gd name="T51" fmla="*/ 0 h 1008"/>
                <a:gd name="T52" fmla="*/ 0 w 992"/>
                <a:gd name="T53" fmla="*/ 0 h 1008"/>
                <a:gd name="T54" fmla="*/ 0 w 992"/>
                <a:gd name="T55" fmla="*/ 0 h 1008"/>
                <a:gd name="T56" fmla="*/ 0 w 992"/>
                <a:gd name="T57" fmla="*/ 0 h 1008"/>
                <a:gd name="T58" fmla="*/ 0 w 992"/>
                <a:gd name="T59" fmla="*/ 0 h 1008"/>
                <a:gd name="T60" fmla="*/ 0 w 992"/>
                <a:gd name="T61" fmla="*/ 0 h 1008"/>
                <a:gd name="T62" fmla="*/ 0 w 992"/>
                <a:gd name="T63" fmla="*/ 0 h 1008"/>
                <a:gd name="T64" fmla="*/ 0 w 992"/>
                <a:gd name="T65" fmla="*/ 0 h 1008"/>
                <a:gd name="T66" fmla="*/ 0 w 992"/>
                <a:gd name="T67" fmla="*/ 0 h 1008"/>
                <a:gd name="T68" fmla="*/ 0 w 992"/>
                <a:gd name="T69" fmla="*/ 0 h 1008"/>
                <a:gd name="T70" fmla="*/ 0 w 992"/>
                <a:gd name="T71" fmla="*/ 0 h 1008"/>
                <a:gd name="T72" fmla="*/ 0 w 992"/>
                <a:gd name="T73" fmla="*/ 0 h 1008"/>
                <a:gd name="T74" fmla="*/ 0 w 992"/>
                <a:gd name="T75" fmla="*/ 0 h 1008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992"/>
                <a:gd name="T115" fmla="*/ 0 h 1008"/>
                <a:gd name="T116" fmla="*/ 992 w 992"/>
                <a:gd name="T117" fmla="*/ 1008 h 1008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992" h="1008">
                  <a:moveTo>
                    <a:pt x="734" y="0"/>
                  </a:moveTo>
                  <a:cubicBezTo>
                    <a:pt x="721" y="0"/>
                    <a:pt x="721" y="0"/>
                    <a:pt x="721" y="0"/>
                  </a:cubicBezTo>
                  <a:cubicBezTo>
                    <a:pt x="683" y="13"/>
                    <a:pt x="644" y="38"/>
                    <a:pt x="631" y="38"/>
                  </a:cubicBezTo>
                  <a:cubicBezTo>
                    <a:pt x="644" y="38"/>
                    <a:pt x="683" y="13"/>
                    <a:pt x="734" y="0"/>
                  </a:cubicBezTo>
                  <a:close/>
                  <a:moveTo>
                    <a:pt x="966" y="600"/>
                  </a:moveTo>
                  <a:cubicBezTo>
                    <a:pt x="966" y="575"/>
                    <a:pt x="927" y="536"/>
                    <a:pt x="953" y="536"/>
                  </a:cubicBezTo>
                  <a:cubicBezTo>
                    <a:pt x="966" y="536"/>
                    <a:pt x="966" y="511"/>
                    <a:pt x="979" y="485"/>
                  </a:cubicBezTo>
                  <a:cubicBezTo>
                    <a:pt x="992" y="472"/>
                    <a:pt x="979" y="409"/>
                    <a:pt x="979" y="383"/>
                  </a:cubicBezTo>
                  <a:cubicBezTo>
                    <a:pt x="979" y="345"/>
                    <a:pt x="992" y="255"/>
                    <a:pt x="979" y="255"/>
                  </a:cubicBezTo>
                  <a:cubicBezTo>
                    <a:pt x="966" y="243"/>
                    <a:pt x="915" y="230"/>
                    <a:pt x="902" y="230"/>
                  </a:cubicBezTo>
                  <a:cubicBezTo>
                    <a:pt x="876" y="217"/>
                    <a:pt x="837" y="192"/>
                    <a:pt x="811" y="192"/>
                  </a:cubicBezTo>
                  <a:cubicBezTo>
                    <a:pt x="799" y="192"/>
                    <a:pt x="734" y="166"/>
                    <a:pt x="734" y="166"/>
                  </a:cubicBezTo>
                  <a:cubicBezTo>
                    <a:pt x="657" y="166"/>
                    <a:pt x="657" y="166"/>
                    <a:pt x="657" y="166"/>
                  </a:cubicBezTo>
                  <a:cubicBezTo>
                    <a:pt x="657" y="115"/>
                    <a:pt x="657" y="115"/>
                    <a:pt x="657" y="115"/>
                  </a:cubicBezTo>
                  <a:cubicBezTo>
                    <a:pt x="657" y="115"/>
                    <a:pt x="657" y="115"/>
                    <a:pt x="657" y="115"/>
                  </a:cubicBezTo>
                  <a:cubicBezTo>
                    <a:pt x="657" y="115"/>
                    <a:pt x="618" y="128"/>
                    <a:pt x="580" y="128"/>
                  </a:cubicBezTo>
                  <a:cubicBezTo>
                    <a:pt x="528" y="128"/>
                    <a:pt x="477" y="153"/>
                    <a:pt x="477" y="153"/>
                  </a:cubicBezTo>
                  <a:cubicBezTo>
                    <a:pt x="451" y="230"/>
                    <a:pt x="451" y="230"/>
                    <a:pt x="451" y="230"/>
                  </a:cubicBezTo>
                  <a:cubicBezTo>
                    <a:pt x="451" y="230"/>
                    <a:pt x="348" y="281"/>
                    <a:pt x="335" y="281"/>
                  </a:cubicBezTo>
                  <a:cubicBezTo>
                    <a:pt x="322" y="281"/>
                    <a:pt x="283" y="345"/>
                    <a:pt x="258" y="383"/>
                  </a:cubicBezTo>
                  <a:cubicBezTo>
                    <a:pt x="232" y="409"/>
                    <a:pt x="180" y="434"/>
                    <a:pt x="180" y="434"/>
                  </a:cubicBezTo>
                  <a:cubicBezTo>
                    <a:pt x="180" y="434"/>
                    <a:pt x="142" y="421"/>
                    <a:pt x="116" y="421"/>
                  </a:cubicBezTo>
                  <a:cubicBezTo>
                    <a:pt x="103" y="434"/>
                    <a:pt x="0" y="409"/>
                    <a:pt x="0" y="409"/>
                  </a:cubicBezTo>
                  <a:cubicBezTo>
                    <a:pt x="0" y="409"/>
                    <a:pt x="65" y="498"/>
                    <a:pt x="65" y="511"/>
                  </a:cubicBezTo>
                  <a:cubicBezTo>
                    <a:pt x="77" y="523"/>
                    <a:pt x="129" y="626"/>
                    <a:pt x="129" y="626"/>
                  </a:cubicBezTo>
                  <a:cubicBezTo>
                    <a:pt x="271" y="715"/>
                    <a:pt x="271" y="715"/>
                    <a:pt x="271" y="715"/>
                  </a:cubicBezTo>
                  <a:cubicBezTo>
                    <a:pt x="309" y="766"/>
                    <a:pt x="309" y="766"/>
                    <a:pt x="309" y="766"/>
                  </a:cubicBezTo>
                  <a:cubicBezTo>
                    <a:pt x="309" y="766"/>
                    <a:pt x="309" y="791"/>
                    <a:pt x="309" y="817"/>
                  </a:cubicBezTo>
                  <a:cubicBezTo>
                    <a:pt x="322" y="830"/>
                    <a:pt x="348" y="894"/>
                    <a:pt x="374" y="906"/>
                  </a:cubicBezTo>
                  <a:cubicBezTo>
                    <a:pt x="399" y="906"/>
                    <a:pt x="490" y="932"/>
                    <a:pt x="490" y="932"/>
                  </a:cubicBezTo>
                  <a:cubicBezTo>
                    <a:pt x="490" y="932"/>
                    <a:pt x="502" y="957"/>
                    <a:pt x="515" y="970"/>
                  </a:cubicBezTo>
                  <a:cubicBezTo>
                    <a:pt x="515" y="996"/>
                    <a:pt x="605" y="996"/>
                    <a:pt x="631" y="1008"/>
                  </a:cubicBezTo>
                  <a:cubicBezTo>
                    <a:pt x="657" y="1008"/>
                    <a:pt x="760" y="996"/>
                    <a:pt x="773" y="1008"/>
                  </a:cubicBezTo>
                  <a:cubicBezTo>
                    <a:pt x="915" y="855"/>
                    <a:pt x="915" y="855"/>
                    <a:pt x="915" y="855"/>
                  </a:cubicBezTo>
                  <a:cubicBezTo>
                    <a:pt x="915" y="855"/>
                    <a:pt x="915" y="804"/>
                    <a:pt x="927" y="791"/>
                  </a:cubicBezTo>
                  <a:cubicBezTo>
                    <a:pt x="940" y="766"/>
                    <a:pt x="940" y="766"/>
                    <a:pt x="966" y="740"/>
                  </a:cubicBezTo>
                  <a:cubicBezTo>
                    <a:pt x="979" y="728"/>
                    <a:pt x="992" y="677"/>
                    <a:pt x="992" y="664"/>
                  </a:cubicBezTo>
                  <a:cubicBezTo>
                    <a:pt x="992" y="651"/>
                    <a:pt x="953" y="626"/>
                    <a:pt x="966" y="600"/>
                  </a:cubicBez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891045"/>
              <a:endParaRPr lang="en-US" sz="1700" dirty="0">
                <a:solidFill>
                  <a:srgbClr val="003149"/>
                </a:solidFill>
                <a:cs typeface="Arial" panose="020B0604020202020204" pitchFamily="34" charset="0"/>
              </a:endParaRPr>
            </a:p>
          </p:txBody>
        </p:sp>
      </p:grpSp>
      <p:grpSp>
        <p:nvGrpSpPr>
          <p:cNvPr id="498" name="Group 311"/>
          <p:cNvGrpSpPr>
            <a:grpSpLocks/>
          </p:cNvGrpSpPr>
          <p:nvPr/>
        </p:nvGrpSpPr>
        <p:grpSpPr bwMode="gray">
          <a:xfrm>
            <a:off x="1702225" y="3033560"/>
            <a:ext cx="28912" cy="30448"/>
            <a:chOff x="4600" y="3363"/>
            <a:chExt cx="20" cy="20"/>
          </a:xfrm>
          <a:solidFill>
            <a:schemeClr val="accent3"/>
          </a:solidFill>
        </p:grpSpPr>
        <p:sp>
          <p:nvSpPr>
            <p:cNvPr id="499" name="Freeform 312"/>
            <p:cNvSpPr>
              <a:spLocks/>
            </p:cNvSpPr>
            <p:nvPr/>
          </p:nvSpPr>
          <p:spPr bwMode="gray">
            <a:xfrm>
              <a:off x="4600" y="3363"/>
              <a:ext cx="20" cy="20"/>
            </a:xfrm>
            <a:custGeom>
              <a:avLst/>
              <a:gdLst>
                <a:gd name="T0" fmla="*/ 0 w 200"/>
                <a:gd name="T1" fmla="*/ 0 h 200"/>
                <a:gd name="T2" fmla="*/ 0 w 200"/>
                <a:gd name="T3" fmla="*/ 0 h 200"/>
                <a:gd name="T4" fmla="*/ 0 w 200"/>
                <a:gd name="T5" fmla="*/ 0 h 200"/>
                <a:gd name="T6" fmla="*/ 0 w 200"/>
                <a:gd name="T7" fmla="*/ 0 h 200"/>
                <a:gd name="T8" fmla="*/ 0 w 200"/>
                <a:gd name="T9" fmla="*/ 0 h 200"/>
                <a:gd name="T10" fmla="*/ 0 w 200"/>
                <a:gd name="T11" fmla="*/ 0 h 200"/>
                <a:gd name="T12" fmla="*/ 0 w 200"/>
                <a:gd name="T13" fmla="*/ 0 h 200"/>
                <a:gd name="T14" fmla="*/ 0 w 200"/>
                <a:gd name="T15" fmla="*/ 0 h 200"/>
                <a:gd name="T16" fmla="*/ 0 w 200"/>
                <a:gd name="T17" fmla="*/ 0 h 200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200"/>
                <a:gd name="T28" fmla="*/ 0 h 200"/>
                <a:gd name="T29" fmla="*/ 200 w 200"/>
                <a:gd name="T30" fmla="*/ 200 h 200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200" h="200">
                  <a:moveTo>
                    <a:pt x="187" y="36"/>
                  </a:moveTo>
                  <a:cubicBezTo>
                    <a:pt x="187" y="36"/>
                    <a:pt x="187" y="36"/>
                    <a:pt x="187" y="36"/>
                  </a:cubicBezTo>
                  <a:cubicBezTo>
                    <a:pt x="160" y="36"/>
                    <a:pt x="133" y="36"/>
                    <a:pt x="133" y="24"/>
                  </a:cubicBezTo>
                  <a:cubicBezTo>
                    <a:pt x="120" y="12"/>
                    <a:pt x="80" y="0"/>
                    <a:pt x="80" y="0"/>
                  </a:cubicBezTo>
                  <a:cubicBezTo>
                    <a:pt x="0" y="106"/>
                    <a:pt x="0" y="106"/>
                    <a:pt x="0" y="106"/>
                  </a:cubicBezTo>
                  <a:cubicBezTo>
                    <a:pt x="0" y="106"/>
                    <a:pt x="40" y="142"/>
                    <a:pt x="53" y="165"/>
                  </a:cubicBezTo>
                  <a:cubicBezTo>
                    <a:pt x="67" y="189"/>
                    <a:pt x="173" y="200"/>
                    <a:pt x="173" y="200"/>
                  </a:cubicBezTo>
                  <a:cubicBezTo>
                    <a:pt x="187" y="142"/>
                    <a:pt x="187" y="142"/>
                    <a:pt x="187" y="142"/>
                  </a:cubicBezTo>
                  <a:cubicBezTo>
                    <a:pt x="187" y="142"/>
                    <a:pt x="200" y="36"/>
                    <a:pt x="187" y="36"/>
                  </a:cubicBezTo>
                </a:path>
              </a:pathLst>
            </a:custGeom>
            <a:grpFill/>
            <a:ln w="9525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891045"/>
              <a:endParaRPr lang="en-US" sz="1700" dirty="0">
                <a:solidFill>
                  <a:srgbClr val="003149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500" name="Freeform 313"/>
            <p:cNvSpPr>
              <a:spLocks/>
            </p:cNvSpPr>
            <p:nvPr/>
          </p:nvSpPr>
          <p:spPr bwMode="gray">
            <a:xfrm>
              <a:off x="4600" y="3363"/>
              <a:ext cx="20" cy="20"/>
            </a:xfrm>
            <a:custGeom>
              <a:avLst/>
              <a:gdLst>
                <a:gd name="T0" fmla="*/ 19 w 20"/>
                <a:gd name="T1" fmla="*/ 4 h 20"/>
                <a:gd name="T2" fmla="*/ 19 w 20"/>
                <a:gd name="T3" fmla="*/ 4 h 20"/>
                <a:gd name="T4" fmla="*/ 14 w 20"/>
                <a:gd name="T5" fmla="*/ 2 h 20"/>
                <a:gd name="T6" fmla="*/ 8 w 20"/>
                <a:gd name="T7" fmla="*/ 0 h 20"/>
                <a:gd name="T8" fmla="*/ 0 w 20"/>
                <a:gd name="T9" fmla="*/ 11 h 20"/>
                <a:gd name="T10" fmla="*/ 6 w 20"/>
                <a:gd name="T11" fmla="*/ 17 h 20"/>
                <a:gd name="T12" fmla="*/ 18 w 20"/>
                <a:gd name="T13" fmla="*/ 20 h 20"/>
                <a:gd name="T14" fmla="*/ 19 w 20"/>
                <a:gd name="T15" fmla="*/ 14 h 20"/>
                <a:gd name="T16" fmla="*/ 19 w 20"/>
                <a:gd name="T17" fmla="*/ 4 h 20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20"/>
                <a:gd name="T28" fmla="*/ 0 h 20"/>
                <a:gd name="T29" fmla="*/ 20 w 20"/>
                <a:gd name="T30" fmla="*/ 20 h 20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20" h="20">
                  <a:moveTo>
                    <a:pt x="19" y="4"/>
                  </a:moveTo>
                  <a:cubicBezTo>
                    <a:pt x="19" y="4"/>
                    <a:pt x="19" y="4"/>
                    <a:pt x="19" y="4"/>
                  </a:cubicBezTo>
                  <a:cubicBezTo>
                    <a:pt x="16" y="4"/>
                    <a:pt x="14" y="4"/>
                    <a:pt x="14" y="2"/>
                  </a:cubicBezTo>
                  <a:cubicBezTo>
                    <a:pt x="12" y="1"/>
                    <a:pt x="8" y="0"/>
                    <a:pt x="8" y="0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0" y="11"/>
                    <a:pt x="4" y="14"/>
                    <a:pt x="6" y="17"/>
                  </a:cubicBezTo>
                  <a:cubicBezTo>
                    <a:pt x="7" y="19"/>
                    <a:pt x="18" y="20"/>
                    <a:pt x="18" y="20"/>
                  </a:cubicBezTo>
                  <a:cubicBezTo>
                    <a:pt x="19" y="14"/>
                    <a:pt x="19" y="14"/>
                    <a:pt x="19" y="14"/>
                  </a:cubicBezTo>
                  <a:cubicBezTo>
                    <a:pt x="19" y="14"/>
                    <a:pt x="20" y="4"/>
                    <a:pt x="19" y="4"/>
                  </a:cubicBezTo>
                </a:path>
              </a:pathLst>
            </a:custGeom>
            <a:grpFill/>
            <a:ln w="9525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891045"/>
              <a:endParaRPr lang="en-US" sz="1700" dirty="0">
                <a:solidFill>
                  <a:srgbClr val="003149"/>
                </a:solidFill>
                <a:cs typeface="Arial" panose="020B0604020202020204" pitchFamily="34" charset="0"/>
              </a:endParaRPr>
            </a:p>
          </p:txBody>
        </p:sp>
      </p:grpSp>
      <p:grpSp>
        <p:nvGrpSpPr>
          <p:cNvPr id="501" name="Group 314"/>
          <p:cNvGrpSpPr>
            <a:grpSpLocks/>
          </p:cNvGrpSpPr>
          <p:nvPr/>
        </p:nvGrpSpPr>
        <p:grpSpPr bwMode="gray">
          <a:xfrm>
            <a:off x="1636846" y="3091932"/>
            <a:ext cx="46512" cy="53283"/>
            <a:chOff x="4555" y="3401"/>
            <a:chExt cx="32" cy="34"/>
          </a:xfrm>
          <a:solidFill>
            <a:schemeClr val="accent3"/>
          </a:solidFill>
        </p:grpSpPr>
        <p:sp>
          <p:nvSpPr>
            <p:cNvPr id="502" name="Freeform 315"/>
            <p:cNvSpPr>
              <a:spLocks/>
            </p:cNvSpPr>
            <p:nvPr/>
          </p:nvSpPr>
          <p:spPr bwMode="gray">
            <a:xfrm>
              <a:off x="4555" y="3401"/>
              <a:ext cx="32" cy="34"/>
            </a:xfrm>
            <a:custGeom>
              <a:avLst/>
              <a:gdLst>
                <a:gd name="T0" fmla="*/ 0 w 317"/>
                <a:gd name="T1" fmla="*/ 0 h 342"/>
                <a:gd name="T2" fmla="*/ 0 w 317"/>
                <a:gd name="T3" fmla="*/ 0 h 342"/>
                <a:gd name="T4" fmla="*/ 0 w 317"/>
                <a:gd name="T5" fmla="*/ 0 h 342"/>
                <a:gd name="T6" fmla="*/ 0 w 317"/>
                <a:gd name="T7" fmla="*/ 0 h 342"/>
                <a:gd name="T8" fmla="*/ 0 w 317"/>
                <a:gd name="T9" fmla="*/ 0 h 342"/>
                <a:gd name="T10" fmla="*/ 0 w 317"/>
                <a:gd name="T11" fmla="*/ 0 h 342"/>
                <a:gd name="T12" fmla="*/ 0 w 317"/>
                <a:gd name="T13" fmla="*/ 0 h 342"/>
                <a:gd name="T14" fmla="*/ 0 w 317"/>
                <a:gd name="T15" fmla="*/ 0 h 342"/>
                <a:gd name="T16" fmla="*/ 0 w 317"/>
                <a:gd name="T17" fmla="*/ 0 h 342"/>
                <a:gd name="T18" fmla="*/ 0 w 317"/>
                <a:gd name="T19" fmla="*/ 0 h 342"/>
                <a:gd name="T20" fmla="*/ 0 w 317"/>
                <a:gd name="T21" fmla="*/ 0 h 342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317"/>
                <a:gd name="T34" fmla="*/ 0 h 342"/>
                <a:gd name="T35" fmla="*/ 317 w 317"/>
                <a:gd name="T36" fmla="*/ 342 h 342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317" h="342">
                  <a:moveTo>
                    <a:pt x="0" y="164"/>
                  </a:moveTo>
                  <a:cubicBezTo>
                    <a:pt x="0" y="164"/>
                    <a:pt x="40" y="123"/>
                    <a:pt x="66" y="96"/>
                  </a:cubicBezTo>
                  <a:cubicBezTo>
                    <a:pt x="106" y="55"/>
                    <a:pt x="145" y="41"/>
                    <a:pt x="158" y="28"/>
                  </a:cubicBezTo>
                  <a:cubicBezTo>
                    <a:pt x="185" y="14"/>
                    <a:pt x="198" y="0"/>
                    <a:pt x="251" y="41"/>
                  </a:cubicBezTo>
                  <a:cubicBezTo>
                    <a:pt x="290" y="96"/>
                    <a:pt x="317" y="110"/>
                    <a:pt x="304" y="123"/>
                  </a:cubicBezTo>
                  <a:cubicBezTo>
                    <a:pt x="290" y="137"/>
                    <a:pt x="277" y="164"/>
                    <a:pt x="277" y="178"/>
                  </a:cubicBezTo>
                  <a:cubicBezTo>
                    <a:pt x="264" y="205"/>
                    <a:pt x="264" y="233"/>
                    <a:pt x="211" y="246"/>
                  </a:cubicBezTo>
                  <a:cubicBezTo>
                    <a:pt x="172" y="246"/>
                    <a:pt x="145" y="260"/>
                    <a:pt x="145" y="287"/>
                  </a:cubicBezTo>
                  <a:cubicBezTo>
                    <a:pt x="145" y="301"/>
                    <a:pt x="132" y="342"/>
                    <a:pt x="132" y="342"/>
                  </a:cubicBezTo>
                  <a:cubicBezTo>
                    <a:pt x="132" y="342"/>
                    <a:pt x="66" y="287"/>
                    <a:pt x="53" y="260"/>
                  </a:cubicBezTo>
                  <a:cubicBezTo>
                    <a:pt x="27" y="233"/>
                    <a:pt x="0" y="164"/>
                    <a:pt x="0" y="164"/>
                  </a:cubicBezTo>
                </a:path>
              </a:pathLst>
            </a:custGeom>
            <a:grpFill/>
            <a:ln w="9525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891045"/>
              <a:endParaRPr lang="en-US" sz="1700" dirty="0">
                <a:solidFill>
                  <a:srgbClr val="003149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503" name="Freeform 316"/>
            <p:cNvSpPr>
              <a:spLocks/>
            </p:cNvSpPr>
            <p:nvPr/>
          </p:nvSpPr>
          <p:spPr bwMode="gray">
            <a:xfrm>
              <a:off x="4555" y="3401"/>
              <a:ext cx="32" cy="34"/>
            </a:xfrm>
            <a:custGeom>
              <a:avLst/>
              <a:gdLst>
                <a:gd name="T0" fmla="*/ 0 w 32"/>
                <a:gd name="T1" fmla="*/ 17 h 34"/>
                <a:gd name="T2" fmla="*/ 6 w 32"/>
                <a:gd name="T3" fmla="*/ 10 h 34"/>
                <a:gd name="T4" fmla="*/ 16 w 32"/>
                <a:gd name="T5" fmla="*/ 3 h 34"/>
                <a:gd name="T6" fmla="*/ 25 w 32"/>
                <a:gd name="T7" fmla="*/ 4 h 34"/>
                <a:gd name="T8" fmla="*/ 30 w 32"/>
                <a:gd name="T9" fmla="*/ 12 h 34"/>
                <a:gd name="T10" fmla="*/ 28 w 32"/>
                <a:gd name="T11" fmla="*/ 18 h 34"/>
                <a:gd name="T12" fmla="*/ 21 w 32"/>
                <a:gd name="T13" fmla="*/ 25 h 34"/>
                <a:gd name="T14" fmla="*/ 14 w 32"/>
                <a:gd name="T15" fmla="*/ 29 h 34"/>
                <a:gd name="T16" fmla="*/ 13 w 32"/>
                <a:gd name="T17" fmla="*/ 34 h 34"/>
                <a:gd name="T18" fmla="*/ 5 w 32"/>
                <a:gd name="T19" fmla="*/ 26 h 34"/>
                <a:gd name="T20" fmla="*/ 0 w 32"/>
                <a:gd name="T21" fmla="*/ 17 h 34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32"/>
                <a:gd name="T34" fmla="*/ 0 h 34"/>
                <a:gd name="T35" fmla="*/ 32 w 32"/>
                <a:gd name="T36" fmla="*/ 34 h 34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32" h="34">
                  <a:moveTo>
                    <a:pt x="0" y="17"/>
                  </a:moveTo>
                  <a:cubicBezTo>
                    <a:pt x="0" y="17"/>
                    <a:pt x="4" y="12"/>
                    <a:pt x="6" y="10"/>
                  </a:cubicBezTo>
                  <a:cubicBezTo>
                    <a:pt x="10" y="5"/>
                    <a:pt x="14" y="4"/>
                    <a:pt x="16" y="3"/>
                  </a:cubicBezTo>
                  <a:cubicBezTo>
                    <a:pt x="18" y="1"/>
                    <a:pt x="20" y="0"/>
                    <a:pt x="25" y="4"/>
                  </a:cubicBezTo>
                  <a:cubicBezTo>
                    <a:pt x="29" y="10"/>
                    <a:pt x="32" y="11"/>
                    <a:pt x="30" y="12"/>
                  </a:cubicBezTo>
                  <a:cubicBezTo>
                    <a:pt x="29" y="14"/>
                    <a:pt x="28" y="17"/>
                    <a:pt x="28" y="18"/>
                  </a:cubicBezTo>
                  <a:cubicBezTo>
                    <a:pt x="26" y="21"/>
                    <a:pt x="26" y="23"/>
                    <a:pt x="21" y="25"/>
                  </a:cubicBezTo>
                  <a:cubicBezTo>
                    <a:pt x="17" y="25"/>
                    <a:pt x="14" y="26"/>
                    <a:pt x="14" y="29"/>
                  </a:cubicBezTo>
                  <a:cubicBezTo>
                    <a:pt x="14" y="30"/>
                    <a:pt x="13" y="34"/>
                    <a:pt x="13" y="34"/>
                  </a:cubicBezTo>
                  <a:cubicBezTo>
                    <a:pt x="13" y="34"/>
                    <a:pt x="6" y="29"/>
                    <a:pt x="5" y="26"/>
                  </a:cubicBezTo>
                  <a:cubicBezTo>
                    <a:pt x="3" y="23"/>
                    <a:pt x="0" y="17"/>
                    <a:pt x="0" y="17"/>
                  </a:cubicBezTo>
                </a:path>
              </a:pathLst>
            </a:custGeom>
            <a:grpFill/>
            <a:ln w="9525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891045"/>
              <a:endParaRPr lang="en-US" sz="1700" dirty="0">
                <a:solidFill>
                  <a:srgbClr val="003149"/>
                </a:solidFill>
                <a:cs typeface="Arial" panose="020B0604020202020204" pitchFamily="34" charset="0"/>
              </a:endParaRPr>
            </a:p>
          </p:txBody>
        </p:sp>
      </p:grpSp>
      <p:grpSp>
        <p:nvGrpSpPr>
          <p:cNvPr id="504" name="Group 317"/>
          <p:cNvGrpSpPr>
            <a:grpSpLocks/>
          </p:cNvGrpSpPr>
          <p:nvPr/>
        </p:nvGrpSpPr>
        <p:grpSpPr bwMode="gray">
          <a:xfrm>
            <a:off x="1350236" y="2847074"/>
            <a:ext cx="252667" cy="256268"/>
            <a:chOff x="4360" y="3243"/>
            <a:chExt cx="172" cy="165"/>
          </a:xfrm>
          <a:solidFill>
            <a:schemeClr val="accent3"/>
          </a:solidFill>
        </p:grpSpPr>
        <p:sp>
          <p:nvSpPr>
            <p:cNvPr id="505" name="Freeform 318"/>
            <p:cNvSpPr>
              <a:spLocks/>
            </p:cNvSpPr>
            <p:nvPr/>
          </p:nvSpPr>
          <p:spPr bwMode="gray">
            <a:xfrm>
              <a:off x="4360" y="3243"/>
              <a:ext cx="172" cy="165"/>
            </a:xfrm>
            <a:custGeom>
              <a:avLst/>
              <a:gdLst>
                <a:gd name="T0" fmla="*/ 0 w 1700"/>
                <a:gd name="T1" fmla="*/ 0 h 1633"/>
                <a:gd name="T2" fmla="*/ 0 w 1700"/>
                <a:gd name="T3" fmla="*/ 0 h 1633"/>
                <a:gd name="T4" fmla="*/ 0 w 1700"/>
                <a:gd name="T5" fmla="*/ 0 h 1633"/>
                <a:gd name="T6" fmla="*/ 0 w 1700"/>
                <a:gd name="T7" fmla="*/ 0 h 1633"/>
                <a:gd name="T8" fmla="*/ 0 w 1700"/>
                <a:gd name="T9" fmla="*/ 0 h 1633"/>
                <a:gd name="T10" fmla="*/ 0 w 1700"/>
                <a:gd name="T11" fmla="*/ 0 h 1633"/>
                <a:gd name="T12" fmla="*/ 0 w 1700"/>
                <a:gd name="T13" fmla="*/ 0 h 1633"/>
                <a:gd name="T14" fmla="*/ 0 w 1700"/>
                <a:gd name="T15" fmla="*/ 0 h 1633"/>
                <a:gd name="T16" fmla="*/ 0 w 1700"/>
                <a:gd name="T17" fmla="*/ 0 h 1633"/>
                <a:gd name="T18" fmla="*/ 0 w 1700"/>
                <a:gd name="T19" fmla="*/ 0 h 1633"/>
                <a:gd name="T20" fmla="*/ 0 w 1700"/>
                <a:gd name="T21" fmla="*/ 0 h 1633"/>
                <a:gd name="T22" fmla="*/ 0 w 1700"/>
                <a:gd name="T23" fmla="*/ 0 h 1633"/>
                <a:gd name="T24" fmla="*/ 0 w 1700"/>
                <a:gd name="T25" fmla="*/ 0 h 1633"/>
                <a:gd name="T26" fmla="*/ 0 w 1700"/>
                <a:gd name="T27" fmla="*/ 0 h 1633"/>
                <a:gd name="T28" fmla="*/ 0 w 1700"/>
                <a:gd name="T29" fmla="*/ 0 h 1633"/>
                <a:gd name="T30" fmla="*/ 0 w 1700"/>
                <a:gd name="T31" fmla="*/ 0 h 1633"/>
                <a:gd name="T32" fmla="*/ 0 w 1700"/>
                <a:gd name="T33" fmla="*/ 0 h 1633"/>
                <a:gd name="T34" fmla="*/ 0 w 1700"/>
                <a:gd name="T35" fmla="*/ 0 h 1633"/>
                <a:gd name="T36" fmla="*/ 0 w 1700"/>
                <a:gd name="T37" fmla="*/ 0 h 1633"/>
                <a:gd name="T38" fmla="*/ 0 w 1700"/>
                <a:gd name="T39" fmla="*/ 0 h 1633"/>
                <a:gd name="T40" fmla="*/ 0 w 1700"/>
                <a:gd name="T41" fmla="*/ 0 h 1633"/>
                <a:gd name="T42" fmla="*/ 0 w 1700"/>
                <a:gd name="T43" fmla="*/ 0 h 1633"/>
                <a:gd name="T44" fmla="*/ 0 w 1700"/>
                <a:gd name="T45" fmla="*/ 0 h 1633"/>
                <a:gd name="T46" fmla="*/ 0 w 1700"/>
                <a:gd name="T47" fmla="*/ 0 h 1633"/>
                <a:gd name="T48" fmla="*/ 0 w 1700"/>
                <a:gd name="T49" fmla="*/ 0 h 1633"/>
                <a:gd name="T50" fmla="*/ 0 w 1700"/>
                <a:gd name="T51" fmla="*/ 0 h 1633"/>
                <a:gd name="T52" fmla="*/ 0 w 1700"/>
                <a:gd name="T53" fmla="*/ 0 h 1633"/>
                <a:gd name="T54" fmla="*/ 0 w 1700"/>
                <a:gd name="T55" fmla="*/ 0 h 1633"/>
                <a:gd name="T56" fmla="*/ 0 w 1700"/>
                <a:gd name="T57" fmla="*/ 0 h 1633"/>
                <a:gd name="T58" fmla="*/ 0 w 1700"/>
                <a:gd name="T59" fmla="*/ 0 h 1633"/>
                <a:gd name="T60" fmla="*/ 0 w 1700"/>
                <a:gd name="T61" fmla="*/ 0 h 1633"/>
                <a:gd name="T62" fmla="*/ 0 w 1700"/>
                <a:gd name="T63" fmla="*/ 0 h 1633"/>
                <a:gd name="T64" fmla="*/ 0 w 1700"/>
                <a:gd name="T65" fmla="*/ 0 h 1633"/>
                <a:gd name="T66" fmla="*/ 0 w 1700"/>
                <a:gd name="T67" fmla="*/ 0 h 1633"/>
                <a:gd name="T68" fmla="*/ 0 w 1700"/>
                <a:gd name="T69" fmla="*/ 0 h 1633"/>
                <a:gd name="T70" fmla="*/ 0 w 1700"/>
                <a:gd name="T71" fmla="*/ 0 h 1633"/>
                <a:gd name="T72" fmla="*/ 0 w 1700"/>
                <a:gd name="T73" fmla="*/ 0 h 1633"/>
                <a:gd name="T74" fmla="*/ 0 w 1700"/>
                <a:gd name="T75" fmla="*/ 0 h 1633"/>
                <a:gd name="T76" fmla="*/ 0 w 1700"/>
                <a:gd name="T77" fmla="*/ 0 h 1633"/>
                <a:gd name="T78" fmla="*/ 0 w 1700"/>
                <a:gd name="T79" fmla="*/ 0 h 1633"/>
                <a:gd name="T80" fmla="*/ 0 w 1700"/>
                <a:gd name="T81" fmla="*/ 0 h 1633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1700"/>
                <a:gd name="T124" fmla="*/ 0 h 1633"/>
                <a:gd name="T125" fmla="*/ 1700 w 1700"/>
                <a:gd name="T126" fmla="*/ 1633 h 1633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1700" h="1633">
                  <a:moveTo>
                    <a:pt x="1611" y="89"/>
                  </a:moveTo>
                  <a:cubicBezTo>
                    <a:pt x="1599" y="89"/>
                    <a:pt x="1472" y="102"/>
                    <a:pt x="1472" y="102"/>
                  </a:cubicBezTo>
                  <a:cubicBezTo>
                    <a:pt x="1472" y="102"/>
                    <a:pt x="1472" y="102"/>
                    <a:pt x="1472" y="89"/>
                  </a:cubicBezTo>
                  <a:cubicBezTo>
                    <a:pt x="1459" y="102"/>
                    <a:pt x="1231" y="140"/>
                    <a:pt x="1231" y="140"/>
                  </a:cubicBezTo>
                  <a:cubicBezTo>
                    <a:pt x="1231" y="140"/>
                    <a:pt x="1180" y="127"/>
                    <a:pt x="1167" y="127"/>
                  </a:cubicBezTo>
                  <a:cubicBezTo>
                    <a:pt x="1155" y="140"/>
                    <a:pt x="1104" y="140"/>
                    <a:pt x="1091" y="127"/>
                  </a:cubicBezTo>
                  <a:cubicBezTo>
                    <a:pt x="1078" y="127"/>
                    <a:pt x="914" y="127"/>
                    <a:pt x="914" y="127"/>
                  </a:cubicBezTo>
                  <a:cubicBezTo>
                    <a:pt x="850" y="64"/>
                    <a:pt x="850" y="64"/>
                    <a:pt x="850" y="64"/>
                  </a:cubicBezTo>
                  <a:cubicBezTo>
                    <a:pt x="330" y="64"/>
                    <a:pt x="330" y="64"/>
                    <a:pt x="330" y="64"/>
                  </a:cubicBezTo>
                  <a:cubicBezTo>
                    <a:pt x="330" y="64"/>
                    <a:pt x="292" y="64"/>
                    <a:pt x="267" y="51"/>
                  </a:cubicBezTo>
                  <a:cubicBezTo>
                    <a:pt x="254" y="38"/>
                    <a:pt x="203" y="0"/>
                    <a:pt x="178" y="13"/>
                  </a:cubicBezTo>
                  <a:cubicBezTo>
                    <a:pt x="165" y="13"/>
                    <a:pt x="140" y="51"/>
                    <a:pt x="114" y="51"/>
                  </a:cubicBezTo>
                  <a:cubicBezTo>
                    <a:pt x="89" y="38"/>
                    <a:pt x="51" y="38"/>
                    <a:pt x="51" y="38"/>
                  </a:cubicBezTo>
                  <a:cubicBezTo>
                    <a:pt x="13" y="51"/>
                    <a:pt x="13" y="51"/>
                    <a:pt x="13" y="51"/>
                  </a:cubicBezTo>
                  <a:cubicBezTo>
                    <a:pt x="13" y="51"/>
                    <a:pt x="0" y="127"/>
                    <a:pt x="38" y="166"/>
                  </a:cubicBezTo>
                  <a:cubicBezTo>
                    <a:pt x="76" y="204"/>
                    <a:pt x="178" y="408"/>
                    <a:pt x="203" y="472"/>
                  </a:cubicBezTo>
                  <a:cubicBezTo>
                    <a:pt x="241" y="536"/>
                    <a:pt x="343" y="689"/>
                    <a:pt x="355" y="727"/>
                  </a:cubicBezTo>
                  <a:cubicBezTo>
                    <a:pt x="368" y="778"/>
                    <a:pt x="330" y="906"/>
                    <a:pt x="368" y="970"/>
                  </a:cubicBezTo>
                  <a:cubicBezTo>
                    <a:pt x="393" y="1033"/>
                    <a:pt x="406" y="1072"/>
                    <a:pt x="406" y="1135"/>
                  </a:cubicBezTo>
                  <a:cubicBezTo>
                    <a:pt x="406" y="1212"/>
                    <a:pt x="431" y="1352"/>
                    <a:pt x="457" y="1403"/>
                  </a:cubicBezTo>
                  <a:cubicBezTo>
                    <a:pt x="495" y="1467"/>
                    <a:pt x="520" y="1518"/>
                    <a:pt x="546" y="1531"/>
                  </a:cubicBezTo>
                  <a:cubicBezTo>
                    <a:pt x="571" y="1557"/>
                    <a:pt x="596" y="1595"/>
                    <a:pt x="596" y="1595"/>
                  </a:cubicBezTo>
                  <a:cubicBezTo>
                    <a:pt x="596" y="1595"/>
                    <a:pt x="647" y="1569"/>
                    <a:pt x="647" y="1557"/>
                  </a:cubicBezTo>
                  <a:cubicBezTo>
                    <a:pt x="647" y="1544"/>
                    <a:pt x="660" y="1493"/>
                    <a:pt x="685" y="1518"/>
                  </a:cubicBezTo>
                  <a:cubicBezTo>
                    <a:pt x="698" y="1531"/>
                    <a:pt x="723" y="1544"/>
                    <a:pt x="723" y="1569"/>
                  </a:cubicBezTo>
                  <a:cubicBezTo>
                    <a:pt x="723" y="1608"/>
                    <a:pt x="761" y="1620"/>
                    <a:pt x="787" y="1620"/>
                  </a:cubicBezTo>
                  <a:cubicBezTo>
                    <a:pt x="812" y="1633"/>
                    <a:pt x="876" y="1608"/>
                    <a:pt x="901" y="1620"/>
                  </a:cubicBezTo>
                  <a:cubicBezTo>
                    <a:pt x="926" y="1633"/>
                    <a:pt x="952" y="1633"/>
                    <a:pt x="952" y="1633"/>
                  </a:cubicBezTo>
                  <a:cubicBezTo>
                    <a:pt x="952" y="1633"/>
                    <a:pt x="977" y="1582"/>
                    <a:pt x="1002" y="1582"/>
                  </a:cubicBezTo>
                  <a:cubicBezTo>
                    <a:pt x="1015" y="1582"/>
                    <a:pt x="1066" y="1557"/>
                    <a:pt x="1066" y="1557"/>
                  </a:cubicBezTo>
                  <a:cubicBezTo>
                    <a:pt x="1053" y="676"/>
                    <a:pt x="1053" y="676"/>
                    <a:pt x="1053" y="676"/>
                  </a:cubicBezTo>
                  <a:cubicBezTo>
                    <a:pt x="1167" y="676"/>
                    <a:pt x="1167" y="676"/>
                    <a:pt x="1167" y="676"/>
                  </a:cubicBezTo>
                  <a:cubicBezTo>
                    <a:pt x="1180" y="191"/>
                    <a:pt x="1180" y="191"/>
                    <a:pt x="1180" y="191"/>
                  </a:cubicBezTo>
                  <a:cubicBezTo>
                    <a:pt x="1180" y="191"/>
                    <a:pt x="1231" y="191"/>
                    <a:pt x="1243" y="191"/>
                  </a:cubicBezTo>
                  <a:cubicBezTo>
                    <a:pt x="1256" y="178"/>
                    <a:pt x="1459" y="140"/>
                    <a:pt x="1459" y="140"/>
                  </a:cubicBezTo>
                  <a:cubicBezTo>
                    <a:pt x="1497" y="191"/>
                    <a:pt x="1497" y="191"/>
                    <a:pt x="1497" y="191"/>
                  </a:cubicBezTo>
                  <a:cubicBezTo>
                    <a:pt x="1497" y="191"/>
                    <a:pt x="1561" y="153"/>
                    <a:pt x="1573" y="153"/>
                  </a:cubicBezTo>
                  <a:cubicBezTo>
                    <a:pt x="1586" y="153"/>
                    <a:pt x="1624" y="153"/>
                    <a:pt x="1624" y="153"/>
                  </a:cubicBezTo>
                  <a:cubicBezTo>
                    <a:pt x="1624" y="153"/>
                    <a:pt x="1662" y="115"/>
                    <a:pt x="1687" y="115"/>
                  </a:cubicBezTo>
                  <a:cubicBezTo>
                    <a:pt x="1687" y="115"/>
                    <a:pt x="1700" y="115"/>
                    <a:pt x="1700" y="115"/>
                  </a:cubicBezTo>
                  <a:cubicBezTo>
                    <a:pt x="1687" y="115"/>
                    <a:pt x="1624" y="89"/>
                    <a:pt x="1611" y="89"/>
                  </a:cubicBezTo>
                </a:path>
              </a:pathLst>
            </a:custGeom>
            <a:grpFill/>
            <a:ln w="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891045"/>
              <a:endParaRPr lang="en-US" sz="1700" dirty="0">
                <a:solidFill>
                  <a:srgbClr val="003149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506" name="Freeform 319"/>
            <p:cNvSpPr>
              <a:spLocks/>
            </p:cNvSpPr>
            <p:nvPr/>
          </p:nvSpPr>
          <p:spPr bwMode="gray">
            <a:xfrm>
              <a:off x="4360" y="3243"/>
              <a:ext cx="172" cy="165"/>
            </a:xfrm>
            <a:custGeom>
              <a:avLst/>
              <a:gdLst>
                <a:gd name="T0" fmla="*/ 163 w 172"/>
                <a:gd name="T1" fmla="*/ 9 h 165"/>
                <a:gd name="T2" fmla="*/ 149 w 172"/>
                <a:gd name="T3" fmla="*/ 10 h 165"/>
                <a:gd name="T4" fmla="*/ 149 w 172"/>
                <a:gd name="T5" fmla="*/ 9 h 165"/>
                <a:gd name="T6" fmla="*/ 125 w 172"/>
                <a:gd name="T7" fmla="*/ 14 h 165"/>
                <a:gd name="T8" fmla="*/ 118 w 172"/>
                <a:gd name="T9" fmla="*/ 13 h 165"/>
                <a:gd name="T10" fmla="*/ 111 w 172"/>
                <a:gd name="T11" fmla="*/ 13 h 165"/>
                <a:gd name="T12" fmla="*/ 93 w 172"/>
                <a:gd name="T13" fmla="*/ 13 h 165"/>
                <a:gd name="T14" fmla="*/ 86 w 172"/>
                <a:gd name="T15" fmla="*/ 6 h 165"/>
                <a:gd name="T16" fmla="*/ 34 w 172"/>
                <a:gd name="T17" fmla="*/ 6 h 165"/>
                <a:gd name="T18" fmla="*/ 27 w 172"/>
                <a:gd name="T19" fmla="*/ 5 h 165"/>
                <a:gd name="T20" fmla="*/ 18 w 172"/>
                <a:gd name="T21" fmla="*/ 1 h 165"/>
                <a:gd name="T22" fmla="*/ 12 w 172"/>
                <a:gd name="T23" fmla="*/ 5 h 165"/>
                <a:gd name="T24" fmla="*/ 6 w 172"/>
                <a:gd name="T25" fmla="*/ 4 h 165"/>
                <a:gd name="T26" fmla="*/ 2 w 172"/>
                <a:gd name="T27" fmla="*/ 5 h 165"/>
                <a:gd name="T28" fmla="*/ 4 w 172"/>
                <a:gd name="T29" fmla="*/ 17 h 165"/>
                <a:gd name="T30" fmla="*/ 21 w 172"/>
                <a:gd name="T31" fmla="*/ 47 h 165"/>
                <a:gd name="T32" fmla="*/ 36 w 172"/>
                <a:gd name="T33" fmla="*/ 73 h 165"/>
                <a:gd name="T34" fmla="*/ 38 w 172"/>
                <a:gd name="T35" fmla="*/ 98 h 165"/>
                <a:gd name="T36" fmla="*/ 41 w 172"/>
                <a:gd name="T37" fmla="*/ 114 h 165"/>
                <a:gd name="T38" fmla="*/ 47 w 172"/>
                <a:gd name="T39" fmla="*/ 141 h 165"/>
                <a:gd name="T40" fmla="*/ 56 w 172"/>
                <a:gd name="T41" fmla="*/ 154 h 165"/>
                <a:gd name="T42" fmla="*/ 61 w 172"/>
                <a:gd name="T43" fmla="*/ 161 h 165"/>
                <a:gd name="T44" fmla="*/ 66 w 172"/>
                <a:gd name="T45" fmla="*/ 157 h 165"/>
                <a:gd name="T46" fmla="*/ 70 w 172"/>
                <a:gd name="T47" fmla="*/ 153 h 165"/>
                <a:gd name="T48" fmla="*/ 73 w 172"/>
                <a:gd name="T49" fmla="*/ 158 h 165"/>
                <a:gd name="T50" fmla="*/ 80 w 172"/>
                <a:gd name="T51" fmla="*/ 163 h 165"/>
                <a:gd name="T52" fmla="*/ 91 w 172"/>
                <a:gd name="T53" fmla="*/ 163 h 165"/>
                <a:gd name="T54" fmla="*/ 97 w 172"/>
                <a:gd name="T55" fmla="*/ 165 h 165"/>
                <a:gd name="T56" fmla="*/ 102 w 172"/>
                <a:gd name="T57" fmla="*/ 160 h 165"/>
                <a:gd name="T58" fmla="*/ 108 w 172"/>
                <a:gd name="T59" fmla="*/ 157 h 165"/>
                <a:gd name="T60" fmla="*/ 107 w 172"/>
                <a:gd name="T61" fmla="*/ 68 h 165"/>
                <a:gd name="T62" fmla="*/ 118 w 172"/>
                <a:gd name="T63" fmla="*/ 68 h 165"/>
                <a:gd name="T64" fmla="*/ 120 w 172"/>
                <a:gd name="T65" fmla="*/ 19 h 165"/>
                <a:gd name="T66" fmla="*/ 126 w 172"/>
                <a:gd name="T67" fmla="*/ 19 h 165"/>
                <a:gd name="T68" fmla="*/ 148 w 172"/>
                <a:gd name="T69" fmla="*/ 14 h 165"/>
                <a:gd name="T70" fmla="*/ 152 w 172"/>
                <a:gd name="T71" fmla="*/ 19 h 165"/>
                <a:gd name="T72" fmla="*/ 159 w 172"/>
                <a:gd name="T73" fmla="*/ 15 h 165"/>
                <a:gd name="T74" fmla="*/ 164 w 172"/>
                <a:gd name="T75" fmla="*/ 15 h 165"/>
                <a:gd name="T76" fmla="*/ 171 w 172"/>
                <a:gd name="T77" fmla="*/ 11 h 165"/>
                <a:gd name="T78" fmla="*/ 172 w 172"/>
                <a:gd name="T79" fmla="*/ 11 h 165"/>
                <a:gd name="T80" fmla="*/ 163 w 172"/>
                <a:gd name="T81" fmla="*/ 9 h 165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172"/>
                <a:gd name="T124" fmla="*/ 0 h 165"/>
                <a:gd name="T125" fmla="*/ 172 w 172"/>
                <a:gd name="T126" fmla="*/ 165 h 165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172" h="165">
                  <a:moveTo>
                    <a:pt x="163" y="9"/>
                  </a:moveTo>
                  <a:cubicBezTo>
                    <a:pt x="162" y="9"/>
                    <a:pt x="149" y="10"/>
                    <a:pt x="149" y="10"/>
                  </a:cubicBezTo>
                  <a:cubicBezTo>
                    <a:pt x="149" y="10"/>
                    <a:pt x="149" y="10"/>
                    <a:pt x="149" y="9"/>
                  </a:cubicBezTo>
                  <a:cubicBezTo>
                    <a:pt x="148" y="10"/>
                    <a:pt x="125" y="14"/>
                    <a:pt x="125" y="14"/>
                  </a:cubicBezTo>
                  <a:cubicBezTo>
                    <a:pt x="125" y="14"/>
                    <a:pt x="120" y="13"/>
                    <a:pt x="118" y="13"/>
                  </a:cubicBezTo>
                  <a:cubicBezTo>
                    <a:pt x="117" y="14"/>
                    <a:pt x="112" y="14"/>
                    <a:pt x="111" y="13"/>
                  </a:cubicBezTo>
                  <a:cubicBezTo>
                    <a:pt x="109" y="13"/>
                    <a:pt x="93" y="13"/>
                    <a:pt x="93" y="13"/>
                  </a:cubicBezTo>
                  <a:cubicBezTo>
                    <a:pt x="86" y="6"/>
                    <a:pt x="86" y="6"/>
                    <a:pt x="86" y="6"/>
                  </a:cubicBezTo>
                  <a:cubicBezTo>
                    <a:pt x="34" y="6"/>
                    <a:pt x="34" y="6"/>
                    <a:pt x="34" y="6"/>
                  </a:cubicBezTo>
                  <a:cubicBezTo>
                    <a:pt x="34" y="6"/>
                    <a:pt x="30" y="6"/>
                    <a:pt x="27" y="5"/>
                  </a:cubicBezTo>
                  <a:cubicBezTo>
                    <a:pt x="26" y="4"/>
                    <a:pt x="21" y="0"/>
                    <a:pt x="18" y="1"/>
                  </a:cubicBezTo>
                  <a:cubicBezTo>
                    <a:pt x="17" y="1"/>
                    <a:pt x="15" y="5"/>
                    <a:pt x="12" y="5"/>
                  </a:cubicBezTo>
                  <a:cubicBezTo>
                    <a:pt x="9" y="4"/>
                    <a:pt x="6" y="4"/>
                    <a:pt x="6" y="4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5"/>
                    <a:pt x="0" y="13"/>
                    <a:pt x="4" y="17"/>
                  </a:cubicBezTo>
                  <a:cubicBezTo>
                    <a:pt x="8" y="20"/>
                    <a:pt x="18" y="41"/>
                    <a:pt x="21" y="47"/>
                  </a:cubicBezTo>
                  <a:cubicBezTo>
                    <a:pt x="25" y="54"/>
                    <a:pt x="35" y="69"/>
                    <a:pt x="36" y="73"/>
                  </a:cubicBezTo>
                  <a:cubicBezTo>
                    <a:pt x="38" y="78"/>
                    <a:pt x="34" y="91"/>
                    <a:pt x="38" y="98"/>
                  </a:cubicBezTo>
                  <a:cubicBezTo>
                    <a:pt x="40" y="104"/>
                    <a:pt x="41" y="108"/>
                    <a:pt x="41" y="114"/>
                  </a:cubicBezTo>
                  <a:cubicBezTo>
                    <a:pt x="41" y="122"/>
                    <a:pt x="44" y="136"/>
                    <a:pt x="47" y="141"/>
                  </a:cubicBezTo>
                  <a:cubicBezTo>
                    <a:pt x="50" y="148"/>
                    <a:pt x="53" y="153"/>
                    <a:pt x="56" y="154"/>
                  </a:cubicBezTo>
                  <a:cubicBezTo>
                    <a:pt x="58" y="157"/>
                    <a:pt x="61" y="161"/>
                    <a:pt x="61" y="161"/>
                  </a:cubicBezTo>
                  <a:cubicBezTo>
                    <a:pt x="61" y="161"/>
                    <a:pt x="66" y="158"/>
                    <a:pt x="66" y="157"/>
                  </a:cubicBezTo>
                  <a:cubicBezTo>
                    <a:pt x="66" y="156"/>
                    <a:pt x="67" y="151"/>
                    <a:pt x="70" y="153"/>
                  </a:cubicBezTo>
                  <a:cubicBezTo>
                    <a:pt x="71" y="154"/>
                    <a:pt x="73" y="156"/>
                    <a:pt x="73" y="158"/>
                  </a:cubicBezTo>
                  <a:cubicBezTo>
                    <a:pt x="73" y="162"/>
                    <a:pt x="77" y="163"/>
                    <a:pt x="80" y="163"/>
                  </a:cubicBezTo>
                  <a:cubicBezTo>
                    <a:pt x="82" y="165"/>
                    <a:pt x="89" y="162"/>
                    <a:pt x="91" y="163"/>
                  </a:cubicBezTo>
                  <a:cubicBezTo>
                    <a:pt x="94" y="165"/>
                    <a:pt x="97" y="165"/>
                    <a:pt x="97" y="165"/>
                  </a:cubicBezTo>
                  <a:cubicBezTo>
                    <a:pt x="97" y="165"/>
                    <a:pt x="99" y="160"/>
                    <a:pt x="102" y="160"/>
                  </a:cubicBezTo>
                  <a:cubicBezTo>
                    <a:pt x="103" y="160"/>
                    <a:pt x="108" y="157"/>
                    <a:pt x="108" y="157"/>
                  </a:cubicBezTo>
                  <a:cubicBezTo>
                    <a:pt x="107" y="68"/>
                    <a:pt x="107" y="68"/>
                    <a:pt x="107" y="68"/>
                  </a:cubicBezTo>
                  <a:cubicBezTo>
                    <a:pt x="118" y="68"/>
                    <a:pt x="118" y="68"/>
                    <a:pt x="118" y="68"/>
                  </a:cubicBezTo>
                  <a:cubicBezTo>
                    <a:pt x="120" y="19"/>
                    <a:pt x="120" y="19"/>
                    <a:pt x="120" y="19"/>
                  </a:cubicBezTo>
                  <a:cubicBezTo>
                    <a:pt x="120" y="19"/>
                    <a:pt x="125" y="19"/>
                    <a:pt x="126" y="19"/>
                  </a:cubicBezTo>
                  <a:cubicBezTo>
                    <a:pt x="127" y="18"/>
                    <a:pt x="148" y="14"/>
                    <a:pt x="148" y="14"/>
                  </a:cubicBezTo>
                  <a:cubicBezTo>
                    <a:pt x="152" y="19"/>
                    <a:pt x="152" y="19"/>
                    <a:pt x="152" y="19"/>
                  </a:cubicBezTo>
                  <a:cubicBezTo>
                    <a:pt x="152" y="19"/>
                    <a:pt x="158" y="15"/>
                    <a:pt x="159" y="15"/>
                  </a:cubicBezTo>
                  <a:cubicBezTo>
                    <a:pt x="161" y="15"/>
                    <a:pt x="164" y="15"/>
                    <a:pt x="164" y="15"/>
                  </a:cubicBezTo>
                  <a:cubicBezTo>
                    <a:pt x="164" y="15"/>
                    <a:pt x="168" y="11"/>
                    <a:pt x="171" y="11"/>
                  </a:cubicBezTo>
                  <a:cubicBezTo>
                    <a:pt x="171" y="11"/>
                    <a:pt x="172" y="11"/>
                    <a:pt x="172" y="11"/>
                  </a:cubicBezTo>
                  <a:cubicBezTo>
                    <a:pt x="171" y="11"/>
                    <a:pt x="164" y="9"/>
                    <a:pt x="163" y="9"/>
                  </a:cubicBezTo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891045"/>
              <a:endParaRPr lang="en-US" sz="1700" dirty="0">
                <a:solidFill>
                  <a:srgbClr val="003149"/>
                </a:solidFill>
                <a:cs typeface="Arial" panose="020B0604020202020204" pitchFamily="34" charset="0"/>
              </a:endParaRPr>
            </a:p>
          </p:txBody>
        </p:sp>
      </p:grpSp>
      <p:grpSp>
        <p:nvGrpSpPr>
          <p:cNvPr id="507" name="Group 320"/>
          <p:cNvGrpSpPr>
            <a:grpSpLocks/>
          </p:cNvGrpSpPr>
          <p:nvPr/>
        </p:nvGrpSpPr>
        <p:grpSpPr bwMode="gray">
          <a:xfrm>
            <a:off x="1491050" y="2861024"/>
            <a:ext cx="187301" cy="197910"/>
            <a:chOff x="4456" y="3252"/>
            <a:chExt cx="128" cy="127"/>
          </a:xfrm>
          <a:solidFill>
            <a:schemeClr val="accent3"/>
          </a:solidFill>
        </p:grpSpPr>
        <p:sp>
          <p:nvSpPr>
            <p:cNvPr id="508" name="Freeform 321"/>
            <p:cNvSpPr>
              <a:spLocks noEditPoints="1"/>
            </p:cNvSpPr>
            <p:nvPr/>
          </p:nvSpPr>
          <p:spPr bwMode="gray">
            <a:xfrm>
              <a:off x="4456" y="3252"/>
              <a:ext cx="128" cy="127"/>
            </a:xfrm>
            <a:custGeom>
              <a:avLst/>
              <a:gdLst>
                <a:gd name="T0" fmla="*/ 0 w 1275"/>
                <a:gd name="T1" fmla="*/ 0 h 1259"/>
                <a:gd name="T2" fmla="*/ 0 w 1275"/>
                <a:gd name="T3" fmla="*/ 0 h 1259"/>
                <a:gd name="T4" fmla="*/ 0 w 1275"/>
                <a:gd name="T5" fmla="*/ 0 h 1259"/>
                <a:gd name="T6" fmla="*/ 0 w 1275"/>
                <a:gd name="T7" fmla="*/ 0 h 1259"/>
                <a:gd name="T8" fmla="*/ 0 w 1275"/>
                <a:gd name="T9" fmla="*/ 0 h 1259"/>
                <a:gd name="T10" fmla="*/ 0 w 1275"/>
                <a:gd name="T11" fmla="*/ 0 h 1259"/>
                <a:gd name="T12" fmla="*/ 0 w 1275"/>
                <a:gd name="T13" fmla="*/ 0 h 1259"/>
                <a:gd name="T14" fmla="*/ 0 w 1275"/>
                <a:gd name="T15" fmla="*/ 0 h 1259"/>
                <a:gd name="T16" fmla="*/ 0 w 1275"/>
                <a:gd name="T17" fmla="*/ 0 h 1259"/>
                <a:gd name="T18" fmla="*/ 0 w 1275"/>
                <a:gd name="T19" fmla="*/ 0 h 1259"/>
                <a:gd name="T20" fmla="*/ 0 w 1275"/>
                <a:gd name="T21" fmla="*/ 0 h 1259"/>
                <a:gd name="T22" fmla="*/ 0 w 1275"/>
                <a:gd name="T23" fmla="*/ 0 h 1259"/>
                <a:gd name="T24" fmla="*/ 0 w 1275"/>
                <a:gd name="T25" fmla="*/ 0 h 1259"/>
                <a:gd name="T26" fmla="*/ 0 w 1275"/>
                <a:gd name="T27" fmla="*/ 0 h 1259"/>
                <a:gd name="T28" fmla="*/ 0 w 1275"/>
                <a:gd name="T29" fmla="*/ 0 h 1259"/>
                <a:gd name="T30" fmla="*/ 0 w 1275"/>
                <a:gd name="T31" fmla="*/ 0 h 1259"/>
                <a:gd name="T32" fmla="*/ 0 w 1275"/>
                <a:gd name="T33" fmla="*/ 0 h 1259"/>
                <a:gd name="T34" fmla="*/ 0 w 1275"/>
                <a:gd name="T35" fmla="*/ 0 h 1259"/>
                <a:gd name="T36" fmla="*/ 0 w 1275"/>
                <a:gd name="T37" fmla="*/ 0 h 1259"/>
                <a:gd name="T38" fmla="*/ 0 w 1275"/>
                <a:gd name="T39" fmla="*/ 0 h 1259"/>
                <a:gd name="T40" fmla="*/ 0 w 1275"/>
                <a:gd name="T41" fmla="*/ 0 h 1259"/>
                <a:gd name="T42" fmla="*/ 0 w 1275"/>
                <a:gd name="T43" fmla="*/ 0 h 1259"/>
                <a:gd name="T44" fmla="*/ 0 w 1275"/>
                <a:gd name="T45" fmla="*/ 0 h 1259"/>
                <a:gd name="T46" fmla="*/ 0 w 1275"/>
                <a:gd name="T47" fmla="*/ 0 h 1259"/>
                <a:gd name="T48" fmla="*/ 0 w 1275"/>
                <a:gd name="T49" fmla="*/ 0 h 1259"/>
                <a:gd name="T50" fmla="*/ 0 w 1275"/>
                <a:gd name="T51" fmla="*/ 0 h 1259"/>
                <a:gd name="T52" fmla="*/ 0 w 1275"/>
                <a:gd name="T53" fmla="*/ 0 h 1259"/>
                <a:gd name="T54" fmla="*/ 0 w 1275"/>
                <a:gd name="T55" fmla="*/ 0 h 1259"/>
                <a:gd name="T56" fmla="*/ 0 w 1275"/>
                <a:gd name="T57" fmla="*/ 0 h 1259"/>
                <a:gd name="T58" fmla="*/ 0 w 1275"/>
                <a:gd name="T59" fmla="*/ 0 h 1259"/>
                <a:gd name="T60" fmla="*/ 0 w 1275"/>
                <a:gd name="T61" fmla="*/ 0 h 1259"/>
                <a:gd name="T62" fmla="*/ 0 w 1275"/>
                <a:gd name="T63" fmla="*/ 0 h 1259"/>
                <a:gd name="T64" fmla="*/ 0 w 1275"/>
                <a:gd name="T65" fmla="*/ 0 h 1259"/>
                <a:gd name="T66" fmla="*/ 0 w 1275"/>
                <a:gd name="T67" fmla="*/ 0 h 1259"/>
                <a:gd name="T68" fmla="*/ 0 w 1275"/>
                <a:gd name="T69" fmla="*/ 0 h 1259"/>
                <a:gd name="T70" fmla="*/ 0 w 1275"/>
                <a:gd name="T71" fmla="*/ 0 h 1259"/>
                <a:gd name="T72" fmla="*/ 0 w 1275"/>
                <a:gd name="T73" fmla="*/ 0 h 1259"/>
                <a:gd name="T74" fmla="*/ 0 w 1275"/>
                <a:gd name="T75" fmla="*/ 0 h 1259"/>
                <a:gd name="T76" fmla="*/ 0 w 1275"/>
                <a:gd name="T77" fmla="*/ 0 h 1259"/>
                <a:gd name="T78" fmla="*/ 0 w 1275"/>
                <a:gd name="T79" fmla="*/ 0 h 1259"/>
                <a:gd name="T80" fmla="*/ 0 w 1275"/>
                <a:gd name="T81" fmla="*/ 0 h 1259"/>
                <a:gd name="T82" fmla="*/ 0 w 1275"/>
                <a:gd name="T83" fmla="*/ 0 h 1259"/>
                <a:gd name="T84" fmla="*/ 0 w 1275"/>
                <a:gd name="T85" fmla="*/ 0 h 1259"/>
                <a:gd name="T86" fmla="*/ 0 w 1275"/>
                <a:gd name="T87" fmla="*/ 0 h 1259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1275"/>
                <a:gd name="T133" fmla="*/ 0 h 1259"/>
                <a:gd name="T134" fmla="*/ 1275 w 1275"/>
                <a:gd name="T135" fmla="*/ 1259 h 1259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1275" h="1259">
                  <a:moveTo>
                    <a:pt x="739" y="0"/>
                  </a:moveTo>
                  <a:cubicBezTo>
                    <a:pt x="752" y="13"/>
                    <a:pt x="752" y="13"/>
                    <a:pt x="765" y="13"/>
                  </a:cubicBezTo>
                  <a:cubicBezTo>
                    <a:pt x="752" y="13"/>
                    <a:pt x="752" y="13"/>
                    <a:pt x="739" y="0"/>
                  </a:cubicBezTo>
                  <a:close/>
                  <a:moveTo>
                    <a:pt x="1249" y="553"/>
                  </a:moveTo>
                  <a:cubicBezTo>
                    <a:pt x="1249" y="553"/>
                    <a:pt x="1160" y="527"/>
                    <a:pt x="1135" y="527"/>
                  </a:cubicBezTo>
                  <a:cubicBezTo>
                    <a:pt x="1109" y="514"/>
                    <a:pt x="1084" y="450"/>
                    <a:pt x="1071" y="437"/>
                  </a:cubicBezTo>
                  <a:cubicBezTo>
                    <a:pt x="1071" y="411"/>
                    <a:pt x="1071" y="386"/>
                    <a:pt x="1071" y="386"/>
                  </a:cubicBezTo>
                  <a:cubicBezTo>
                    <a:pt x="1033" y="334"/>
                    <a:pt x="1033" y="334"/>
                    <a:pt x="1033" y="334"/>
                  </a:cubicBezTo>
                  <a:cubicBezTo>
                    <a:pt x="892" y="244"/>
                    <a:pt x="892" y="244"/>
                    <a:pt x="892" y="244"/>
                  </a:cubicBezTo>
                  <a:cubicBezTo>
                    <a:pt x="892" y="244"/>
                    <a:pt x="841" y="142"/>
                    <a:pt x="829" y="129"/>
                  </a:cubicBezTo>
                  <a:cubicBezTo>
                    <a:pt x="829" y="116"/>
                    <a:pt x="765" y="26"/>
                    <a:pt x="765" y="26"/>
                  </a:cubicBezTo>
                  <a:cubicBezTo>
                    <a:pt x="765" y="26"/>
                    <a:pt x="765" y="13"/>
                    <a:pt x="765" y="13"/>
                  </a:cubicBezTo>
                  <a:cubicBezTo>
                    <a:pt x="765" y="13"/>
                    <a:pt x="752" y="13"/>
                    <a:pt x="752" y="13"/>
                  </a:cubicBezTo>
                  <a:cubicBezTo>
                    <a:pt x="727" y="13"/>
                    <a:pt x="688" y="52"/>
                    <a:pt x="688" y="52"/>
                  </a:cubicBezTo>
                  <a:cubicBezTo>
                    <a:pt x="688" y="52"/>
                    <a:pt x="650" y="52"/>
                    <a:pt x="637" y="52"/>
                  </a:cubicBezTo>
                  <a:cubicBezTo>
                    <a:pt x="625" y="52"/>
                    <a:pt x="561" y="90"/>
                    <a:pt x="561" y="90"/>
                  </a:cubicBezTo>
                  <a:cubicBezTo>
                    <a:pt x="523" y="39"/>
                    <a:pt x="523" y="39"/>
                    <a:pt x="523" y="39"/>
                  </a:cubicBezTo>
                  <a:cubicBezTo>
                    <a:pt x="523" y="39"/>
                    <a:pt x="319" y="78"/>
                    <a:pt x="306" y="90"/>
                  </a:cubicBezTo>
                  <a:cubicBezTo>
                    <a:pt x="293" y="90"/>
                    <a:pt x="242" y="90"/>
                    <a:pt x="242" y="90"/>
                  </a:cubicBezTo>
                  <a:cubicBezTo>
                    <a:pt x="229" y="578"/>
                    <a:pt x="229" y="578"/>
                    <a:pt x="229" y="578"/>
                  </a:cubicBezTo>
                  <a:cubicBezTo>
                    <a:pt x="115" y="578"/>
                    <a:pt x="115" y="578"/>
                    <a:pt x="115" y="578"/>
                  </a:cubicBezTo>
                  <a:cubicBezTo>
                    <a:pt x="115" y="976"/>
                    <a:pt x="115" y="976"/>
                    <a:pt x="115" y="976"/>
                  </a:cubicBezTo>
                  <a:cubicBezTo>
                    <a:pt x="127" y="976"/>
                    <a:pt x="178" y="1028"/>
                    <a:pt x="191" y="1079"/>
                  </a:cubicBezTo>
                  <a:cubicBezTo>
                    <a:pt x="217" y="1130"/>
                    <a:pt x="229" y="1143"/>
                    <a:pt x="217" y="1156"/>
                  </a:cubicBezTo>
                  <a:cubicBezTo>
                    <a:pt x="191" y="1169"/>
                    <a:pt x="191" y="1207"/>
                    <a:pt x="191" y="1207"/>
                  </a:cubicBezTo>
                  <a:cubicBezTo>
                    <a:pt x="191" y="1259"/>
                    <a:pt x="191" y="1259"/>
                    <a:pt x="191" y="1259"/>
                  </a:cubicBezTo>
                  <a:cubicBezTo>
                    <a:pt x="191" y="1259"/>
                    <a:pt x="268" y="1233"/>
                    <a:pt x="293" y="1246"/>
                  </a:cubicBezTo>
                  <a:cubicBezTo>
                    <a:pt x="319" y="1259"/>
                    <a:pt x="357" y="1207"/>
                    <a:pt x="408" y="1182"/>
                  </a:cubicBezTo>
                  <a:cubicBezTo>
                    <a:pt x="446" y="1156"/>
                    <a:pt x="446" y="1130"/>
                    <a:pt x="459" y="1079"/>
                  </a:cubicBezTo>
                  <a:cubicBezTo>
                    <a:pt x="484" y="1028"/>
                    <a:pt x="548" y="1002"/>
                    <a:pt x="574" y="1041"/>
                  </a:cubicBezTo>
                  <a:cubicBezTo>
                    <a:pt x="612" y="1079"/>
                    <a:pt x="650" y="1092"/>
                    <a:pt x="688" y="1105"/>
                  </a:cubicBezTo>
                  <a:cubicBezTo>
                    <a:pt x="727" y="1105"/>
                    <a:pt x="765" y="1118"/>
                    <a:pt x="790" y="1079"/>
                  </a:cubicBezTo>
                  <a:cubicBezTo>
                    <a:pt x="816" y="1053"/>
                    <a:pt x="841" y="976"/>
                    <a:pt x="854" y="963"/>
                  </a:cubicBezTo>
                  <a:cubicBezTo>
                    <a:pt x="867" y="951"/>
                    <a:pt x="905" y="925"/>
                    <a:pt x="931" y="912"/>
                  </a:cubicBezTo>
                  <a:cubicBezTo>
                    <a:pt x="969" y="912"/>
                    <a:pt x="969" y="899"/>
                    <a:pt x="982" y="848"/>
                  </a:cubicBezTo>
                  <a:cubicBezTo>
                    <a:pt x="994" y="809"/>
                    <a:pt x="982" y="797"/>
                    <a:pt x="1033" y="784"/>
                  </a:cubicBezTo>
                  <a:cubicBezTo>
                    <a:pt x="1071" y="771"/>
                    <a:pt x="1084" y="745"/>
                    <a:pt x="1109" y="707"/>
                  </a:cubicBezTo>
                  <a:cubicBezTo>
                    <a:pt x="1135" y="668"/>
                    <a:pt x="1147" y="655"/>
                    <a:pt x="1173" y="655"/>
                  </a:cubicBezTo>
                  <a:cubicBezTo>
                    <a:pt x="1211" y="642"/>
                    <a:pt x="1237" y="617"/>
                    <a:pt x="1237" y="617"/>
                  </a:cubicBezTo>
                  <a:cubicBezTo>
                    <a:pt x="1275" y="591"/>
                    <a:pt x="1275" y="591"/>
                    <a:pt x="1275" y="591"/>
                  </a:cubicBezTo>
                  <a:cubicBezTo>
                    <a:pt x="1262" y="578"/>
                    <a:pt x="1249" y="553"/>
                    <a:pt x="1249" y="553"/>
                  </a:cubicBezTo>
                  <a:close/>
                  <a:moveTo>
                    <a:pt x="51" y="26"/>
                  </a:moveTo>
                  <a:cubicBezTo>
                    <a:pt x="25" y="26"/>
                    <a:pt x="13" y="26"/>
                    <a:pt x="0" y="26"/>
                  </a:cubicBezTo>
                  <a:cubicBezTo>
                    <a:pt x="13" y="26"/>
                    <a:pt x="25" y="26"/>
                    <a:pt x="51" y="26"/>
                  </a:cubicBezTo>
                  <a:close/>
                </a:path>
              </a:pathLst>
            </a:custGeom>
            <a:grpFill/>
            <a:ln w="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891045"/>
              <a:endParaRPr lang="en-US" sz="1700" dirty="0">
                <a:solidFill>
                  <a:srgbClr val="003149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509" name="Freeform 322"/>
            <p:cNvSpPr>
              <a:spLocks noEditPoints="1"/>
            </p:cNvSpPr>
            <p:nvPr/>
          </p:nvSpPr>
          <p:spPr bwMode="gray">
            <a:xfrm>
              <a:off x="4456" y="3252"/>
              <a:ext cx="128" cy="127"/>
            </a:xfrm>
            <a:custGeom>
              <a:avLst/>
              <a:gdLst>
                <a:gd name="T0" fmla="*/ 0 w 1275"/>
                <a:gd name="T1" fmla="*/ 0 h 1259"/>
                <a:gd name="T2" fmla="*/ 0 w 1275"/>
                <a:gd name="T3" fmla="*/ 0 h 1259"/>
                <a:gd name="T4" fmla="*/ 0 w 1275"/>
                <a:gd name="T5" fmla="*/ 0 h 1259"/>
                <a:gd name="T6" fmla="*/ 0 w 1275"/>
                <a:gd name="T7" fmla="*/ 0 h 1259"/>
                <a:gd name="T8" fmla="*/ 0 w 1275"/>
                <a:gd name="T9" fmla="*/ 0 h 1259"/>
                <a:gd name="T10" fmla="*/ 0 w 1275"/>
                <a:gd name="T11" fmla="*/ 0 h 1259"/>
                <a:gd name="T12" fmla="*/ 0 w 1275"/>
                <a:gd name="T13" fmla="*/ 0 h 1259"/>
                <a:gd name="T14" fmla="*/ 0 w 1275"/>
                <a:gd name="T15" fmla="*/ 0 h 1259"/>
                <a:gd name="T16" fmla="*/ 0 w 1275"/>
                <a:gd name="T17" fmla="*/ 0 h 1259"/>
                <a:gd name="T18" fmla="*/ 0 w 1275"/>
                <a:gd name="T19" fmla="*/ 0 h 1259"/>
                <a:gd name="T20" fmla="*/ 0 w 1275"/>
                <a:gd name="T21" fmla="*/ 0 h 1259"/>
                <a:gd name="T22" fmla="*/ 0 w 1275"/>
                <a:gd name="T23" fmla="*/ 0 h 1259"/>
                <a:gd name="T24" fmla="*/ 0 w 1275"/>
                <a:gd name="T25" fmla="*/ 0 h 1259"/>
                <a:gd name="T26" fmla="*/ 0 w 1275"/>
                <a:gd name="T27" fmla="*/ 0 h 1259"/>
                <a:gd name="T28" fmla="*/ 0 w 1275"/>
                <a:gd name="T29" fmla="*/ 0 h 1259"/>
                <a:gd name="T30" fmla="*/ 0 w 1275"/>
                <a:gd name="T31" fmla="*/ 0 h 1259"/>
                <a:gd name="T32" fmla="*/ 0 w 1275"/>
                <a:gd name="T33" fmla="*/ 0 h 1259"/>
                <a:gd name="T34" fmla="*/ 0 w 1275"/>
                <a:gd name="T35" fmla="*/ 0 h 1259"/>
                <a:gd name="T36" fmla="*/ 0 w 1275"/>
                <a:gd name="T37" fmla="*/ 0 h 1259"/>
                <a:gd name="T38" fmla="*/ 0 w 1275"/>
                <a:gd name="T39" fmla="*/ 0 h 1259"/>
                <a:gd name="T40" fmla="*/ 0 w 1275"/>
                <a:gd name="T41" fmla="*/ 0 h 1259"/>
                <a:gd name="T42" fmla="*/ 0 w 1275"/>
                <a:gd name="T43" fmla="*/ 0 h 1259"/>
                <a:gd name="T44" fmla="*/ 0 w 1275"/>
                <a:gd name="T45" fmla="*/ 0 h 1259"/>
                <a:gd name="T46" fmla="*/ 0 w 1275"/>
                <a:gd name="T47" fmla="*/ 0 h 1259"/>
                <a:gd name="T48" fmla="*/ 0 w 1275"/>
                <a:gd name="T49" fmla="*/ 0 h 1259"/>
                <a:gd name="T50" fmla="*/ 0 w 1275"/>
                <a:gd name="T51" fmla="*/ 0 h 1259"/>
                <a:gd name="T52" fmla="*/ 0 w 1275"/>
                <a:gd name="T53" fmla="*/ 0 h 1259"/>
                <a:gd name="T54" fmla="*/ 0 w 1275"/>
                <a:gd name="T55" fmla="*/ 0 h 1259"/>
                <a:gd name="T56" fmla="*/ 0 w 1275"/>
                <a:gd name="T57" fmla="*/ 0 h 1259"/>
                <a:gd name="T58" fmla="*/ 0 w 1275"/>
                <a:gd name="T59" fmla="*/ 0 h 1259"/>
                <a:gd name="T60" fmla="*/ 0 w 1275"/>
                <a:gd name="T61" fmla="*/ 0 h 1259"/>
                <a:gd name="T62" fmla="*/ 0 w 1275"/>
                <a:gd name="T63" fmla="*/ 0 h 1259"/>
                <a:gd name="T64" fmla="*/ 0 w 1275"/>
                <a:gd name="T65" fmla="*/ 0 h 1259"/>
                <a:gd name="T66" fmla="*/ 0 w 1275"/>
                <a:gd name="T67" fmla="*/ 0 h 1259"/>
                <a:gd name="T68" fmla="*/ 0 w 1275"/>
                <a:gd name="T69" fmla="*/ 0 h 1259"/>
                <a:gd name="T70" fmla="*/ 0 w 1275"/>
                <a:gd name="T71" fmla="*/ 0 h 1259"/>
                <a:gd name="T72" fmla="*/ 0 w 1275"/>
                <a:gd name="T73" fmla="*/ 0 h 1259"/>
                <a:gd name="T74" fmla="*/ 0 w 1275"/>
                <a:gd name="T75" fmla="*/ 0 h 1259"/>
                <a:gd name="T76" fmla="*/ 0 w 1275"/>
                <a:gd name="T77" fmla="*/ 0 h 1259"/>
                <a:gd name="T78" fmla="*/ 0 w 1275"/>
                <a:gd name="T79" fmla="*/ 0 h 1259"/>
                <a:gd name="T80" fmla="*/ 0 w 1275"/>
                <a:gd name="T81" fmla="*/ 0 h 1259"/>
                <a:gd name="T82" fmla="*/ 0 w 1275"/>
                <a:gd name="T83" fmla="*/ 0 h 1259"/>
                <a:gd name="T84" fmla="*/ 0 w 1275"/>
                <a:gd name="T85" fmla="*/ 0 h 1259"/>
                <a:gd name="T86" fmla="*/ 0 w 1275"/>
                <a:gd name="T87" fmla="*/ 0 h 1259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1275"/>
                <a:gd name="T133" fmla="*/ 0 h 1259"/>
                <a:gd name="T134" fmla="*/ 1275 w 1275"/>
                <a:gd name="T135" fmla="*/ 1259 h 1259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1275" h="1259">
                  <a:moveTo>
                    <a:pt x="739" y="0"/>
                  </a:moveTo>
                  <a:cubicBezTo>
                    <a:pt x="752" y="13"/>
                    <a:pt x="752" y="13"/>
                    <a:pt x="765" y="13"/>
                  </a:cubicBezTo>
                  <a:cubicBezTo>
                    <a:pt x="752" y="13"/>
                    <a:pt x="752" y="13"/>
                    <a:pt x="739" y="0"/>
                  </a:cubicBezTo>
                  <a:close/>
                  <a:moveTo>
                    <a:pt x="1249" y="553"/>
                  </a:moveTo>
                  <a:cubicBezTo>
                    <a:pt x="1249" y="553"/>
                    <a:pt x="1160" y="527"/>
                    <a:pt x="1135" y="527"/>
                  </a:cubicBezTo>
                  <a:cubicBezTo>
                    <a:pt x="1109" y="514"/>
                    <a:pt x="1084" y="450"/>
                    <a:pt x="1071" y="437"/>
                  </a:cubicBezTo>
                  <a:cubicBezTo>
                    <a:pt x="1071" y="411"/>
                    <a:pt x="1071" y="386"/>
                    <a:pt x="1071" y="386"/>
                  </a:cubicBezTo>
                  <a:cubicBezTo>
                    <a:pt x="1033" y="334"/>
                    <a:pt x="1033" y="334"/>
                    <a:pt x="1033" y="334"/>
                  </a:cubicBezTo>
                  <a:cubicBezTo>
                    <a:pt x="892" y="244"/>
                    <a:pt x="892" y="244"/>
                    <a:pt x="892" y="244"/>
                  </a:cubicBezTo>
                  <a:cubicBezTo>
                    <a:pt x="892" y="244"/>
                    <a:pt x="841" y="142"/>
                    <a:pt x="829" y="129"/>
                  </a:cubicBezTo>
                  <a:cubicBezTo>
                    <a:pt x="829" y="116"/>
                    <a:pt x="765" y="26"/>
                    <a:pt x="765" y="26"/>
                  </a:cubicBezTo>
                  <a:cubicBezTo>
                    <a:pt x="765" y="26"/>
                    <a:pt x="765" y="13"/>
                    <a:pt x="765" y="13"/>
                  </a:cubicBezTo>
                  <a:cubicBezTo>
                    <a:pt x="765" y="13"/>
                    <a:pt x="752" y="13"/>
                    <a:pt x="752" y="13"/>
                  </a:cubicBezTo>
                  <a:cubicBezTo>
                    <a:pt x="727" y="13"/>
                    <a:pt x="688" y="52"/>
                    <a:pt x="688" y="52"/>
                  </a:cubicBezTo>
                  <a:cubicBezTo>
                    <a:pt x="688" y="52"/>
                    <a:pt x="650" y="52"/>
                    <a:pt x="637" y="52"/>
                  </a:cubicBezTo>
                  <a:cubicBezTo>
                    <a:pt x="625" y="52"/>
                    <a:pt x="561" y="90"/>
                    <a:pt x="561" y="90"/>
                  </a:cubicBezTo>
                  <a:cubicBezTo>
                    <a:pt x="523" y="39"/>
                    <a:pt x="523" y="39"/>
                    <a:pt x="523" y="39"/>
                  </a:cubicBezTo>
                  <a:cubicBezTo>
                    <a:pt x="523" y="39"/>
                    <a:pt x="319" y="78"/>
                    <a:pt x="306" y="90"/>
                  </a:cubicBezTo>
                  <a:cubicBezTo>
                    <a:pt x="293" y="90"/>
                    <a:pt x="242" y="90"/>
                    <a:pt x="242" y="90"/>
                  </a:cubicBezTo>
                  <a:cubicBezTo>
                    <a:pt x="229" y="578"/>
                    <a:pt x="229" y="578"/>
                    <a:pt x="229" y="578"/>
                  </a:cubicBezTo>
                  <a:cubicBezTo>
                    <a:pt x="115" y="578"/>
                    <a:pt x="115" y="578"/>
                    <a:pt x="115" y="578"/>
                  </a:cubicBezTo>
                  <a:cubicBezTo>
                    <a:pt x="115" y="976"/>
                    <a:pt x="115" y="976"/>
                    <a:pt x="115" y="976"/>
                  </a:cubicBezTo>
                  <a:cubicBezTo>
                    <a:pt x="127" y="976"/>
                    <a:pt x="178" y="1028"/>
                    <a:pt x="191" y="1079"/>
                  </a:cubicBezTo>
                  <a:cubicBezTo>
                    <a:pt x="217" y="1130"/>
                    <a:pt x="229" y="1143"/>
                    <a:pt x="217" y="1156"/>
                  </a:cubicBezTo>
                  <a:cubicBezTo>
                    <a:pt x="191" y="1169"/>
                    <a:pt x="191" y="1207"/>
                    <a:pt x="191" y="1207"/>
                  </a:cubicBezTo>
                  <a:cubicBezTo>
                    <a:pt x="191" y="1259"/>
                    <a:pt x="191" y="1259"/>
                    <a:pt x="191" y="1259"/>
                  </a:cubicBezTo>
                  <a:cubicBezTo>
                    <a:pt x="191" y="1259"/>
                    <a:pt x="268" y="1233"/>
                    <a:pt x="293" y="1246"/>
                  </a:cubicBezTo>
                  <a:cubicBezTo>
                    <a:pt x="319" y="1259"/>
                    <a:pt x="357" y="1207"/>
                    <a:pt x="408" y="1182"/>
                  </a:cubicBezTo>
                  <a:cubicBezTo>
                    <a:pt x="446" y="1156"/>
                    <a:pt x="446" y="1130"/>
                    <a:pt x="459" y="1079"/>
                  </a:cubicBezTo>
                  <a:cubicBezTo>
                    <a:pt x="484" y="1028"/>
                    <a:pt x="548" y="1002"/>
                    <a:pt x="574" y="1041"/>
                  </a:cubicBezTo>
                  <a:cubicBezTo>
                    <a:pt x="612" y="1079"/>
                    <a:pt x="650" y="1092"/>
                    <a:pt x="688" y="1105"/>
                  </a:cubicBezTo>
                  <a:cubicBezTo>
                    <a:pt x="727" y="1105"/>
                    <a:pt x="765" y="1118"/>
                    <a:pt x="790" y="1079"/>
                  </a:cubicBezTo>
                  <a:cubicBezTo>
                    <a:pt x="816" y="1053"/>
                    <a:pt x="841" y="976"/>
                    <a:pt x="854" y="963"/>
                  </a:cubicBezTo>
                  <a:cubicBezTo>
                    <a:pt x="867" y="951"/>
                    <a:pt x="905" y="925"/>
                    <a:pt x="931" y="912"/>
                  </a:cubicBezTo>
                  <a:cubicBezTo>
                    <a:pt x="969" y="912"/>
                    <a:pt x="969" y="899"/>
                    <a:pt x="982" y="848"/>
                  </a:cubicBezTo>
                  <a:cubicBezTo>
                    <a:pt x="994" y="809"/>
                    <a:pt x="982" y="797"/>
                    <a:pt x="1033" y="784"/>
                  </a:cubicBezTo>
                  <a:cubicBezTo>
                    <a:pt x="1071" y="771"/>
                    <a:pt x="1084" y="745"/>
                    <a:pt x="1109" y="707"/>
                  </a:cubicBezTo>
                  <a:cubicBezTo>
                    <a:pt x="1135" y="668"/>
                    <a:pt x="1147" y="655"/>
                    <a:pt x="1173" y="655"/>
                  </a:cubicBezTo>
                  <a:cubicBezTo>
                    <a:pt x="1211" y="642"/>
                    <a:pt x="1237" y="617"/>
                    <a:pt x="1237" y="617"/>
                  </a:cubicBezTo>
                  <a:cubicBezTo>
                    <a:pt x="1275" y="591"/>
                    <a:pt x="1275" y="591"/>
                    <a:pt x="1275" y="591"/>
                  </a:cubicBezTo>
                  <a:cubicBezTo>
                    <a:pt x="1262" y="578"/>
                    <a:pt x="1249" y="553"/>
                    <a:pt x="1249" y="553"/>
                  </a:cubicBezTo>
                  <a:close/>
                  <a:moveTo>
                    <a:pt x="51" y="26"/>
                  </a:moveTo>
                  <a:cubicBezTo>
                    <a:pt x="25" y="26"/>
                    <a:pt x="13" y="26"/>
                    <a:pt x="0" y="26"/>
                  </a:cubicBezTo>
                  <a:cubicBezTo>
                    <a:pt x="13" y="26"/>
                    <a:pt x="25" y="26"/>
                    <a:pt x="51" y="26"/>
                  </a:cubicBez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891045"/>
              <a:endParaRPr lang="en-US" sz="1700" dirty="0">
                <a:solidFill>
                  <a:srgbClr val="003149"/>
                </a:solidFill>
                <a:cs typeface="Arial" panose="020B0604020202020204" pitchFamily="34" charset="0"/>
              </a:endParaRPr>
            </a:p>
          </p:txBody>
        </p:sp>
      </p:grpSp>
      <p:grpSp>
        <p:nvGrpSpPr>
          <p:cNvPr id="510" name="Group 326"/>
          <p:cNvGrpSpPr>
            <a:grpSpLocks/>
          </p:cNvGrpSpPr>
          <p:nvPr/>
        </p:nvGrpSpPr>
        <p:grpSpPr bwMode="gray">
          <a:xfrm>
            <a:off x="1938538" y="2741793"/>
            <a:ext cx="134505" cy="289253"/>
            <a:chOff x="4761" y="3175"/>
            <a:chExt cx="92" cy="186"/>
          </a:xfrm>
          <a:solidFill>
            <a:schemeClr val="accent3"/>
          </a:solidFill>
        </p:grpSpPr>
        <p:sp>
          <p:nvSpPr>
            <p:cNvPr id="511" name="Freeform 327"/>
            <p:cNvSpPr>
              <a:spLocks/>
            </p:cNvSpPr>
            <p:nvPr/>
          </p:nvSpPr>
          <p:spPr bwMode="gray">
            <a:xfrm>
              <a:off x="4761" y="3175"/>
              <a:ext cx="92" cy="186"/>
            </a:xfrm>
            <a:custGeom>
              <a:avLst/>
              <a:gdLst>
                <a:gd name="T0" fmla="*/ 0 w 916"/>
                <a:gd name="T1" fmla="*/ 0 h 1833"/>
                <a:gd name="T2" fmla="*/ 0 w 916"/>
                <a:gd name="T3" fmla="*/ 0 h 1833"/>
                <a:gd name="T4" fmla="*/ 0 w 916"/>
                <a:gd name="T5" fmla="*/ 0 h 1833"/>
                <a:gd name="T6" fmla="*/ 0 w 916"/>
                <a:gd name="T7" fmla="*/ 0 h 1833"/>
                <a:gd name="T8" fmla="*/ 0 w 916"/>
                <a:gd name="T9" fmla="*/ 0 h 1833"/>
                <a:gd name="T10" fmla="*/ 0 w 916"/>
                <a:gd name="T11" fmla="*/ 0 h 1833"/>
                <a:gd name="T12" fmla="*/ 0 w 916"/>
                <a:gd name="T13" fmla="*/ 0 h 1833"/>
                <a:gd name="T14" fmla="*/ 0 w 916"/>
                <a:gd name="T15" fmla="*/ 0 h 1833"/>
                <a:gd name="T16" fmla="*/ 0 w 916"/>
                <a:gd name="T17" fmla="*/ 0 h 1833"/>
                <a:gd name="T18" fmla="*/ 0 w 916"/>
                <a:gd name="T19" fmla="*/ 0 h 1833"/>
                <a:gd name="T20" fmla="*/ 0 w 916"/>
                <a:gd name="T21" fmla="*/ 0 h 1833"/>
                <a:gd name="T22" fmla="*/ 0 w 916"/>
                <a:gd name="T23" fmla="*/ 0 h 1833"/>
                <a:gd name="T24" fmla="*/ 0 w 916"/>
                <a:gd name="T25" fmla="*/ 0 h 1833"/>
                <a:gd name="T26" fmla="*/ 0 w 916"/>
                <a:gd name="T27" fmla="*/ 0 h 1833"/>
                <a:gd name="T28" fmla="*/ 0 w 916"/>
                <a:gd name="T29" fmla="*/ 0 h 1833"/>
                <a:gd name="T30" fmla="*/ 0 w 916"/>
                <a:gd name="T31" fmla="*/ 0 h 1833"/>
                <a:gd name="T32" fmla="*/ 0 w 916"/>
                <a:gd name="T33" fmla="*/ 0 h 1833"/>
                <a:gd name="T34" fmla="*/ 0 w 916"/>
                <a:gd name="T35" fmla="*/ 0 h 1833"/>
                <a:gd name="T36" fmla="*/ 0 w 916"/>
                <a:gd name="T37" fmla="*/ 0 h 1833"/>
                <a:gd name="T38" fmla="*/ 0 w 916"/>
                <a:gd name="T39" fmla="*/ 0 h 1833"/>
                <a:gd name="T40" fmla="*/ 0 w 916"/>
                <a:gd name="T41" fmla="*/ 0 h 1833"/>
                <a:gd name="T42" fmla="*/ 0 w 916"/>
                <a:gd name="T43" fmla="*/ 0 h 1833"/>
                <a:gd name="T44" fmla="*/ 0 w 916"/>
                <a:gd name="T45" fmla="*/ 0 h 1833"/>
                <a:gd name="T46" fmla="*/ 0 w 916"/>
                <a:gd name="T47" fmla="*/ 0 h 1833"/>
                <a:gd name="T48" fmla="*/ 0 w 916"/>
                <a:gd name="T49" fmla="*/ 0 h 1833"/>
                <a:gd name="T50" fmla="*/ 0 w 916"/>
                <a:gd name="T51" fmla="*/ 0 h 1833"/>
                <a:gd name="T52" fmla="*/ 0 w 916"/>
                <a:gd name="T53" fmla="*/ 0 h 1833"/>
                <a:gd name="T54" fmla="*/ 0 w 916"/>
                <a:gd name="T55" fmla="*/ 0 h 1833"/>
                <a:gd name="T56" fmla="*/ 0 w 916"/>
                <a:gd name="T57" fmla="*/ 0 h 1833"/>
                <a:gd name="T58" fmla="*/ 0 w 916"/>
                <a:gd name="T59" fmla="*/ 0 h 1833"/>
                <a:gd name="T60" fmla="*/ 0 w 916"/>
                <a:gd name="T61" fmla="*/ 0 h 1833"/>
                <a:gd name="T62" fmla="*/ 0 w 916"/>
                <a:gd name="T63" fmla="*/ 0 h 1833"/>
                <a:gd name="T64" fmla="*/ 0 w 916"/>
                <a:gd name="T65" fmla="*/ 0 h 1833"/>
                <a:gd name="T66" fmla="*/ 0 w 916"/>
                <a:gd name="T67" fmla="*/ 0 h 1833"/>
                <a:gd name="T68" fmla="*/ 0 w 916"/>
                <a:gd name="T69" fmla="*/ 0 h 1833"/>
                <a:gd name="T70" fmla="*/ 0 w 916"/>
                <a:gd name="T71" fmla="*/ 0 h 1833"/>
                <a:gd name="T72" fmla="*/ 0 w 916"/>
                <a:gd name="T73" fmla="*/ 0 h 1833"/>
                <a:gd name="T74" fmla="*/ 0 w 916"/>
                <a:gd name="T75" fmla="*/ 0 h 1833"/>
                <a:gd name="T76" fmla="*/ 0 w 916"/>
                <a:gd name="T77" fmla="*/ 0 h 1833"/>
                <a:gd name="T78" fmla="*/ 0 w 916"/>
                <a:gd name="T79" fmla="*/ 0 h 1833"/>
                <a:gd name="T80" fmla="*/ 0 w 916"/>
                <a:gd name="T81" fmla="*/ 0 h 1833"/>
                <a:gd name="T82" fmla="*/ 0 w 916"/>
                <a:gd name="T83" fmla="*/ 0 h 1833"/>
                <a:gd name="T84" fmla="*/ 0 w 916"/>
                <a:gd name="T85" fmla="*/ 0 h 1833"/>
                <a:gd name="T86" fmla="*/ 0 w 916"/>
                <a:gd name="T87" fmla="*/ 0 h 1833"/>
                <a:gd name="T88" fmla="*/ 0 w 916"/>
                <a:gd name="T89" fmla="*/ 0 h 1833"/>
                <a:gd name="T90" fmla="*/ 0 w 916"/>
                <a:gd name="T91" fmla="*/ 0 h 1833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w 916"/>
                <a:gd name="T139" fmla="*/ 0 h 1833"/>
                <a:gd name="T140" fmla="*/ 916 w 916"/>
                <a:gd name="T141" fmla="*/ 1833 h 1833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T138" t="T139" r="T140" b="T141"/>
              <a:pathLst>
                <a:path w="916" h="1833">
                  <a:moveTo>
                    <a:pt x="12" y="1359"/>
                  </a:moveTo>
                  <a:cubicBezTo>
                    <a:pt x="12" y="1321"/>
                    <a:pt x="25" y="1257"/>
                    <a:pt x="63" y="1231"/>
                  </a:cubicBezTo>
                  <a:cubicBezTo>
                    <a:pt x="100" y="1205"/>
                    <a:pt x="100" y="1154"/>
                    <a:pt x="125" y="1128"/>
                  </a:cubicBezTo>
                  <a:cubicBezTo>
                    <a:pt x="150" y="1116"/>
                    <a:pt x="150" y="1090"/>
                    <a:pt x="163" y="1039"/>
                  </a:cubicBezTo>
                  <a:cubicBezTo>
                    <a:pt x="163" y="987"/>
                    <a:pt x="138" y="949"/>
                    <a:pt x="138" y="898"/>
                  </a:cubicBezTo>
                  <a:cubicBezTo>
                    <a:pt x="138" y="846"/>
                    <a:pt x="88" y="757"/>
                    <a:pt x="88" y="731"/>
                  </a:cubicBezTo>
                  <a:cubicBezTo>
                    <a:pt x="100" y="705"/>
                    <a:pt x="138" y="667"/>
                    <a:pt x="150" y="641"/>
                  </a:cubicBezTo>
                  <a:cubicBezTo>
                    <a:pt x="163" y="616"/>
                    <a:pt x="125" y="564"/>
                    <a:pt x="163" y="564"/>
                  </a:cubicBezTo>
                  <a:cubicBezTo>
                    <a:pt x="201" y="551"/>
                    <a:pt x="213" y="590"/>
                    <a:pt x="226" y="564"/>
                  </a:cubicBezTo>
                  <a:cubicBezTo>
                    <a:pt x="251" y="539"/>
                    <a:pt x="264" y="513"/>
                    <a:pt x="264" y="526"/>
                  </a:cubicBezTo>
                  <a:cubicBezTo>
                    <a:pt x="264" y="539"/>
                    <a:pt x="276" y="539"/>
                    <a:pt x="301" y="539"/>
                  </a:cubicBezTo>
                  <a:cubicBezTo>
                    <a:pt x="326" y="526"/>
                    <a:pt x="326" y="513"/>
                    <a:pt x="364" y="500"/>
                  </a:cubicBezTo>
                  <a:cubicBezTo>
                    <a:pt x="402" y="500"/>
                    <a:pt x="402" y="487"/>
                    <a:pt x="439" y="462"/>
                  </a:cubicBezTo>
                  <a:cubicBezTo>
                    <a:pt x="477" y="449"/>
                    <a:pt x="502" y="410"/>
                    <a:pt x="515" y="385"/>
                  </a:cubicBezTo>
                  <a:cubicBezTo>
                    <a:pt x="527" y="359"/>
                    <a:pt x="527" y="359"/>
                    <a:pt x="527" y="359"/>
                  </a:cubicBezTo>
                  <a:cubicBezTo>
                    <a:pt x="527" y="359"/>
                    <a:pt x="527" y="423"/>
                    <a:pt x="540" y="398"/>
                  </a:cubicBezTo>
                  <a:cubicBezTo>
                    <a:pt x="565" y="385"/>
                    <a:pt x="552" y="333"/>
                    <a:pt x="565" y="321"/>
                  </a:cubicBezTo>
                  <a:cubicBezTo>
                    <a:pt x="577" y="308"/>
                    <a:pt x="603" y="321"/>
                    <a:pt x="603" y="295"/>
                  </a:cubicBezTo>
                  <a:cubicBezTo>
                    <a:pt x="603" y="269"/>
                    <a:pt x="565" y="244"/>
                    <a:pt x="590" y="231"/>
                  </a:cubicBezTo>
                  <a:cubicBezTo>
                    <a:pt x="603" y="205"/>
                    <a:pt x="615" y="218"/>
                    <a:pt x="628" y="231"/>
                  </a:cubicBezTo>
                  <a:cubicBezTo>
                    <a:pt x="640" y="244"/>
                    <a:pt x="678" y="205"/>
                    <a:pt x="690" y="205"/>
                  </a:cubicBezTo>
                  <a:cubicBezTo>
                    <a:pt x="703" y="205"/>
                    <a:pt x="703" y="167"/>
                    <a:pt x="716" y="141"/>
                  </a:cubicBezTo>
                  <a:cubicBezTo>
                    <a:pt x="716" y="116"/>
                    <a:pt x="703" y="64"/>
                    <a:pt x="703" y="64"/>
                  </a:cubicBezTo>
                  <a:cubicBezTo>
                    <a:pt x="703" y="64"/>
                    <a:pt x="753" y="39"/>
                    <a:pt x="766" y="13"/>
                  </a:cubicBezTo>
                  <a:cubicBezTo>
                    <a:pt x="778" y="0"/>
                    <a:pt x="778" y="39"/>
                    <a:pt x="791" y="64"/>
                  </a:cubicBezTo>
                  <a:cubicBezTo>
                    <a:pt x="791" y="77"/>
                    <a:pt x="816" y="116"/>
                    <a:pt x="841" y="154"/>
                  </a:cubicBezTo>
                  <a:cubicBezTo>
                    <a:pt x="854" y="192"/>
                    <a:pt x="879" y="205"/>
                    <a:pt x="879" y="257"/>
                  </a:cubicBezTo>
                  <a:cubicBezTo>
                    <a:pt x="879" y="321"/>
                    <a:pt x="891" y="333"/>
                    <a:pt x="904" y="385"/>
                  </a:cubicBezTo>
                  <a:cubicBezTo>
                    <a:pt x="904" y="449"/>
                    <a:pt x="916" y="449"/>
                    <a:pt x="891" y="487"/>
                  </a:cubicBezTo>
                  <a:cubicBezTo>
                    <a:pt x="879" y="513"/>
                    <a:pt x="879" y="551"/>
                    <a:pt x="866" y="539"/>
                  </a:cubicBezTo>
                  <a:cubicBezTo>
                    <a:pt x="841" y="526"/>
                    <a:pt x="841" y="474"/>
                    <a:pt x="829" y="462"/>
                  </a:cubicBezTo>
                  <a:cubicBezTo>
                    <a:pt x="816" y="462"/>
                    <a:pt x="803" y="487"/>
                    <a:pt x="803" y="500"/>
                  </a:cubicBezTo>
                  <a:cubicBezTo>
                    <a:pt x="816" y="526"/>
                    <a:pt x="816" y="526"/>
                    <a:pt x="816" y="577"/>
                  </a:cubicBezTo>
                  <a:cubicBezTo>
                    <a:pt x="829" y="616"/>
                    <a:pt x="829" y="603"/>
                    <a:pt x="803" y="654"/>
                  </a:cubicBezTo>
                  <a:cubicBezTo>
                    <a:pt x="778" y="705"/>
                    <a:pt x="791" y="718"/>
                    <a:pt x="791" y="744"/>
                  </a:cubicBezTo>
                  <a:cubicBezTo>
                    <a:pt x="791" y="782"/>
                    <a:pt x="791" y="821"/>
                    <a:pt x="753" y="898"/>
                  </a:cubicBezTo>
                  <a:cubicBezTo>
                    <a:pt x="716" y="962"/>
                    <a:pt x="678" y="1192"/>
                    <a:pt x="640" y="1282"/>
                  </a:cubicBezTo>
                  <a:cubicBezTo>
                    <a:pt x="590" y="1372"/>
                    <a:pt x="565" y="1564"/>
                    <a:pt x="527" y="1628"/>
                  </a:cubicBezTo>
                  <a:cubicBezTo>
                    <a:pt x="502" y="1692"/>
                    <a:pt x="515" y="1731"/>
                    <a:pt x="477" y="1757"/>
                  </a:cubicBezTo>
                  <a:cubicBezTo>
                    <a:pt x="439" y="1782"/>
                    <a:pt x="402" y="1769"/>
                    <a:pt x="364" y="1782"/>
                  </a:cubicBezTo>
                  <a:cubicBezTo>
                    <a:pt x="326" y="1808"/>
                    <a:pt x="301" y="1821"/>
                    <a:pt x="276" y="1833"/>
                  </a:cubicBezTo>
                  <a:cubicBezTo>
                    <a:pt x="238" y="1833"/>
                    <a:pt x="213" y="1795"/>
                    <a:pt x="188" y="1795"/>
                  </a:cubicBezTo>
                  <a:cubicBezTo>
                    <a:pt x="150" y="1782"/>
                    <a:pt x="125" y="1757"/>
                    <a:pt x="113" y="1744"/>
                  </a:cubicBezTo>
                  <a:cubicBezTo>
                    <a:pt x="100" y="1718"/>
                    <a:pt x="63" y="1667"/>
                    <a:pt x="63" y="1628"/>
                  </a:cubicBezTo>
                  <a:cubicBezTo>
                    <a:pt x="63" y="1577"/>
                    <a:pt x="50" y="1500"/>
                    <a:pt x="37" y="1462"/>
                  </a:cubicBezTo>
                  <a:cubicBezTo>
                    <a:pt x="12" y="1423"/>
                    <a:pt x="0" y="1398"/>
                    <a:pt x="12" y="1359"/>
                  </a:cubicBezTo>
                </a:path>
              </a:pathLst>
            </a:custGeom>
            <a:grpFill/>
            <a:ln w="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891045"/>
              <a:endParaRPr lang="en-US" sz="1700" dirty="0">
                <a:solidFill>
                  <a:srgbClr val="003149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512" name="Freeform 328"/>
            <p:cNvSpPr>
              <a:spLocks/>
            </p:cNvSpPr>
            <p:nvPr/>
          </p:nvSpPr>
          <p:spPr bwMode="gray">
            <a:xfrm>
              <a:off x="4761" y="3175"/>
              <a:ext cx="92" cy="186"/>
            </a:xfrm>
            <a:custGeom>
              <a:avLst/>
              <a:gdLst>
                <a:gd name="T0" fmla="*/ 1 w 92"/>
                <a:gd name="T1" fmla="*/ 138 h 186"/>
                <a:gd name="T2" fmla="*/ 6 w 92"/>
                <a:gd name="T3" fmla="*/ 125 h 186"/>
                <a:gd name="T4" fmla="*/ 13 w 92"/>
                <a:gd name="T5" fmla="*/ 114 h 186"/>
                <a:gd name="T6" fmla="*/ 16 w 92"/>
                <a:gd name="T7" fmla="*/ 105 h 186"/>
                <a:gd name="T8" fmla="*/ 14 w 92"/>
                <a:gd name="T9" fmla="*/ 91 h 186"/>
                <a:gd name="T10" fmla="*/ 9 w 92"/>
                <a:gd name="T11" fmla="*/ 74 h 186"/>
                <a:gd name="T12" fmla="*/ 15 w 92"/>
                <a:gd name="T13" fmla="*/ 65 h 186"/>
                <a:gd name="T14" fmla="*/ 16 w 92"/>
                <a:gd name="T15" fmla="*/ 57 h 186"/>
                <a:gd name="T16" fmla="*/ 23 w 92"/>
                <a:gd name="T17" fmla="*/ 57 h 186"/>
                <a:gd name="T18" fmla="*/ 27 w 92"/>
                <a:gd name="T19" fmla="*/ 54 h 186"/>
                <a:gd name="T20" fmla="*/ 30 w 92"/>
                <a:gd name="T21" fmla="*/ 55 h 186"/>
                <a:gd name="T22" fmla="*/ 37 w 92"/>
                <a:gd name="T23" fmla="*/ 51 h 186"/>
                <a:gd name="T24" fmla="*/ 44 w 92"/>
                <a:gd name="T25" fmla="*/ 47 h 186"/>
                <a:gd name="T26" fmla="*/ 52 w 92"/>
                <a:gd name="T27" fmla="*/ 39 h 186"/>
                <a:gd name="T28" fmla="*/ 53 w 92"/>
                <a:gd name="T29" fmla="*/ 37 h 186"/>
                <a:gd name="T30" fmla="*/ 54 w 92"/>
                <a:gd name="T31" fmla="*/ 41 h 186"/>
                <a:gd name="T32" fmla="*/ 57 w 92"/>
                <a:gd name="T33" fmla="*/ 33 h 186"/>
                <a:gd name="T34" fmla="*/ 61 w 92"/>
                <a:gd name="T35" fmla="*/ 30 h 186"/>
                <a:gd name="T36" fmla="*/ 59 w 92"/>
                <a:gd name="T37" fmla="*/ 24 h 186"/>
                <a:gd name="T38" fmla="*/ 63 w 92"/>
                <a:gd name="T39" fmla="*/ 24 h 186"/>
                <a:gd name="T40" fmla="*/ 70 w 92"/>
                <a:gd name="T41" fmla="*/ 21 h 186"/>
                <a:gd name="T42" fmla="*/ 72 w 92"/>
                <a:gd name="T43" fmla="*/ 15 h 186"/>
                <a:gd name="T44" fmla="*/ 71 w 92"/>
                <a:gd name="T45" fmla="*/ 7 h 186"/>
                <a:gd name="T46" fmla="*/ 77 w 92"/>
                <a:gd name="T47" fmla="*/ 2 h 186"/>
                <a:gd name="T48" fmla="*/ 80 w 92"/>
                <a:gd name="T49" fmla="*/ 7 h 186"/>
                <a:gd name="T50" fmla="*/ 85 w 92"/>
                <a:gd name="T51" fmla="*/ 16 h 186"/>
                <a:gd name="T52" fmla="*/ 89 w 92"/>
                <a:gd name="T53" fmla="*/ 26 h 186"/>
                <a:gd name="T54" fmla="*/ 91 w 92"/>
                <a:gd name="T55" fmla="*/ 39 h 186"/>
                <a:gd name="T56" fmla="*/ 90 w 92"/>
                <a:gd name="T57" fmla="*/ 50 h 186"/>
                <a:gd name="T58" fmla="*/ 87 w 92"/>
                <a:gd name="T59" fmla="*/ 55 h 186"/>
                <a:gd name="T60" fmla="*/ 84 w 92"/>
                <a:gd name="T61" fmla="*/ 47 h 186"/>
                <a:gd name="T62" fmla="*/ 81 w 92"/>
                <a:gd name="T63" fmla="*/ 51 h 186"/>
                <a:gd name="T64" fmla="*/ 82 w 92"/>
                <a:gd name="T65" fmla="*/ 59 h 186"/>
                <a:gd name="T66" fmla="*/ 81 w 92"/>
                <a:gd name="T67" fmla="*/ 66 h 186"/>
                <a:gd name="T68" fmla="*/ 80 w 92"/>
                <a:gd name="T69" fmla="*/ 76 h 186"/>
                <a:gd name="T70" fmla="*/ 76 w 92"/>
                <a:gd name="T71" fmla="*/ 91 h 186"/>
                <a:gd name="T72" fmla="*/ 65 w 92"/>
                <a:gd name="T73" fmla="*/ 130 h 186"/>
                <a:gd name="T74" fmla="*/ 53 w 92"/>
                <a:gd name="T75" fmla="*/ 165 h 186"/>
                <a:gd name="T76" fmla="*/ 48 w 92"/>
                <a:gd name="T77" fmla="*/ 178 h 186"/>
                <a:gd name="T78" fmla="*/ 37 w 92"/>
                <a:gd name="T79" fmla="*/ 180 h 186"/>
                <a:gd name="T80" fmla="*/ 28 w 92"/>
                <a:gd name="T81" fmla="*/ 186 h 186"/>
                <a:gd name="T82" fmla="*/ 19 w 92"/>
                <a:gd name="T83" fmla="*/ 182 h 186"/>
                <a:gd name="T84" fmla="*/ 11 w 92"/>
                <a:gd name="T85" fmla="*/ 177 h 186"/>
                <a:gd name="T86" fmla="*/ 6 w 92"/>
                <a:gd name="T87" fmla="*/ 165 h 186"/>
                <a:gd name="T88" fmla="*/ 4 w 92"/>
                <a:gd name="T89" fmla="*/ 148 h 186"/>
                <a:gd name="T90" fmla="*/ 1 w 92"/>
                <a:gd name="T91" fmla="*/ 138 h 18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w 92"/>
                <a:gd name="T139" fmla="*/ 0 h 186"/>
                <a:gd name="T140" fmla="*/ 92 w 92"/>
                <a:gd name="T141" fmla="*/ 186 h 186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T138" t="T139" r="T140" b="T141"/>
              <a:pathLst>
                <a:path w="92" h="186">
                  <a:moveTo>
                    <a:pt x="1" y="138"/>
                  </a:moveTo>
                  <a:cubicBezTo>
                    <a:pt x="1" y="134"/>
                    <a:pt x="2" y="127"/>
                    <a:pt x="6" y="125"/>
                  </a:cubicBezTo>
                  <a:cubicBezTo>
                    <a:pt x="10" y="122"/>
                    <a:pt x="10" y="117"/>
                    <a:pt x="13" y="114"/>
                  </a:cubicBezTo>
                  <a:cubicBezTo>
                    <a:pt x="15" y="113"/>
                    <a:pt x="15" y="110"/>
                    <a:pt x="16" y="105"/>
                  </a:cubicBezTo>
                  <a:cubicBezTo>
                    <a:pt x="16" y="100"/>
                    <a:pt x="14" y="96"/>
                    <a:pt x="14" y="91"/>
                  </a:cubicBezTo>
                  <a:cubicBezTo>
                    <a:pt x="14" y="86"/>
                    <a:pt x="9" y="77"/>
                    <a:pt x="9" y="74"/>
                  </a:cubicBezTo>
                  <a:cubicBezTo>
                    <a:pt x="10" y="72"/>
                    <a:pt x="14" y="68"/>
                    <a:pt x="15" y="65"/>
                  </a:cubicBezTo>
                  <a:cubicBezTo>
                    <a:pt x="16" y="63"/>
                    <a:pt x="13" y="57"/>
                    <a:pt x="16" y="57"/>
                  </a:cubicBezTo>
                  <a:cubicBezTo>
                    <a:pt x="20" y="56"/>
                    <a:pt x="21" y="60"/>
                    <a:pt x="23" y="57"/>
                  </a:cubicBezTo>
                  <a:cubicBezTo>
                    <a:pt x="25" y="55"/>
                    <a:pt x="27" y="52"/>
                    <a:pt x="27" y="54"/>
                  </a:cubicBezTo>
                  <a:cubicBezTo>
                    <a:pt x="27" y="55"/>
                    <a:pt x="28" y="55"/>
                    <a:pt x="30" y="55"/>
                  </a:cubicBezTo>
                  <a:cubicBezTo>
                    <a:pt x="33" y="54"/>
                    <a:pt x="33" y="52"/>
                    <a:pt x="37" y="51"/>
                  </a:cubicBezTo>
                  <a:cubicBezTo>
                    <a:pt x="40" y="51"/>
                    <a:pt x="40" y="50"/>
                    <a:pt x="44" y="47"/>
                  </a:cubicBezTo>
                  <a:cubicBezTo>
                    <a:pt x="48" y="46"/>
                    <a:pt x="51" y="42"/>
                    <a:pt x="52" y="39"/>
                  </a:cubicBezTo>
                  <a:cubicBezTo>
                    <a:pt x="53" y="37"/>
                    <a:pt x="53" y="37"/>
                    <a:pt x="53" y="37"/>
                  </a:cubicBezTo>
                  <a:cubicBezTo>
                    <a:pt x="53" y="37"/>
                    <a:pt x="53" y="43"/>
                    <a:pt x="54" y="41"/>
                  </a:cubicBezTo>
                  <a:cubicBezTo>
                    <a:pt x="57" y="39"/>
                    <a:pt x="56" y="34"/>
                    <a:pt x="57" y="33"/>
                  </a:cubicBezTo>
                  <a:cubicBezTo>
                    <a:pt x="58" y="31"/>
                    <a:pt x="61" y="33"/>
                    <a:pt x="61" y="30"/>
                  </a:cubicBezTo>
                  <a:cubicBezTo>
                    <a:pt x="61" y="28"/>
                    <a:pt x="57" y="25"/>
                    <a:pt x="59" y="24"/>
                  </a:cubicBezTo>
                  <a:cubicBezTo>
                    <a:pt x="61" y="21"/>
                    <a:pt x="62" y="22"/>
                    <a:pt x="63" y="24"/>
                  </a:cubicBezTo>
                  <a:cubicBezTo>
                    <a:pt x="65" y="25"/>
                    <a:pt x="68" y="21"/>
                    <a:pt x="70" y="21"/>
                  </a:cubicBezTo>
                  <a:cubicBezTo>
                    <a:pt x="71" y="21"/>
                    <a:pt x="71" y="17"/>
                    <a:pt x="72" y="15"/>
                  </a:cubicBezTo>
                  <a:cubicBezTo>
                    <a:pt x="72" y="12"/>
                    <a:pt x="71" y="7"/>
                    <a:pt x="71" y="7"/>
                  </a:cubicBezTo>
                  <a:cubicBezTo>
                    <a:pt x="71" y="7"/>
                    <a:pt x="76" y="4"/>
                    <a:pt x="77" y="2"/>
                  </a:cubicBezTo>
                  <a:cubicBezTo>
                    <a:pt x="78" y="0"/>
                    <a:pt x="78" y="4"/>
                    <a:pt x="80" y="7"/>
                  </a:cubicBezTo>
                  <a:cubicBezTo>
                    <a:pt x="80" y="8"/>
                    <a:pt x="82" y="12"/>
                    <a:pt x="85" y="16"/>
                  </a:cubicBezTo>
                  <a:cubicBezTo>
                    <a:pt x="86" y="20"/>
                    <a:pt x="89" y="21"/>
                    <a:pt x="89" y="26"/>
                  </a:cubicBezTo>
                  <a:cubicBezTo>
                    <a:pt x="89" y="33"/>
                    <a:pt x="90" y="34"/>
                    <a:pt x="91" y="39"/>
                  </a:cubicBezTo>
                  <a:cubicBezTo>
                    <a:pt x="91" y="46"/>
                    <a:pt x="92" y="46"/>
                    <a:pt x="90" y="50"/>
                  </a:cubicBezTo>
                  <a:cubicBezTo>
                    <a:pt x="89" y="52"/>
                    <a:pt x="89" y="56"/>
                    <a:pt x="87" y="55"/>
                  </a:cubicBezTo>
                  <a:cubicBezTo>
                    <a:pt x="85" y="54"/>
                    <a:pt x="85" y="48"/>
                    <a:pt x="84" y="47"/>
                  </a:cubicBezTo>
                  <a:cubicBezTo>
                    <a:pt x="82" y="47"/>
                    <a:pt x="81" y="50"/>
                    <a:pt x="81" y="51"/>
                  </a:cubicBezTo>
                  <a:cubicBezTo>
                    <a:pt x="82" y="54"/>
                    <a:pt x="82" y="54"/>
                    <a:pt x="82" y="59"/>
                  </a:cubicBezTo>
                  <a:cubicBezTo>
                    <a:pt x="84" y="63"/>
                    <a:pt x="84" y="61"/>
                    <a:pt x="81" y="66"/>
                  </a:cubicBezTo>
                  <a:cubicBezTo>
                    <a:pt x="78" y="72"/>
                    <a:pt x="80" y="73"/>
                    <a:pt x="80" y="76"/>
                  </a:cubicBezTo>
                  <a:cubicBezTo>
                    <a:pt x="80" y="79"/>
                    <a:pt x="80" y="83"/>
                    <a:pt x="76" y="91"/>
                  </a:cubicBezTo>
                  <a:cubicBezTo>
                    <a:pt x="72" y="98"/>
                    <a:pt x="68" y="121"/>
                    <a:pt x="65" y="130"/>
                  </a:cubicBezTo>
                  <a:cubicBezTo>
                    <a:pt x="59" y="139"/>
                    <a:pt x="57" y="158"/>
                    <a:pt x="53" y="165"/>
                  </a:cubicBezTo>
                  <a:cubicBezTo>
                    <a:pt x="51" y="171"/>
                    <a:pt x="52" y="175"/>
                    <a:pt x="48" y="178"/>
                  </a:cubicBezTo>
                  <a:cubicBezTo>
                    <a:pt x="44" y="180"/>
                    <a:pt x="40" y="179"/>
                    <a:pt x="37" y="180"/>
                  </a:cubicBezTo>
                  <a:cubicBezTo>
                    <a:pt x="33" y="183"/>
                    <a:pt x="30" y="184"/>
                    <a:pt x="28" y="186"/>
                  </a:cubicBezTo>
                  <a:cubicBezTo>
                    <a:pt x="24" y="186"/>
                    <a:pt x="21" y="182"/>
                    <a:pt x="19" y="182"/>
                  </a:cubicBezTo>
                  <a:cubicBezTo>
                    <a:pt x="15" y="180"/>
                    <a:pt x="13" y="178"/>
                    <a:pt x="11" y="177"/>
                  </a:cubicBezTo>
                  <a:cubicBezTo>
                    <a:pt x="10" y="174"/>
                    <a:pt x="6" y="169"/>
                    <a:pt x="6" y="165"/>
                  </a:cubicBezTo>
                  <a:cubicBezTo>
                    <a:pt x="6" y="160"/>
                    <a:pt x="5" y="152"/>
                    <a:pt x="4" y="148"/>
                  </a:cubicBezTo>
                  <a:cubicBezTo>
                    <a:pt x="1" y="144"/>
                    <a:pt x="0" y="142"/>
                    <a:pt x="1" y="138"/>
                  </a:cubicBezTo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891045"/>
              <a:endParaRPr lang="en-US" sz="1700" dirty="0">
                <a:solidFill>
                  <a:srgbClr val="003149"/>
                </a:solidFill>
                <a:cs typeface="Arial" panose="020B0604020202020204" pitchFamily="34" charset="0"/>
              </a:endParaRPr>
            </a:p>
          </p:txBody>
        </p:sp>
      </p:grpSp>
      <p:grpSp>
        <p:nvGrpSpPr>
          <p:cNvPr id="513" name="Group 329"/>
          <p:cNvGrpSpPr>
            <a:grpSpLocks/>
          </p:cNvGrpSpPr>
          <p:nvPr/>
        </p:nvGrpSpPr>
        <p:grpSpPr bwMode="gray">
          <a:xfrm>
            <a:off x="2027788" y="2928282"/>
            <a:ext cx="12570" cy="19030"/>
            <a:chOff x="4912" y="3295"/>
            <a:chExt cx="9" cy="12"/>
          </a:xfrm>
          <a:solidFill>
            <a:schemeClr val="accent3"/>
          </a:solidFill>
        </p:grpSpPr>
        <p:sp>
          <p:nvSpPr>
            <p:cNvPr id="514" name="Freeform 330"/>
            <p:cNvSpPr>
              <a:spLocks/>
            </p:cNvSpPr>
            <p:nvPr/>
          </p:nvSpPr>
          <p:spPr bwMode="gray">
            <a:xfrm>
              <a:off x="4912" y="3295"/>
              <a:ext cx="9" cy="12"/>
            </a:xfrm>
            <a:custGeom>
              <a:avLst/>
              <a:gdLst>
                <a:gd name="T0" fmla="*/ 0 w 83"/>
                <a:gd name="T1" fmla="*/ 0 h 117"/>
                <a:gd name="T2" fmla="*/ 0 w 83"/>
                <a:gd name="T3" fmla="*/ 0 h 117"/>
                <a:gd name="T4" fmla="*/ 0 w 83"/>
                <a:gd name="T5" fmla="*/ 0 h 117"/>
                <a:gd name="T6" fmla="*/ 0 w 83"/>
                <a:gd name="T7" fmla="*/ 0 h 117"/>
                <a:gd name="T8" fmla="*/ 0 w 83"/>
                <a:gd name="T9" fmla="*/ 0 h 11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83"/>
                <a:gd name="T16" fmla="*/ 0 h 117"/>
                <a:gd name="T17" fmla="*/ 83 w 83"/>
                <a:gd name="T18" fmla="*/ 117 h 117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83" h="117">
                  <a:moveTo>
                    <a:pt x="12" y="0"/>
                  </a:moveTo>
                  <a:cubicBezTo>
                    <a:pt x="36" y="0"/>
                    <a:pt x="59" y="0"/>
                    <a:pt x="71" y="15"/>
                  </a:cubicBezTo>
                  <a:cubicBezTo>
                    <a:pt x="71" y="15"/>
                    <a:pt x="83" y="44"/>
                    <a:pt x="71" y="59"/>
                  </a:cubicBezTo>
                  <a:cubicBezTo>
                    <a:pt x="59" y="88"/>
                    <a:pt x="47" y="117"/>
                    <a:pt x="24" y="73"/>
                  </a:cubicBezTo>
                  <a:cubicBezTo>
                    <a:pt x="12" y="44"/>
                    <a:pt x="0" y="0"/>
                    <a:pt x="12" y="0"/>
                  </a:cubicBezTo>
                </a:path>
              </a:pathLst>
            </a:custGeom>
            <a:grpFill/>
            <a:ln w="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891045"/>
              <a:endParaRPr lang="en-US" sz="1700" dirty="0">
                <a:solidFill>
                  <a:srgbClr val="003149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515" name="Freeform 331"/>
            <p:cNvSpPr>
              <a:spLocks/>
            </p:cNvSpPr>
            <p:nvPr/>
          </p:nvSpPr>
          <p:spPr bwMode="gray">
            <a:xfrm>
              <a:off x="4912" y="3295"/>
              <a:ext cx="9" cy="12"/>
            </a:xfrm>
            <a:custGeom>
              <a:avLst/>
              <a:gdLst>
                <a:gd name="T0" fmla="*/ 2 w 9"/>
                <a:gd name="T1" fmla="*/ 0 h 12"/>
                <a:gd name="T2" fmla="*/ 7 w 9"/>
                <a:gd name="T3" fmla="*/ 1 h 12"/>
                <a:gd name="T4" fmla="*/ 7 w 9"/>
                <a:gd name="T5" fmla="*/ 6 h 12"/>
                <a:gd name="T6" fmla="*/ 3 w 9"/>
                <a:gd name="T7" fmla="*/ 7 h 12"/>
                <a:gd name="T8" fmla="*/ 2 w 9"/>
                <a:gd name="T9" fmla="*/ 0 h 1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9"/>
                <a:gd name="T16" fmla="*/ 0 h 12"/>
                <a:gd name="T17" fmla="*/ 9 w 9"/>
                <a:gd name="T18" fmla="*/ 12 h 1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9" h="12">
                  <a:moveTo>
                    <a:pt x="2" y="0"/>
                  </a:moveTo>
                  <a:cubicBezTo>
                    <a:pt x="4" y="0"/>
                    <a:pt x="6" y="0"/>
                    <a:pt x="7" y="1"/>
                  </a:cubicBezTo>
                  <a:cubicBezTo>
                    <a:pt x="7" y="1"/>
                    <a:pt x="9" y="4"/>
                    <a:pt x="7" y="6"/>
                  </a:cubicBezTo>
                  <a:cubicBezTo>
                    <a:pt x="6" y="9"/>
                    <a:pt x="5" y="12"/>
                    <a:pt x="3" y="7"/>
                  </a:cubicBezTo>
                  <a:cubicBezTo>
                    <a:pt x="2" y="4"/>
                    <a:pt x="0" y="0"/>
                    <a:pt x="2" y="0"/>
                  </a:cubicBezTo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891045"/>
              <a:endParaRPr lang="en-US" sz="1700" dirty="0">
                <a:solidFill>
                  <a:srgbClr val="003149"/>
                </a:solidFill>
                <a:cs typeface="Arial" panose="020B0604020202020204" pitchFamily="34" charset="0"/>
              </a:endParaRPr>
            </a:p>
          </p:txBody>
        </p:sp>
      </p:grpSp>
      <p:grpSp>
        <p:nvGrpSpPr>
          <p:cNvPr id="516" name="Group 332"/>
          <p:cNvGrpSpPr>
            <a:grpSpLocks/>
          </p:cNvGrpSpPr>
          <p:nvPr/>
        </p:nvGrpSpPr>
        <p:grpSpPr bwMode="gray">
          <a:xfrm>
            <a:off x="1685868" y="2427147"/>
            <a:ext cx="103078" cy="109104"/>
            <a:chOff x="4589" y="2972"/>
            <a:chExt cx="70" cy="70"/>
          </a:xfrm>
          <a:solidFill>
            <a:schemeClr val="accent3"/>
          </a:solidFill>
        </p:grpSpPr>
        <p:sp>
          <p:nvSpPr>
            <p:cNvPr id="517" name="Freeform 333"/>
            <p:cNvSpPr>
              <a:spLocks noEditPoints="1"/>
            </p:cNvSpPr>
            <p:nvPr/>
          </p:nvSpPr>
          <p:spPr bwMode="gray">
            <a:xfrm>
              <a:off x="4589" y="2972"/>
              <a:ext cx="70" cy="70"/>
            </a:xfrm>
            <a:custGeom>
              <a:avLst/>
              <a:gdLst>
                <a:gd name="T0" fmla="*/ 0 w 691"/>
                <a:gd name="T1" fmla="*/ 0 h 692"/>
                <a:gd name="T2" fmla="*/ 0 w 691"/>
                <a:gd name="T3" fmla="*/ 0 h 692"/>
                <a:gd name="T4" fmla="*/ 0 w 691"/>
                <a:gd name="T5" fmla="*/ 0 h 692"/>
                <a:gd name="T6" fmla="*/ 0 w 691"/>
                <a:gd name="T7" fmla="*/ 0 h 692"/>
                <a:gd name="T8" fmla="*/ 0 w 691"/>
                <a:gd name="T9" fmla="*/ 0 h 692"/>
                <a:gd name="T10" fmla="*/ 0 w 691"/>
                <a:gd name="T11" fmla="*/ 0 h 692"/>
                <a:gd name="T12" fmla="*/ 0 w 691"/>
                <a:gd name="T13" fmla="*/ 0 h 692"/>
                <a:gd name="T14" fmla="*/ 0 w 691"/>
                <a:gd name="T15" fmla="*/ 0 h 692"/>
                <a:gd name="T16" fmla="*/ 0 w 691"/>
                <a:gd name="T17" fmla="*/ 0 h 692"/>
                <a:gd name="T18" fmla="*/ 0 w 691"/>
                <a:gd name="T19" fmla="*/ 0 h 692"/>
                <a:gd name="T20" fmla="*/ 0 w 691"/>
                <a:gd name="T21" fmla="*/ 0 h 692"/>
                <a:gd name="T22" fmla="*/ 0 w 691"/>
                <a:gd name="T23" fmla="*/ 0 h 692"/>
                <a:gd name="T24" fmla="*/ 0 w 691"/>
                <a:gd name="T25" fmla="*/ 0 h 692"/>
                <a:gd name="T26" fmla="*/ 0 w 691"/>
                <a:gd name="T27" fmla="*/ 0 h 692"/>
                <a:gd name="T28" fmla="*/ 0 w 691"/>
                <a:gd name="T29" fmla="*/ 0 h 692"/>
                <a:gd name="T30" fmla="*/ 0 w 691"/>
                <a:gd name="T31" fmla="*/ 0 h 692"/>
                <a:gd name="T32" fmla="*/ 0 w 691"/>
                <a:gd name="T33" fmla="*/ 0 h 692"/>
                <a:gd name="T34" fmla="*/ 0 w 691"/>
                <a:gd name="T35" fmla="*/ 0 h 692"/>
                <a:gd name="T36" fmla="*/ 0 w 691"/>
                <a:gd name="T37" fmla="*/ 0 h 692"/>
                <a:gd name="T38" fmla="*/ 0 w 691"/>
                <a:gd name="T39" fmla="*/ 0 h 692"/>
                <a:gd name="T40" fmla="*/ 0 w 691"/>
                <a:gd name="T41" fmla="*/ 0 h 692"/>
                <a:gd name="T42" fmla="*/ 0 w 691"/>
                <a:gd name="T43" fmla="*/ 0 h 692"/>
                <a:gd name="T44" fmla="*/ 0 w 691"/>
                <a:gd name="T45" fmla="*/ 0 h 692"/>
                <a:gd name="T46" fmla="*/ 0 w 691"/>
                <a:gd name="T47" fmla="*/ 0 h 692"/>
                <a:gd name="T48" fmla="*/ 0 w 691"/>
                <a:gd name="T49" fmla="*/ 0 h 692"/>
                <a:gd name="T50" fmla="*/ 0 w 691"/>
                <a:gd name="T51" fmla="*/ 0 h 692"/>
                <a:gd name="T52" fmla="*/ 0 w 691"/>
                <a:gd name="T53" fmla="*/ 0 h 692"/>
                <a:gd name="T54" fmla="*/ 0 w 691"/>
                <a:gd name="T55" fmla="*/ 0 h 692"/>
                <a:gd name="T56" fmla="*/ 0 w 691"/>
                <a:gd name="T57" fmla="*/ 0 h 692"/>
                <a:gd name="T58" fmla="*/ 0 w 691"/>
                <a:gd name="T59" fmla="*/ 0 h 692"/>
                <a:gd name="T60" fmla="*/ 0 w 691"/>
                <a:gd name="T61" fmla="*/ 0 h 692"/>
                <a:gd name="T62" fmla="*/ 0 w 691"/>
                <a:gd name="T63" fmla="*/ 0 h 692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691"/>
                <a:gd name="T97" fmla="*/ 0 h 692"/>
                <a:gd name="T98" fmla="*/ 691 w 691"/>
                <a:gd name="T99" fmla="*/ 692 h 692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691" h="692">
                  <a:moveTo>
                    <a:pt x="653" y="177"/>
                  </a:moveTo>
                  <a:cubicBezTo>
                    <a:pt x="615" y="151"/>
                    <a:pt x="615" y="101"/>
                    <a:pt x="615" y="89"/>
                  </a:cubicBezTo>
                  <a:cubicBezTo>
                    <a:pt x="615" y="63"/>
                    <a:pt x="563" y="26"/>
                    <a:pt x="563" y="26"/>
                  </a:cubicBezTo>
                  <a:cubicBezTo>
                    <a:pt x="551" y="0"/>
                    <a:pt x="551" y="0"/>
                    <a:pt x="551" y="0"/>
                  </a:cubicBezTo>
                  <a:cubicBezTo>
                    <a:pt x="499" y="63"/>
                    <a:pt x="499" y="63"/>
                    <a:pt x="499" y="63"/>
                  </a:cubicBezTo>
                  <a:cubicBezTo>
                    <a:pt x="499" y="63"/>
                    <a:pt x="435" y="51"/>
                    <a:pt x="435" y="51"/>
                  </a:cubicBezTo>
                  <a:cubicBezTo>
                    <a:pt x="422" y="51"/>
                    <a:pt x="358" y="63"/>
                    <a:pt x="358" y="63"/>
                  </a:cubicBezTo>
                  <a:cubicBezTo>
                    <a:pt x="358" y="63"/>
                    <a:pt x="346" y="101"/>
                    <a:pt x="320" y="89"/>
                  </a:cubicBezTo>
                  <a:cubicBezTo>
                    <a:pt x="307" y="89"/>
                    <a:pt x="282" y="63"/>
                    <a:pt x="269" y="63"/>
                  </a:cubicBezTo>
                  <a:cubicBezTo>
                    <a:pt x="256" y="63"/>
                    <a:pt x="243" y="76"/>
                    <a:pt x="218" y="63"/>
                  </a:cubicBezTo>
                  <a:cubicBezTo>
                    <a:pt x="205" y="63"/>
                    <a:pt x="154" y="89"/>
                    <a:pt x="154" y="89"/>
                  </a:cubicBezTo>
                  <a:cubicBezTo>
                    <a:pt x="154" y="89"/>
                    <a:pt x="166" y="114"/>
                    <a:pt x="154" y="139"/>
                  </a:cubicBezTo>
                  <a:cubicBezTo>
                    <a:pt x="141" y="151"/>
                    <a:pt x="154" y="151"/>
                    <a:pt x="154" y="177"/>
                  </a:cubicBezTo>
                  <a:cubicBezTo>
                    <a:pt x="154" y="202"/>
                    <a:pt x="154" y="214"/>
                    <a:pt x="179" y="227"/>
                  </a:cubicBezTo>
                  <a:cubicBezTo>
                    <a:pt x="205" y="239"/>
                    <a:pt x="230" y="252"/>
                    <a:pt x="205" y="277"/>
                  </a:cubicBezTo>
                  <a:cubicBezTo>
                    <a:pt x="179" y="315"/>
                    <a:pt x="115" y="353"/>
                    <a:pt x="102" y="365"/>
                  </a:cubicBezTo>
                  <a:cubicBezTo>
                    <a:pt x="89" y="378"/>
                    <a:pt x="51" y="403"/>
                    <a:pt x="51" y="428"/>
                  </a:cubicBezTo>
                  <a:cubicBezTo>
                    <a:pt x="38" y="453"/>
                    <a:pt x="13" y="529"/>
                    <a:pt x="0" y="541"/>
                  </a:cubicBezTo>
                  <a:cubicBezTo>
                    <a:pt x="0" y="566"/>
                    <a:pt x="0" y="680"/>
                    <a:pt x="0" y="680"/>
                  </a:cubicBezTo>
                  <a:cubicBezTo>
                    <a:pt x="51" y="692"/>
                    <a:pt x="51" y="692"/>
                    <a:pt x="51" y="692"/>
                  </a:cubicBezTo>
                  <a:cubicBezTo>
                    <a:pt x="51" y="692"/>
                    <a:pt x="89" y="667"/>
                    <a:pt x="102" y="654"/>
                  </a:cubicBezTo>
                  <a:cubicBezTo>
                    <a:pt x="115" y="654"/>
                    <a:pt x="192" y="654"/>
                    <a:pt x="294" y="654"/>
                  </a:cubicBezTo>
                  <a:cubicBezTo>
                    <a:pt x="294" y="617"/>
                    <a:pt x="256" y="566"/>
                    <a:pt x="307" y="541"/>
                  </a:cubicBezTo>
                  <a:cubicBezTo>
                    <a:pt x="371" y="504"/>
                    <a:pt x="435" y="478"/>
                    <a:pt x="499" y="491"/>
                  </a:cubicBezTo>
                  <a:cubicBezTo>
                    <a:pt x="512" y="504"/>
                    <a:pt x="525" y="504"/>
                    <a:pt x="538" y="504"/>
                  </a:cubicBezTo>
                  <a:cubicBezTo>
                    <a:pt x="551" y="478"/>
                    <a:pt x="589" y="428"/>
                    <a:pt x="602" y="403"/>
                  </a:cubicBezTo>
                  <a:cubicBezTo>
                    <a:pt x="627" y="390"/>
                    <a:pt x="691" y="378"/>
                    <a:pt x="679" y="315"/>
                  </a:cubicBezTo>
                  <a:cubicBezTo>
                    <a:pt x="666" y="252"/>
                    <a:pt x="691" y="214"/>
                    <a:pt x="653" y="177"/>
                  </a:cubicBezTo>
                  <a:close/>
                  <a:moveTo>
                    <a:pt x="551" y="654"/>
                  </a:moveTo>
                  <a:cubicBezTo>
                    <a:pt x="551" y="654"/>
                    <a:pt x="551" y="654"/>
                    <a:pt x="551" y="654"/>
                  </a:cubicBezTo>
                  <a:cubicBezTo>
                    <a:pt x="551" y="654"/>
                    <a:pt x="551" y="654"/>
                    <a:pt x="551" y="654"/>
                  </a:cubicBezTo>
                  <a:cubicBezTo>
                    <a:pt x="551" y="654"/>
                    <a:pt x="551" y="654"/>
                    <a:pt x="551" y="654"/>
                  </a:cubicBezTo>
                  <a:close/>
                </a:path>
              </a:pathLst>
            </a:custGeom>
            <a:grpFill/>
            <a:ln w="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891045"/>
              <a:endParaRPr lang="en-US" sz="1700" dirty="0">
                <a:solidFill>
                  <a:srgbClr val="003149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518" name="Freeform 334"/>
            <p:cNvSpPr>
              <a:spLocks noEditPoints="1"/>
            </p:cNvSpPr>
            <p:nvPr/>
          </p:nvSpPr>
          <p:spPr bwMode="gray">
            <a:xfrm>
              <a:off x="4589" y="2972"/>
              <a:ext cx="70" cy="70"/>
            </a:xfrm>
            <a:custGeom>
              <a:avLst/>
              <a:gdLst>
                <a:gd name="T0" fmla="*/ 0 w 691"/>
                <a:gd name="T1" fmla="*/ 0 h 692"/>
                <a:gd name="T2" fmla="*/ 0 w 691"/>
                <a:gd name="T3" fmla="*/ 0 h 692"/>
                <a:gd name="T4" fmla="*/ 0 w 691"/>
                <a:gd name="T5" fmla="*/ 0 h 692"/>
                <a:gd name="T6" fmla="*/ 0 w 691"/>
                <a:gd name="T7" fmla="*/ 0 h 692"/>
                <a:gd name="T8" fmla="*/ 0 w 691"/>
                <a:gd name="T9" fmla="*/ 0 h 692"/>
                <a:gd name="T10" fmla="*/ 0 w 691"/>
                <a:gd name="T11" fmla="*/ 0 h 692"/>
                <a:gd name="T12" fmla="*/ 0 w 691"/>
                <a:gd name="T13" fmla="*/ 0 h 692"/>
                <a:gd name="T14" fmla="*/ 0 w 691"/>
                <a:gd name="T15" fmla="*/ 0 h 692"/>
                <a:gd name="T16" fmla="*/ 0 w 691"/>
                <a:gd name="T17" fmla="*/ 0 h 692"/>
                <a:gd name="T18" fmla="*/ 0 w 691"/>
                <a:gd name="T19" fmla="*/ 0 h 692"/>
                <a:gd name="T20" fmla="*/ 0 w 691"/>
                <a:gd name="T21" fmla="*/ 0 h 692"/>
                <a:gd name="T22" fmla="*/ 0 w 691"/>
                <a:gd name="T23" fmla="*/ 0 h 692"/>
                <a:gd name="T24" fmla="*/ 0 w 691"/>
                <a:gd name="T25" fmla="*/ 0 h 692"/>
                <a:gd name="T26" fmla="*/ 0 w 691"/>
                <a:gd name="T27" fmla="*/ 0 h 692"/>
                <a:gd name="T28" fmla="*/ 0 w 691"/>
                <a:gd name="T29" fmla="*/ 0 h 692"/>
                <a:gd name="T30" fmla="*/ 0 w 691"/>
                <a:gd name="T31" fmla="*/ 0 h 692"/>
                <a:gd name="T32" fmla="*/ 0 w 691"/>
                <a:gd name="T33" fmla="*/ 0 h 692"/>
                <a:gd name="T34" fmla="*/ 0 w 691"/>
                <a:gd name="T35" fmla="*/ 0 h 692"/>
                <a:gd name="T36" fmla="*/ 0 w 691"/>
                <a:gd name="T37" fmla="*/ 0 h 692"/>
                <a:gd name="T38" fmla="*/ 0 w 691"/>
                <a:gd name="T39" fmla="*/ 0 h 692"/>
                <a:gd name="T40" fmla="*/ 0 w 691"/>
                <a:gd name="T41" fmla="*/ 0 h 692"/>
                <a:gd name="T42" fmla="*/ 0 w 691"/>
                <a:gd name="T43" fmla="*/ 0 h 692"/>
                <a:gd name="T44" fmla="*/ 0 w 691"/>
                <a:gd name="T45" fmla="*/ 0 h 692"/>
                <a:gd name="T46" fmla="*/ 0 w 691"/>
                <a:gd name="T47" fmla="*/ 0 h 692"/>
                <a:gd name="T48" fmla="*/ 0 w 691"/>
                <a:gd name="T49" fmla="*/ 0 h 692"/>
                <a:gd name="T50" fmla="*/ 0 w 691"/>
                <a:gd name="T51" fmla="*/ 0 h 692"/>
                <a:gd name="T52" fmla="*/ 0 w 691"/>
                <a:gd name="T53" fmla="*/ 0 h 692"/>
                <a:gd name="T54" fmla="*/ 0 w 691"/>
                <a:gd name="T55" fmla="*/ 0 h 692"/>
                <a:gd name="T56" fmla="*/ 0 w 691"/>
                <a:gd name="T57" fmla="*/ 0 h 692"/>
                <a:gd name="T58" fmla="*/ 0 w 691"/>
                <a:gd name="T59" fmla="*/ 0 h 692"/>
                <a:gd name="T60" fmla="*/ 0 w 691"/>
                <a:gd name="T61" fmla="*/ 0 h 692"/>
                <a:gd name="T62" fmla="*/ 0 w 691"/>
                <a:gd name="T63" fmla="*/ 0 h 692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691"/>
                <a:gd name="T97" fmla="*/ 0 h 692"/>
                <a:gd name="T98" fmla="*/ 691 w 691"/>
                <a:gd name="T99" fmla="*/ 692 h 692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691" h="692">
                  <a:moveTo>
                    <a:pt x="653" y="177"/>
                  </a:moveTo>
                  <a:cubicBezTo>
                    <a:pt x="615" y="151"/>
                    <a:pt x="615" y="101"/>
                    <a:pt x="615" y="89"/>
                  </a:cubicBezTo>
                  <a:cubicBezTo>
                    <a:pt x="615" y="63"/>
                    <a:pt x="563" y="26"/>
                    <a:pt x="563" y="26"/>
                  </a:cubicBezTo>
                  <a:cubicBezTo>
                    <a:pt x="551" y="0"/>
                    <a:pt x="551" y="0"/>
                    <a:pt x="551" y="0"/>
                  </a:cubicBezTo>
                  <a:cubicBezTo>
                    <a:pt x="499" y="63"/>
                    <a:pt x="499" y="63"/>
                    <a:pt x="499" y="63"/>
                  </a:cubicBezTo>
                  <a:cubicBezTo>
                    <a:pt x="499" y="63"/>
                    <a:pt x="435" y="51"/>
                    <a:pt x="435" y="51"/>
                  </a:cubicBezTo>
                  <a:cubicBezTo>
                    <a:pt x="422" y="51"/>
                    <a:pt x="358" y="63"/>
                    <a:pt x="358" y="63"/>
                  </a:cubicBezTo>
                  <a:cubicBezTo>
                    <a:pt x="358" y="63"/>
                    <a:pt x="346" y="101"/>
                    <a:pt x="320" y="89"/>
                  </a:cubicBezTo>
                  <a:cubicBezTo>
                    <a:pt x="307" y="89"/>
                    <a:pt x="282" y="63"/>
                    <a:pt x="269" y="63"/>
                  </a:cubicBezTo>
                  <a:cubicBezTo>
                    <a:pt x="256" y="63"/>
                    <a:pt x="243" y="76"/>
                    <a:pt x="218" y="63"/>
                  </a:cubicBezTo>
                  <a:cubicBezTo>
                    <a:pt x="205" y="63"/>
                    <a:pt x="154" y="89"/>
                    <a:pt x="154" y="89"/>
                  </a:cubicBezTo>
                  <a:cubicBezTo>
                    <a:pt x="154" y="89"/>
                    <a:pt x="166" y="114"/>
                    <a:pt x="154" y="139"/>
                  </a:cubicBezTo>
                  <a:cubicBezTo>
                    <a:pt x="141" y="151"/>
                    <a:pt x="154" y="151"/>
                    <a:pt x="154" y="177"/>
                  </a:cubicBezTo>
                  <a:cubicBezTo>
                    <a:pt x="154" y="202"/>
                    <a:pt x="154" y="214"/>
                    <a:pt x="179" y="227"/>
                  </a:cubicBezTo>
                  <a:cubicBezTo>
                    <a:pt x="205" y="239"/>
                    <a:pt x="230" y="252"/>
                    <a:pt x="205" y="277"/>
                  </a:cubicBezTo>
                  <a:cubicBezTo>
                    <a:pt x="179" y="315"/>
                    <a:pt x="115" y="353"/>
                    <a:pt x="102" y="365"/>
                  </a:cubicBezTo>
                  <a:cubicBezTo>
                    <a:pt x="89" y="378"/>
                    <a:pt x="51" y="403"/>
                    <a:pt x="51" y="428"/>
                  </a:cubicBezTo>
                  <a:cubicBezTo>
                    <a:pt x="38" y="453"/>
                    <a:pt x="13" y="529"/>
                    <a:pt x="0" y="541"/>
                  </a:cubicBezTo>
                  <a:cubicBezTo>
                    <a:pt x="0" y="566"/>
                    <a:pt x="0" y="680"/>
                    <a:pt x="0" y="680"/>
                  </a:cubicBezTo>
                  <a:cubicBezTo>
                    <a:pt x="51" y="692"/>
                    <a:pt x="51" y="692"/>
                    <a:pt x="51" y="692"/>
                  </a:cubicBezTo>
                  <a:cubicBezTo>
                    <a:pt x="51" y="692"/>
                    <a:pt x="89" y="667"/>
                    <a:pt x="102" y="654"/>
                  </a:cubicBezTo>
                  <a:cubicBezTo>
                    <a:pt x="115" y="654"/>
                    <a:pt x="192" y="654"/>
                    <a:pt x="294" y="654"/>
                  </a:cubicBezTo>
                  <a:cubicBezTo>
                    <a:pt x="294" y="617"/>
                    <a:pt x="256" y="566"/>
                    <a:pt x="307" y="541"/>
                  </a:cubicBezTo>
                  <a:cubicBezTo>
                    <a:pt x="371" y="504"/>
                    <a:pt x="435" y="478"/>
                    <a:pt x="499" y="491"/>
                  </a:cubicBezTo>
                  <a:cubicBezTo>
                    <a:pt x="512" y="504"/>
                    <a:pt x="525" y="504"/>
                    <a:pt x="538" y="504"/>
                  </a:cubicBezTo>
                  <a:cubicBezTo>
                    <a:pt x="551" y="478"/>
                    <a:pt x="589" y="428"/>
                    <a:pt x="602" y="403"/>
                  </a:cubicBezTo>
                  <a:cubicBezTo>
                    <a:pt x="627" y="390"/>
                    <a:pt x="691" y="378"/>
                    <a:pt x="679" y="315"/>
                  </a:cubicBezTo>
                  <a:cubicBezTo>
                    <a:pt x="666" y="252"/>
                    <a:pt x="691" y="214"/>
                    <a:pt x="653" y="177"/>
                  </a:cubicBezTo>
                  <a:close/>
                  <a:moveTo>
                    <a:pt x="551" y="654"/>
                  </a:moveTo>
                  <a:cubicBezTo>
                    <a:pt x="551" y="654"/>
                    <a:pt x="551" y="654"/>
                    <a:pt x="551" y="654"/>
                  </a:cubicBezTo>
                  <a:cubicBezTo>
                    <a:pt x="551" y="654"/>
                    <a:pt x="551" y="654"/>
                    <a:pt x="551" y="654"/>
                  </a:cubicBezTo>
                  <a:cubicBezTo>
                    <a:pt x="551" y="654"/>
                    <a:pt x="551" y="654"/>
                    <a:pt x="551" y="654"/>
                  </a:cubicBez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891045"/>
              <a:endParaRPr lang="en-US" sz="1700" dirty="0">
                <a:solidFill>
                  <a:srgbClr val="003149"/>
                </a:solidFill>
                <a:cs typeface="Arial" panose="020B0604020202020204" pitchFamily="34" charset="0"/>
              </a:endParaRPr>
            </a:p>
          </p:txBody>
        </p:sp>
      </p:grpSp>
      <p:grpSp>
        <p:nvGrpSpPr>
          <p:cNvPr id="519" name="Group 368"/>
          <p:cNvGrpSpPr>
            <a:grpSpLocks/>
          </p:cNvGrpSpPr>
          <p:nvPr/>
        </p:nvGrpSpPr>
        <p:grpSpPr bwMode="gray">
          <a:xfrm>
            <a:off x="2176118" y="1971710"/>
            <a:ext cx="7542" cy="13956"/>
            <a:chOff x="4923" y="2678"/>
            <a:chExt cx="5" cy="9"/>
          </a:xfrm>
          <a:solidFill>
            <a:schemeClr val="accent3"/>
          </a:solidFill>
        </p:grpSpPr>
        <p:sp>
          <p:nvSpPr>
            <p:cNvPr id="520" name="Freeform 369"/>
            <p:cNvSpPr>
              <a:spLocks/>
            </p:cNvSpPr>
            <p:nvPr/>
          </p:nvSpPr>
          <p:spPr bwMode="gray">
            <a:xfrm>
              <a:off x="4923" y="2678"/>
              <a:ext cx="5" cy="9"/>
            </a:xfrm>
            <a:custGeom>
              <a:avLst/>
              <a:gdLst>
                <a:gd name="T0" fmla="*/ 0 w 50"/>
                <a:gd name="T1" fmla="*/ 0 h 92"/>
                <a:gd name="T2" fmla="*/ 0 w 50"/>
                <a:gd name="T3" fmla="*/ 0 h 92"/>
                <a:gd name="T4" fmla="*/ 0 w 50"/>
                <a:gd name="T5" fmla="*/ 0 h 92"/>
                <a:gd name="T6" fmla="*/ 0 w 50"/>
                <a:gd name="T7" fmla="*/ 0 h 92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50"/>
                <a:gd name="T13" fmla="*/ 0 h 92"/>
                <a:gd name="T14" fmla="*/ 50 w 50"/>
                <a:gd name="T15" fmla="*/ 92 h 92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50" h="92">
                  <a:moveTo>
                    <a:pt x="13" y="92"/>
                  </a:moveTo>
                  <a:cubicBezTo>
                    <a:pt x="25" y="80"/>
                    <a:pt x="50" y="35"/>
                    <a:pt x="50" y="12"/>
                  </a:cubicBezTo>
                  <a:cubicBezTo>
                    <a:pt x="50" y="0"/>
                    <a:pt x="13" y="46"/>
                    <a:pt x="13" y="46"/>
                  </a:cubicBezTo>
                  <a:cubicBezTo>
                    <a:pt x="13" y="46"/>
                    <a:pt x="0" y="92"/>
                    <a:pt x="13" y="92"/>
                  </a:cubicBezTo>
                </a:path>
              </a:pathLst>
            </a:custGeom>
            <a:grpFill/>
            <a:ln w="9525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891045"/>
              <a:endParaRPr lang="en-US" sz="1700" dirty="0">
                <a:solidFill>
                  <a:srgbClr val="003149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521" name="Freeform 370"/>
            <p:cNvSpPr>
              <a:spLocks/>
            </p:cNvSpPr>
            <p:nvPr/>
          </p:nvSpPr>
          <p:spPr bwMode="gray">
            <a:xfrm>
              <a:off x="4923" y="2678"/>
              <a:ext cx="5" cy="9"/>
            </a:xfrm>
            <a:custGeom>
              <a:avLst/>
              <a:gdLst>
                <a:gd name="T0" fmla="*/ 2 w 5"/>
                <a:gd name="T1" fmla="*/ 9 h 9"/>
                <a:gd name="T2" fmla="*/ 5 w 5"/>
                <a:gd name="T3" fmla="*/ 1 h 9"/>
                <a:gd name="T4" fmla="*/ 2 w 5"/>
                <a:gd name="T5" fmla="*/ 5 h 9"/>
                <a:gd name="T6" fmla="*/ 2 w 5"/>
                <a:gd name="T7" fmla="*/ 9 h 9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5"/>
                <a:gd name="T13" fmla="*/ 0 h 9"/>
                <a:gd name="T14" fmla="*/ 5 w 5"/>
                <a:gd name="T15" fmla="*/ 9 h 9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5" h="9">
                  <a:moveTo>
                    <a:pt x="2" y="9"/>
                  </a:moveTo>
                  <a:cubicBezTo>
                    <a:pt x="3" y="8"/>
                    <a:pt x="5" y="3"/>
                    <a:pt x="5" y="1"/>
                  </a:cubicBezTo>
                  <a:cubicBezTo>
                    <a:pt x="5" y="0"/>
                    <a:pt x="2" y="5"/>
                    <a:pt x="2" y="5"/>
                  </a:cubicBezTo>
                  <a:cubicBezTo>
                    <a:pt x="2" y="5"/>
                    <a:pt x="0" y="9"/>
                    <a:pt x="2" y="9"/>
                  </a:cubicBezTo>
                </a:path>
              </a:pathLst>
            </a:custGeom>
            <a:grpFill/>
            <a:ln w="9525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891045"/>
              <a:endParaRPr lang="en-US" sz="1700" dirty="0">
                <a:solidFill>
                  <a:srgbClr val="003149"/>
                </a:solidFill>
                <a:cs typeface="Arial" panose="020B0604020202020204" pitchFamily="34" charset="0"/>
              </a:endParaRPr>
            </a:p>
          </p:txBody>
        </p:sp>
      </p:grpSp>
      <p:grpSp>
        <p:nvGrpSpPr>
          <p:cNvPr id="522" name="Group 371"/>
          <p:cNvGrpSpPr>
            <a:grpSpLocks/>
          </p:cNvGrpSpPr>
          <p:nvPr/>
        </p:nvGrpSpPr>
        <p:grpSpPr bwMode="gray">
          <a:xfrm>
            <a:off x="2070525" y="1978062"/>
            <a:ext cx="7542" cy="5075"/>
            <a:chOff x="4851" y="2682"/>
            <a:chExt cx="5" cy="3"/>
          </a:xfrm>
          <a:solidFill>
            <a:schemeClr val="accent3"/>
          </a:solidFill>
        </p:grpSpPr>
        <p:sp>
          <p:nvSpPr>
            <p:cNvPr id="523" name="Freeform 372"/>
            <p:cNvSpPr>
              <a:spLocks/>
            </p:cNvSpPr>
            <p:nvPr/>
          </p:nvSpPr>
          <p:spPr bwMode="gray">
            <a:xfrm>
              <a:off x="4851" y="2682"/>
              <a:ext cx="5" cy="3"/>
            </a:xfrm>
            <a:custGeom>
              <a:avLst/>
              <a:gdLst>
                <a:gd name="T0" fmla="*/ 0 w 50"/>
                <a:gd name="T1" fmla="*/ 0 h 25"/>
                <a:gd name="T2" fmla="*/ 0 w 50"/>
                <a:gd name="T3" fmla="*/ 0 h 25"/>
                <a:gd name="T4" fmla="*/ 0 w 50"/>
                <a:gd name="T5" fmla="*/ 0 h 25"/>
                <a:gd name="T6" fmla="*/ 0 w 50"/>
                <a:gd name="T7" fmla="*/ 0 h 25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50"/>
                <a:gd name="T13" fmla="*/ 0 h 25"/>
                <a:gd name="T14" fmla="*/ 50 w 50"/>
                <a:gd name="T15" fmla="*/ 25 h 25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50" h="25">
                  <a:moveTo>
                    <a:pt x="0" y="0"/>
                  </a:moveTo>
                  <a:cubicBezTo>
                    <a:pt x="50" y="0"/>
                    <a:pt x="50" y="0"/>
                    <a:pt x="50" y="0"/>
                  </a:cubicBezTo>
                  <a:cubicBezTo>
                    <a:pt x="17" y="25"/>
                    <a:pt x="17" y="25"/>
                    <a:pt x="17" y="25"/>
                  </a:cubicBezTo>
                  <a:cubicBezTo>
                    <a:pt x="17" y="25"/>
                    <a:pt x="0" y="16"/>
                    <a:pt x="0" y="0"/>
                  </a:cubicBezTo>
                </a:path>
              </a:pathLst>
            </a:custGeom>
            <a:grpFill/>
            <a:ln w="9525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891045"/>
              <a:endParaRPr lang="en-US" sz="1700" dirty="0">
                <a:solidFill>
                  <a:srgbClr val="003149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524" name="Freeform 373"/>
            <p:cNvSpPr>
              <a:spLocks/>
            </p:cNvSpPr>
            <p:nvPr/>
          </p:nvSpPr>
          <p:spPr bwMode="gray">
            <a:xfrm>
              <a:off x="4851" y="2682"/>
              <a:ext cx="5" cy="3"/>
            </a:xfrm>
            <a:custGeom>
              <a:avLst/>
              <a:gdLst>
                <a:gd name="T0" fmla="*/ 0 w 5"/>
                <a:gd name="T1" fmla="*/ 0 h 3"/>
                <a:gd name="T2" fmla="*/ 5 w 5"/>
                <a:gd name="T3" fmla="*/ 0 h 3"/>
                <a:gd name="T4" fmla="*/ 2 w 5"/>
                <a:gd name="T5" fmla="*/ 3 h 3"/>
                <a:gd name="T6" fmla="*/ 0 w 5"/>
                <a:gd name="T7" fmla="*/ 0 h 3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5"/>
                <a:gd name="T13" fmla="*/ 0 h 3"/>
                <a:gd name="T14" fmla="*/ 5 w 5"/>
                <a:gd name="T15" fmla="*/ 3 h 3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5" h="3">
                  <a:moveTo>
                    <a:pt x="0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2" y="3"/>
                    <a:pt x="2" y="3"/>
                    <a:pt x="2" y="3"/>
                  </a:cubicBezTo>
                  <a:cubicBezTo>
                    <a:pt x="2" y="3"/>
                    <a:pt x="0" y="2"/>
                    <a:pt x="0" y="0"/>
                  </a:cubicBezTo>
                </a:path>
              </a:pathLst>
            </a:custGeom>
            <a:grpFill/>
            <a:ln w="9525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891045"/>
              <a:endParaRPr lang="en-US" sz="1700" dirty="0">
                <a:solidFill>
                  <a:srgbClr val="003149"/>
                </a:solidFill>
                <a:cs typeface="Arial" panose="020B0604020202020204" pitchFamily="34" charset="0"/>
              </a:endParaRPr>
            </a:p>
          </p:txBody>
        </p:sp>
      </p:grpSp>
      <p:grpSp>
        <p:nvGrpSpPr>
          <p:cNvPr id="525" name="Group 401"/>
          <p:cNvGrpSpPr>
            <a:grpSpLocks/>
          </p:cNvGrpSpPr>
          <p:nvPr/>
        </p:nvGrpSpPr>
        <p:grpSpPr bwMode="gray">
          <a:xfrm>
            <a:off x="995748" y="2293932"/>
            <a:ext cx="111878" cy="125597"/>
            <a:chOff x="4106" y="2886"/>
            <a:chExt cx="76" cy="81"/>
          </a:xfrm>
          <a:solidFill>
            <a:schemeClr val="accent3"/>
          </a:solidFill>
        </p:grpSpPr>
        <p:sp>
          <p:nvSpPr>
            <p:cNvPr id="526" name="Freeform 402"/>
            <p:cNvSpPr>
              <a:spLocks/>
            </p:cNvSpPr>
            <p:nvPr/>
          </p:nvSpPr>
          <p:spPr bwMode="gray">
            <a:xfrm>
              <a:off x="4106" y="2886"/>
              <a:ext cx="76" cy="81"/>
            </a:xfrm>
            <a:custGeom>
              <a:avLst/>
              <a:gdLst>
                <a:gd name="T0" fmla="*/ 0 w 758"/>
                <a:gd name="T1" fmla="*/ 0 h 809"/>
                <a:gd name="T2" fmla="*/ 0 w 758"/>
                <a:gd name="T3" fmla="*/ 0 h 809"/>
                <a:gd name="T4" fmla="*/ 0 w 758"/>
                <a:gd name="T5" fmla="*/ 0 h 809"/>
                <a:gd name="T6" fmla="*/ 0 w 758"/>
                <a:gd name="T7" fmla="*/ 0 h 809"/>
                <a:gd name="T8" fmla="*/ 0 w 758"/>
                <a:gd name="T9" fmla="*/ 0 h 809"/>
                <a:gd name="T10" fmla="*/ 0 w 758"/>
                <a:gd name="T11" fmla="*/ 0 h 809"/>
                <a:gd name="T12" fmla="*/ 0 w 758"/>
                <a:gd name="T13" fmla="*/ 0 h 809"/>
                <a:gd name="T14" fmla="*/ 0 w 758"/>
                <a:gd name="T15" fmla="*/ 0 h 809"/>
                <a:gd name="T16" fmla="*/ 0 w 758"/>
                <a:gd name="T17" fmla="*/ 0 h 809"/>
                <a:gd name="T18" fmla="*/ 0 w 758"/>
                <a:gd name="T19" fmla="*/ 0 h 809"/>
                <a:gd name="T20" fmla="*/ 0 w 758"/>
                <a:gd name="T21" fmla="*/ 0 h 809"/>
                <a:gd name="T22" fmla="*/ 0 w 758"/>
                <a:gd name="T23" fmla="*/ 0 h 809"/>
                <a:gd name="T24" fmla="*/ 0 w 758"/>
                <a:gd name="T25" fmla="*/ 0 h 809"/>
                <a:gd name="T26" fmla="*/ 0 w 758"/>
                <a:gd name="T27" fmla="*/ 0 h 809"/>
                <a:gd name="T28" fmla="*/ 0 w 758"/>
                <a:gd name="T29" fmla="*/ 0 h 809"/>
                <a:gd name="T30" fmla="*/ 0 w 758"/>
                <a:gd name="T31" fmla="*/ 0 h 809"/>
                <a:gd name="T32" fmla="*/ 0 w 758"/>
                <a:gd name="T33" fmla="*/ 0 h 809"/>
                <a:gd name="T34" fmla="*/ 0 w 758"/>
                <a:gd name="T35" fmla="*/ 0 h 809"/>
                <a:gd name="T36" fmla="*/ 0 w 758"/>
                <a:gd name="T37" fmla="*/ 0 h 809"/>
                <a:gd name="T38" fmla="*/ 0 w 758"/>
                <a:gd name="T39" fmla="*/ 0 h 809"/>
                <a:gd name="T40" fmla="*/ 0 w 758"/>
                <a:gd name="T41" fmla="*/ 0 h 809"/>
                <a:gd name="T42" fmla="*/ 0 w 758"/>
                <a:gd name="T43" fmla="*/ 0 h 809"/>
                <a:gd name="T44" fmla="*/ 0 w 758"/>
                <a:gd name="T45" fmla="*/ 0 h 809"/>
                <a:gd name="T46" fmla="*/ 0 w 758"/>
                <a:gd name="T47" fmla="*/ 0 h 809"/>
                <a:gd name="T48" fmla="*/ 0 w 758"/>
                <a:gd name="T49" fmla="*/ 0 h 809"/>
                <a:gd name="T50" fmla="*/ 0 w 758"/>
                <a:gd name="T51" fmla="*/ 0 h 809"/>
                <a:gd name="T52" fmla="*/ 0 w 758"/>
                <a:gd name="T53" fmla="*/ 0 h 809"/>
                <a:gd name="T54" fmla="*/ 0 w 758"/>
                <a:gd name="T55" fmla="*/ 0 h 809"/>
                <a:gd name="T56" fmla="*/ 0 w 758"/>
                <a:gd name="T57" fmla="*/ 0 h 809"/>
                <a:gd name="T58" fmla="*/ 0 w 758"/>
                <a:gd name="T59" fmla="*/ 0 h 809"/>
                <a:gd name="T60" fmla="*/ 0 w 758"/>
                <a:gd name="T61" fmla="*/ 0 h 809"/>
                <a:gd name="T62" fmla="*/ 0 w 758"/>
                <a:gd name="T63" fmla="*/ 0 h 809"/>
                <a:gd name="T64" fmla="*/ 0 w 758"/>
                <a:gd name="T65" fmla="*/ 0 h 809"/>
                <a:gd name="T66" fmla="*/ 0 w 758"/>
                <a:gd name="T67" fmla="*/ 0 h 809"/>
                <a:gd name="T68" fmla="*/ 0 w 758"/>
                <a:gd name="T69" fmla="*/ 0 h 809"/>
                <a:gd name="T70" fmla="*/ 0 w 758"/>
                <a:gd name="T71" fmla="*/ 0 h 809"/>
                <a:gd name="T72" fmla="*/ 0 w 758"/>
                <a:gd name="T73" fmla="*/ 0 h 809"/>
                <a:gd name="T74" fmla="*/ 0 w 758"/>
                <a:gd name="T75" fmla="*/ 0 h 809"/>
                <a:gd name="T76" fmla="*/ 0 w 758"/>
                <a:gd name="T77" fmla="*/ 0 h 809"/>
                <a:gd name="T78" fmla="*/ 0 w 758"/>
                <a:gd name="T79" fmla="*/ 0 h 809"/>
                <a:gd name="T80" fmla="*/ 0 w 758"/>
                <a:gd name="T81" fmla="*/ 0 h 809"/>
                <a:gd name="T82" fmla="*/ 0 w 758"/>
                <a:gd name="T83" fmla="*/ 0 h 809"/>
                <a:gd name="T84" fmla="*/ 0 w 758"/>
                <a:gd name="T85" fmla="*/ 0 h 809"/>
                <a:gd name="T86" fmla="*/ 0 w 758"/>
                <a:gd name="T87" fmla="*/ 0 h 809"/>
                <a:gd name="T88" fmla="*/ 0 w 758"/>
                <a:gd name="T89" fmla="*/ 0 h 809"/>
                <a:gd name="T90" fmla="*/ 0 w 758"/>
                <a:gd name="T91" fmla="*/ 0 h 809"/>
                <a:gd name="T92" fmla="*/ 0 w 758"/>
                <a:gd name="T93" fmla="*/ 0 h 809"/>
                <a:gd name="T94" fmla="*/ 0 w 758"/>
                <a:gd name="T95" fmla="*/ 0 h 809"/>
                <a:gd name="T96" fmla="*/ 0 w 758"/>
                <a:gd name="T97" fmla="*/ 0 h 809"/>
                <a:gd name="T98" fmla="*/ 0 w 758"/>
                <a:gd name="T99" fmla="*/ 0 h 809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w 758"/>
                <a:gd name="T151" fmla="*/ 0 h 809"/>
                <a:gd name="T152" fmla="*/ 758 w 758"/>
                <a:gd name="T153" fmla="*/ 809 h 809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T150" t="T151" r="T152" b="T153"/>
              <a:pathLst>
                <a:path w="758" h="809">
                  <a:moveTo>
                    <a:pt x="708" y="657"/>
                  </a:moveTo>
                  <a:cubicBezTo>
                    <a:pt x="695" y="657"/>
                    <a:pt x="683" y="581"/>
                    <a:pt x="670" y="569"/>
                  </a:cubicBezTo>
                  <a:cubicBezTo>
                    <a:pt x="657" y="544"/>
                    <a:pt x="683" y="493"/>
                    <a:pt x="695" y="480"/>
                  </a:cubicBezTo>
                  <a:cubicBezTo>
                    <a:pt x="708" y="468"/>
                    <a:pt x="708" y="417"/>
                    <a:pt x="721" y="379"/>
                  </a:cubicBezTo>
                  <a:cubicBezTo>
                    <a:pt x="746" y="329"/>
                    <a:pt x="758" y="341"/>
                    <a:pt x="758" y="316"/>
                  </a:cubicBezTo>
                  <a:cubicBezTo>
                    <a:pt x="758" y="304"/>
                    <a:pt x="733" y="240"/>
                    <a:pt x="733" y="228"/>
                  </a:cubicBezTo>
                  <a:cubicBezTo>
                    <a:pt x="721" y="215"/>
                    <a:pt x="721" y="215"/>
                    <a:pt x="733" y="190"/>
                  </a:cubicBezTo>
                  <a:cubicBezTo>
                    <a:pt x="733" y="177"/>
                    <a:pt x="695" y="152"/>
                    <a:pt x="683" y="139"/>
                  </a:cubicBezTo>
                  <a:cubicBezTo>
                    <a:pt x="670" y="114"/>
                    <a:pt x="619" y="114"/>
                    <a:pt x="594" y="127"/>
                  </a:cubicBezTo>
                  <a:cubicBezTo>
                    <a:pt x="569" y="139"/>
                    <a:pt x="544" y="152"/>
                    <a:pt x="518" y="165"/>
                  </a:cubicBezTo>
                  <a:cubicBezTo>
                    <a:pt x="506" y="165"/>
                    <a:pt x="480" y="127"/>
                    <a:pt x="455" y="127"/>
                  </a:cubicBezTo>
                  <a:cubicBezTo>
                    <a:pt x="442" y="114"/>
                    <a:pt x="417" y="76"/>
                    <a:pt x="405" y="76"/>
                  </a:cubicBezTo>
                  <a:cubicBezTo>
                    <a:pt x="405" y="76"/>
                    <a:pt x="392" y="51"/>
                    <a:pt x="392" y="51"/>
                  </a:cubicBezTo>
                  <a:cubicBezTo>
                    <a:pt x="392" y="51"/>
                    <a:pt x="379" y="64"/>
                    <a:pt x="354" y="64"/>
                  </a:cubicBezTo>
                  <a:cubicBezTo>
                    <a:pt x="329" y="76"/>
                    <a:pt x="303" y="89"/>
                    <a:pt x="303" y="89"/>
                  </a:cubicBezTo>
                  <a:cubicBezTo>
                    <a:pt x="291" y="13"/>
                    <a:pt x="291" y="13"/>
                    <a:pt x="291" y="13"/>
                  </a:cubicBezTo>
                  <a:cubicBezTo>
                    <a:pt x="291" y="13"/>
                    <a:pt x="278" y="38"/>
                    <a:pt x="278" y="38"/>
                  </a:cubicBezTo>
                  <a:cubicBezTo>
                    <a:pt x="278" y="51"/>
                    <a:pt x="266" y="38"/>
                    <a:pt x="240" y="26"/>
                  </a:cubicBezTo>
                  <a:cubicBezTo>
                    <a:pt x="215" y="0"/>
                    <a:pt x="253" y="76"/>
                    <a:pt x="228" y="64"/>
                  </a:cubicBezTo>
                  <a:cubicBezTo>
                    <a:pt x="202" y="64"/>
                    <a:pt x="202" y="89"/>
                    <a:pt x="202" y="89"/>
                  </a:cubicBezTo>
                  <a:cubicBezTo>
                    <a:pt x="202" y="89"/>
                    <a:pt x="177" y="89"/>
                    <a:pt x="164" y="76"/>
                  </a:cubicBezTo>
                  <a:cubicBezTo>
                    <a:pt x="139" y="51"/>
                    <a:pt x="139" y="51"/>
                    <a:pt x="114" y="64"/>
                  </a:cubicBezTo>
                  <a:cubicBezTo>
                    <a:pt x="101" y="76"/>
                    <a:pt x="89" y="76"/>
                    <a:pt x="76" y="89"/>
                  </a:cubicBezTo>
                  <a:cubicBezTo>
                    <a:pt x="76" y="89"/>
                    <a:pt x="76" y="89"/>
                    <a:pt x="76" y="89"/>
                  </a:cubicBezTo>
                  <a:cubicBezTo>
                    <a:pt x="63" y="114"/>
                    <a:pt x="63" y="114"/>
                    <a:pt x="63" y="114"/>
                  </a:cubicBezTo>
                  <a:cubicBezTo>
                    <a:pt x="63" y="177"/>
                    <a:pt x="63" y="177"/>
                    <a:pt x="63" y="177"/>
                  </a:cubicBezTo>
                  <a:cubicBezTo>
                    <a:pt x="89" y="190"/>
                    <a:pt x="89" y="190"/>
                    <a:pt x="89" y="190"/>
                  </a:cubicBezTo>
                  <a:cubicBezTo>
                    <a:pt x="101" y="228"/>
                    <a:pt x="101" y="228"/>
                    <a:pt x="101" y="228"/>
                  </a:cubicBezTo>
                  <a:cubicBezTo>
                    <a:pt x="101" y="228"/>
                    <a:pt x="63" y="228"/>
                    <a:pt x="76" y="253"/>
                  </a:cubicBezTo>
                  <a:cubicBezTo>
                    <a:pt x="89" y="291"/>
                    <a:pt x="114" y="266"/>
                    <a:pt x="114" y="266"/>
                  </a:cubicBezTo>
                  <a:cubicBezTo>
                    <a:pt x="114" y="316"/>
                    <a:pt x="114" y="316"/>
                    <a:pt x="114" y="316"/>
                  </a:cubicBezTo>
                  <a:cubicBezTo>
                    <a:pt x="63" y="304"/>
                    <a:pt x="63" y="304"/>
                    <a:pt x="63" y="304"/>
                  </a:cubicBezTo>
                  <a:cubicBezTo>
                    <a:pt x="51" y="341"/>
                    <a:pt x="51" y="341"/>
                    <a:pt x="51" y="341"/>
                  </a:cubicBezTo>
                  <a:cubicBezTo>
                    <a:pt x="76" y="354"/>
                    <a:pt x="76" y="354"/>
                    <a:pt x="76" y="354"/>
                  </a:cubicBezTo>
                  <a:cubicBezTo>
                    <a:pt x="63" y="392"/>
                    <a:pt x="63" y="392"/>
                    <a:pt x="63" y="392"/>
                  </a:cubicBezTo>
                  <a:cubicBezTo>
                    <a:pt x="51" y="430"/>
                    <a:pt x="51" y="430"/>
                    <a:pt x="51" y="430"/>
                  </a:cubicBezTo>
                  <a:cubicBezTo>
                    <a:pt x="0" y="405"/>
                    <a:pt x="0" y="405"/>
                    <a:pt x="0" y="405"/>
                  </a:cubicBezTo>
                  <a:cubicBezTo>
                    <a:pt x="0" y="405"/>
                    <a:pt x="51" y="455"/>
                    <a:pt x="38" y="468"/>
                  </a:cubicBezTo>
                  <a:cubicBezTo>
                    <a:pt x="38" y="493"/>
                    <a:pt x="13" y="544"/>
                    <a:pt x="13" y="544"/>
                  </a:cubicBezTo>
                  <a:cubicBezTo>
                    <a:pt x="51" y="581"/>
                    <a:pt x="51" y="581"/>
                    <a:pt x="51" y="581"/>
                  </a:cubicBezTo>
                  <a:cubicBezTo>
                    <a:pt x="89" y="581"/>
                    <a:pt x="89" y="581"/>
                    <a:pt x="89" y="581"/>
                  </a:cubicBezTo>
                  <a:cubicBezTo>
                    <a:pt x="127" y="619"/>
                    <a:pt x="127" y="619"/>
                    <a:pt x="127" y="619"/>
                  </a:cubicBezTo>
                  <a:cubicBezTo>
                    <a:pt x="127" y="619"/>
                    <a:pt x="164" y="657"/>
                    <a:pt x="152" y="695"/>
                  </a:cubicBezTo>
                  <a:cubicBezTo>
                    <a:pt x="139" y="720"/>
                    <a:pt x="127" y="758"/>
                    <a:pt x="127" y="758"/>
                  </a:cubicBezTo>
                  <a:cubicBezTo>
                    <a:pt x="139" y="809"/>
                    <a:pt x="139" y="809"/>
                    <a:pt x="139" y="809"/>
                  </a:cubicBezTo>
                  <a:cubicBezTo>
                    <a:pt x="139" y="809"/>
                    <a:pt x="266" y="771"/>
                    <a:pt x="303" y="758"/>
                  </a:cubicBezTo>
                  <a:cubicBezTo>
                    <a:pt x="341" y="733"/>
                    <a:pt x="480" y="708"/>
                    <a:pt x="531" y="708"/>
                  </a:cubicBezTo>
                  <a:cubicBezTo>
                    <a:pt x="582" y="708"/>
                    <a:pt x="683" y="733"/>
                    <a:pt x="695" y="733"/>
                  </a:cubicBezTo>
                  <a:cubicBezTo>
                    <a:pt x="721" y="733"/>
                    <a:pt x="733" y="720"/>
                    <a:pt x="733" y="695"/>
                  </a:cubicBezTo>
                  <a:cubicBezTo>
                    <a:pt x="733" y="657"/>
                    <a:pt x="721" y="657"/>
                    <a:pt x="708" y="657"/>
                  </a:cubicBezTo>
                </a:path>
              </a:pathLst>
            </a:custGeom>
            <a:grpFill/>
            <a:ln w="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891045"/>
              <a:endParaRPr lang="en-US" sz="1700" dirty="0">
                <a:solidFill>
                  <a:srgbClr val="003149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527" name="Freeform 403"/>
            <p:cNvSpPr>
              <a:spLocks/>
            </p:cNvSpPr>
            <p:nvPr/>
          </p:nvSpPr>
          <p:spPr bwMode="gray">
            <a:xfrm>
              <a:off x="4106" y="2886"/>
              <a:ext cx="76" cy="81"/>
            </a:xfrm>
            <a:custGeom>
              <a:avLst/>
              <a:gdLst>
                <a:gd name="T0" fmla="*/ 71 w 76"/>
                <a:gd name="T1" fmla="*/ 66 h 81"/>
                <a:gd name="T2" fmla="*/ 67 w 76"/>
                <a:gd name="T3" fmla="*/ 57 h 81"/>
                <a:gd name="T4" fmla="*/ 70 w 76"/>
                <a:gd name="T5" fmla="*/ 48 h 81"/>
                <a:gd name="T6" fmla="*/ 72 w 76"/>
                <a:gd name="T7" fmla="*/ 38 h 81"/>
                <a:gd name="T8" fmla="*/ 76 w 76"/>
                <a:gd name="T9" fmla="*/ 32 h 81"/>
                <a:gd name="T10" fmla="*/ 74 w 76"/>
                <a:gd name="T11" fmla="*/ 23 h 81"/>
                <a:gd name="T12" fmla="*/ 74 w 76"/>
                <a:gd name="T13" fmla="*/ 19 h 81"/>
                <a:gd name="T14" fmla="*/ 69 w 76"/>
                <a:gd name="T15" fmla="*/ 14 h 81"/>
                <a:gd name="T16" fmla="*/ 60 w 76"/>
                <a:gd name="T17" fmla="*/ 13 h 81"/>
                <a:gd name="T18" fmla="*/ 52 w 76"/>
                <a:gd name="T19" fmla="*/ 16 h 81"/>
                <a:gd name="T20" fmla="*/ 46 w 76"/>
                <a:gd name="T21" fmla="*/ 13 h 81"/>
                <a:gd name="T22" fmla="*/ 40 w 76"/>
                <a:gd name="T23" fmla="*/ 7 h 81"/>
                <a:gd name="T24" fmla="*/ 39 w 76"/>
                <a:gd name="T25" fmla="*/ 5 h 81"/>
                <a:gd name="T26" fmla="*/ 35 w 76"/>
                <a:gd name="T27" fmla="*/ 6 h 81"/>
                <a:gd name="T28" fmla="*/ 30 w 76"/>
                <a:gd name="T29" fmla="*/ 9 h 81"/>
                <a:gd name="T30" fmla="*/ 29 w 76"/>
                <a:gd name="T31" fmla="*/ 1 h 81"/>
                <a:gd name="T32" fmla="*/ 28 w 76"/>
                <a:gd name="T33" fmla="*/ 4 h 81"/>
                <a:gd name="T34" fmla="*/ 24 w 76"/>
                <a:gd name="T35" fmla="*/ 2 h 81"/>
                <a:gd name="T36" fmla="*/ 23 w 76"/>
                <a:gd name="T37" fmla="*/ 6 h 81"/>
                <a:gd name="T38" fmla="*/ 20 w 76"/>
                <a:gd name="T39" fmla="*/ 9 h 81"/>
                <a:gd name="T40" fmla="*/ 16 w 76"/>
                <a:gd name="T41" fmla="*/ 7 h 81"/>
                <a:gd name="T42" fmla="*/ 11 w 76"/>
                <a:gd name="T43" fmla="*/ 6 h 81"/>
                <a:gd name="T44" fmla="*/ 7 w 76"/>
                <a:gd name="T45" fmla="*/ 9 h 81"/>
                <a:gd name="T46" fmla="*/ 7 w 76"/>
                <a:gd name="T47" fmla="*/ 9 h 81"/>
                <a:gd name="T48" fmla="*/ 6 w 76"/>
                <a:gd name="T49" fmla="*/ 11 h 81"/>
                <a:gd name="T50" fmla="*/ 6 w 76"/>
                <a:gd name="T51" fmla="*/ 18 h 81"/>
                <a:gd name="T52" fmla="*/ 9 w 76"/>
                <a:gd name="T53" fmla="*/ 19 h 81"/>
                <a:gd name="T54" fmla="*/ 10 w 76"/>
                <a:gd name="T55" fmla="*/ 23 h 81"/>
                <a:gd name="T56" fmla="*/ 7 w 76"/>
                <a:gd name="T57" fmla="*/ 25 h 81"/>
                <a:gd name="T58" fmla="*/ 11 w 76"/>
                <a:gd name="T59" fmla="*/ 27 h 81"/>
                <a:gd name="T60" fmla="*/ 11 w 76"/>
                <a:gd name="T61" fmla="*/ 32 h 81"/>
                <a:gd name="T62" fmla="*/ 6 w 76"/>
                <a:gd name="T63" fmla="*/ 30 h 81"/>
                <a:gd name="T64" fmla="*/ 5 w 76"/>
                <a:gd name="T65" fmla="*/ 34 h 81"/>
                <a:gd name="T66" fmla="*/ 7 w 76"/>
                <a:gd name="T67" fmla="*/ 36 h 81"/>
                <a:gd name="T68" fmla="*/ 6 w 76"/>
                <a:gd name="T69" fmla="*/ 39 h 81"/>
                <a:gd name="T70" fmla="*/ 5 w 76"/>
                <a:gd name="T71" fmla="*/ 43 h 81"/>
                <a:gd name="T72" fmla="*/ 0 w 76"/>
                <a:gd name="T73" fmla="*/ 41 h 81"/>
                <a:gd name="T74" fmla="*/ 3 w 76"/>
                <a:gd name="T75" fmla="*/ 47 h 81"/>
                <a:gd name="T76" fmla="*/ 1 w 76"/>
                <a:gd name="T77" fmla="*/ 55 h 81"/>
                <a:gd name="T78" fmla="*/ 5 w 76"/>
                <a:gd name="T79" fmla="*/ 58 h 81"/>
                <a:gd name="T80" fmla="*/ 9 w 76"/>
                <a:gd name="T81" fmla="*/ 58 h 81"/>
                <a:gd name="T82" fmla="*/ 12 w 76"/>
                <a:gd name="T83" fmla="*/ 62 h 81"/>
                <a:gd name="T84" fmla="*/ 15 w 76"/>
                <a:gd name="T85" fmla="*/ 70 h 81"/>
                <a:gd name="T86" fmla="*/ 12 w 76"/>
                <a:gd name="T87" fmla="*/ 76 h 81"/>
                <a:gd name="T88" fmla="*/ 14 w 76"/>
                <a:gd name="T89" fmla="*/ 81 h 81"/>
                <a:gd name="T90" fmla="*/ 30 w 76"/>
                <a:gd name="T91" fmla="*/ 76 h 81"/>
                <a:gd name="T92" fmla="*/ 53 w 76"/>
                <a:gd name="T93" fmla="*/ 71 h 81"/>
                <a:gd name="T94" fmla="*/ 70 w 76"/>
                <a:gd name="T95" fmla="*/ 74 h 81"/>
                <a:gd name="T96" fmla="*/ 74 w 76"/>
                <a:gd name="T97" fmla="*/ 70 h 81"/>
                <a:gd name="T98" fmla="*/ 71 w 76"/>
                <a:gd name="T99" fmla="*/ 66 h 81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w 76"/>
                <a:gd name="T151" fmla="*/ 0 h 81"/>
                <a:gd name="T152" fmla="*/ 76 w 76"/>
                <a:gd name="T153" fmla="*/ 81 h 81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T150" t="T151" r="T152" b="T153"/>
              <a:pathLst>
                <a:path w="76" h="81">
                  <a:moveTo>
                    <a:pt x="71" y="66"/>
                  </a:moveTo>
                  <a:cubicBezTo>
                    <a:pt x="70" y="66"/>
                    <a:pt x="69" y="58"/>
                    <a:pt x="67" y="57"/>
                  </a:cubicBezTo>
                  <a:cubicBezTo>
                    <a:pt x="66" y="55"/>
                    <a:pt x="69" y="50"/>
                    <a:pt x="70" y="48"/>
                  </a:cubicBezTo>
                  <a:cubicBezTo>
                    <a:pt x="71" y="47"/>
                    <a:pt x="71" y="42"/>
                    <a:pt x="72" y="38"/>
                  </a:cubicBezTo>
                  <a:cubicBezTo>
                    <a:pt x="75" y="33"/>
                    <a:pt x="76" y="34"/>
                    <a:pt x="76" y="32"/>
                  </a:cubicBezTo>
                  <a:cubicBezTo>
                    <a:pt x="76" y="30"/>
                    <a:pt x="74" y="24"/>
                    <a:pt x="74" y="23"/>
                  </a:cubicBezTo>
                  <a:cubicBezTo>
                    <a:pt x="72" y="21"/>
                    <a:pt x="72" y="21"/>
                    <a:pt x="74" y="19"/>
                  </a:cubicBezTo>
                  <a:cubicBezTo>
                    <a:pt x="74" y="18"/>
                    <a:pt x="70" y="15"/>
                    <a:pt x="69" y="14"/>
                  </a:cubicBezTo>
                  <a:cubicBezTo>
                    <a:pt x="67" y="11"/>
                    <a:pt x="62" y="11"/>
                    <a:pt x="60" y="13"/>
                  </a:cubicBezTo>
                  <a:cubicBezTo>
                    <a:pt x="57" y="14"/>
                    <a:pt x="55" y="15"/>
                    <a:pt x="52" y="16"/>
                  </a:cubicBezTo>
                  <a:cubicBezTo>
                    <a:pt x="51" y="16"/>
                    <a:pt x="48" y="13"/>
                    <a:pt x="46" y="13"/>
                  </a:cubicBezTo>
                  <a:cubicBezTo>
                    <a:pt x="44" y="11"/>
                    <a:pt x="42" y="7"/>
                    <a:pt x="40" y="7"/>
                  </a:cubicBezTo>
                  <a:cubicBezTo>
                    <a:pt x="40" y="7"/>
                    <a:pt x="39" y="5"/>
                    <a:pt x="39" y="5"/>
                  </a:cubicBezTo>
                  <a:cubicBezTo>
                    <a:pt x="39" y="5"/>
                    <a:pt x="38" y="6"/>
                    <a:pt x="35" y="6"/>
                  </a:cubicBezTo>
                  <a:cubicBezTo>
                    <a:pt x="33" y="7"/>
                    <a:pt x="30" y="9"/>
                    <a:pt x="30" y="9"/>
                  </a:cubicBezTo>
                  <a:cubicBezTo>
                    <a:pt x="29" y="1"/>
                    <a:pt x="29" y="1"/>
                    <a:pt x="29" y="1"/>
                  </a:cubicBezTo>
                  <a:cubicBezTo>
                    <a:pt x="29" y="1"/>
                    <a:pt x="28" y="4"/>
                    <a:pt x="28" y="4"/>
                  </a:cubicBezTo>
                  <a:cubicBezTo>
                    <a:pt x="28" y="5"/>
                    <a:pt x="26" y="4"/>
                    <a:pt x="24" y="2"/>
                  </a:cubicBezTo>
                  <a:cubicBezTo>
                    <a:pt x="21" y="0"/>
                    <a:pt x="25" y="7"/>
                    <a:pt x="23" y="6"/>
                  </a:cubicBezTo>
                  <a:cubicBezTo>
                    <a:pt x="20" y="6"/>
                    <a:pt x="20" y="9"/>
                    <a:pt x="20" y="9"/>
                  </a:cubicBezTo>
                  <a:cubicBezTo>
                    <a:pt x="20" y="9"/>
                    <a:pt x="17" y="9"/>
                    <a:pt x="16" y="7"/>
                  </a:cubicBezTo>
                  <a:cubicBezTo>
                    <a:pt x="14" y="5"/>
                    <a:pt x="14" y="5"/>
                    <a:pt x="11" y="6"/>
                  </a:cubicBezTo>
                  <a:cubicBezTo>
                    <a:pt x="10" y="7"/>
                    <a:pt x="9" y="7"/>
                    <a:pt x="7" y="9"/>
                  </a:cubicBezTo>
                  <a:cubicBezTo>
                    <a:pt x="7" y="9"/>
                    <a:pt x="7" y="9"/>
                    <a:pt x="7" y="9"/>
                  </a:cubicBezTo>
                  <a:cubicBezTo>
                    <a:pt x="6" y="11"/>
                    <a:pt x="6" y="11"/>
                    <a:pt x="6" y="11"/>
                  </a:cubicBezTo>
                  <a:cubicBezTo>
                    <a:pt x="6" y="18"/>
                    <a:pt x="6" y="18"/>
                    <a:pt x="6" y="18"/>
                  </a:cubicBezTo>
                  <a:cubicBezTo>
                    <a:pt x="9" y="19"/>
                    <a:pt x="9" y="19"/>
                    <a:pt x="9" y="19"/>
                  </a:cubicBezTo>
                  <a:cubicBezTo>
                    <a:pt x="10" y="23"/>
                    <a:pt x="10" y="23"/>
                    <a:pt x="10" y="23"/>
                  </a:cubicBezTo>
                  <a:cubicBezTo>
                    <a:pt x="10" y="23"/>
                    <a:pt x="6" y="23"/>
                    <a:pt x="7" y="25"/>
                  </a:cubicBezTo>
                  <a:cubicBezTo>
                    <a:pt x="9" y="29"/>
                    <a:pt x="11" y="27"/>
                    <a:pt x="11" y="27"/>
                  </a:cubicBezTo>
                  <a:cubicBezTo>
                    <a:pt x="11" y="32"/>
                    <a:pt x="11" y="32"/>
                    <a:pt x="11" y="32"/>
                  </a:cubicBezTo>
                  <a:cubicBezTo>
                    <a:pt x="6" y="30"/>
                    <a:pt x="6" y="30"/>
                    <a:pt x="6" y="30"/>
                  </a:cubicBezTo>
                  <a:cubicBezTo>
                    <a:pt x="5" y="34"/>
                    <a:pt x="5" y="34"/>
                    <a:pt x="5" y="34"/>
                  </a:cubicBezTo>
                  <a:cubicBezTo>
                    <a:pt x="7" y="36"/>
                    <a:pt x="7" y="36"/>
                    <a:pt x="7" y="36"/>
                  </a:cubicBezTo>
                  <a:cubicBezTo>
                    <a:pt x="6" y="39"/>
                    <a:pt x="6" y="39"/>
                    <a:pt x="6" y="39"/>
                  </a:cubicBezTo>
                  <a:cubicBezTo>
                    <a:pt x="5" y="43"/>
                    <a:pt x="5" y="43"/>
                    <a:pt x="5" y="43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41"/>
                    <a:pt x="5" y="46"/>
                    <a:pt x="3" y="47"/>
                  </a:cubicBezTo>
                  <a:cubicBezTo>
                    <a:pt x="3" y="50"/>
                    <a:pt x="1" y="55"/>
                    <a:pt x="1" y="55"/>
                  </a:cubicBezTo>
                  <a:cubicBezTo>
                    <a:pt x="5" y="58"/>
                    <a:pt x="5" y="58"/>
                    <a:pt x="5" y="58"/>
                  </a:cubicBezTo>
                  <a:cubicBezTo>
                    <a:pt x="9" y="58"/>
                    <a:pt x="9" y="58"/>
                    <a:pt x="9" y="58"/>
                  </a:cubicBezTo>
                  <a:cubicBezTo>
                    <a:pt x="12" y="62"/>
                    <a:pt x="12" y="62"/>
                    <a:pt x="12" y="62"/>
                  </a:cubicBezTo>
                  <a:cubicBezTo>
                    <a:pt x="12" y="62"/>
                    <a:pt x="16" y="66"/>
                    <a:pt x="15" y="70"/>
                  </a:cubicBezTo>
                  <a:cubicBezTo>
                    <a:pt x="14" y="72"/>
                    <a:pt x="12" y="76"/>
                    <a:pt x="12" y="76"/>
                  </a:cubicBezTo>
                  <a:cubicBezTo>
                    <a:pt x="14" y="81"/>
                    <a:pt x="14" y="81"/>
                    <a:pt x="14" y="81"/>
                  </a:cubicBezTo>
                  <a:cubicBezTo>
                    <a:pt x="14" y="81"/>
                    <a:pt x="26" y="78"/>
                    <a:pt x="30" y="76"/>
                  </a:cubicBezTo>
                  <a:cubicBezTo>
                    <a:pt x="34" y="74"/>
                    <a:pt x="48" y="71"/>
                    <a:pt x="53" y="71"/>
                  </a:cubicBezTo>
                  <a:cubicBezTo>
                    <a:pt x="58" y="71"/>
                    <a:pt x="69" y="74"/>
                    <a:pt x="70" y="74"/>
                  </a:cubicBezTo>
                  <a:cubicBezTo>
                    <a:pt x="72" y="74"/>
                    <a:pt x="74" y="72"/>
                    <a:pt x="74" y="70"/>
                  </a:cubicBezTo>
                  <a:cubicBezTo>
                    <a:pt x="74" y="66"/>
                    <a:pt x="72" y="66"/>
                    <a:pt x="71" y="66"/>
                  </a:cubicBezTo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891045"/>
              <a:endParaRPr lang="en-US" sz="1700" dirty="0">
                <a:solidFill>
                  <a:srgbClr val="003149"/>
                </a:solidFill>
                <a:cs typeface="Arial" panose="020B0604020202020204" pitchFamily="34" charset="0"/>
              </a:endParaRPr>
            </a:p>
          </p:txBody>
        </p:sp>
      </p:grpSp>
      <p:grpSp>
        <p:nvGrpSpPr>
          <p:cNvPr id="528" name="Group 404"/>
          <p:cNvGrpSpPr>
            <a:grpSpLocks/>
          </p:cNvGrpSpPr>
          <p:nvPr/>
        </p:nvGrpSpPr>
        <p:grpSpPr bwMode="gray">
          <a:xfrm>
            <a:off x="1072455" y="2290127"/>
            <a:ext cx="84223" cy="126866"/>
            <a:chOff x="4170" y="2883"/>
            <a:chExt cx="58" cy="82"/>
          </a:xfrm>
          <a:solidFill>
            <a:schemeClr val="accent3"/>
          </a:solidFill>
        </p:grpSpPr>
        <p:sp>
          <p:nvSpPr>
            <p:cNvPr id="529" name="Freeform 405"/>
            <p:cNvSpPr>
              <a:spLocks/>
            </p:cNvSpPr>
            <p:nvPr/>
          </p:nvSpPr>
          <p:spPr bwMode="gray">
            <a:xfrm>
              <a:off x="4170" y="2883"/>
              <a:ext cx="58" cy="82"/>
            </a:xfrm>
            <a:custGeom>
              <a:avLst/>
              <a:gdLst>
                <a:gd name="T0" fmla="*/ 0 w 566"/>
                <a:gd name="T1" fmla="*/ 0 h 809"/>
                <a:gd name="T2" fmla="*/ 0 w 566"/>
                <a:gd name="T3" fmla="*/ 0 h 809"/>
                <a:gd name="T4" fmla="*/ 0 w 566"/>
                <a:gd name="T5" fmla="*/ 0 h 809"/>
                <a:gd name="T6" fmla="*/ 0 w 566"/>
                <a:gd name="T7" fmla="*/ 0 h 809"/>
                <a:gd name="T8" fmla="*/ 0 w 566"/>
                <a:gd name="T9" fmla="*/ 0 h 809"/>
                <a:gd name="T10" fmla="*/ 0 w 566"/>
                <a:gd name="T11" fmla="*/ 0 h 809"/>
                <a:gd name="T12" fmla="*/ 0 w 566"/>
                <a:gd name="T13" fmla="*/ 0 h 809"/>
                <a:gd name="T14" fmla="*/ 0 w 566"/>
                <a:gd name="T15" fmla="*/ 0 h 809"/>
                <a:gd name="T16" fmla="*/ 0 w 566"/>
                <a:gd name="T17" fmla="*/ 0 h 809"/>
                <a:gd name="T18" fmla="*/ 0 w 566"/>
                <a:gd name="T19" fmla="*/ 0 h 809"/>
                <a:gd name="T20" fmla="*/ 0 w 566"/>
                <a:gd name="T21" fmla="*/ 0 h 809"/>
                <a:gd name="T22" fmla="*/ 0 w 566"/>
                <a:gd name="T23" fmla="*/ 0 h 809"/>
                <a:gd name="T24" fmla="*/ 0 w 566"/>
                <a:gd name="T25" fmla="*/ 0 h 809"/>
                <a:gd name="T26" fmla="*/ 0 w 566"/>
                <a:gd name="T27" fmla="*/ 0 h 809"/>
                <a:gd name="T28" fmla="*/ 0 w 566"/>
                <a:gd name="T29" fmla="*/ 0 h 809"/>
                <a:gd name="T30" fmla="*/ 0 w 566"/>
                <a:gd name="T31" fmla="*/ 0 h 809"/>
                <a:gd name="T32" fmla="*/ 0 w 566"/>
                <a:gd name="T33" fmla="*/ 0 h 809"/>
                <a:gd name="T34" fmla="*/ 0 w 566"/>
                <a:gd name="T35" fmla="*/ 0 h 809"/>
                <a:gd name="T36" fmla="*/ 0 w 566"/>
                <a:gd name="T37" fmla="*/ 0 h 809"/>
                <a:gd name="T38" fmla="*/ 0 w 566"/>
                <a:gd name="T39" fmla="*/ 0 h 809"/>
                <a:gd name="T40" fmla="*/ 0 w 566"/>
                <a:gd name="T41" fmla="*/ 0 h 809"/>
                <a:gd name="T42" fmla="*/ 0 w 566"/>
                <a:gd name="T43" fmla="*/ 0 h 809"/>
                <a:gd name="T44" fmla="*/ 0 w 566"/>
                <a:gd name="T45" fmla="*/ 0 h 809"/>
                <a:gd name="T46" fmla="*/ 0 w 566"/>
                <a:gd name="T47" fmla="*/ 0 h 809"/>
                <a:gd name="T48" fmla="*/ 0 w 566"/>
                <a:gd name="T49" fmla="*/ 0 h 809"/>
                <a:gd name="T50" fmla="*/ 0 w 566"/>
                <a:gd name="T51" fmla="*/ 0 h 809"/>
                <a:gd name="T52" fmla="*/ 0 w 566"/>
                <a:gd name="T53" fmla="*/ 0 h 809"/>
                <a:gd name="T54" fmla="*/ 0 w 566"/>
                <a:gd name="T55" fmla="*/ 0 h 809"/>
                <a:gd name="T56" fmla="*/ 0 w 566"/>
                <a:gd name="T57" fmla="*/ 0 h 809"/>
                <a:gd name="T58" fmla="*/ 0 w 566"/>
                <a:gd name="T59" fmla="*/ 0 h 809"/>
                <a:gd name="T60" fmla="*/ 0 w 566"/>
                <a:gd name="T61" fmla="*/ 0 h 809"/>
                <a:gd name="T62" fmla="*/ 0 w 566"/>
                <a:gd name="T63" fmla="*/ 0 h 809"/>
                <a:gd name="T64" fmla="*/ 0 w 566"/>
                <a:gd name="T65" fmla="*/ 0 h 809"/>
                <a:gd name="T66" fmla="*/ 0 w 566"/>
                <a:gd name="T67" fmla="*/ 0 h 809"/>
                <a:gd name="T68" fmla="*/ 0 w 566"/>
                <a:gd name="T69" fmla="*/ 0 h 809"/>
                <a:gd name="T70" fmla="*/ 0 w 566"/>
                <a:gd name="T71" fmla="*/ 0 h 809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566"/>
                <a:gd name="T109" fmla="*/ 0 h 809"/>
                <a:gd name="T110" fmla="*/ 566 w 566"/>
                <a:gd name="T111" fmla="*/ 809 h 809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566" h="809">
                  <a:moveTo>
                    <a:pt x="502" y="569"/>
                  </a:moveTo>
                  <a:cubicBezTo>
                    <a:pt x="489" y="556"/>
                    <a:pt x="489" y="518"/>
                    <a:pt x="489" y="493"/>
                  </a:cubicBezTo>
                  <a:cubicBezTo>
                    <a:pt x="502" y="468"/>
                    <a:pt x="476" y="455"/>
                    <a:pt x="489" y="443"/>
                  </a:cubicBezTo>
                  <a:cubicBezTo>
                    <a:pt x="489" y="430"/>
                    <a:pt x="489" y="417"/>
                    <a:pt x="489" y="392"/>
                  </a:cubicBezTo>
                  <a:cubicBezTo>
                    <a:pt x="489" y="367"/>
                    <a:pt x="528" y="354"/>
                    <a:pt x="502" y="341"/>
                  </a:cubicBezTo>
                  <a:cubicBezTo>
                    <a:pt x="489" y="329"/>
                    <a:pt x="489" y="304"/>
                    <a:pt x="476" y="278"/>
                  </a:cubicBezTo>
                  <a:cubicBezTo>
                    <a:pt x="476" y="240"/>
                    <a:pt x="489" y="215"/>
                    <a:pt x="489" y="215"/>
                  </a:cubicBezTo>
                  <a:cubicBezTo>
                    <a:pt x="451" y="203"/>
                    <a:pt x="451" y="203"/>
                    <a:pt x="451" y="203"/>
                  </a:cubicBezTo>
                  <a:cubicBezTo>
                    <a:pt x="451" y="203"/>
                    <a:pt x="451" y="203"/>
                    <a:pt x="463" y="190"/>
                  </a:cubicBezTo>
                  <a:cubicBezTo>
                    <a:pt x="463" y="165"/>
                    <a:pt x="463" y="114"/>
                    <a:pt x="451" y="89"/>
                  </a:cubicBezTo>
                  <a:cubicBezTo>
                    <a:pt x="438" y="76"/>
                    <a:pt x="399" y="51"/>
                    <a:pt x="399" y="51"/>
                  </a:cubicBezTo>
                  <a:cubicBezTo>
                    <a:pt x="425" y="0"/>
                    <a:pt x="425" y="0"/>
                    <a:pt x="425" y="0"/>
                  </a:cubicBezTo>
                  <a:cubicBezTo>
                    <a:pt x="373" y="0"/>
                    <a:pt x="373" y="0"/>
                    <a:pt x="373" y="0"/>
                  </a:cubicBezTo>
                  <a:cubicBezTo>
                    <a:pt x="335" y="13"/>
                    <a:pt x="335" y="13"/>
                    <a:pt x="335" y="13"/>
                  </a:cubicBezTo>
                  <a:cubicBezTo>
                    <a:pt x="335" y="13"/>
                    <a:pt x="283" y="13"/>
                    <a:pt x="270" y="13"/>
                  </a:cubicBezTo>
                  <a:cubicBezTo>
                    <a:pt x="257" y="13"/>
                    <a:pt x="51" y="13"/>
                    <a:pt x="51" y="13"/>
                  </a:cubicBezTo>
                  <a:cubicBezTo>
                    <a:pt x="38" y="51"/>
                    <a:pt x="38" y="51"/>
                    <a:pt x="38" y="51"/>
                  </a:cubicBezTo>
                  <a:cubicBezTo>
                    <a:pt x="64" y="102"/>
                    <a:pt x="64" y="102"/>
                    <a:pt x="64" y="102"/>
                  </a:cubicBezTo>
                  <a:cubicBezTo>
                    <a:pt x="64" y="190"/>
                    <a:pt x="64" y="190"/>
                    <a:pt x="64" y="190"/>
                  </a:cubicBezTo>
                  <a:cubicBezTo>
                    <a:pt x="64" y="203"/>
                    <a:pt x="77" y="215"/>
                    <a:pt x="77" y="215"/>
                  </a:cubicBezTo>
                  <a:cubicBezTo>
                    <a:pt x="64" y="240"/>
                    <a:pt x="64" y="240"/>
                    <a:pt x="77" y="253"/>
                  </a:cubicBezTo>
                  <a:cubicBezTo>
                    <a:pt x="77" y="266"/>
                    <a:pt x="103" y="329"/>
                    <a:pt x="103" y="341"/>
                  </a:cubicBezTo>
                  <a:cubicBezTo>
                    <a:pt x="103" y="367"/>
                    <a:pt x="90" y="354"/>
                    <a:pt x="64" y="405"/>
                  </a:cubicBezTo>
                  <a:cubicBezTo>
                    <a:pt x="51" y="443"/>
                    <a:pt x="51" y="493"/>
                    <a:pt x="38" y="506"/>
                  </a:cubicBezTo>
                  <a:cubicBezTo>
                    <a:pt x="26" y="518"/>
                    <a:pt x="0" y="569"/>
                    <a:pt x="13" y="594"/>
                  </a:cubicBezTo>
                  <a:cubicBezTo>
                    <a:pt x="26" y="607"/>
                    <a:pt x="38" y="683"/>
                    <a:pt x="51" y="683"/>
                  </a:cubicBezTo>
                  <a:cubicBezTo>
                    <a:pt x="64" y="683"/>
                    <a:pt x="77" y="683"/>
                    <a:pt x="77" y="720"/>
                  </a:cubicBezTo>
                  <a:cubicBezTo>
                    <a:pt x="77" y="746"/>
                    <a:pt x="64" y="758"/>
                    <a:pt x="38" y="758"/>
                  </a:cubicBezTo>
                  <a:cubicBezTo>
                    <a:pt x="38" y="758"/>
                    <a:pt x="116" y="771"/>
                    <a:pt x="129" y="784"/>
                  </a:cubicBezTo>
                  <a:cubicBezTo>
                    <a:pt x="154" y="796"/>
                    <a:pt x="180" y="809"/>
                    <a:pt x="180" y="809"/>
                  </a:cubicBezTo>
                  <a:cubicBezTo>
                    <a:pt x="180" y="809"/>
                    <a:pt x="206" y="784"/>
                    <a:pt x="206" y="771"/>
                  </a:cubicBezTo>
                  <a:cubicBezTo>
                    <a:pt x="206" y="758"/>
                    <a:pt x="245" y="758"/>
                    <a:pt x="270" y="746"/>
                  </a:cubicBezTo>
                  <a:cubicBezTo>
                    <a:pt x="296" y="746"/>
                    <a:pt x="386" y="695"/>
                    <a:pt x="425" y="683"/>
                  </a:cubicBezTo>
                  <a:cubicBezTo>
                    <a:pt x="451" y="670"/>
                    <a:pt x="541" y="670"/>
                    <a:pt x="541" y="670"/>
                  </a:cubicBezTo>
                  <a:cubicBezTo>
                    <a:pt x="566" y="632"/>
                    <a:pt x="566" y="632"/>
                    <a:pt x="566" y="632"/>
                  </a:cubicBezTo>
                  <a:cubicBezTo>
                    <a:pt x="566" y="632"/>
                    <a:pt x="528" y="581"/>
                    <a:pt x="502" y="569"/>
                  </a:cubicBezTo>
                </a:path>
              </a:pathLst>
            </a:custGeom>
            <a:grpFill/>
            <a:ln w="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891045"/>
              <a:endParaRPr lang="en-US" sz="1700" dirty="0">
                <a:solidFill>
                  <a:srgbClr val="003149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530" name="Freeform 406"/>
            <p:cNvSpPr>
              <a:spLocks/>
            </p:cNvSpPr>
            <p:nvPr/>
          </p:nvSpPr>
          <p:spPr bwMode="gray">
            <a:xfrm>
              <a:off x="4170" y="2883"/>
              <a:ext cx="58" cy="82"/>
            </a:xfrm>
            <a:custGeom>
              <a:avLst/>
              <a:gdLst>
                <a:gd name="T0" fmla="*/ 51 w 58"/>
                <a:gd name="T1" fmla="*/ 58 h 82"/>
                <a:gd name="T2" fmla="*/ 50 w 58"/>
                <a:gd name="T3" fmla="*/ 50 h 82"/>
                <a:gd name="T4" fmla="*/ 50 w 58"/>
                <a:gd name="T5" fmla="*/ 45 h 82"/>
                <a:gd name="T6" fmla="*/ 50 w 58"/>
                <a:gd name="T7" fmla="*/ 40 h 82"/>
                <a:gd name="T8" fmla="*/ 51 w 58"/>
                <a:gd name="T9" fmla="*/ 35 h 82"/>
                <a:gd name="T10" fmla="*/ 48 w 58"/>
                <a:gd name="T11" fmla="*/ 28 h 82"/>
                <a:gd name="T12" fmla="*/ 50 w 58"/>
                <a:gd name="T13" fmla="*/ 22 h 82"/>
                <a:gd name="T14" fmla="*/ 46 w 58"/>
                <a:gd name="T15" fmla="*/ 21 h 82"/>
                <a:gd name="T16" fmla="*/ 47 w 58"/>
                <a:gd name="T17" fmla="*/ 19 h 82"/>
                <a:gd name="T18" fmla="*/ 46 w 58"/>
                <a:gd name="T19" fmla="*/ 9 h 82"/>
                <a:gd name="T20" fmla="*/ 41 w 58"/>
                <a:gd name="T21" fmla="*/ 5 h 82"/>
                <a:gd name="T22" fmla="*/ 43 w 58"/>
                <a:gd name="T23" fmla="*/ 0 h 82"/>
                <a:gd name="T24" fmla="*/ 38 w 58"/>
                <a:gd name="T25" fmla="*/ 0 h 82"/>
                <a:gd name="T26" fmla="*/ 34 w 58"/>
                <a:gd name="T27" fmla="*/ 2 h 82"/>
                <a:gd name="T28" fmla="*/ 28 w 58"/>
                <a:gd name="T29" fmla="*/ 2 h 82"/>
                <a:gd name="T30" fmla="*/ 6 w 58"/>
                <a:gd name="T31" fmla="*/ 2 h 82"/>
                <a:gd name="T32" fmla="*/ 4 w 58"/>
                <a:gd name="T33" fmla="*/ 5 h 82"/>
                <a:gd name="T34" fmla="*/ 7 w 58"/>
                <a:gd name="T35" fmla="*/ 11 h 82"/>
                <a:gd name="T36" fmla="*/ 7 w 58"/>
                <a:gd name="T37" fmla="*/ 19 h 82"/>
                <a:gd name="T38" fmla="*/ 8 w 58"/>
                <a:gd name="T39" fmla="*/ 22 h 82"/>
                <a:gd name="T40" fmla="*/ 8 w 58"/>
                <a:gd name="T41" fmla="*/ 26 h 82"/>
                <a:gd name="T42" fmla="*/ 11 w 58"/>
                <a:gd name="T43" fmla="*/ 35 h 82"/>
                <a:gd name="T44" fmla="*/ 7 w 58"/>
                <a:gd name="T45" fmla="*/ 41 h 82"/>
                <a:gd name="T46" fmla="*/ 4 w 58"/>
                <a:gd name="T47" fmla="*/ 51 h 82"/>
                <a:gd name="T48" fmla="*/ 2 w 58"/>
                <a:gd name="T49" fmla="*/ 60 h 82"/>
                <a:gd name="T50" fmla="*/ 6 w 58"/>
                <a:gd name="T51" fmla="*/ 69 h 82"/>
                <a:gd name="T52" fmla="*/ 8 w 58"/>
                <a:gd name="T53" fmla="*/ 73 h 82"/>
                <a:gd name="T54" fmla="*/ 4 w 58"/>
                <a:gd name="T55" fmla="*/ 77 h 82"/>
                <a:gd name="T56" fmla="*/ 13 w 58"/>
                <a:gd name="T57" fmla="*/ 79 h 82"/>
                <a:gd name="T58" fmla="*/ 19 w 58"/>
                <a:gd name="T59" fmla="*/ 82 h 82"/>
                <a:gd name="T60" fmla="*/ 21 w 58"/>
                <a:gd name="T61" fmla="*/ 78 h 82"/>
                <a:gd name="T62" fmla="*/ 28 w 58"/>
                <a:gd name="T63" fmla="*/ 76 h 82"/>
                <a:gd name="T64" fmla="*/ 43 w 58"/>
                <a:gd name="T65" fmla="*/ 69 h 82"/>
                <a:gd name="T66" fmla="*/ 55 w 58"/>
                <a:gd name="T67" fmla="*/ 68 h 82"/>
                <a:gd name="T68" fmla="*/ 58 w 58"/>
                <a:gd name="T69" fmla="*/ 64 h 82"/>
                <a:gd name="T70" fmla="*/ 51 w 58"/>
                <a:gd name="T71" fmla="*/ 58 h 82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58"/>
                <a:gd name="T109" fmla="*/ 0 h 82"/>
                <a:gd name="T110" fmla="*/ 58 w 58"/>
                <a:gd name="T111" fmla="*/ 82 h 82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58" h="82">
                  <a:moveTo>
                    <a:pt x="51" y="58"/>
                  </a:moveTo>
                  <a:cubicBezTo>
                    <a:pt x="50" y="56"/>
                    <a:pt x="50" y="53"/>
                    <a:pt x="50" y="50"/>
                  </a:cubicBezTo>
                  <a:cubicBezTo>
                    <a:pt x="51" y="48"/>
                    <a:pt x="48" y="46"/>
                    <a:pt x="50" y="45"/>
                  </a:cubicBezTo>
                  <a:cubicBezTo>
                    <a:pt x="50" y="44"/>
                    <a:pt x="50" y="42"/>
                    <a:pt x="50" y="40"/>
                  </a:cubicBezTo>
                  <a:cubicBezTo>
                    <a:pt x="50" y="37"/>
                    <a:pt x="54" y="36"/>
                    <a:pt x="51" y="35"/>
                  </a:cubicBezTo>
                  <a:cubicBezTo>
                    <a:pt x="50" y="33"/>
                    <a:pt x="50" y="31"/>
                    <a:pt x="48" y="28"/>
                  </a:cubicBezTo>
                  <a:cubicBezTo>
                    <a:pt x="48" y="24"/>
                    <a:pt x="50" y="22"/>
                    <a:pt x="50" y="22"/>
                  </a:cubicBezTo>
                  <a:cubicBezTo>
                    <a:pt x="46" y="21"/>
                    <a:pt x="46" y="21"/>
                    <a:pt x="46" y="21"/>
                  </a:cubicBezTo>
                  <a:cubicBezTo>
                    <a:pt x="46" y="21"/>
                    <a:pt x="46" y="21"/>
                    <a:pt x="47" y="19"/>
                  </a:cubicBezTo>
                  <a:cubicBezTo>
                    <a:pt x="47" y="17"/>
                    <a:pt x="47" y="12"/>
                    <a:pt x="46" y="9"/>
                  </a:cubicBezTo>
                  <a:cubicBezTo>
                    <a:pt x="45" y="8"/>
                    <a:pt x="41" y="5"/>
                    <a:pt x="41" y="5"/>
                  </a:cubicBezTo>
                  <a:cubicBezTo>
                    <a:pt x="43" y="0"/>
                    <a:pt x="43" y="0"/>
                    <a:pt x="43" y="0"/>
                  </a:cubicBezTo>
                  <a:cubicBezTo>
                    <a:pt x="38" y="0"/>
                    <a:pt x="38" y="0"/>
                    <a:pt x="38" y="0"/>
                  </a:cubicBezTo>
                  <a:cubicBezTo>
                    <a:pt x="34" y="2"/>
                    <a:pt x="34" y="2"/>
                    <a:pt x="34" y="2"/>
                  </a:cubicBezTo>
                  <a:cubicBezTo>
                    <a:pt x="34" y="2"/>
                    <a:pt x="29" y="2"/>
                    <a:pt x="28" y="2"/>
                  </a:cubicBezTo>
                  <a:cubicBezTo>
                    <a:pt x="26" y="2"/>
                    <a:pt x="6" y="2"/>
                    <a:pt x="6" y="2"/>
                  </a:cubicBezTo>
                  <a:cubicBezTo>
                    <a:pt x="4" y="5"/>
                    <a:pt x="4" y="5"/>
                    <a:pt x="4" y="5"/>
                  </a:cubicBezTo>
                  <a:cubicBezTo>
                    <a:pt x="7" y="11"/>
                    <a:pt x="7" y="11"/>
                    <a:pt x="7" y="11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7" y="21"/>
                    <a:pt x="8" y="22"/>
                    <a:pt x="8" y="22"/>
                  </a:cubicBezTo>
                  <a:cubicBezTo>
                    <a:pt x="7" y="24"/>
                    <a:pt x="7" y="24"/>
                    <a:pt x="8" y="26"/>
                  </a:cubicBezTo>
                  <a:cubicBezTo>
                    <a:pt x="8" y="27"/>
                    <a:pt x="11" y="33"/>
                    <a:pt x="11" y="35"/>
                  </a:cubicBezTo>
                  <a:cubicBezTo>
                    <a:pt x="11" y="37"/>
                    <a:pt x="10" y="36"/>
                    <a:pt x="7" y="41"/>
                  </a:cubicBezTo>
                  <a:cubicBezTo>
                    <a:pt x="6" y="45"/>
                    <a:pt x="6" y="50"/>
                    <a:pt x="4" y="51"/>
                  </a:cubicBezTo>
                  <a:cubicBezTo>
                    <a:pt x="3" y="53"/>
                    <a:pt x="0" y="58"/>
                    <a:pt x="2" y="60"/>
                  </a:cubicBezTo>
                  <a:cubicBezTo>
                    <a:pt x="3" y="62"/>
                    <a:pt x="4" y="69"/>
                    <a:pt x="6" y="69"/>
                  </a:cubicBezTo>
                  <a:cubicBezTo>
                    <a:pt x="7" y="69"/>
                    <a:pt x="8" y="69"/>
                    <a:pt x="8" y="73"/>
                  </a:cubicBezTo>
                  <a:cubicBezTo>
                    <a:pt x="8" y="76"/>
                    <a:pt x="7" y="77"/>
                    <a:pt x="4" y="77"/>
                  </a:cubicBezTo>
                  <a:cubicBezTo>
                    <a:pt x="4" y="77"/>
                    <a:pt x="12" y="78"/>
                    <a:pt x="13" y="79"/>
                  </a:cubicBezTo>
                  <a:cubicBezTo>
                    <a:pt x="16" y="81"/>
                    <a:pt x="19" y="82"/>
                    <a:pt x="19" y="82"/>
                  </a:cubicBezTo>
                  <a:cubicBezTo>
                    <a:pt x="19" y="82"/>
                    <a:pt x="21" y="79"/>
                    <a:pt x="21" y="78"/>
                  </a:cubicBezTo>
                  <a:cubicBezTo>
                    <a:pt x="21" y="77"/>
                    <a:pt x="25" y="77"/>
                    <a:pt x="28" y="76"/>
                  </a:cubicBezTo>
                  <a:cubicBezTo>
                    <a:pt x="30" y="76"/>
                    <a:pt x="39" y="70"/>
                    <a:pt x="43" y="69"/>
                  </a:cubicBezTo>
                  <a:cubicBezTo>
                    <a:pt x="46" y="68"/>
                    <a:pt x="55" y="68"/>
                    <a:pt x="55" y="68"/>
                  </a:cubicBezTo>
                  <a:cubicBezTo>
                    <a:pt x="58" y="64"/>
                    <a:pt x="58" y="64"/>
                    <a:pt x="58" y="64"/>
                  </a:cubicBezTo>
                  <a:cubicBezTo>
                    <a:pt x="58" y="64"/>
                    <a:pt x="54" y="59"/>
                    <a:pt x="51" y="58"/>
                  </a:cubicBezTo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891045"/>
              <a:endParaRPr lang="en-US" sz="1700" dirty="0">
                <a:solidFill>
                  <a:srgbClr val="003149"/>
                </a:solidFill>
                <a:cs typeface="Arial" panose="020B0604020202020204" pitchFamily="34" charset="0"/>
              </a:endParaRPr>
            </a:p>
          </p:txBody>
        </p:sp>
      </p:grpSp>
      <p:grpSp>
        <p:nvGrpSpPr>
          <p:cNvPr id="531" name="Group 407"/>
          <p:cNvGrpSpPr>
            <a:grpSpLocks/>
          </p:cNvGrpSpPr>
          <p:nvPr/>
        </p:nvGrpSpPr>
        <p:grpSpPr bwMode="gray">
          <a:xfrm>
            <a:off x="1134026" y="2290127"/>
            <a:ext cx="35197" cy="98956"/>
            <a:chOff x="4212" y="2883"/>
            <a:chExt cx="24" cy="64"/>
          </a:xfrm>
          <a:solidFill>
            <a:schemeClr val="accent3"/>
          </a:solidFill>
        </p:grpSpPr>
        <p:sp>
          <p:nvSpPr>
            <p:cNvPr id="532" name="Freeform 408"/>
            <p:cNvSpPr>
              <a:spLocks/>
            </p:cNvSpPr>
            <p:nvPr/>
          </p:nvSpPr>
          <p:spPr bwMode="gray">
            <a:xfrm>
              <a:off x="4212" y="2883"/>
              <a:ext cx="24" cy="64"/>
            </a:xfrm>
            <a:custGeom>
              <a:avLst/>
              <a:gdLst>
                <a:gd name="T0" fmla="*/ 0 w 242"/>
                <a:gd name="T1" fmla="*/ 0 h 634"/>
                <a:gd name="T2" fmla="*/ 0 w 242"/>
                <a:gd name="T3" fmla="*/ 0 h 634"/>
                <a:gd name="T4" fmla="*/ 0 w 242"/>
                <a:gd name="T5" fmla="*/ 0 h 634"/>
                <a:gd name="T6" fmla="*/ 0 w 242"/>
                <a:gd name="T7" fmla="*/ 0 h 634"/>
                <a:gd name="T8" fmla="*/ 0 w 242"/>
                <a:gd name="T9" fmla="*/ 0 h 634"/>
                <a:gd name="T10" fmla="*/ 0 w 242"/>
                <a:gd name="T11" fmla="*/ 0 h 634"/>
                <a:gd name="T12" fmla="*/ 0 w 242"/>
                <a:gd name="T13" fmla="*/ 0 h 634"/>
                <a:gd name="T14" fmla="*/ 0 w 242"/>
                <a:gd name="T15" fmla="*/ 0 h 634"/>
                <a:gd name="T16" fmla="*/ 0 w 242"/>
                <a:gd name="T17" fmla="*/ 0 h 634"/>
                <a:gd name="T18" fmla="*/ 0 w 242"/>
                <a:gd name="T19" fmla="*/ 0 h 634"/>
                <a:gd name="T20" fmla="*/ 0 w 242"/>
                <a:gd name="T21" fmla="*/ 0 h 634"/>
                <a:gd name="T22" fmla="*/ 0 w 242"/>
                <a:gd name="T23" fmla="*/ 0 h 634"/>
                <a:gd name="T24" fmla="*/ 0 w 242"/>
                <a:gd name="T25" fmla="*/ 0 h 634"/>
                <a:gd name="T26" fmla="*/ 0 w 242"/>
                <a:gd name="T27" fmla="*/ 0 h 634"/>
                <a:gd name="T28" fmla="*/ 0 w 242"/>
                <a:gd name="T29" fmla="*/ 0 h 634"/>
                <a:gd name="T30" fmla="*/ 0 w 242"/>
                <a:gd name="T31" fmla="*/ 0 h 634"/>
                <a:gd name="T32" fmla="*/ 0 w 242"/>
                <a:gd name="T33" fmla="*/ 0 h 634"/>
                <a:gd name="T34" fmla="*/ 0 w 242"/>
                <a:gd name="T35" fmla="*/ 0 h 634"/>
                <a:gd name="T36" fmla="*/ 0 w 242"/>
                <a:gd name="T37" fmla="*/ 0 h 634"/>
                <a:gd name="T38" fmla="*/ 0 w 242"/>
                <a:gd name="T39" fmla="*/ 0 h 634"/>
                <a:gd name="T40" fmla="*/ 0 w 242"/>
                <a:gd name="T41" fmla="*/ 0 h 634"/>
                <a:gd name="T42" fmla="*/ 0 w 242"/>
                <a:gd name="T43" fmla="*/ 0 h 634"/>
                <a:gd name="T44" fmla="*/ 0 w 242"/>
                <a:gd name="T45" fmla="*/ 0 h 634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w 242"/>
                <a:gd name="T70" fmla="*/ 0 h 634"/>
                <a:gd name="T71" fmla="*/ 242 w 242"/>
                <a:gd name="T72" fmla="*/ 634 h 634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T69" t="T70" r="T71" b="T72"/>
              <a:pathLst>
                <a:path w="242" h="634">
                  <a:moveTo>
                    <a:pt x="216" y="545"/>
                  </a:moveTo>
                  <a:cubicBezTo>
                    <a:pt x="204" y="532"/>
                    <a:pt x="229" y="507"/>
                    <a:pt x="229" y="507"/>
                  </a:cubicBezTo>
                  <a:cubicBezTo>
                    <a:pt x="229" y="507"/>
                    <a:pt x="229" y="254"/>
                    <a:pt x="216" y="254"/>
                  </a:cubicBezTo>
                  <a:cubicBezTo>
                    <a:pt x="204" y="241"/>
                    <a:pt x="191" y="203"/>
                    <a:pt x="191" y="203"/>
                  </a:cubicBezTo>
                  <a:cubicBezTo>
                    <a:pt x="191" y="140"/>
                    <a:pt x="191" y="140"/>
                    <a:pt x="191" y="140"/>
                  </a:cubicBezTo>
                  <a:cubicBezTo>
                    <a:pt x="191" y="140"/>
                    <a:pt x="127" y="89"/>
                    <a:pt x="115" y="89"/>
                  </a:cubicBezTo>
                  <a:cubicBezTo>
                    <a:pt x="102" y="89"/>
                    <a:pt x="140" y="13"/>
                    <a:pt x="127" y="26"/>
                  </a:cubicBezTo>
                  <a:cubicBezTo>
                    <a:pt x="115" y="26"/>
                    <a:pt x="89" y="13"/>
                    <a:pt x="89" y="13"/>
                  </a:cubicBezTo>
                  <a:cubicBezTo>
                    <a:pt x="89" y="0"/>
                    <a:pt x="26" y="0"/>
                    <a:pt x="26" y="0"/>
                  </a:cubicBezTo>
                  <a:cubicBezTo>
                    <a:pt x="0" y="51"/>
                    <a:pt x="0" y="51"/>
                    <a:pt x="0" y="51"/>
                  </a:cubicBezTo>
                  <a:cubicBezTo>
                    <a:pt x="0" y="51"/>
                    <a:pt x="38" y="76"/>
                    <a:pt x="51" y="89"/>
                  </a:cubicBezTo>
                  <a:cubicBezTo>
                    <a:pt x="64" y="114"/>
                    <a:pt x="64" y="165"/>
                    <a:pt x="64" y="190"/>
                  </a:cubicBezTo>
                  <a:cubicBezTo>
                    <a:pt x="51" y="203"/>
                    <a:pt x="51" y="203"/>
                    <a:pt x="51" y="203"/>
                  </a:cubicBezTo>
                  <a:cubicBezTo>
                    <a:pt x="89" y="216"/>
                    <a:pt x="89" y="216"/>
                    <a:pt x="89" y="216"/>
                  </a:cubicBezTo>
                  <a:cubicBezTo>
                    <a:pt x="89" y="216"/>
                    <a:pt x="76" y="241"/>
                    <a:pt x="76" y="279"/>
                  </a:cubicBezTo>
                  <a:cubicBezTo>
                    <a:pt x="89" y="304"/>
                    <a:pt x="89" y="330"/>
                    <a:pt x="102" y="342"/>
                  </a:cubicBezTo>
                  <a:cubicBezTo>
                    <a:pt x="127" y="355"/>
                    <a:pt x="89" y="368"/>
                    <a:pt x="89" y="393"/>
                  </a:cubicBezTo>
                  <a:cubicBezTo>
                    <a:pt x="89" y="418"/>
                    <a:pt x="89" y="431"/>
                    <a:pt x="89" y="444"/>
                  </a:cubicBezTo>
                  <a:cubicBezTo>
                    <a:pt x="76" y="456"/>
                    <a:pt x="102" y="469"/>
                    <a:pt x="89" y="494"/>
                  </a:cubicBezTo>
                  <a:cubicBezTo>
                    <a:pt x="89" y="520"/>
                    <a:pt x="89" y="558"/>
                    <a:pt x="102" y="570"/>
                  </a:cubicBezTo>
                  <a:cubicBezTo>
                    <a:pt x="127" y="583"/>
                    <a:pt x="165" y="634"/>
                    <a:pt x="165" y="634"/>
                  </a:cubicBezTo>
                  <a:cubicBezTo>
                    <a:pt x="242" y="608"/>
                    <a:pt x="242" y="608"/>
                    <a:pt x="242" y="608"/>
                  </a:cubicBezTo>
                  <a:cubicBezTo>
                    <a:pt x="242" y="608"/>
                    <a:pt x="229" y="570"/>
                    <a:pt x="216" y="545"/>
                  </a:cubicBezTo>
                </a:path>
              </a:pathLst>
            </a:custGeom>
            <a:grpFill/>
            <a:ln w="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891045"/>
              <a:endParaRPr lang="en-US" sz="1700" dirty="0">
                <a:solidFill>
                  <a:srgbClr val="003149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533" name="Freeform 409"/>
            <p:cNvSpPr>
              <a:spLocks/>
            </p:cNvSpPr>
            <p:nvPr/>
          </p:nvSpPr>
          <p:spPr bwMode="gray">
            <a:xfrm>
              <a:off x="4212" y="2883"/>
              <a:ext cx="24" cy="64"/>
            </a:xfrm>
            <a:custGeom>
              <a:avLst/>
              <a:gdLst>
                <a:gd name="T0" fmla="*/ 21 w 24"/>
                <a:gd name="T1" fmla="*/ 55 h 64"/>
                <a:gd name="T2" fmla="*/ 23 w 24"/>
                <a:gd name="T3" fmla="*/ 51 h 64"/>
                <a:gd name="T4" fmla="*/ 21 w 24"/>
                <a:gd name="T5" fmla="*/ 26 h 64"/>
                <a:gd name="T6" fmla="*/ 19 w 24"/>
                <a:gd name="T7" fmla="*/ 21 h 64"/>
                <a:gd name="T8" fmla="*/ 19 w 24"/>
                <a:gd name="T9" fmla="*/ 14 h 64"/>
                <a:gd name="T10" fmla="*/ 11 w 24"/>
                <a:gd name="T11" fmla="*/ 9 h 64"/>
                <a:gd name="T12" fmla="*/ 12 w 24"/>
                <a:gd name="T13" fmla="*/ 3 h 64"/>
                <a:gd name="T14" fmla="*/ 9 w 24"/>
                <a:gd name="T15" fmla="*/ 2 h 64"/>
                <a:gd name="T16" fmla="*/ 2 w 24"/>
                <a:gd name="T17" fmla="*/ 0 h 64"/>
                <a:gd name="T18" fmla="*/ 0 w 24"/>
                <a:gd name="T19" fmla="*/ 5 h 64"/>
                <a:gd name="T20" fmla="*/ 5 w 24"/>
                <a:gd name="T21" fmla="*/ 9 h 64"/>
                <a:gd name="T22" fmla="*/ 6 w 24"/>
                <a:gd name="T23" fmla="*/ 19 h 64"/>
                <a:gd name="T24" fmla="*/ 5 w 24"/>
                <a:gd name="T25" fmla="*/ 21 h 64"/>
                <a:gd name="T26" fmla="*/ 9 w 24"/>
                <a:gd name="T27" fmla="*/ 22 h 64"/>
                <a:gd name="T28" fmla="*/ 7 w 24"/>
                <a:gd name="T29" fmla="*/ 28 h 64"/>
                <a:gd name="T30" fmla="*/ 10 w 24"/>
                <a:gd name="T31" fmla="*/ 35 h 64"/>
                <a:gd name="T32" fmla="*/ 9 w 24"/>
                <a:gd name="T33" fmla="*/ 40 h 64"/>
                <a:gd name="T34" fmla="*/ 9 w 24"/>
                <a:gd name="T35" fmla="*/ 45 h 64"/>
                <a:gd name="T36" fmla="*/ 9 w 24"/>
                <a:gd name="T37" fmla="*/ 50 h 64"/>
                <a:gd name="T38" fmla="*/ 10 w 24"/>
                <a:gd name="T39" fmla="*/ 58 h 64"/>
                <a:gd name="T40" fmla="*/ 16 w 24"/>
                <a:gd name="T41" fmla="*/ 64 h 64"/>
                <a:gd name="T42" fmla="*/ 24 w 24"/>
                <a:gd name="T43" fmla="*/ 62 h 64"/>
                <a:gd name="T44" fmla="*/ 21 w 24"/>
                <a:gd name="T45" fmla="*/ 55 h 64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w 24"/>
                <a:gd name="T70" fmla="*/ 0 h 64"/>
                <a:gd name="T71" fmla="*/ 24 w 24"/>
                <a:gd name="T72" fmla="*/ 64 h 64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T69" t="T70" r="T71" b="T72"/>
              <a:pathLst>
                <a:path w="24" h="64">
                  <a:moveTo>
                    <a:pt x="21" y="55"/>
                  </a:moveTo>
                  <a:cubicBezTo>
                    <a:pt x="20" y="54"/>
                    <a:pt x="23" y="51"/>
                    <a:pt x="23" y="51"/>
                  </a:cubicBezTo>
                  <a:cubicBezTo>
                    <a:pt x="23" y="51"/>
                    <a:pt x="23" y="26"/>
                    <a:pt x="21" y="26"/>
                  </a:cubicBezTo>
                  <a:cubicBezTo>
                    <a:pt x="20" y="25"/>
                    <a:pt x="19" y="21"/>
                    <a:pt x="19" y="21"/>
                  </a:cubicBezTo>
                  <a:cubicBezTo>
                    <a:pt x="19" y="14"/>
                    <a:pt x="19" y="14"/>
                    <a:pt x="19" y="14"/>
                  </a:cubicBezTo>
                  <a:cubicBezTo>
                    <a:pt x="19" y="14"/>
                    <a:pt x="12" y="9"/>
                    <a:pt x="11" y="9"/>
                  </a:cubicBezTo>
                  <a:cubicBezTo>
                    <a:pt x="10" y="9"/>
                    <a:pt x="14" y="2"/>
                    <a:pt x="12" y="3"/>
                  </a:cubicBezTo>
                  <a:cubicBezTo>
                    <a:pt x="11" y="3"/>
                    <a:pt x="9" y="2"/>
                    <a:pt x="9" y="2"/>
                  </a:cubicBezTo>
                  <a:cubicBezTo>
                    <a:pt x="9" y="0"/>
                    <a:pt x="2" y="0"/>
                    <a:pt x="2" y="0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5"/>
                    <a:pt x="3" y="8"/>
                    <a:pt x="5" y="9"/>
                  </a:cubicBezTo>
                  <a:cubicBezTo>
                    <a:pt x="6" y="12"/>
                    <a:pt x="6" y="17"/>
                    <a:pt x="6" y="19"/>
                  </a:cubicBezTo>
                  <a:cubicBezTo>
                    <a:pt x="5" y="21"/>
                    <a:pt x="5" y="21"/>
                    <a:pt x="5" y="21"/>
                  </a:cubicBezTo>
                  <a:cubicBezTo>
                    <a:pt x="9" y="22"/>
                    <a:pt x="9" y="22"/>
                    <a:pt x="9" y="22"/>
                  </a:cubicBezTo>
                  <a:cubicBezTo>
                    <a:pt x="9" y="22"/>
                    <a:pt x="7" y="25"/>
                    <a:pt x="7" y="28"/>
                  </a:cubicBezTo>
                  <a:cubicBezTo>
                    <a:pt x="9" y="31"/>
                    <a:pt x="9" y="34"/>
                    <a:pt x="10" y="35"/>
                  </a:cubicBezTo>
                  <a:cubicBezTo>
                    <a:pt x="12" y="36"/>
                    <a:pt x="9" y="37"/>
                    <a:pt x="9" y="40"/>
                  </a:cubicBezTo>
                  <a:cubicBezTo>
                    <a:pt x="9" y="42"/>
                    <a:pt x="9" y="44"/>
                    <a:pt x="9" y="45"/>
                  </a:cubicBezTo>
                  <a:cubicBezTo>
                    <a:pt x="7" y="46"/>
                    <a:pt x="10" y="48"/>
                    <a:pt x="9" y="50"/>
                  </a:cubicBezTo>
                  <a:cubicBezTo>
                    <a:pt x="9" y="53"/>
                    <a:pt x="9" y="57"/>
                    <a:pt x="10" y="58"/>
                  </a:cubicBezTo>
                  <a:cubicBezTo>
                    <a:pt x="12" y="59"/>
                    <a:pt x="16" y="64"/>
                    <a:pt x="16" y="64"/>
                  </a:cubicBezTo>
                  <a:cubicBezTo>
                    <a:pt x="24" y="62"/>
                    <a:pt x="24" y="62"/>
                    <a:pt x="24" y="62"/>
                  </a:cubicBezTo>
                  <a:cubicBezTo>
                    <a:pt x="24" y="62"/>
                    <a:pt x="23" y="58"/>
                    <a:pt x="21" y="55"/>
                  </a:cubicBezTo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891045"/>
              <a:endParaRPr lang="en-US" sz="1700" dirty="0">
                <a:solidFill>
                  <a:srgbClr val="003149"/>
                </a:solidFill>
                <a:cs typeface="Arial" panose="020B0604020202020204" pitchFamily="34" charset="0"/>
              </a:endParaRPr>
            </a:p>
          </p:txBody>
        </p:sp>
      </p:grpSp>
      <p:grpSp>
        <p:nvGrpSpPr>
          <p:cNvPr id="534" name="Group 410"/>
          <p:cNvGrpSpPr>
            <a:grpSpLocks/>
          </p:cNvGrpSpPr>
          <p:nvPr/>
        </p:nvGrpSpPr>
        <p:grpSpPr bwMode="gray">
          <a:xfrm>
            <a:off x="1150367" y="2263510"/>
            <a:ext cx="55310" cy="121791"/>
            <a:chOff x="4223" y="2866"/>
            <a:chExt cx="38" cy="79"/>
          </a:xfrm>
          <a:solidFill>
            <a:schemeClr val="accent3"/>
          </a:solidFill>
        </p:grpSpPr>
        <p:sp>
          <p:nvSpPr>
            <p:cNvPr id="535" name="Freeform 411"/>
            <p:cNvSpPr>
              <a:spLocks/>
            </p:cNvSpPr>
            <p:nvPr/>
          </p:nvSpPr>
          <p:spPr bwMode="gray">
            <a:xfrm>
              <a:off x="4223" y="2866"/>
              <a:ext cx="38" cy="79"/>
            </a:xfrm>
            <a:custGeom>
              <a:avLst/>
              <a:gdLst>
                <a:gd name="T0" fmla="*/ 0 w 384"/>
                <a:gd name="T1" fmla="*/ 0 h 784"/>
                <a:gd name="T2" fmla="*/ 0 w 384"/>
                <a:gd name="T3" fmla="*/ 0 h 784"/>
                <a:gd name="T4" fmla="*/ 0 w 384"/>
                <a:gd name="T5" fmla="*/ 0 h 784"/>
                <a:gd name="T6" fmla="*/ 0 w 384"/>
                <a:gd name="T7" fmla="*/ 0 h 784"/>
                <a:gd name="T8" fmla="*/ 0 w 384"/>
                <a:gd name="T9" fmla="*/ 0 h 784"/>
                <a:gd name="T10" fmla="*/ 0 w 384"/>
                <a:gd name="T11" fmla="*/ 0 h 784"/>
                <a:gd name="T12" fmla="*/ 0 w 384"/>
                <a:gd name="T13" fmla="*/ 0 h 784"/>
                <a:gd name="T14" fmla="*/ 0 w 384"/>
                <a:gd name="T15" fmla="*/ 0 h 784"/>
                <a:gd name="T16" fmla="*/ 0 w 384"/>
                <a:gd name="T17" fmla="*/ 0 h 784"/>
                <a:gd name="T18" fmla="*/ 0 w 384"/>
                <a:gd name="T19" fmla="*/ 0 h 784"/>
                <a:gd name="T20" fmla="*/ 0 w 384"/>
                <a:gd name="T21" fmla="*/ 0 h 784"/>
                <a:gd name="T22" fmla="*/ 0 w 384"/>
                <a:gd name="T23" fmla="*/ 0 h 784"/>
                <a:gd name="T24" fmla="*/ 0 w 384"/>
                <a:gd name="T25" fmla="*/ 0 h 784"/>
                <a:gd name="T26" fmla="*/ 0 w 384"/>
                <a:gd name="T27" fmla="*/ 0 h 784"/>
                <a:gd name="T28" fmla="*/ 0 w 384"/>
                <a:gd name="T29" fmla="*/ 0 h 784"/>
                <a:gd name="T30" fmla="*/ 0 w 384"/>
                <a:gd name="T31" fmla="*/ 0 h 784"/>
                <a:gd name="T32" fmla="*/ 0 w 384"/>
                <a:gd name="T33" fmla="*/ 0 h 784"/>
                <a:gd name="T34" fmla="*/ 0 w 384"/>
                <a:gd name="T35" fmla="*/ 0 h 784"/>
                <a:gd name="T36" fmla="*/ 0 w 384"/>
                <a:gd name="T37" fmla="*/ 0 h 784"/>
                <a:gd name="T38" fmla="*/ 0 w 384"/>
                <a:gd name="T39" fmla="*/ 0 h 784"/>
                <a:gd name="T40" fmla="*/ 0 w 384"/>
                <a:gd name="T41" fmla="*/ 0 h 784"/>
                <a:gd name="T42" fmla="*/ 0 w 384"/>
                <a:gd name="T43" fmla="*/ 0 h 784"/>
                <a:gd name="T44" fmla="*/ 0 w 384"/>
                <a:gd name="T45" fmla="*/ 0 h 784"/>
                <a:gd name="T46" fmla="*/ 0 w 384"/>
                <a:gd name="T47" fmla="*/ 0 h 784"/>
                <a:gd name="T48" fmla="*/ 0 w 384"/>
                <a:gd name="T49" fmla="*/ 0 h 784"/>
                <a:gd name="T50" fmla="*/ 0 w 384"/>
                <a:gd name="T51" fmla="*/ 0 h 784"/>
                <a:gd name="T52" fmla="*/ 0 w 384"/>
                <a:gd name="T53" fmla="*/ 0 h 784"/>
                <a:gd name="T54" fmla="*/ 0 w 384"/>
                <a:gd name="T55" fmla="*/ 0 h 784"/>
                <a:gd name="T56" fmla="*/ 0 w 384"/>
                <a:gd name="T57" fmla="*/ 0 h 784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w 384"/>
                <a:gd name="T88" fmla="*/ 0 h 784"/>
                <a:gd name="T89" fmla="*/ 384 w 384"/>
                <a:gd name="T90" fmla="*/ 784 h 784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T87" t="T88" r="T89" b="T90"/>
              <a:pathLst>
                <a:path w="384" h="784">
                  <a:moveTo>
                    <a:pt x="25" y="193"/>
                  </a:moveTo>
                  <a:cubicBezTo>
                    <a:pt x="38" y="180"/>
                    <a:pt x="0" y="257"/>
                    <a:pt x="13" y="257"/>
                  </a:cubicBezTo>
                  <a:cubicBezTo>
                    <a:pt x="25" y="257"/>
                    <a:pt x="87" y="309"/>
                    <a:pt x="87" y="309"/>
                  </a:cubicBezTo>
                  <a:cubicBezTo>
                    <a:pt x="87" y="373"/>
                    <a:pt x="87" y="373"/>
                    <a:pt x="87" y="373"/>
                  </a:cubicBezTo>
                  <a:cubicBezTo>
                    <a:pt x="87" y="373"/>
                    <a:pt x="99" y="411"/>
                    <a:pt x="112" y="424"/>
                  </a:cubicBezTo>
                  <a:cubicBezTo>
                    <a:pt x="124" y="424"/>
                    <a:pt x="124" y="681"/>
                    <a:pt x="124" y="681"/>
                  </a:cubicBezTo>
                  <a:cubicBezTo>
                    <a:pt x="124" y="681"/>
                    <a:pt x="99" y="707"/>
                    <a:pt x="112" y="720"/>
                  </a:cubicBezTo>
                  <a:cubicBezTo>
                    <a:pt x="124" y="745"/>
                    <a:pt x="136" y="784"/>
                    <a:pt x="136" y="784"/>
                  </a:cubicBezTo>
                  <a:cubicBezTo>
                    <a:pt x="260" y="771"/>
                    <a:pt x="260" y="771"/>
                    <a:pt x="260" y="771"/>
                  </a:cubicBezTo>
                  <a:cubicBezTo>
                    <a:pt x="260" y="771"/>
                    <a:pt x="248" y="720"/>
                    <a:pt x="248" y="681"/>
                  </a:cubicBezTo>
                  <a:cubicBezTo>
                    <a:pt x="260" y="655"/>
                    <a:pt x="248" y="630"/>
                    <a:pt x="248" y="604"/>
                  </a:cubicBezTo>
                  <a:cubicBezTo>
                    <a:pt x="248" y="578"/>
                    <a:pt x="248" y="540"/>
                    <a:pt x="248" y="488"/>
                  </a:cubicBezTo>
                  <a:cubicBezTo>
                    <a:pt x="248" y="450"/>
                    <a:pt x="260" y="437"/>
                    <a:pt x="273" y="424"/>
                  </a:cubicBezTo>
                  <a:cubicBezTo>
                    <a:pt x="273" y="424"/>
                    <a:pt x="297" y="424"/>
                    <a:pt x="297" y="411"/>
                  </a:cubicBezTo>
                  <a:cubicBezTo>
                    <a:pt x="310" y="386"/>
                    <a:pt x="297" y="373"/>
                    <a:pt x="310" y="360"/>
                  </a:cubicBezTo>
                  <a:cubicBezTo>
                    <a:pt x="322" y="347"/>
                    <a:pt x="322" y="334"/>
                    <a:pt x="334" y="322"/>
                  </a:cubicBezTo>
                  <a:cubicBezTo>
                    <a:pt x="359" y="322"/>
                    <a:pt x="347" y="334"/>
                    <a:pt x="359" y="283"/>
                  </a:cubicBezTo>
                  <a:cubicBezTo>
                    <a:pt x="371" y="244"/>
                    <a:pt x="359" y="257"/>
                    <a:pt x="371" y="244"/>
                  </a:cubicBezTo>
                  <a:cubicBezTo>
                    <a:pt x="384" y="244"/>
                    <a:pt x="384" y="219"/>
                    <a:pt x="384" y="219"/>
                  </a:cubicBezTo>
                  <a:cubicBezTo>
                    <a:pt x="384" y="219"/>
                    <a:pt x="384" y="193"/>
                    <a:pt x="359" y="167"/>
                  </a:cubicBezTo>
                  <a:cubicBezTo>
                    <a:pt x="347" y="142"/>
                    <a:pt x="347" y="129"/>
                    <a:pt x="347" y="116"/>
                  </a:cubicBezTo>
                  <a:cubicBezTo>
                    <a:pt x="359" y="90"/>
                    <a:pt x="347" y="78"/>
                    <a:pt x="334" y="65"/>
                  </a:cubicBezTo>
                  <a:cubicBezTo>
                    <a:pt x="310" y="52"/>
                    <a:pt x="310" y="52"/>
                    <a:pt x="297" y="26"/>
                  </a:cubicBezTo>
                  <a:cubicBezTo>
                    <a:pt x="285" y="0"/>
                    <a:pt x="260" y="0"/>
                    <a:pt x="248" y="0"/>
                  </a:cubicBezTo>
                  <a:cubicBezTo>
                    <a:pt x="235" y="0"/>
                    <a:pt x="211" y="13"/>
                    <a:pt x="211" y="13"/>
                  </a:cubicBezTo>
                  <a:cubicBezTo>
                    <a:pt x="211" y="13"/>
                    <a:pt x="223" y="52"/>
                    <a:pt x="211" y="65"/>
                  </a:cubicBezTo>
                  <a:cubicBezTo>
                    <a:pt x="198" y="78"/>
                    <a:pt x="174" y="116"/>
                    <a:pt x="161" y="116"/>
                  </a:cubicBezTo>
                  <a:cubicBezTo>
                    <a:pt x="149" y="116"/>
                    <a:pt x="124" y="129"/>
                    <a:pt x="99" y="116"/>
                  </a:cubicBezTo>
                  <a:cubicBezTo>
                    <a:pt x="75" y="116"/>
                    <a:pt x="25" y="180"/>
                    <a:pt x="25" y="180"/>
                  </a:cubicBezTo>
                </a:path>
              </a:pathLst>
            </a:custGeom>
            <a:grpFill/>
            <a:ln w="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891045"/>
              <a:endParaRPr lang="en-US" sz="1700" dirty="0">
                <a:solidFill>
                  <a:srgbClr val="003149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536" name="Freeform 412"/>
            <p:cNvSpPr>
              <a:spLocks/>
            </p:cNvSpPr>
            <p:nvPr/>
          </p:nvSpPr>
          <p:spPr bwMode="gray">
            <a:xfrm>
              <a:off x="4223" y="2866"/>
              <a:ext cx="38" cy="79"/>
            </a:xfrm>
            <a:custGeom>
              <a:avLst/>
              <a:gdLst>
                <a:gd name="T0" fmla="*/ 2 w 38"/>
                <a:gd name="T1" fmla="*/ 19 h 79"/>
                <a:gd name="T2" fmla="*/ 1 w 38"/>
                <a:gd name="T3" fmla="*/ 26 h 79"/>
                <a:gd name="T4" fmla="*/ 8 w 38"/>
                <a:gd name="T5" fmla="*/ 31 h 79"/>
                <a:gd name="T6" fmla="*/ 8 w 38"/>
                <a:gd name="T7" fmla="*/ 37 h 79"/>
                <a:gd name="T8" fmla="*/ 11 w 38"/>
                <a:gd name="T9" fmla="*/ 42 h 79"/>
                <a:gd name="T10" fmla="*/ 12 w 38"/>
                <a:gd name="T11" fmla="*/ 68 h 79"/>
                <a:gd name="T12" fmla="*/ 11 w 38"/>
                <a:gd name="T13" fmla="*/ 72 h 79"/>
                <a:gd name="T14" fmla="*/ 13 w 38"/>
                <a:gd name="T15" fmla="*/ 79 h 79"/>
                <a:gd name="T16" fmla="*/ 26 w 38"/>
                <a:gd name="T17" fmla="*/ 77 h 79"/>
                <a:gd name="T18" fmla="*/ 25 w 38"/>
                <a:gd name="T19" fmla="*/ 68 h 79"/>
                <a:gd name="T20" fmla="*/ 25 w 38"/>
                <a:gd name="T21" fmla="*/ 61 h 79"/>
                <a:gd name="T22" fmla="*/ 25 w 38"/>
                <a:gd name="T23" fmla="*/ 49 h 79"/>
                <a:gd name="T24" fmla="*/ 27 w 38"/>
                <a:gd name="T25" fmla="*/ 42 h 79"/>
                <a:gd name="T26" fmla="*/ 29 w 38"/>
                <a:gd name="T27" fmla="*/ 41 h 79"/>
                <a:gd name="T28" fmla="*/ 31 w 38"/>
                <a:gd name="T29" fmla="*/ 36 h 79"/>
                <a:gd name="T30" fmla="*/ 33 w 38"/>
                <a:gd name="T31" fmla="*/ 32 h 79"/>
                <a:gd name="T32" fmla="*/ 36 w 38"/>
                <a:gd name="T33" fmla="*/ 28 h 79"/>
                <a:gd name="T34" fmla="*/ 37 w 38"/>
                <a:gd name="T35" fmla="*/ 24 h 79"/>
                <a:gd name="T36" fmla="*/ 38 w 38"/>
                <a:gd name="T37" fmla="*/ 22 h 79"/>
                <a:gd name="T38" fmla="*/ 36 w 38"/>
                <a:gd name="T39" fmla="*/ 16 h 79"/>
                <a:gd name="T40" fmla="*/ 35 w 38"/>
                <a:gd name="T41" fmla="*/ 11 h 79"/>
                <a:gd name="T42" fmla="*/ 33 w 38"/>
                <a:gd name="T43" fmla="*/ 6 h 79"/>
                <a:gd name="T44" fmla="*/ 29 w 38"/>
                <a:gd name="T45" fmla="*/ 2 h 79"/>
                <a:gd name="T46" fmla="*/ 25 w 38"/>
                <a:gd name="T47" fmla="*/ 0 h 79"/>
                <a:gd name="T48" fmla="*/ 21 w 38"/>
                <a:gd name="T49" fmla="*/ 1 h 79"/>
                <a:gd name="T50" fmla="*/ 21 w 38"/>
                <a:gd name="T51" fmla="*/ 6 h 79"/>
                <a:gd name="T52" fmla="*/ 16 w 38"/>
                <a:gd name="T53" fmla="*/ 11 h 79"/>
                <a:gd name="T54" fmla="*/ 9 w 38"/>
                <a:gd name="T55" fmla="*/ 11 h 79"/>
                <a:gd name="T56" fmla="*/ 2 w 38"/>
                <a:gd name="T57" fmla="*/ 18 h 79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w 38"/>
                <a:gd name="T88" fmla="*/ 0 h 79"/>
                <a:gd name="T89" fmla="*/ 38 w 38"/>
                <a:gd name="T90" fmla="*/ 79 h 79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T87" t="T88" r="T89" b="T90"/>
              <a:pathLst>
                <a:path w="38" h="79">
                  <a:moveTo>
                    <a:pt x="2" y="19"/>
                  </a:moveTo>
                  <a:cubicBezTo>
                    <a:pt x="3" y="18"/>
                    <a:pt x="0" y="26"/>
                    <a:pt x="1" y="26"/>
                  </a:cubicBezTo>
                  <a:cubicBezTo>
                    <a:pt x="2" y="26"/>
                    <a:pt x="8" y="31"/>
                    <a:pt x="8" y="31"/>
                  </a:cubicBezTo>
                  <a:cubicBezTo>
                    <a:pt x="8" y="37"/>
                    <a:pt x="8" y="37"/>
                    <a:pt x="8" y="37"/>
                  </a:cubicBezTo>
                  <a:cubicBezTo>
                    <a:pt x="8" y="37"/>
                    <a:pt x="9" y="41"/>
                    <a:pt x="11" y="42"/>
                  </a:cubicBezTo>
                  <a:cubicBezTo>
                    <a:pt x="12" y="42"/>
                    <a:pt x="12" y="68"/>
                    <a:pt x="12" y="68"/>
                  </a:cubicBezTo>
                  <a:cubicBezTo>
                    <a:pt x="12" y="68"/>
                    <a:pt x="9" y="71"/>
                    <a:pt x="11" y="72"/>
                  </a:cubicBezTo>
                  <a:cubicBezTo>
                    <a:pt x="12" y="75"/>
                    <a:pt x="13" y="79"/>
                    <a:pt x="13" y="79"/>
                  </a:cubicBezTo>
                  <a:cubicBezTo>
                    <a:pt x="26" y="77"/>
                    <a:pt x="26" y="77"/>
                    <a:pt x="26" y="77"/>
                  </a:cubicBezTo>
                  <a:cubicBezTo>
                    <a:pt x="26" y="77"/>
                    <a:pt x="25" y="72"/>
                    <a:pt x="25" y="68"/>
                  </a:cubicBezTo>
                  <a:cubicBezTo>
                    <a:pt x="26" y="66"/>
                    <a:pt x="25" y="63"/>
                    <a:pt x="25" y="61"/>
                  </a:cubicBezTo>
                  <a:cubicBezTo>
                    <a:pt x="25" y="58"/>
                    <a:pt x="25" y="54"/>
                    <a:pt x="25" y="49"/>
                  </a:cubicBezTo>
                  <a:cubicBezTo>
                    <a:pt x="25" y="45"/>
                    <a:pt x="26" y="44"/>
                    <a:pt x="27" y="42"/>
                  </a:cubicBezTo>
                  <a:cubicBezTo>
                    <a:pt x="27" y="42"/>
                    <a:pt x="29" y="42"/>
                    <a:pt x="29" y="41"/>
                  </a:cubicBezTo>
                  <a:cubicBezTo>
                    <a:pt x="31" y="39"/>
                    <a:pt x="29" y="37"/>
                    <a:pt x="31" y="36"/>
                  </a:cubicBezTo>
                  <a:cubicBezTo>
                    <a:pt x="32" y="35"/>
                    <a:pt x="32" y="33"/>
                    <a:pt x="33" y="32"/>
                  </a:cubicBezTo>
                  <a:cubicBezTo>
                    <a:pt x="36" y="32"/>
                    <a:pt x="35" y="33"/>
                    <a:pt x="36" y="28"/>
                  </a:cubicBezTo>
                  <a:cubicBezTo>
                    <a:pt x="37" y="24"/>
                    <a:pt x="36" y="26"/>
                    <a:pt x="37" y="24"/>
                  </a:cubicBezTo>
                  <a:cubicBezTo>
                    <a:pt x="38" y="24"/>
                    <a:pt x="38" y="22"/>
                    <a:pt x="38" y="22"/>
                  </a:cubicBezTo>
                  <a:cubicBezTo>
                    <a:pt x="38" y="22"/>
                    <a:pt x="38" y="19"/>
                    <a:pt x="36" y="16"/>
                  </a:cubicBezTo>
                  <a:cubicBezTo>
                    <a:pt x="35" y="14"/>
                    <a:pt x="35" y="13"/>
                    <a:pt x="35" y="11"/>
                  </a:cubicBezTo>
                  <a:cubicBezTo>
                    <a:pt x="36" y="9"/>
                    <a:pt x="35" y="7"/>
                    <a:pt x="33" y="6"/>
                  </a:cubicBezTo>
                  <a:cubicBezTo>
                    <a:pt x="31" y="5"/>
                    <a:pt x="31" y="5"/>
                    <a:pt x="29" y="2"/>
                  </a:cubicBezTo>
                  <a:cubicBezTo>
                    <a:pt x="28" y="0"/>
                    <a:pt x="26" y="0"/>
                    <a:pt x="25" y="0"/>
                  </a:cubicBezTo>
                  <a:cubicBezTo>
                    <a:pt x="23" y="0"/>
                    <a:pt x="21" y="1"/>
                    <a:pt x="21" y="1"/>
                  </a:cubicBezTo>
                  <a:cubicBezTo>
                    <a:pt x="21" y="1"/>
                    <a:pt x="22" y="5"/>
                    <a:pt x="21" y="6"/>
                  </a:cubicBezTo>
                  <a:cubicBezTo>
                    <a:pt x="19" y="7"/>
                    <a:pt x="17" y="11"/>
                    <a:pt x="16" y="11"/>
                  </a:cubicBezTo>
                  <a:cubicBezTo>
                    <a:pt x="15" y="11"/>
                    <a:pt x="12" y="13"/>
                    <a:pt x="9" y="11"/>
                  </a:cubicBezTo>
                  <a:cubicBezTo>
                    <a:pt x="7" y="11"/>
                    <a:pt x="2" y="18"/>
                    <a:pt x="2" y="18"/>
                  </a:cubicBezTo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891045"/>
              <a:endParaRPr lang="en-US" sz="1700" dirty="0">
                <a:solidFill>
                  <a:srgbClr val="003149"/>
                </a:solidFill>
                <a:cs typeface="Arial" panose="020B0604020202020204" pitchFamily="34" charset="0"/>
              </a:endParaRPr>
            </a:p>
          </p:txBody>
        </p:sp>
      </p:grpSp>
      <p:grpSp>
        <p:nvGrpSpPr>
          <p:cNvPr id="537" name="Group 425"/>
          <p:cNvGrpSpPr>
            <a:grpSpLocks/>
          </p:cNvGrpSpPr>
          <p:nvPr/>
        </p:nvGrpSpPr>
        <p:grpSpPr bwMode="gray">
          <a:xfrm>
            <a:off x="1278608" y="1716695"/>
            <a:ext cx="76681" cy="168732"/>
            <a:chOff x="4311" y="2513"/>
            <a:chExt cx="52" cy="109"/>
          </a:xfrm>
          <a:solidFill>
            <a:schemeClr val="accent3"/>
          </a:solidFill>
        </p:grpSpPr>
        <p:sp>
          <p:nvSpPr>
            <p:cNvPr id="538" name="Freeform 426"/>
            <p:cNvSpPr>
              <a:spLocks/>
            </p:cNvSpPr>
            <p:nvPr/>
          </p:nvSpPr>
          <p:spPr bwMode="gray">
            <a:xfrm>
              <a:off x="4311" y="2513"/>
              <a:ext cx="52" cy="109"/>
            </a:xfrm>
            <a:custGeom>
              <a:avLst/>
              <a:gdLst>
                <a:gd name="T0" fmla="*/ 0 w 517"/>
                <a:gd name="T1" fmla="*/ 0 h 1075"/>
                <a:gd name="T2" fmla="*/ 0 w 517"/>
                <a:gd name="T3" fmla="*/ 0 h 1075"/>
                <a:gd name="T4" fmla="*/ 0 w 517"/>
                <a:gd name="T5" fmla="*/ 0 h 1075"/>
                <a:gd name="T6" fmla="*/ 0 w 517"/>
                <a:gd name="T7" fmla="*/ 0 h 1075"/>
                <a:gd name="T8" fmla="*/ 0 w 517"/>
                <a:gd name="T9" fmla="*/ 0 h 1075"/>
                <a:gd name="T10" fmla="*/ 0 w 517"/>
                <a:gd name="T11" fmla="*/ 0 h 1075"/>
                <a:gd name="T12" fmla="*/ 0 w 517"/>
                <a:gd name="T13" fmla="*/ 0 h 1075"/>
                <a:gd name="T14" fmla="*/ 0 w 517"/>
                <a:gd name="T15" fmla="*/ 0 h 1075"/>
                <a:gd name="T16" fmla="*/ 0 w 517"/>
                <a:gd name="T17" fmla="*/ 0 h 1075"/>
                <a:gd name="T18" fmla="*/ 0 w 517"/>
                <a:gd name="T19" fmla="*/ 0 h 1075"/>
                <a:gd name="T20" fmla="*/ 0 w 517"/>
                <a:gd name="T21" fmla="*/ 0 h 1075"/>
                <a:gd name="T22" fmla="*/ 0 w 517"/>
                <a:gd name="T23" fmla="*/ 0 h 1075"/>
                <a:gd name="T24" fmla="*/ 0 w 517"/>
                <a:gd name="T25" fmla="*/ 0 h 1075"/>
                <a:gd name="T26" fmla="*/ 0 w 517"/>
                <a:gd name="T27" fmla="*/ 0 h 1075"/>
                <a:gd name="T28" fmla="*/ 0 w 517"/>
                <a:gd name="T29" fmla="*/ 0 h 1075"/>
                <a:gd name="T30" fmla="*/ 0 w 517"/>
                <a:gd name="T31" fmla="*/ 0 h 1075"/>
                <a:gd name="T32" fmla="*/ 0 w 517"/>
                <a:gd name="T33" fmla="*/ 0 h 1075"/>
                <a:gd name="T34" fmla="*/ 0 w 517"/>
                <a:gd name="T35" fmla="*/ 0 h 1075"/>
                <a:gd name="T36" fmla="*/ 0 w 517"/>
                <a:gd name="T37" fmla="*/ 0 h 1075"/>
                <a:gd name="T38" fmla="*/ 0 w 517"/>
                <a:gd name="T39" fmla="*/ 0 h 1075"/>
                <a:gd name="T40" fmla="*/ 0 w 517"/>
                <a:gd name="T41" fmla="*/ 0 h 1075"/>
                <a:gd name="T42" fmla="*/ 0 w 517"/>
                <a:gd name="T43" fmla="*/ 0 h 1075"/>
                <a:gd name="T44" fmla="*/ 0 w 517"/>
                <a:gd name="T45" fmla="*/ 0 h 1075"/>
                <a:gd name="T46" fmla="*/ 0 w 517"/>
                <a:gd name="T47" fmla="*/ 0 h 1075"/>
                <a:gd name="T48" fmla="*/ 0 w 517"/>
                <a:gd name="T49" fmla="*/ 0 h 1075"/>
                <a:gd name="T50" fmla="*/ 0 w 517"/>
                <a:gd name="T51" fmla="*/ 0 h 1075"/>
                <a:gd name="T52" fmla="*/ 0 w 517"/>
                <a:gd name="T53" fmla="*/ 0 h 1075"/>
                <a:gd name="T54" fmla="*/ 0 w 517"/>
                <a:gd name="T55" fmla="*/ 0 h 1075"/>
                <a:gd name="T56" fmla="*/ 0 w 517"/>
                <a:gd name="T57" fmla="*/ 0 h 1075"/>
                <a:gd name="T58" fmla="*/ 0 w 517"/>
                <a:gd name="T59" fmla="*/ 0 h 1075"/>
                <a:gd name="T60" fmla="*/ 0 w 517"/>
                <a:gd name="T61" fmla="*/ 0 h 1075"/>
                <a:gd name="T62" fmla="*/ 0 w 517"/>
                <a:gd name="T63" fmla="*/ 0 h 1075"/>
                <a:gd name="T64" fmla="*/ 0 w 517"/>
                <a:gd name="T65" fmla="*/ 0 h 1075"/>
                <a:gd name="T66" fmla="*/ 0 w 517"/>
                <a:gd name="T67" fmla="*/ 0 h 1075"/>
                <a:gd name="T68" fmla="*/ 0 w 517"/>
                <a:gd name="T69" fmla="*/ 0 h 1075"/>
                <a:gd name="T70" fmla="*/ 0 w 517"/>
                <a:gd name="T71" fmla="*/ 0 h 1075"/>
                <a:gd name="T72" fmla="*/ 0 w 517"/>
                <a:gd name="T73" fmla="*/ 0 h 1075"/>
                <a:gd name="T74" fmla="*/ 0 w 517"/>
                <a:gd name="T75" fmla="*/ 0 h 1075"/>
                <a:gd name="T76" fmla="*/ 0 w 517"/>
                <a:gd name="T77" fmla="*/ 0 h 1075"/>
                <a:gd name="T78" fmla="*/ 0 w 517"/>
                <a:gd name="T79" fmla="*/ 0 h 1075"/>
                <a:gd name="T80" fmla="*/ 0 w 517"/>
                <a:gd name="T81" fmla="*/ 0 h 1075"/>
                <a:gd name="T82" fmla="*/ 0 w 517"/>
                <a:gd name="T83" fmla="*/ 0 h 1075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517"/>
                <a:gd name="T127" fmla="*/ 0 h 1075"/>
                <a:gd name="T128" fmla="*/ 517 w 517"/>
                <a:gd name="T129" fmla="*/ 1075 h 1075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517" h="1075">
                  <a:moveTo>
                    <a:pt x="353" y="506"/>
                  </a:moveTo>
                  <a:cubicBezTo>
                    <a:pt x="391" y="531"/>
                    <a:pt x="366" y="582"/>
                    <a:pt x="379" y="582"/>
                  </a:cubicBezTo>
                  <a:cubicBezTo>
                    <a:pt x="379" y="569"/>
                    <a:pt x="391" y="518"/>
                    <a:pt x="391" y="518"/>
                  </a:cubicBezTo>
                  <a:cubicBezTo>
                    <a:pt x="442" y="556"/>
                    <a:pt x="442" y="556"/>
                    <a:pt x="442" y="556"/>
                  </a:cubicBezTo>
                  <a:cubicBezTo>
                    <a:pt x="404" y="582"/>
                    <a:pt x="404" y="582"/>
                    <a:pt x="404" y="582"/>
                  </a:cubicBezTo>
                  <a:cubicBezTo>
                    <a:pt x="442" y="582"/>
                    <a:pt x="442" y="582"/>
                    <a:pt x="442" y="582"/>
                  </a:cubicBezTo>
                  <a:cubicBezTo>
                    <a:pt x="442" y="582"/>
                    <a:pt x="429" y="620"/>
                    <a:pt x="442" y="632"/>
                  </a:cubicBezTo>
                  <a:cubicBezTo>
                    <a:pt x="467" y="645"/>
                    <a:pt x="492" y="645"/>
                    <a:pt x="492" y="645"/>
                  </a:cubicBezTo>
                  <a:cubicBezTo>
                    <a:pt x="492" y="645"/>
                    <a:pt x="479" y="695"/>
                    <a:pt x="479" y="708"/>
                  </a:cubicBezTo>
                  <a:cubicBezTo>
                    <a:pt x="479" y="721"/>
                    <a:pt x="517" y="746"/>
                    <a:pt x="479" y="759"/>
                  </a:cubicBezTo>
                  <a:cubicBezTo>
                    <a:pt x="442" y="784"/>
                    <a:pt x="391" y="809"/>
                    <a:pt x="379" y="822"/>
                  </a:cubicBezTo>
                  <a:cubicBezTo>
                    <a:pt x="366" y="835"/>
                    <a:pt x="366" y="847"/>
                    <a:pt x="353" y="860"/>
                  </a:cubicBezTo>
                  <a:cubicBezTo>
                    <a:pt x="341" y="860"/>
                    <a:pt x="316" y="910"/>
                    <a:pt x="316" y="910"/>
                  </a:cubicBezTo>
                  <a:cubicBezTo>
                    <a:pt x="316" y="910"/>
                    <a:pt x="328" y="974"/>
                    <a:pt x="328" y="986"/>
                  </a:cubicBezTo>
                  <a:cubicBezTo>
                    <a:pt x="341" y="999"/>
                    <a:pt x="303" y="1037"/>
                    <a:pt x="290" y="1050"/>
                  </a:cubicBezTo>
                  <a:cubicBezTo>
                    <a:pt x="278" y="1062"/>
                    <a:pt x="253" y="1075"/>
                    <a:pt x="253" y="1075"/>
                  </a:cubicBezTo>
                  <a:cubicBezTo>
                    <a:pt x="189" y="809"/>
                    <a:pt x="189" y="809"/>
                    <a:pt x="189" y="809"/>
                  </a:cubicBezTo>
                  <a:cubicBezTo>
                    <a:pt x="89" y="733"/>
                    <a:pt x="89" y="733"/>
                    <a:pt x="89" y="733"/>
                  </a:cubicBezTo>
                  <a:cubicBezTo>
                    <a:pt x="89" y="733"/>
                    <a:pt x="89" y="695"/>
                    <a:pt x="63" y="657"/>
                  </a:cubicBezTo>
                  <a:cubicBezTo>
                    <a:pt x="51" y="632"/>
                    <a:pt x="13" y="645"/>
                    <a:pt x="13" y="645"/>
                  </a:cubicBezTo>
                  <a:cubicBezTo>
                    <a:pt x="13" y="645"/>
                    <a:pt x="13" y="632"/>
                    <a:pt x="13" y="607"/>
                  </a:cubicBezTo>
                  <a:cubicBezTo>
                    <a:pt x="13" y="582"/>
                    <a:pt x="0" y="531"/>
                    <a:pt x="0" y="518"/>
                  </a:cubicBezTo>
                  <a:cubicBezTo>
                    <a:pt x="0" y="506"/>
                    <a:pt x="26" y="480"/>
                    <a:pt x="38" y="468"/>
                  </a:cubicBezTo>
                  <a:cubicBezTo>
                    <a:pt x="38" y="442"/>
                    <a:pt x="76" y="417"/>
                    <a:pt x="89" y="417"/>
                  </a:cubicBezTo>
                  <a:cubicBezTo>
                    <a:pt x="101" y="417"/>
                    <a:pt x="89" y="417"/>
                    <a:pt x="89" y="379"/>
                  </a:cubicBezTo>
                  <a:cubicBezTo>
                    <a:pt x="89" y="341"/>
                    <a:pt x="114" y="329"/>
                    <a:pt x="101" y="329"/>
                  </a:cubicBezTo>
                  <a:cubicBezTo>
                    <a:pt x="89" y="329"/>
                    <a:pt x="89" y="316"/>
                    <a:pt x="76" y="278"/>
                  </a:cubicBezTo>
                  <a:cubicBezTo>
                    <a:pt x="76" y="240"/>
                    <a:pt x="89" y="202"/>
                    <a:pt x="89" y="190"/>
                  </a:cubicBezTo>
                  <a:cubicBezTo>
                    <a:pt x="101" y="164"/>
                    <a:pt x="76" y="152"/>
                    <a:pt x="76" y="152"/>
                  </a:cubicBezTo>
                  <a:cubicBezTo>
                    <a:pt x="114" y="101"/>
                    <a:pt x="114" y="101"/>
                    <a:pt x="114" y="101"/>
                  </a:cubicBezTo>
                  <a:cubicBezTo>
                    <a:pt x="114" y="76"/>
                    <a:pt x="114" y="76"/>
                    <a:pt x="114" y="76"/>
                  </a:cubicBezTo>
                  <a:cubicBezTo>
                    <a:pt x="114" y="76"/>
                    <a:pt x="215" y="25"/>
                    <a:pt x="240" y="25"/>
                  </a:cubicBezTo>
                  <a:cubicBezTo>
                    <a:pt x="265" y="25"/>
                    <a:pt x="316" y="0"/>
                    <a:pt x="316" y="38"/>
                  </a:cubicBezTo>
                  <a:cubicBezTo>
                    <a:pt x="328" y="63"/>
                    <a:pt x="328" y="88"/>
                    <a:pt x="341" y="88"/>
                  </a:cubicBezTo>
                  <a:cubicBezTo>
                    <a:pt x="366" y="88"/>
                    <a:pt x="379" y="88"/>
                    <a:pt x="391" y="76"/>
                  </a:cubicBezTo>
                  <a:cubicBezTo>
                    <a:pt x="416" y="76"/>
                    <a:pt x="429" y="50"/>
                    <a:pt x="442" y="63"/>
                  </a:cubicBezTo>
                  <a:cubicBezTo>
                    <a:pt x="442" y="76"/>
                    <a:pt x="404" y="139"/>
                    <a:pt x="404" y="139"/>
                  </a:cubicBezTo>
                  <a:cubicBezTo>
                    <a:pt x="404" y="139"/>
                    <a:pt x="366" y="164"/>
                    <a:pt x="366" y="177"/>
                  </a:cubicBezTo>
                  <a:cubicBezTo>
                    <a:pt x="353" y="202"/>
                    <a:pt x="379" y="227"/>
                    <a:pt x="391" y="253"/>
                  </a:cubicBezTo>
                  <a:cubicBezTo>
                    <a:pt x="404" y="265"/>
                    <a:pt x="442" y="265"/>
                    <a:pt x="442" y="303"/>
                  </a:cubicBezTo>
                  <a:cubicBezTo>
                    <a:pt x="429" y="341"/>
                    <a:pt x="391" y="392"/>
                    <a:pt x="379" y="430"/>
                  </a:cubicBezTo>
                  <a:cubicBezTo>
                    <a:pt x="353" y="468"/>
                    <a:pt x="341" y="442"/>
                    <a:pt x="328" y="480"/>
                  </a:cubicBezTo>
                </a:path>
              </a:pathLst>
            </a:custGeom>
            <a:grpFill/>
            <a:ln w="9525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891045"/>
              <a:endParaRPr lang="en-US" sz="1700" dirty="0">
                <a:solidFill>
                  <a:srgbClr val="003149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539" name="Freeform 427"/>
            <p:cNvSpPr>
              <a:spLocks/>
            </p:cNvSpPr>
            <p:nvPr/>
          </p:nvSpPr>
          <p:spPr bwMode="gray">
            <a:xfrm>
              <a:off x="4311" y="2513"/>
              <a:ext cx="52" cy="109"/>
            </a:xfrm>
            <a:custGeom>
              <a:avLst/>
              <a:gdLst>
                <a:gd name="T0" fmla="*/ 35 w 52"/>
                <a:gd name="T1" fmla="*/ 51 h 109"/>
                <a:gd name="T2" fmla="*/ 38 w 52"/>
                <a:gd name="T3" fmla="*/ 59 h 109"/>
                <a:gd name="T4" fmla="*/ 39 w 52"/>
                <a:gd name="T5" fmla="*/ 52 h 109"/>
                <a:gd name="T6" fmla="*/ 44 w 52"/>
                <a:gd name="T7" fmla="*/ 56 h 109"/>
                <a:gd name="T8" fmla="*/ 41 w 52"/>
                <a:gd name="T9" fmla="*/ 59 h 109"/>
                <a:gd name="T10" fmla="*/ 44 w 52"/>
                <a:gd name="T11" fmla="*/ 59 h 109"/>
                <a:gd name="T12" fmla="*/ 44 w 52"/>
                <a:gd name="T13" fmla="*/ 64 h 109"/>
                <a:gd name="T14" fmla="*/ 49 w 52"/>
                <a:gd name="T15" fmla="*/ 65 h 109"/>
                <a:gd name="T16" fmla="*/ 48 w 52"/>
                <a:gd name="T17" fmla="*/ 71 h 109"/>
                <a:gd name="T18" fmla="*/ 48 w 52"/>
                <a:gd name="T19" fmla="*/ 77 h 109"/>
                <a:gd name="T20" fmla="*/ 38 w 52"/>
                <a:gd name="T21" fmla="*/ 83 h 109"/>
                <a:gd name="T22" fmla="*/ 35 w 52"/>
                <a:gd name="T23" fmla="*/ 87 h 109"/>
                <a:gd name="T24" fmla="*/ 32 w 52"/>
                <a:gd name="T25" fmla="*/ 92 h 109"/>
                <a:gd name="T26" fmla="*/ 33 w 52"/>
                <a:gd name="T27" fmla="*/ 100 h 109"/>
                <a:gd name="T28" fmla="*/ 29 w 52"/>
                <a:gd name="T29" fmla="*/ 106 h 109"/>
                <a:gd name="T30" fmla="*/ 25 w 52"/>
                <a:gd name="T31" fmla="*/ 109 h 109"/>
                <a:gd name="T32" fmla="*/ 19 w 52"/>
                <a:gd name="T33" fmla="*/ 82 h 109"/>
                <a:gd name="T34" fmla="*/ 9 w 52"/>
                <a:gd name="T35" fmla="*/ 74 h 109"/>
                <a:gd name="T36" fmla="*/ 6 w 52"/>
                <a:gd name="T37" fmla="*/ 66 h 109"/>
                <a:gd name="T38" fmla="*/ 1 w 52"/>
                <a:gd name="T39" fmla="*/ 65 h 109"/>
                <a:gd name="T40" fmla="*/ 1 w 52"/>
                <a:gd name="T41" fmla="*/ 61 h 109"/>
                <a:gd name="T42" fmla="*/ 0 w 52"/>
                <a:gd name="T43" fmla="*/ 52 h 109"/>
                <a:gd name="T44" fmla="*/ 4 w 52"/>
                <a:gd name="T45" fmla="*/ 47 h 109"/>
                <a:gd name="T46" fmla="*/ 9 w 52"/>
                <a:gd name="T47" fmla="*/ 42 h 109"/>
                <a:gd name="T48" fmla="*/ 9 w 52"/>
                <a:gd name="T49" fmla="*/ 38 h 109"/>
                <a:gd name="T50" fmla="*/ 10 w 52"/>
                <a:gd name="T51" fmla="*/ 33 h 109"/>
                <a:gd name="T52" fmla="*/ 7 w 52"/>
                <a:gd name="T53" fmla="*/ 28 h 109"/>
                <a:gd name="T54" fmla="*/ 9 w 52"/>
                <a:gd name="T55" fmla="*/ 19 h 109"/>
                <a:gd name="T56" fmla="*/ 7 w 52"/>
                <a:gd name="T57" fmla="*/ 15 h 109"/>
                <a:gd name="T58" fmla="*/ 11 w 52"/>
                <a:gd name="T59" fmla="*/ 10 h 109"/>
                <a:gd name="T60" fmla="*/ 11 w 52"/>
                <a:gd name="T61" fmla="*/ 8 h 109"/>
                <a:gd name="T62" fmla="*/ 24 w 52"/>
                <a:gd name="T63" fmla="*/ 2 h 109"/>
                <a:gd name="T64" fmla="*/ 32 w 52"/>
                <a:gd name="T65" fmla="*/ 4 h 109"/>
                <a:gd name="T66" fmla="*/ 34 w 52"/>
                <a:gd name="T67" fmla="*/ 9 h 109"/>
                <a:gd name="T68" fmla="*/ 39 w 52"/>
                <a:gd name="T69" fmla="*/ 8 h 109"/>
                <a:gd name="T70" fmla="*/ 44 w 52"/>
                <a:gd name="T71" fmla="*/ 6 h 109"/>
                <a:gd name="T72" fmla="*/ 41 w 52"/>
                <a:gd name="T73" fmla="*/ 14 h 109"/>
                <a:gd name="T74" fmla="*/ 37 w 52"/>
                <a:gd name="T75" fmla="*/ 18 h 109"/>
                <a:gd name="T76" fmla="*/ 39 w 52"/>
                <a:gd name="T77" fmla="*/ 25 h 109"/>
                <a:gd name="T78" fmla="*/ 44 w 52"/>
                <a:gd name="T79" fmla="*/ 31 h 109"/>
                <a:gd name="T80" fmla="*/ 38 w 52"/>
                <a:gd name="T81" fmla="*/ 43 h 109"/>
                <a:gd name="T82" fmla="*/ 33 w 52"/>
                <a:gd name="T83" fmla="*/ 48 h 109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52"/>
                <a:gd name="T127" fmla="*/ 0 h 109"/>
                <a:gd name="T128" fmla="*/ 52 w 52"/>
                <a:gd name="T129" fmla="*/ 109 h 109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52" h="109">
                  <a:moveTo>
                    <a:pt x="35" y="51"/>
                  </a:moveTo>
                  <a:cubicBezTo>
                    <a:pt x="39" y="54"/>
                    <a:pt x="37" y="59"/>
                    <a:pt x="38" y="59"/>
                  </a:cubicBezTo>
                  <a:cubicBezTo>
                    <a:pt x="38" y="57"/>
                    <a:pt x="39" y="52"/>
                    <a:pt x="39" y="52"/>
                  </a:cubicBezTo>
                  <a:cubicBezTo>
                    <a:pt x="44" y="56"/>
                    <a:pt x="44" y="56"/>
                    <a:pt x="44" y="56"/>
                  </a:cubicBezTo>
                  <a:cubicBezTo>
                    <a:pt x="41" y="59"/>
                    <a:pt x="41" y="59"/>
                    <a:pt x="41" y="59"/>
                  </a:cubicBezTo>
                  <a:cubicBezTo>
                    <a:pt x="44" y="59"/>
                    <a:pt x="44" y="59"/>
                    <a:pt x="44" y="59"/>
                  </a:cubicBezTo>
                  <a:cubicBezTo>
                    <a:pt x="44" y="59"/>
                    <a:pt x="43" y="63"/>
                    <a:pt x="44" y="64"/>
                  </a:cubicBezTo>
                  <a:cubicBezTo>
                    <a:pt x="47" y="65"/>
                    <a:pt x="49" y="65"/>
                    <a:pt x="49" y="65"/>
                  </a:cubicBezTo>
                  <a:cubicBezTo>
                    <a:pt x="49" y="65"/>
                    <a:pt x="48" y="70"/>
                    <a:pt x="48" y="71"/>
                  </a:cubicBezTo>
                  <a:cubicBezTo>
                    <a:pt x="48" y="73"/>
                    <a:pt x="52" y="75"/>
                    <a:pt x="48" y="77"/>
                  </a:cubicBezTo>
                  <a:cubicBezTo>
                    <a:pt x="44" y="79"/>
                    <a:pt x="39" y="82"/>
                    <a:pt x="38" y="83"/>
                  </a:cubicBezTo>
                  <a:cubicBezTo>
                    <a:pt x="37" y="84"/>
                    <a:pt x="37" y="85"/>
                    <a:pt x="35" y="87"/>
                  </a:cubicBezTo>
                  <a:cubicBezTo>
                    <a:pt x="34" y="87"/>
                    <a:pt x="32" y="92"/>
                    <a:pt x="32" y="92"/>
                  </a:cubicBezTo>
                  <a:cubicBezTo>
                    <a:pt x="32" y="92"/>
                    <a:pt x="33" y="98"/>
                    <a:pt x="33" y="100"/>
                  </a:cubicBezTo>
                  <a:cubicBezTo>
                    <a:pt x="34" y="101"/>
                    <a:pt x="30" y="105"/>
                    <a:pt x="29" y="106"/>
                  </a:cubicBezTo>
                  <a:cubicBezTo>
                    <a:pt x="28" y="107"/>
                    <a:pt x="25" y="109"/>
                    <a:pt x="25" y="109"/>
                  </a:cubicBezTo>
                  <a:cubicBezTo>
                    <a:pt x="19" y="82"/>
                    <a:pt x="19" y="82"/>
                    <a:pt x="19" y="82"/>
                  </a:cubicBezTo>
                  <a:cubicBezTo>
                    <a:pt x="9" y="74"/>
                    <a:pt x="9" y="74"/>
                    <a:pt x="9" y="74"/>
                  </a:cubicBezTo>
                  <a:cubicBezTo>
                    <a:pt x="9" y="74"/>
                    <a:pt x="9" y="70"/>
                    <a:pt x="6" y="66"/>
                  </a:cubicBezTo>
                  <a:cubicBezTo>
                    <a:pt x="5" y="64"/>
                    <a:pt x="1" y="65"/>
                    <a:pt x="1" y="65"/>
                  </a:cubicBezTo>
                  <a:cubicBezTo>
                    <a:pt x="1" y="65"/>
                    <a:pt x="1" y="64"/>
                    <a:pt x="1" y="61"/>
                  </a:cubicBezTo>
                  <a:cubicBezTo>
                    <a:pt x="1" y="59"/>
                    <a:pt x="0" y="54"/>
                    <a:pt x="0" y="52"/>
                  </a:cubicBezTo>
                  <a:cubicBezTo>
                    <a:pt x="0" y="51"/>
                    <a:pt x="2" y="48"/>
                    <a:pt x="4" y="47"/>
                  </a:cubicBezTo>
                  <a:cubicBezTo>
                    <a:pt x="4" y="45"/>
                    <a:pt x="7" y="42"/>
                    <a:pt x="9" y="42"/>
                  </a:cubicBezTo>
                  <a:cubicBezTo>
                    <a:pt x="10" y="42"/>
                    <a:pt x="9" y="42"/>
                    <a:pt x="9" y="38"/>
                  </a:cubicBezTo>
                  <a:cubicBezTo>
                    <a:pt x="9" y="34"/>
                    <a:pt x="11" y="33"/>
                    <a:pt x="10" y="33"/>
                  </a:cubicBezTo>
                  <a:cubicBezTo>
                    <a:pt x="9" y="33"/>
                    <a:pt x="9" y="32"/>
                    <a:pt x="7" y="28"/>
                  </a:cubicBezTo>
                  <a:cubicBezTo>
                    <a:pt x="7" y="24"/>
                    <a:pt x="9" y="20"/>
                    <a:pt x="9" y="19"/>
                  </a:cubicBezTo>
                  <a:cubicBezTo>
                    <a:pt x="10" y="16"/>
                    <a:pt x="7" y="15"/>
                    <a:pt x="7" y="15"/>
                  </a:cubicBezTo>
                  <a:cubicBezTo>
                    <a:pt x="11" y="10"/>
                    <a:pt x="11" y="10"/>
                    <a:pt x="11" y="10"/>
                  </a:cubicBezTo>
                  <a:cubicBezTo>
                    <a:pt x="11" y="8"/>
                    <a:pt x="11" y="8"/>
                    <a:pt x="11" y="8"/>
                  </a:cubicBezTo>
                  <a:cubicBezTo>
                    <a:pt x="11" y="8"/>
                    <a:pt x="22" y="2"/>
                    <a:pt x="24" y="2"/>
                  </a:cubicBezTo>
                  <a:cubicBezTo>
                    <a:pt x="27" y="2"/>
                    <a:pt x="32" y="0"/>
                    <a:pt x="32" y="4"/>
                  </a:cubicBezTo>
                  <a:cubicBezTo>
                    <a:pt x="33" y="6"/>
                    <a:pt x="33" y="9"/>
                    <a:pt x="34" y="9"/>
                  </a:cubicBezTo>
                  <a:cubicBezTo>
                    <a:pt x="37" y="9"/>
                    <a:pt x="38" y="9"/>
                    <a:pt x="39" y="8"/>
                  </a:cubicBezTo>
                  <a:cubicBezTo>
                    <a:pt x="42" y="8"/>
                    <a:pt x="43" y="5"/>
                    <a:pt x="44" y="6"/>
                  </a:cubicBezTo>
                  <a:cubicBezTo>
                    <a:pt x="44" y="8"/>
                    <a:pt x="41" y="14"/>
                    <a:pt x="41" y="14"/>
                  </a:cubicBezTo>
                  <a:cubicBezTo>
                    <a:pt x="41" y="14"/>
                    <a:pt x="37" y="16"/>
                    <a:pt x="37" y="18"/>
                  </a:cubicBezTo>
                  <a:cubicBezTo>
                    <a:pt x="35" y="20"/>
                    <a:pt x="38" y="23"/>
                    <a:pt x="39" y="25"/>
                  </a:cubicBezTo>
                  <a:cubicBezTo>
                    <a:pt x="41" y="27"/>
                    <a:pt x="44" y="27"/>
                    <a:pt x="44" y="31"/>
                  </a:cubicBezTo>
                  <a:cubicBezTo>
                    <a:pt x="43" y="34"/>
                    <a:pt x="39" y="40"/>
                    <a:pt x="38" y="43"/>
                  </a:cubicBezTo>
                  <a:cubicBezTo>
                    <a:pt x="35" y="47"/>
                    <a:pt x="34" y="45"/>
                    <a:pt x="33" y="48"/>
                  </a:cubicBezTo>
                </a:path>
              </a:pathLst>
            </a:custGeom>
            <a:grpFill/>
            <a:ln w="9525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891045"/>
              <a:endParaRPr lang="en-US" sz="1700" dirty="0">
                <a:solidFill>
                  <a:srgbClr val="003149"/>
                </a:solidFill>
                <a:cs typeface="Arial" panose="020B0604020202020204" pitchFamily="34" charset="0"/>
              </a:endParaRPr>
            </a:p>
          </p:txBody>
        </p:sp>
      </p:grpSp>
      <p:grpSp>
        <p:nvGrpSpPr>
          <p:cNvPr id="540" name="Group 437"/>
          <p:cNvGrpSpPr>
            <a:grpSpLocks/>
          </p:cNvGrpSpPr>
          <p:nvPr/>
        </p:nvGrpSpPr>
        <p:grpSpPr bwMode="gray">
          <a:xfrm>
            <a:off x="1812832" y="2150575"/>
            <a:ext cx="125705" cy="115448"/>
            <a:chOff x="4675" y="2793"/>
            <a:chExt cx="86" cy="75"/>
          </a:xfrm>
          <a:solidFill>
            <a:schemeClr val="accent3"/>
          </a:solidFill>
        </p:grpSpPr>
        <p:sp>
          <p:nvSpPr>
            <p:cNvPr id="541" name="Freeform 438"/>
            <p:cNvSpPr>
              <a:spLocks/>
            </p:cNvSpPr>
            <p:nvPr/>
          </p:nvSpPr>
          <p:spPr bwMode="gray">
            <a:xfrm>
              <a:off x="4675" y="2793"/>
              <a:ext cx="86" cy="75"/>
            </a:xfrm>
            <a:custGeom>
              <a:avLst/>
              <a:gdLst>
                <a:gd name="T0" fmla="*/ 0 w 850"/>
                <a:gd name="T1" fmla="*/ 0 h 741"/>
                <a:gd name="T2" fmla="*/ 0 w 850"/>
                <a:gd name="T3" fmla="*/ 0 h 741"/>
                <a:gd name="T4" fmla="*/ 0 w 850"/>
                <a:gd name="T5" fmla="*/ 0 h 741"/>
                <a:gd name="T6" fmla="*/ 0 w 850"/>
                <a:gd name="T7" fmla="*/ 0 h 741"/>
                <a:gd name="T8" fmla="*/ 0 w 850"/>
                <a:gd name="T9" fmla="*/ 0 h 741"/>
                <a:gd name="T10" fmla="*/ 0 w 850"/>
                <a:gd name="T11" fmla="*/ 0 h 741"/>
                <a:gd name="T12" fmla="*/ 0 w 850"/>
                <a:gd name="T13" fmla="*/ 0 h 741"/>
                <a:gd name="T14" fmla="*/ 0 w 850"/>
                <a:gd name="T15" fmla="*/ 0 h 741"/>
                <a:gd name="T16" fmla="*/ 0 w 850"/>
                <a:gd name="T17" fmla="*/ 0 h 741"/>
                <a:gd name="T18" fmla="*/ 0 w 850"/>
                <a:gd name="T19" fmla="*/ 0 h 741"/>
                <a:gd name="T20" fmla="*/ 0 w 850"/>
                <a:gd name="T21" fmla="*/ 0 h 741"/>
                <a:gd name="T22" fmla="*/ 0 w 850"/>
                <a:gd name="T23" fmla="*/ 0 h 741"/>
                <a:gd name="T24" fmla="*/ 0 w 850"/>
                <a:gd name="T25" fmla="*/ 0 h 741"/>
                <a:gd name="T26" fmla="*/ 0 w 850"/>
                <a:gd name="T27" fmla="*/ 0 h 741"/>
                <a:gd name="T28" fmla="*/ 0 w 850"/>
                <a:gd name="T29" fmla="*/ 0 h 741"/>
                <a:gd name="T30" fmla="*/ 0 w 850"/>
                <a:gd name="T31" fmla="*/ 0 h 741"/>
                <a:gd name="T32" fmla="*/ 0 w 850"/>
                <a:gd name="T33" fmla="*/ 0 h 741"/>
                <a:gd name="T34" fmla="*/ 0 w 850"/>
                <a:gd name="T35" fmla="*/ 0 h 741"/>
                <a:gd name="T36" fmla="*/ 0 w 850"/>
                <a:gd name="T37" fmla="*/ 0 h 741"/>
                <a:gd name="T38" fmla="*/ 0 w 850"/>
                <a:gd name="T39" fmla="*/ 0 h 741"/>
                <a:gd name="T40" fmla="*/ 0 w 850"/>
                <a:gd name="T41" fmla="*/ 0 h 741"/>
                <a:gd name="T42" fmla="*/ 0 w 850"/>
                <a:gd name="T43" fmla="*/ 0 h 741"/>
                <a:gd name="T44" fmla="*/ 0 w 850"/>
                <a:gd name="T45" fmla="*/ 0 h 741"/>
                <a:gd name="T46" fmla="*/ 0 w 850"/>
                <a:gd name="T47" fmla="*/ 0 h 741"/>
                <a:gd name="T48" fmla="*/ 0 w 850"/>
                <a:gd name="T49" fmla="*/ 0 h 741"/>
                <a:gd name="T50" fmla="*/ 0 w 850"/>
                <a:gd name="T51" fmla="*/ 0 h 741"/>
                <a:gd name="T52" fmla="*/ 0 w 850"/>
                <a:gd name="T53" fmla="*/ 0 h 741"/>
                <a:gd name="T54" fmla="*/ 0 w 850"/>
                <a:gd name="T55" fmla="*/ 0 h 741"/>
                <a:gd name="T56" fmla="*/ 0 w 850"/>
                <a:gd name="T57" fmla="*/ 0 h 741"/>
                <a:gd name="T58" fmla="*/ 0 w 850"/>
                <a:gd name="T59" fmla="*/ 0 h 741"/>
                <a:gd name="T60" fmla="*/ 0 w 850"/>
                <a:gd name="T61" fmla="*/ 0 h 741"/>
                <a:gd name="T62" fmla="*/ 0 w 850"/>
                <a:gd name="T63" fmla="*/ 0 h 741"/>
                <a:gd name="T64" fmla="*/ 0 w 850"/>
                <a:gd name="T65" fmla="*/ 0 h 741"/>
                <a:gd name="T66" fmla="*/ 0 w 850"/>
                <a:gd name="T67" fmla="*/ 0 h 741"/>
                <a:gd name="T68" fmla="*/ 0 w 850"/>
                <a:gd name="T69" fmla="*/ 0 h 741"/>
                <a:gd name="T70" fmla="*/ 0 w 850"/>
                <a:gd name="T71" fmla="*/ 0 h 741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850"/>
                <a:gd name="T109" fmla="*/ 0 h 741"/>
                <a:gd name="T110" fmla="*/ 850 w 850"/>
                <a:gd name="T111" fmla="*/ 741 h 741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850" h="741">
                  <a:moveTo>
                    <a:pt x="824" y="652"/>
                  </a:moveTo>
                  <a:cubicBezTo>
                    <a:pt x="824" y="652"/>
                    <a:pt x="811" y="652"/>
                    <a:pt x="747" y="588"/>
                  </a:cubicBezTo>
                  <a:cubicBezTo>
                    <a:pt x="670" y="511"/>
                    <a:pt x="657" y="511"/>
                    <a:pt x="644" y="499"/>
                  </a:cubicBezTo>
                  <a:cubicBezTo>
                    <a:pt x="618" y="473"/>
                    <a:pt x="605" y="435"/>
                    <a:pt x="566" y="435"/>
                  </a:cubicBezTo>
                  <a:cubicBezTo>
                    <a:pt x="528" y="422"/>
                    <a:pt x="502" y="383"/>
                    <a:pt x="502" y="396"/>
                  </a:cubicBezTo>
                  <a:cubicBezTo>
                    <a:pt x="489" y="409"/>
                    <a:pt x="476" y="358"/>
                    <a:pt x="451" y="332"/>
                  </a:cubicBezTo>
                  <a:cubicBezTo>
                    <a:pt x="425" y="307"/>
                    <a:pt x="425" y="383"/>
                    <a:pt x="425" y="383"/>
                  </a:cubicBezTo>
                  <a:cubicBezTo>
                    <a:pt x="386" y="294"/>
                    <a:pt x="386" y="294"/>
                    <a:pt x="386" y="294"/>
                  </a:cubicBezTo>
                  <a:cubicBezTo>
                    <a:pt x="386" y="294"/>
                    <a:pt x="348" y="217"/>
                    <a:pt x="335" y="153"/>
                  </a:cubicBezTo>
                  <a:cubicBezTo>
                    <a:pt x="322" y="77"/>
                    <a:pt x="270" y="0"/>
                    <a:pt x="270" y="0"/>
                  </a:cubicBezTo>
                  <a:cubicBezTo>
                    <a:pt x="270" y="0"/>
                    <a:pt x="270" y="38"/>
                    <a:pt x="232" y="51"/>
                  </a:cubicBezTo>
                  <a:cubicBezTo>
                    <a:pt x="193" y="77"/>
                    <a:pt x="154" y="64"/>
                    <a:pt x="141" y="89"/>
                  </a:cubicBezTo>
                  <a:cubicBezTo>
                    <a:pt x="129" y="102"/>
                    <a:pt x="141" y="115"/>
                    <a:pt x="116" y="115"/>
                  </a:cubicBezTo>
                  <a:cubicBezTo>
                    <a:pt x="90" y="115"/>
                    <a:pt x="77" y="128"/>
                    <a:pt x="77" y="128"/>
                  </a:cubicBezTo>
                  <a:cubicBezTo>
                    <a:pt x="77" y="128"/>
                    <a:pt x="77" y="153"/>
                    <a:pt x="64" y="166"/>
                  </a:cubicBezTo>
                  <a:cubicBezTo>
                    <a:pt x="51" y="179"/>
                    <a:pt x="64" y="192"/>
                    <a:pt x="64" y="217"/>
                  </a:cubicBezTo>
                  <a:cubicBezTo>
                    <a:pt x="64" y="230"/>
                    <a:pt x="38" y="307"/>
                    <a:pt x="26" y="319"/>
                  </a:cubicBezTo>
                  <a:cubicBezTo>
                    <a:pt x="26" y="332"/>
                    <a:pt x="0" y="371"/>
                    <a:pt x="0" y="371"/>
                  </a:cubicBezTo>
                  <a:cubicBezTo>
                    <a:pt x="13" y="473"/>
                    <a:pt x="13" y="473"/>
                    <a:pt x="13" y="473"/>
                  </a:cubicBezTo>
                  <a:cubicBezTo>
                    <a:pt x="77" y="486"/>
                    <a:pt x="77" y="486"/>
                    <a:pt x="77" y="486"/>
                  </a:cubicBezTo>
                  <a:cubicBezTo>
                    <a:pt x="77" y="486"/>
                    <a:pt x="90" y="473"/>
                    <a:pt x="103" y="473"/>
                  </a:cubicBezTo>
                  <a:cubicBezTo>
                    <a:pt x="116" y="460"/>
                    <a:pt x="141" y="499"/>
                    <a:pt x="141" y="499"/>
                  </a:cubicBezTo>
                  <a:cubicBezTo>
                    <a:pt x="193" y="409"/>
                    <a:pt x="193" y="409"/>
                    <a:pt x="193" y="409"/>
                  </a:cubicBezTo>
                  <a:cubicBezTo>
                    <a:pt x="232" y="435"/>
                    <a:pt x="232" y="435"/>
                    <a:pt x="232" y="435"/>
                  </a:cubicBezTo>
                  <a:cubicBezTo>
                    <a:pt x="257" y="473"/>
                    <a:pt x="257" y="473"/>
                    <a:pt x="257" y="473"/>
                  </a:cubicBezTo>
                  <a:cubicBezTo>
                    <a:pt x="335" y="447"/>
                    <a:pt x="335" y="447"/>
                    <a:pt x="335" y="447"/>
                  </a:cubicBezTo>
                  <a:cubicBezTo>
                    <a:pt x="360" y="460"/>
                    <a:pt x="360" y="460"/>
                    <a:pt x="360" y="460"/>
                  </a:cubicBezTo>
                  <a:cubicBezTo>
                    <a:pt x="360" y="460"/>
                    <a:pt x="399" y="447"/>
                    <a:pt x="425" y="447"/>
                  </a:cubicBezTo>
                  <a:cubicBezTo>
                    <a:pt x="451" y="447"/>
                    <a:pt x="515" y="486"/>
                    <a:pt x="541" y="499"/>
                  </a:cubicBezTo>
                  <a:cubicBezTo>
                    <a:pt x="566" y="499"/>
                    <a:pt x="605" y="575"/>
                    <a:pt x="618" y="575"/>
                  </a:cubicBezTo>
                  <a:cubicBezTo>
                    <a:pt x="631" y="588"/>
                    <a:pt x="682" y="652"/>
                    <a:pt x="708" y="678"/>
                  </a:cubicBezTo>
                  <a:cubicBezTo>
                    <a:pt x="734" y="690"/>
                    <a:pt x="747" y="716"/>
                    <a:pt x="747" y="716"/>
                  </a:cubicBezTo>
                  <a:cubicBezTo>
                    <a:pt x="798" y="741"/>
                    <a:pt x="798" y="741"/>
                    <a:pt x="798" y="741"/>
                  </a:cubicBezTo>
                  <a:cubicBezTo>
                    <a:pt x="811" y="703"/>
                    <a:pt x="811" y="703"/>
                    <a:pt x="811" y="703"/>
                  </a:cubicBezTo>
                  <a:cubicBezTo>
                    <a:pt x="850" y="690"/>
                    <a:pt x="850" y="690"/>
                    <a:pt x="850" y="690"/>
                  </a:cubicBezTo>
                  <a:lnTo>
                    <a:pt x="824" y="652"/>
                  </a:lnTo>
                  <a:close/>
                </a:path>
              </a:pathLst>
            </a:custGeom>
            <a:grpFill/>
            <a:ln w="9525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891045"/>
              <a:endParaRPr lang="en-US" sz="1700" dirty="0">
                <a:solidFill>
                  <a:srgbClr val="003149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542" name="Freeform 439"/>
            <p:cNvSpPr>
              <a:spLocks/>
            </p:cNvSpPr>
            <p:nvPr/>
          </p:nvSpPr>
          <p:spPr bwMode="gray">
            <a:xfrm>
              <a:off x="4675" y="2793"/>
              <a:ext cx="86" cy="75"/>
            </a:xfrm>
            <a:custGeom>
              <a:avLst/>
              <a:gdLst>
                <a:gd name="T0" fmla="*/ 0 w 850"/>
                <a:gd name="T1" fmla="*/ 0 h 741"/>
                <a:gd name="T2" fmla="*/ 0 w 850"/>
                <a:gd name="T3" fmla="*/ 0 h 741"/>
                <a:gd name="T4" fmla="*/ 0 w 850"/>
                <a:gd name="T5" fmla="*/ 0 h 741"/>
                <a:gd name="T6" fmla="*/ 0 w 850"/>
                <a:gd name="T7" fmla="*/ 0 h 741"/>
                <a:gd name="T8" fmla="*/ 0 w 850"/>
                <a:gd name="T9" fmla="*/ 0 h 741"/>
                <a:gd name="T10" fmla="*/ 0 w 850"/>
                <a:gd name="T11" fmla="*/ 0 h 741"/>
                <a:gd name="T12" fmla="*/ 0 w 850"/>
                <a:gd name="T13" fmla="*/ 0 h 741"/>
                <a:gd name="T14" fmla="*/ 0 w 850"/>
                <a:gd name="T15" fmla="*/ 0 h 741"/>
                <a:gd name="T16" fmla="*/ 0 w 850"/>
                <a:gd name="T17" fmla="*/ 0 h 741"/>
                <a:gd name="T18" fmla="*/ 0 w 850"/>
                <a:gd name="T19" fmla="*/ 0 h 741"/>
                <a:gd name="T20" fmla="*/ 0 w 850"/>
                <a:gd name="T21" fmla="*/ 0 h 741"/>
                <a:gd name="T22" fmla="*/ 0 w 850"/>
                <a:gd name="T23" fmla="*/ 0 h 741"/>
                <a:gd name="T24" fmla="*/ 0 w 850"/>
                <a:gd name="T25" fmla="*/ 0 h 741"/>
                <a:gd name="T26" fmla="*/ 0 w 850"/>
                <a:gd name="T27" fmla="*/ 0 h 741"/>
                <a:gd name="T28" fmla="*/ 0 w 850"/>
                <a:gd name="T29" fmla="*/ 0 h 741"/>
                <a:gd name="T30" fmla="*/ 0 w 850"/>
                <a:gd name="T31" fmla="*/ 0 h 741"/>
                <a:gd name="T32" fmla="*/ 0 w 850"/>
                <a:gd name="T33" fmla="*/ 0 h 741"/>
                <a:gd name="T34" fmla="*/ 0 w 850"/>
                <a:gd name="T35" fmla="*/ 0 h 741"/>
                <a:gd name="T36" fmla="*/ 0 w 850"/>
                <a:gd name="T37" fmla="*/ 0 h 741"/>
                <a:gd name="T38" fmla="*/ 0 w 850"/>
                <a:gd name="T39" fmla="*/ 0 h 741"/>
                <a:gd name="T40" fmla="*/ 0 w 850"/>
                <a:gd name="T41" fmla="*/ 0 h 741"/>
                <a:gd name="T42" fmla="*/ 0 w 850"/>
                <a:gd name="T43" fmla="*/ 0 h 741"/>
                <a:gd name="T44" fmla="*/ 0 w 850"/>
                <a:gd name="T45" fmla="*/ 0 h 741"/>
                <a:gd name="T46" fmla="*/ 0 w 850"/>
                <a:gd name="T47" fmla="*/ 0 h 741"/>
                <a:gd name="T48" fmla="*/ 0 w 850"/>
                <a:gd name="T49" fmla="*/ 0 h 741"/>
                <a:gd name="T50" fmla="*/ 0 w 850"/>
                <a:gd name="T51" fmla="*/ 0 h 741"/>
                <a:gd name="T52" fmla="*/ 0 w 850"/>
                <a:gd name="T53" fmla="*/ 0 h 741"/>
                <a:gd name="T54" fmla="*/ 0 w 850"/>
                <a:gd name="T55" fmla="*/ 0 h 741"/>
                <a:gd name="T56" fmla="*/ 0 w 850"/>
                <a:gd name="T57" fmla="*/ 0 h 741"/>
                <a:gd name="T58" fmla="*/ 0 w 850"/>
                <a:gd name="T59" fmla="*/ 0 h 741"/>
                <a:gd name="T60" fmla="*/ 0 w 850"/>
                <a:gd name="T61" fmla="*/ 0 h 741"/>
                <a:gd name="T62" fmla="*/ 0 w 850"/>
                <a:gd name="T63" fmla="*/ 0 h 741"/>
                <a:gd name="T64" fmla="*/ 0 w 850"/>
                <a:gd name="T65" fmla="*/ 0 h 741"/>
                <a:gd name="T66" fmla="*/ 0 w 850"/>
                <a:gd name="T67" fmla="*/ 0 h 741"/>
                <a:gd name="T68" fmla="*/ 0 w 850"/>
                <a:gd name="T69" fmla="*/ 0 h 741"/>
                <a:gd name="T70" fmla="*/ 0 w 850"/>
                <a:gd name="T71" fmla="*/ 0 h 741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850"/>
                <a:gd name="T109" fmla="*/ 0 h 741"/>
                <a:gd name="T110" fmla="*/ 850 w 850"/>
                <a:gd name="T111" fmla="*/ 741 h 741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850" h="741">
                  <a:moveTo>
                    <a:pt x="824" y="652"/>
                  </a:moveTo>
                  <a:cubicBezTo>
                    <a:pt x="824" y="652"/>
                    <a:pt x="811" y="652"/>
                    <a:pt x="747" y="588"/>
                  </a:cubicBezTo>
                  <a:cubicBezTo>
                    <a:pt x="670" y="511"/>
                    <a:pt x="657" y="511"/>
                    <a:pt x="644" y="499"/>
                  </a:cubicBezTo>
                  <a:cubicBezTo>
                    <a:pt x="618" y="473"/>
                    <a:pt x="605" y="435"/>
                    <a:pt x="566" y="435"/>
                  </a:cubicBezTo>
                  <a:cubicBezTo>
                    <a:pt x="528" y="422"/>
                    <a:pt x="502" y="383"/>
                    <a:pt x="502" y="396"/>
                  </a:cubicBezTo>
                  <a:cubicBezTo>
                    <a:pt x="489" y="409"/>
                    <a:pt x="476" y="358"/>
                    <a:pt x="451" y="332"/>
                  </a:cubicBezTo>
                  <a:cubicBezTo>
                    <a:pt x="425" y="307"/>
                    <a:pt x="425" y="383"/>
                    <a:pt x="425" y="383"/>
                  </a:cubicBezTo>
                  <a:cubicBezTo>
                    <a:pt x="386" y="294"/>
                    <a:pt x="386" y="294"/>
                    <a:pt x="386" y="294"/>
                  </a:cubicBezTo>
                  <a:cubicBezTo>
                    <a:pt x="386" y="294"/>
                    <a:pt x="348" y="217"/>
                    <a:pt x="335" y="153"/>
                  </a:cubicBezTo>
                  <a:cubicBezTo>
                    <a:pt x="322" y="77"/>
                    <a:pt x="270" y="0"/>
                    <a:pt x="270" y="0"/>
                  </a:cubicBezTo>
                  <a:cubicBezTo>
                    <a:pt x="270" y="0"/>
                    <a:pt x="270" y="38"/>
                    <a:pt x="232" y="51"/>
                  </a:cubicBezTo>
                  <a:cubicBezTo>
                    <a:pt x="193" y="77"/>
                    <a:pt x="154" y="64"/>
                    <a:pt x="141" y="89"/>
                  </a:cubicBezTo>
                  <a:cubicBezTo>
                    <a:pt x="129" y="102"/>
                    <a:pt x="141" y="115"/>
                    <a:pt x="116" y="115"/>
                  </a:cubicBezTo>
                  <a:cubicBezTo>
                    <a:pt x="90" y="115"/>
                    <a:pt x="77" y="128"/>
                    <a:pt x="77" y="128"/>
                  </a:cubicBezTo>
                  <a:cubicBezTo>
                    <a:pt x="77" y="128"/>
                    <a:pt x="77" y="153"/>
                    <a:pt x="64" y="166"/>
                  </a:cubicBezTo>
                  <a:cubicBezTo>
                    <a:pt x="51" y="179"/>
                    <a:pt x="64" y="192"/>
                    <a:pt x="64" y="217"/>
                  </a:cubicBezTo>
                  <a:cubicBezTo>
                    <a:pt x="64" y="230"/>
                    <a:pt x="38" y="307"/>
                    <a:pt x="26" y="319"/>
                  </a:cubicBezTo>
                  <a:cubicBezTo>
                    <a:pt x="26" y="332"/>
                    <a:pt x="0" y="371"/>
                    <a:pt x="0" y="371"/>
                  </a:cubicBezTo>
                  <a:cubicBezTo>
                    <a:pt x="13" y="473"/>
                    <a:pt x="13" y="473"/>
                    <a:pt x="13" y="473"/>
                  </a:cubicBezTo>
                  <a:cubicBezTo>
                    <a:pt x="77" y="486"/>
                    <a:pt x="77" y="486"/>
                    <a:pt x="77" y="486"/>
                  </a:cubicBezTo>
                  <a:cubicBezTo>
                    <a:pt x="77" y="486"/>
                    <a:pt x="90" y="473"/>
                    <a:pt x="103" y="473"/>
                  </a:cubicBezTo>
                  <a:cubicBezTo>
                    <a:pt x="116" y="460"/>
                    <a:pt x="141" y="499"/>
                    <a:pt x="141" y="499"/>
                  </a:cubicBezTo>
                  <a:cubicBezTo>
                    <a:pt x="193" y="409"/>
                    <a:pt x="193" y="409"/>
                    <a:pt x="193" y="409"/>
                  </a:cubicBezTo>
                  <a:cubicBezTo>
                    <a:pt x="232" y="435"/>
                    <a:pt x="232" y="435"/>
                    <a:pt x="232" y="435"/>
                  </a:cubicBezTo>
                  <a:cubicBezTo>
                    <a:pt x="257" y="473"/>
                    <a:pt x="257" y="473"/>
                    <a:pt x="257" y="473"/>
                  </a:cubicBezTo>
                  <a:cubicBezTo>
                    <a:pt x="335" y="447"/>
                    <a:pt x="335" y="447"/>
                    <a:pt x="335" y="447"/>
                  </a:cubicBezTo>
                  <a:cubicBezTo>
                    <a:pt x="360" y="460"/>
                    <a:pt x="360" y="460"/>
                    <a:pt x="360" y="460"/>
                  </a:cubicBezTo>
                  <a:cubicBezTo>
                    <a:pt x="360" y="460"/>
                    <a:pt x="399" y="447"/>
                    <a:pt x="425" y="447"/>
                  </a:cubicBezTo>
                  <a:cubicBezTo>
                    <a:pt x="451" y="447"/>
                    <a:pt x="515" y="486"/>
                    <a:pt x="541" y="499"/>
                  </a:cubicBezTo>
                  <a:cubicBezTo>
                    <a:pt x="566" y="499"/>
                    <a:pt x="605" y="575"/>
                    <a:pt x="618" y="575"/>
                  </a:cubicBezTo>
                  <a:cubicBezTo>
                    <a:pt x="631" y="588"/>
                    <a:pt x="682" y="652"/>
                    <a:pt x="708" y="678"/>
                  </a:cubicBezTo>
                  <a:cubicBezTo>
                    <a:pt x="734" y="690"/>
                    <a:pt x="747" y="716"/>
                    <a:pt x="747" y="716"/>
                  </a:cubicBezTo>
                  <a:cubicBezTo>
                    <a:pt x="798" y="741"/>
                    <a:pt x="798" y="741"/>
                    <a:pt x="798" y="741"/>
                  </a:cubicBezTo>
                  <a:cubicBezTo>
                    <a:pt x="811" y="703"/>
                    <a:pt x="811" y="703"/>
                    <a:pt x="811" y="703"/>
                  </a:cubicBezTo>
                  <a:cubicBezTo>
                    <a:pt x="850" y="690"/>
                    <a:pt x="850" y="690"/>
                    <a:pt x="850" y="690"/>
                  </a:cubicBezTo>
                  <a:lnTo>
                    <a:pt x="824" y="652"/>
                  </a:lnTo>
                  <a:close/>
                </a:path>
              </a:pathLst>
            </a:custGeom>
            <a:grpFill/>
            <a:ln w="9525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891045"/>
              <a:endParaRPr lang="en-US" sz="1700" dirty="0">
                <a:solidFill>
                  <a:srgbClr val="003149"/>
                </a:solidFill>
                <a:cs typeface="Arial" panose="020B0604020202020204" pitchFamily="34" charset="0"/>
              </a:endParaRPr>
            </a:p>
          </p:txBody>
        </p:sp>
      </p:grpSp>
      <p:grpSp>
        <p:nvGrpSpPr>
          <p:cNvPr id="543" name="Group 443"/>
          <p:cNvGrpSpPr>
            <a:grpSpLocks/>
          </p:cNvGrpSpPr>
          <p:nvPr/>
        </p:nvGrpSpPr>
        <p:grpSpPr bwMode="gray">
          <a:xfrm>
            <a:off x="1910905" y="2255888"/>
            <a:ext cx="30169" cy="38060"/>
            <a:chOff x="4742" y="2861"/>
            <a:chExt cx="21" cy="25"/>
          </a:xfrm>
          <a:solidFill>
            <a:schemeClr val="accent3"/>
          </a:solidFill>
        </p:grpSpPr>
        <p:sp>
          <p:nvSpPr>
            <p:cNvPr id="544" name="Freeform 444"/>
            <p:cNvSpPr>
              <a:spLocks/>
            </p:cNvSpPr>
            <p:nvPr/>
          </p:nvSpPr>
          <p:spPr bwMode="gray">
            <a:xfrm>
              <a:off x="4742" y="2861"/>
              <a:ext cx="21" cy="25"/>
            </a:xfrm>
            <a:custGeom>
              <a:avLst/>
              <a:gdLst>
                <a:gd name="T0" fmla="*/ 0 w 200"/>
                <a:gd name="T1" fmla="*/ 0 h 241"/>
                <a:gd name="T2" fmla="*/ 0 w 200"/>
                <a:gd name="T3" fmla="*/ 0 h 241"/>
                <a:gd name="T4" fmla="*/ 0 w 200"/>
                <a:gd name="T5" fmla="*/ 0 h 241"/>
                <a:gd name="T6" fmla="*/ 0 w 200"/>
                <a:gd name="T7" fmla="*/ 0 h 241"/>
                <a:gd name="T8" fmla="*/ 0 w 200"/>
                <a:gd name="T9" fmla="*/ 0 h 241"/>
                <a:gd name="T10" fmla="*/ 0 w 200"/>
                <a:gd name="T11" fmla="*/ 0 h 241"/>
                <a:gd name="T12" fmla="*/ 0 w 200"/>
                <a:gd name="T13" fmla="*/ 0 h 241"/>
                <a:gd name="T14" fmla="*/ 0 w 200"/>
                <a:gd name="T15" fmla="*/ 0 h 241"/>
                <a:gd name="T16" fmla="*/ 0 w 200"/>
                <a:gd name="T17" fmla="*/ 0 h 241"/>
                <a:gd name="T18" fmla="*/ 0 w 200"/>
                <a:gd name="T19" fmla="*/ 0 h 241"/>
                <a:gd name="T20" fmla="*/ 0 w 200"/>
                <a:gd name="T21" fmla="*/ 0 h 241"/>
                <a:gd name="T22" fmla="*/ 0 w 200"/>
                <a:gd name="T23" fmla="*/ 0 h 241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200"/>
                <a:gd name="T37" fmla="*/ 0 h 241"/>
                <a:gd name="T38" fmla="*/ 200 w 200"/>
                <a:gd name="T39" fmla="*/ 241 h 241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200" h="241">
                  <a:moveTo>
                    <a:pt x="200" y="80"/>
                  </a:moveTo>
                  <a:cubicBezTo>
                    <a:pt x="200" y="54"/>
                    <a:pt x="165" y="0"/>
                    <a:pt x="165" y="0"/>
                  </a:cubicBezTo>
                  <a:cubicBezTo>
                    <a:pt x="130" y="13"/>
                    <a:pt x="130" y="13"/>
                    <a:pt x="130" y="13"/>
                  </a:cubicBezTo>
                  <a:cubicBezTo>
                    <a:pt x="118" y="54"/>
                    <a:pt x="118" y="54"/>
                    <a:pt x="118" y="54"/>
                  </a:cubicBezTo>
                  <a:cubicBezTo>
                    <a:pt x="71" y="27"/>
                    <a:pt x="71" y="27"/>
                    <a:pt x="71" y="27"/>
                  </a:cubicBezTo>
                  <a:cubicBezTo>
                    <a:pt x="0" y="147"/>
                    <a:pt x="0" y="147"/>
                    <a:pt x="0" y="147"/>
                  </a:cubicBezTo>
                  <a:cubicBezTo>
                    <a:pt x="12" y="241"/>
                    <a:pt x="12" y="241"/>
                    <a:pt x="12" y="241"/>
                  </a:cubicBezTo>
                  <a:cubicBezTo>
                    <a:pt x="106" y="215"/>
                    <a:pt x="106" y="215"/>
                    <a:pt x="106" y="215"/>
                  </a:cubicBezTo>
                  <a:cubicBezTo>
                    <a:pt x="142" y="228"/>
                    <a:pt x="142" y="228"/>
                    <a:pt x="142" y="228"/>
                  </a:cubicBezTo>
                  <a:cubicBezTo>
                    <a:pt x="189" y="174"/>
                    <a:pt x="189" y="174"/>
                    <a:pt x="189" y="174"/>
                  </a:cubicBezTo>
                  <a:cubicBezTo>
                    <a:pt x="189" y="134"/>
                    <a:pt x="189" y="134"/>
                    <a:pt x="189" y="134"/>
                  </a:cubicBezTo>
                  <a:cubicBezTo>
                    <a:pt x="189" y="134"/>
                    <a:pt x="200" y="107"/>
                    <a:pt x="200" y="80"/>
                  </a:cubicBezTo>
                </a:path>
              </a:pathLst>
            </a:custGeom>
            <a:grpFill/>
            <a:ln w="9525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891045"/>
              <a:endParaRPr lang="en-US" sz="1700" dirty="0">
                <a:solidFill>
                  <a:srgbClr val="003149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545" name="Freeform 445"/>
            <p:cNvSpPr>
              <a:spLocks/>
            </p:cNvSpPr>
            <p:nvPr/>
          </p:nvSpPr>
          <p:spPr bwMode="gray">
            <a:xfrm>
              <a:off x="4742" y="2861"/>
              <a:ext cx="21" cy="25"/>
            </a:xfrm>
            <a:custGeom>
              <a:avLst/>
              <a:gdLst>
                <a:gd name="T0" fmla="*/ 21 w 21"/>
                <a:gd name="T1" fmla="*/ 9 h 25"/>
                <a:gd name="T2" fmla="*/ 17 w 21"/>
                <a:gd name="T3" fmla="*/ 0 h 25"/>
                <a:gd name="T4" fmla="*/ 13 w 21"/>
                <a:gd name="T5" fmla="*/ 2 h 25"/>
                <a:gd name="T6" fmla="*/ 12 w 21"/>
                <a:gd name="T7" fmla="*/ 6 h 25"/>
                <a:gd name="T8" fmla="*/ 7 w 21"/>
                <a:gd name="T9" fmla="*/ 3 h 25"/>
                <a:gd name="T10" fmla="*/ 0 w 21"/>
                <a:gd name="T11" fmla="*/ 15 h 25"/>
                <a:gd name="T12" fmla="*/ 2 w 21"/>
                <a:gd name="T13" fmla="*/ 25 h 25"/>
                <a:gd name="T14" fmla="*/ 11 w 21"/>
                <a:gd name="T15" fmla="*/ 22 h 25"/>
                <a:gd name="T16" fmla="*/ 15 w 21"/>
                <a:gd name="T17" fmla="*/ 23 h 25"/>
                <a:gd name="T18" fmla="*/ 19 w 21"/>
                <a:gd name="T19" fmla="*/ 18 h 25"/>
                <a:gd name="T20" fmla="*/ 19 w 21"/>
                <a:gd name="T21" fmla="*/ 14 h 25"/>
                <a:gd name="T22" fmla="*/ 21 w 21"/>
                <a:gd name="T23" fmla="*/ 9 h 25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21"/>
                <a:gd name="T37" fmla="*/ 0 h 25"/>
                <a:gd name="T38" fmla="*/ 21 w 21"/>
                <a:gd name="T39" fmla="*/ 25 h 25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21" h="25">
                  <a:moveTo>
                    <a:pt x="21" y="9"/>
                  </a:moveTo>
                  <a:cubicBezTo>
                    <a:pt x="21" y="6"/>
                    <a:pt x="17" y="0"/>
                    <a:pt x="17" y="0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12" y="6"/>
                    <a:pt x="12" y="6"/>
                    <a:pt x="12" y="6"/>
                  </a:cubicBezTo>
                  <a:cubicBezTo>
                    <a:pt x="7" y="3"/>
                    <a:pt x="7" y="3"/>
                    <a:pt x="7" y="3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11" y="22"/>
                    <a:pt x="11" y="22"/>
                    <a:pt x="11" y="22"/>
                  </a:cubicBezTo>
                  <a:cubicBezTo>
                    <a:pt x="15" y="23"/>
                    <a:pt x="15" y="23"/>
                    <a:pt x="15" y="23"/>
                  </a:cubicBezTo>
                  <a:cubicBezTo>
                    <a:pt x="19" y="18"/>
                    <a:pt x="19" y="18"/>
                    <a:pt x="19" y="18"/>
                  </a:cubicBezTo>
                  <a:cubicBezTo>
                    <a:pt x="19" y="14"/>
                    <a:pt x="19" y="14"/>
                    <a:pt x="19" y="14"/>
                  </a:cubicBezTo>
                  <a:cubicBezTo>
                    <a:pt x="19" y="14"/>
                    <a:pt x="21" y="11"/>
                    <a:pt x="21" y="9"/>
                  </a:cubicBezTo>
                </a:path>
              </a:pathLst>
            </a:custGeom>
            <a:grpFill/>
            <a:ln w="9525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891045"/>
              <a:endParaRPr lang="en-US" sz="1700" dirty="0">
                <a:solidFill>
                  <a:srgbClr val="003149"/>
                </a:solidFill>
                <a:cs typeface="Arial" panose="020B0604020202020204" pitchFamily="34" charset="0"/>
              </a:endParaRPr>
            </a:p>
          </p:txBody>
        </p:sp>
      </p:grpSp>
      <p:grpSp>
        <p:nvGrpSpPr>
          <p:cNvPr id="546" name="Group 449"/>
          <p:cNvGrpSpPr>
            <a:grpSpLocks/>
          </p:cNvGrpSpPr>
          <p:nvPr/>
        </p:nvGrpSpPr>
        <p:grpSpPr bwMode="gray">
          <a:xfrm>
            <a:off x="1139070" y="2033884"/>
            <a:ext cx="295407" cy="246119"/>
            <a:chOff x="4216" y="2718"/>
            <a:chExt cx="201" cy="159"/>
          </a:xfrm>
          <a:solidFill>
            <a:schemeClr val="accent3"/>
          </a:solidFill>
        </p:grpSpPr>
        <p:sp>
          <p:nvSpPr>
            <p:cNvPr id="547" name="Freeform 450"/>
            <p:cNvSpPr>
              <a:spLocks/>
            </p:cNvSpPr>
            <p:nvPr/>
          </p:nvSpPr>
          <p:spPr bwMode="gray">
            <a:xfrm>
              <a:off x="4216" y="2718"/>
              <a:ext cx="201" cy="159"/>
            </a:xfrm>
            <a:custGeom>
              <a:avLst/>
              <a:gdLst>
                <a:gd name="T0" fmla="*/ 0 w 1991"/>
                <a:gd name="T1" fmla="*/ 0 h 1567"/>
                <a:gd name="T2" fmla="*/ 0 w 1991"/>
                <a:gd name="T3" fmla="*/ 0 h 1567"/>
                <a:gd name="T4" fmla="*/ 0 w 1991"/>
                <a:gd name="T5" fmla="*/ 0 h 1567"/>
                <a:gd name="T6" fmla="*/ 0 w 1991"/>
                <a:gd name="T7" fmla="*/ 0 h 1567"/>
                <a:gd name="T8" fmla="*/ 0 w 1991"/>
                <a:gd name="T9" fmla="*/ 0 h 1567"/>
                <a:gd name="T10" fmla="*/ 0 w 1991"/>
                <a:gd name="T11" fmla="*/ 0 h 1567"/>
                <a:gd name="T12" fmla="*/ 0 w 1991"/>
                <a:gd name="T13" fmla="*/ 0 h 1567"/>
                <a:gd name="T14" fmla="*/ 0 w 1991"/>
                <a:gd name="T15" fmla="*/ 0 h 1567"/>
                <a:gd name="T16" fmla="*/ 0 w 1991"/>
                <a:gd name="T17" fmla="*/ 0 h 1567"/>
                <a:gd name="T18" fmla="*/ 0 w 1991"/>
                <a:gd name="T19" fmla="*/ 0 h 1567"/>
                <a:gd name="T20" fmla="*/ 0 w 1991"/>
                <a:gd name="T21" fmla="*/ 0 h 1567"/>
                <a:gd name="T22" fmla="*/ 0 w 1991"/>
                <a:gd name="T23" fmla="*/ 0 h 1567"/>
                <a:gd name="T24" fmla="*/ 0 w 1991"/>
                <a:gd name="T25" fmla="*/ 0 h 1567"/>
                <a:gd name="T26" fmla="*/ 0 w 1991"/>
                <a:gd name="T27" fmla="*/ 0 h 1567"/>
                <a:gd name="T28" fmla="*/ 0 w 1991"/>
                <a:gd name="T29" fmla="*/ 0 h 1567"/>
                <a:gd name="T30" fmla="*/ 0 w 1991"/>
                <a:gd name="T31" fmla="*/ 0 h 1567"/>
                <a:gd name="T32" fmla="*/ 0 w 1991"/>
                <a:gd name="T33" fmla="*/ 0 h 1567"/>
                <a:gd name="T34" fmla="*/ 0 w 1991"/>
                <a:gd name="T35" fmla="*/ 0 h 1567"/>
                <a:gd name="T36" fmla="*/ 0 w 1991"/>
                <a:gd name="T37" fmla="*/ 0 h 1567"/>
                <a:gd name="T38" fmla="*/ 0 w 1991"/>
                <a:gd name="T39" fmla="*/ 0 h 1567"/>
                <a:gd name="T40" fmla="*/ 0 w 1991"/>
                <a:gd name="T41" fmla="*/ 0 h 1567"/>
                <a:gd name="T42" fmla="*/ 0 w 1991"/>
                <a:gd name="T43" fmla="*/ 0 h 1567"/>
                <a:gd name="T44" fmla="*/ 0 w 1991"/>
                <a:gd name="T45" fmla="*/ 0 h 1567"/>
                <a:gd name="T46" fmla="*/ 0 w 1991"/>
                <a:gd name="T47" fmla="*/ 0 h 1567"/>
                <a:gd name="T48" fmla="*/ 0 w 1991"/>
                <a:gd name="T49" fmla="*/ 0 h 1567"/>
                <a:gd name="T50" fmla="*/ 0 w 1991"/>
                <a:gd name="T51" fmla="*/ 0 h 1567"/>
                <a:gd name="T52" fmla="*/ 0 w 1991"/>
                <a:gd name="T53" fmla="*/ 0 h 1567"/>
                <a:gd name="T54" fmla="*/ 0 w 1991"/>
                <a:gd name="T55" fmla="*/ 0 h 1567"/>
                <a:gd name="T56" fmla="*/ 0 w 1991"/>
                <a:gd name="T57" fmla="*/ 0 h 1567"/>
                <a:gd name="T58" fmla="*/ 0 w 1991"/>
                <a:gd name="T59" fmla="*/ 0 h 1567"/>
                <a:gd name="T60" fmla="*/ 0 w 1991"/>
                <a:gd name="T61" fmla="*/ 0 h 1567"/>
                <a:gd name="T62" fmla="*/ 0 w 1991"/>
                <a:gd name="T63" fmla="*/ 0 h 1567"/>
                <a:gd name="T64" fmla="*/ 0 w 1991"/>
                <a:gd name="T65" fmla="*/ 0 h 1567"/>
                <a:gd name="T66" fmla="*/ 0 w 1991"/>
                <a:gd name="T67" fmla="*/ 0 h 1567"/>
                <a:gd name="T68" fmla="*/ 0 w 1991"/>
                <a:gd name="T69" fmla="*/ 0 h 1567"/>
                <a:gd name="T70" fmla="*/ 0 w 1991"/>
                <a:gd name="T71" fmla="*/ 0 h 1567"/>
                <a:gd name="T72" fmla="*/ 0 w 1991"/>
                <a:gd name="T73" fmla="*/ 0 h 1567"/>
                <a:gd name="T74" fmla="*/ 0 w 1991"/>
                <a:gd name="T75" fmla="*/ 0 h 1567"/>
                <a:gd name="T76" fmla="*/ 0 w 1991"/>
                <a:gd name="T77" fmla="*/ 0 h 1567"/>
                <a:gd name="T78" fmla="*/ 0 w 1991"/>
                <a:gd name="T79" fmla="*/ 0 h 1567"/>
                <a:gd name="T80" fmla="*/ 0 w 1991"/>
                <a:gd name="T81" fmla="*/ 0 h 1567"/>
                <a:gd name="T82" fmla="*/ 0 w 1991"/>
                <a:gd name="T83" fmla="*/ 0 h 1567"/>
                <a:gd name="T84" fmla="*/ 0 w 1991"/>
                <a:gd name="T85" fmla="*/ 0 h 1567"/>
                <a:gd name="T86" fmla="*/ 0 w 1991"/>
                <a:gd name="T87" fmla="*/ 0 h 1567"/>
                <a:gd name="T88" fmla="*/ 0 w 1991"/>
                <a:gd name="T89" fmla="*/ 0 h 1567"/>
                <a:gd name="T90" fmla="*/ 0 w 1991"/>
                <a:gd name="T91" fmla="*/ 0 h 1567"/>
                <a:gd name="T92" fmla="*/ 0 w 1991"/>
                <a:gd name="T93" fmla="*/ 0 h 1567"/>
                <a:gd name="T94" fmla="*/ 0 w 1991"/>
                <a:gd name="T95" fmla="*/ 0 h 1567"/>
                <a:gd name="T96" fmla="*/ 0 w 1991"/>
                <a:gd name="T97" fmla="*/ 0 h 1567"/>
                <a:gd name="T98" fmla="*/ 0 w 1991"/>
                <a:gd name="T99" fmla="*/ 0 h 1567"/>
                <a:gd name="T100" fmla="*/ 0 w 1991"/>
                <a:gd name="T101" fmla="*/ 0 h 1567"/>
                <a:gd name="T102" fmla="*/ 0 w 1991"/>
                <a:gd name="T103" fmla="*/ 0 h 1567"/>
                <a:gd name="T104" fmla="*/ 0 w 1991"/>
                <a:gd name="T105" fmla="*/ 0 h 1567"/>
                <a:gd name="T106" fmla="*/ 0 w 1991"/>
                <a:gd name="T107" fmla="*/ 0 h 1567"/>
                <a:gd name="T108" fmla="*/ 0 w 1991"/>
                <a:gd name="T109" fmla="*/ 0 h 1567"/>
                <a:gd name="T110" fmla="*/ 0 w 1991"/>
                <a:gd name="T111" fmla="*/ 0 h 1567"/>
                <a:gd name="T112" fmla="*/ 0 w 1991"/>
                <a:gd name="T113" fmla="*/ 0 h 1567"/>
                <a:gd name="T114" fmla="*/ 0 w 1991"/>
                <a:gd name="T115" fmla="*/ 0 h 1567"/>
                <a:gd name="T116" fmla="*/ 0 w 1991"/>
                <a:gd name="T117" fmla="*/ 0 h 1567"/>
                <a:gd name="T118" fmla="*/ 0 w 1991"/>
                <a:gd name="T119" fmla="*/ 0 h 1567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1991"/>
                <a:gd name="T181" fmla="*/ 0 h 1567"/>
                <a:gd name="T182" fmla="*/ 1991 w 1991"/>
                <a:gd name="T183" fmla="*/ 1567 h 1567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1991" h="1567">
                  <a:moveTo>
                    <a:pt x="1940" y="344"/>
                  </a:moveTo>
                  <a:cubicBezTo>
                    <a:pt x="1877" y="268"/>
                    <a:pt x="1877" y="268"/>
                    <a:pt x="1877" y="268"/>
                  </a:cubicBezTo>
                  <a:cubicBezTo>
                    <a:pt x="1889" y="217"/>
                    <a:pt x="1889" y="217"/>
                    <a:pt x="1889" y="217"/>
                  </a:cubicBezTo>
                  <a:cubicBezTo>
                    <a:pt x="1851" y="77"/>
                    <a:pt x="1851" y="77"/>
                    <a:pt x="1851" y="77"/>
                  </a:cubicBezTo>
                  <a:cubicBezTo>
                    <a:pt x="1762" y="128"/>
                    <a:pt x="1762" y="128"/>
                    <a:pt x="1762" y="128"/>
                  </a:cubicBezTo>
                  <a:cubicBezTo>
                    <a:pt x="1685" y="51"/>
                    <a:pt x="1685" y="51"/>
                    <a:pt x="1685" y="51"/>
                  </a:cubicBezTo>
                  <a:cubicBezTo>
                    <a:pt x="1481" y="0"/>
                    <a:pt x="1481" y="0"/>
                    <a:pt x="1481" y="0"/>
                  </a:cubicBezTo>
                  <a:cubicBezTo>
                    <a:pt x="906" y="370"/>
                    <a:pt x="906" y="370"/>
                    <a:pt x="906" y="370"/>
                  </a:cubicBezTo>
                  <a:cubicBezTo>
                    <a:pt x="715" y="548"/>
                    <a:pt x="715" y="548"/>
                    <a:pt x="715" y="548"/>
                  </a:cubicBezTo>
                  <a:cubicBezTo>
                    <a:pt x="510" y="586"/>
                    <a:pt x="510" y="586"/>
                    <a:pt x="510" y="586"/>
                  </a:cubicBezTo>
                  <a:cubicBezTo>
                    <a:pt x="523" y="866"/>
                    <a:pt x="523" y="866"/>
                    <a:pt x="523" y="866"/>
                  </a:cubicBezTo>
                  <a:cubicBezTo>
                    <a:pt x="523" y="866"/>
                    <a:pt x="510" y="879"/>
                    <a:pt x="498" y="892"/>
                  </a:cubicBezTo>
                  <a:cubicBezTo>
                    <a:pt x="485" y="892"/>
                    <a:pt x="498" y="955"/>
                    <a:pt x="498" y="955"/>
                  </a:cubicBezTo>
                  <a:cubicBezTo>
                    <a:pt x="498" y="955"/>
                    <a:pt x="472" y="1032"/>
                    <a:pt x="459" y="1045"/>
                  </a:cubicBezTo>
                  <a:cubicBezTo>
                    <a:pt x="459" y="1045"/>
                    <a:pt x="421" y="1083"/>
                    <a:pt x="421" y="1083"/>
                  </a:cubicBezTo>
                  <a:cubicBezTo>
                    <a:pt x="140" y="1096"/>
                    <a:pt x="140" y="1096"/>
                    <a:pt x="140" y="1096"/>
                  </a:cubicBezTo>
                  <a:cubicBezTo>
                    <a:pt x="102" y="1134"/>
                    <a:pt x="102" y="1134"/>
                    <a:pt x="102" y="1134"/>
                  </a:cubicBezTo>
                  <a:cubicBezTo>
                    <a:pt x="13" y="1134"/>
                    <a:pt x="13" y="1134"/>
                    <a:pt x="13" y="1134"/>
                  </a:cubicBezTo>
                  <a:cubicBezTo>
                    <a:pt x="0" y="1197"/>
                    <a:pt x="0" y="1197"/>
                    <a:pt x="0" y="1197"/>
                  </a:cubicBezTo>
                  <a:cubicBezTo>
                    <a:pt x="25" y="1223"/>
                    <a:pt x="25" y="1223"/>
                    <a:pt x="25" y="1223"/>
                  </a:cubicBezTo>
                  <a:cubicBezTo>
                    <a:pt x="25" y="1223"/>
                    <a:pt x="25" y="1274"/>
                    <a:pt x="38" y="1274"/>
                  </a:cubicBezTo>
                  <a:cubicBezTo>
                    <a:pt x="51" y="1287"/>
                    <a:pt x="127" y="1338"/>
                    <a:pt x="127" y="1338"/>
                  </a:cubicBezTo>
                  <a:cubicBezTo>
                    <a:pt x="102" y="1376"/>
                    <a:pt x="102" y="1376"/>
                    <a:pt x="102" y="1376"/>
                  </a:cubicBezTo>
                  <a:cubicBezTo>
                    <a:pt x="179" y="1439"/>
                    <a:pt x="179" y="1439"/>
                    <a:pt x="179" y="1439"/>
                  </a:cubicBezTo>
                  <a:cubicBezTo>
                    <a:pt x="217" y="1427"/>
                    <a:pt x="217" y="1427"/>
                    <a:pt x="217" y="1427"/>
                  </a:cubicBezTo>
                  <a:cubicBezTo>
                    <a:pt x="217" y="1427"/>
                    <a:pt x="268" y="1439"/>
                    <a:pt x="268" y="1452"/>
                  </a:cubicBezTo>
                  <a:cubicBezTo>
                    <a:pt x="255" y="1465"/>
                    <a:pt x="242" y="1478"/>
                    <a:pt x="242" y="1478"/>
                  </a:cubicBezTo>
                  <a:cubicBezTo>
                    <a:pt x="281" y="1529"/>
                    <a:pt x="281" y="1529"/>
                    <a:pt x="281" y="1529"/>
                  </a:cubicBezTo>
                  <a:cubicBezTo>
                    <a:pt x="293" y="1516"/>
                    <a:pt x="281" y="1478"/>
                    <a:pt x="281" y="1478"/>
                  </a:cubicBezTo>
                  <a:cubicBezTo>
                    <a:pt x="281" y="1478"/>
                    <a:pt x="306" y="1465"/>
                    <a:pt x="319" y="1465"/>
                  </a:cubicBezTo>
                  <a:cubicBezTo>
                    <a:pt x="332" y="1465"/>
                    <a:pt x="357" y="1465"/>
                    <a:pt x="370" y="1490"/>
                  </a:cubicBezTo>
                  <a:cubicBezTo>
                    <a:pt x="383" y="1516"/>
                    <a:pt x="383" y="1516"/>
                    <a:pt x="408" y="1529"/>
                  </a:cubicBezTo>
                  <a:cubicBezTo>
                    <a:pt x="421" y="1541"/>
                    <a:pt x="421" y="1554"/>
                    <a:pt x="421" y="1567"/>
                  </a:cubicBezTo>
                  <a:cubicBezTo>
                    <a:pt x="434" y="1541"/>
                    <a:pt x="447" y="1503"/>
                    <a:pt x="447" y="1478"/>
                  </a:cubicBezTo>
                  <a:cubicBezTo>
                    <a:pt x="447" y="1439"/>
                    <a:pt x="447" y="1439"/>
                    <a:pt x="447" y="1439"/>
                  </a:cubicBezTo>
                  <a:cubicBezTo>
                    <a:pt x="447" y="1439"/>
                    <a:pt x="459" y="1414"/>
                    <a:pt x="485" y="1388"/>
                  </a:cubicBezTo>
                  <a:cubicBezTo>
                    <a:pt x="510" y="1363"/>
                    <a:pt x="510" y="1325"/>
                    <a:pt x="510" y="1325"/>
                  </a:cubicBezTo>
                  <a:cubicBezTo>
                    <a:pt x="510" y="1325"/>
                    <a:pt x="574" y="1299"/>
                    <a:pt x="587" y="1299"/>
                  </a:cubicBezTo>
                  <a:cubicBezTo>
                    <a:pt x="600" y="1299"/>
                    <a:pt x="638" y="1312"/>
                    <a:pt x="651" y="1287"/>
                  </a:cubicBezTo>
                  <a:cubicBezTo>
                    <a:pt x="664" y="1261"/>
                    <a:pt x="715" y="1274"/>
                    <a:pt x="740" y="1299"/>
                  </a:cubicBezTo>
                  <a:cubicBezTo>
                    <a:pt x="779" y="1312"/>
                    <a:pt x="779" y="1312"/>
                    <a:pt x="804" y="1338"/>
                  </a:cubicBezTo>
                  <a:cubicBezTo>
                    <a:pt x="830" y="1363"/>
                    <a:pt x="855" y="1388"/>
                    <a:pt x="855" y="1388"/>
                  </a:cubicBezTo>
                  <a:cubicBezTo>
                    <a:pt x="855" y="1388"/>
                    <a:pt x="906" y="1376"/>
                    <a:pt x="932" y="1363"/>
                  </a:cubicBezTo>
                  <a:cubicBezTo>
                    <a:pt x="970" y="1350"/>
                    <a:pt x="983" y="1350"/>
                    <a:pt x="1021" y="1363"/>
                  </a:cubicBezTo>
                  <a:cubicBezTo>
                    <a:pt x="1072" y="1376"/>
                    <a:pt x="1111" y="1414"/>
                    <a:pt x="1149" y="1414"/>
                  </a:cubicBezTo>
                  <a:cubicBezTo>
                    <a:pt x="1174" y="1414"/>
                    <a:pt x="1174" y="1401"/>
                    <a:pt x="1213" y="1388"/>
                  </a:cubicBezTo>
                  <a:cubicBezTo>
                    <a:pt x="1238" y="1376"/>
                    <a:pt x="1277" y="1350"/>
                    <a:pt x="1315" y="1350"/>
                  </a:cubicBezTo>
                  <a:cubicBezTo>
                    <a:pt x="1353" y="1350"/>
                    <a:pt x="1430" y="1350"/>
                    <a:pt x="1455" y="1350"/>
                  </a:cubicBezTo>
                  <a:cubicBezTo>
                    <a:pt x="1481" y="1363"/>
                    <a:pt x="1532" y="1376"/>
                    <a:pt x="1545" y="1376"/>
                  </a:cubicBezTo>
                  <a:cubicBezTo>
                    <a:pt x="1557" y="1376"/>
                    <a:pt x="1583" y="1325"/>
                    <a:pt x="1608" y="1325"/>
                  </a:cubicBezTo>
                  <a:cubicBezTo>
                    <a:pt x="1647" y="1312"/>
                    <a:pt x="1621" y="1287"/>
                    <a:pt x="1660" y="1287"/>
                  </a:cubicBezTo>
                  <a:cubicBezTo>
                    <a:pt x="1672" y="1287"/>
                    <a:pt x="1672" y="1299"/>
                    <a:pt x="1685" y="1299"/>
                  </a:cubicBezTo>
                  <a:cubicBezTo>
                    <a:pt x="1685" y="1287"/>
                    <a:pt x="1685" y="1287"/>
                    <a:pt x="1685" y="1287"/>
                  </a:cubicBezTo>
                  <a:cubicBezTo>
                    <a:pt x="1685" y="1197"/>
                    <a:pt x="1685" y="1197"/>
                    <a:pt x="1685" y="1197"/>
                  </a:cubicBezTo>
                  <a:cubicBezTo>
                    <a:pt x="1698" y="1146"/>
                    <a:pt x="1698" y="1146"/>
                    <a:pt x="1698" y="1146"/>
                  </a:cubicBezTo>
                  <a:cubicBezTo>
                    <a:pt x="1928" y="892"/>
                    <a:pt x="1928" y="892"/>
                    <a:pt x="1928" y="892"/>
                  </a:cubicBezTo>
                  <a:cubicBezTo>
                    <a:pt x="1953" y="484"/>
                    <a:pt x="1953" y="484"/>
                    <a:pt x="1953" y="484"/>
                  </a:cubicBezTo>
                  <a:cubicBezTo>
                    <a:pt x="1991" y="433"/>
                    <a:pt x="1991" y="433"/>
                    <a:pt x="1991" y="433"/>
                  </a:cubicBezTo>
                  <a:cubicBezTo>
                    <a:pt x="1928" y="370"/>
                    <a:pt x="1928" y="370"/>
                    <a:pt x="1928" y="370"/>
                  </a:cubicBezTo>
                  <a:lnTo>
                    <a:pt x="1940" y="344"/>
                  </a:lnTo>
                  <a:close/>
                </a:path>
              </a:pathLst>
            </a:custGeom>
            <a:grpFill/>
            <a:ln w="9525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891045"/>
              <a:endParaRPr lang="en-US" sz="1700" dirty="0">
                <a:solidFill>
                  <a:srgbClr val="003149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548" name="Freeform 451"/>
            <p:cNvSpPr>
              <a:spLocks/>
            </p:cNvSpPr>
            <p:nvPr/>
          </p:nvSpPr>
          <p:spPr bwMode="gray">
            <a:xfrm>
              <a:off x="4216" y="2718"/>
              <a:ext cx="201" cy="159"/>
            </a:xfrm>
            <a:custGeom>
              <a:avLst/>
              <a:gdLst>
                <a:gd name="T0" fmla="*/ 0 w 1991"/>
                <a:gd name="T1" fmla="*/ 0 h 1567"/>
                <a:gd name="T2" fmla="*/ 0 w 1991"/>
                <a:gd name="T3" fmla="*/ 0 h 1567"/>
                <a:gd name="T4" fmla="*/ 0 w 1991"/>
                <a:gd name="T5" fmla="*/ 0 h 1567"/>
                <a:gd name="T6" fmla="*/ 0 w 1991"/>
                <a:gd name="T7" fmla="*/ 0 h 1567"/>
                <a:gd name="T8" fmla="*/ 0 w 1991"/>
                <a:gd name="T9" fmla="*/ 0 h 1567"/>
                <a:gd name="T10" fmla="*/ 0 w 1991"/>
                <a:gd name="T11" fmla="*/ 0 h 1567"/>
                <a:gd name="T12" fmla="*/ 0 w 1991"/>
                <a:gd name="T13" fmla="*/ 0 h 1567"/>
                <a:gd name="T14" fmla="*/ 0 w 1991"/>
                <a:gd name="T15" fmla="*/ 0 h 1567"/>
                <a:gd name="T16" fmla="*/ 0 w 1991"/>
                <a:gd name="T17" fmla="*/ 0 h 1567"/>
                <a:gd name="T18" fmla="*/ 0 w 1991"/>
                <a:gd name="T19" fmla="*/ 0 h 1567"/>
                <a:gd name="T20" fmla="*/ 0 w 1991"/>
                <a:gd name="T21" fmla="*/ 0 h 1567"/>
                <a:gd name="T22" fmla="*/ 0 w 1991"/>
                <a:gd name="T23" fmla="*/ 0 h 1567"/>
                <a:gd name="T24" fmla="*/ 0 w 1991"/>
                <a:gd name="T25" fmla="*/ 0 h 1567"/>
                <a:gd name="T26" fmla="*/ 0 w 1991"/>
                <a:gd name="T27" fmla="*/ 0 h 1567"/>
                <a:gd name="T28" fmla="*/ 0 w 1991"/>
                <a:gd name="T29" fmla="*/ 0 h 1567"/>
                <a:gd name="T30" fmla="*/ 0 w 1991"/>
                <a:gd name="T31" fmla="*/ 0 h 1567"/>
                <a:gd name="T32" fmla="*/ 0 w 1991"/>
                <a:gd name="T33" fmla="*/ 0 h 1567"/>
                <a:gd name="T34" fmla="*/ 0 w 1991"/>
                <a:gd name="T35" fmla="*/ 0 h 1567"/>
                <a:gd name="T36" fmla="*/ 0 w 1991"/>
                <a:gd name="T37" fmla="*/ 0 h 1567"/>
                <a:gd name="T38" fmla="*/ 0 w 1991"/>
                <a:gd name="T39" fmla="*/ 0 h 1567"/>
                <a:gd name="T40" fmla="*/ 0 w 1991"/>
                <a:gd name="T41" fmla="*/ 0 h 1567"/>
                <a:gd name="T42" fmla="*/ 0 w 1991"/>
                <a:gd name="T43" fmla="*/ 0 h 1567"/>
                <a:gd name="T44" fmla="*/ 0 w 1991"/>
                <a:gd name="T45" fmla="*/ 0 h 1567"/>
                <a:gd name="T46" fmla="*/ 0 w 1991"/>
                <a:gd name="T47" fmla="*/ 0 h 1567"/>
                <a:gd name="T48" fmla="*/ 0 w 1991"/>
                <a:gd name="T49" fmla="*/ 0 h 1567"/>
                <a:gd name="T50" fmla="*/ 0 w 1991"/>
                <a:gd name="T51" fmla="*/ 0 h 1567"/>
                <a:gd name="T52" fmla="*/ 0 w 1991"/>
                <a:gd name="T53" fmla="*/ 0 h 1567"/>
                <a:gd name="T54" fmla="*/ 0 w 1991"/>
                <a:gd name="T55" fmla="*/ 0 h 1567"/>
                <a:gd name="T56" fmla="*/ 0 w 1991"/>
                <a:gd name="T57" fmla="*/ 0 h 1567"/>
                <a:gd name="T58" fmla="*/ 0 w 1991"/>
                <a:gd name="T59" fmla="*/ 0 h 1567"/>
                <a:gd name="T60" fmla="*/ 0 w 1991"/>
                <a:gd name="T61" fmla="*/ 0 h 1567"/>
                <a:gd name="T62" fmla="*/ 0 w 1991"/>
                <a:gd name="T63" fmla="*/ 0 h 1567"/>
                <a:gd name="T64" fmla="*/ 0 w 1991"/>
                <a:gd name="T65" fmla="*/ 0 h 1567"/>
                <a:gd name="T66" fmla="*/ 0 w 1991"/>
                <a:gd name="T67" fmla="*/ 0 h 1567"/>
                <a:gd name="T68" fmla="*/ 0 w 1991"/>
                <a:gd name="T69" fmla="*/ 0 h 1567"/>
                <a:gd name="T70" fmla="*/ 0 w 1991"/>
                <a:gd name="T71" fmla="*/ 0 h 1567"/>
                <a:gd name="T72" fmla="*/ 0 w 1991"/>
                <a:gd name="T73" fmla="*/ 0 h 1567"/>
                <a:gd name="T74" fmla="*/ 0 w 1991"/>
                <a:gd name="T75" fmla="*/ 0 h 1567"/>
                <a:gd name="T76" fmla="*/ 0 w 1991"/>
                <a:gd name="T77" fmla="*/ 0 h 1567"/>
                <a:gd name="T78" fmla="*/ 0 w 1991"/>
                <a:gd name="T79" fmla="*/ 0 h 1567"/>
                <a:gd name="T80" fmla="*/ 0 w 1991"/>
                <a:gd name="T81" fmla="*/ 0 h 1567"/>
                <a:gd name="T82" fmla="*/ 0 w 1991"/>
                <a:gd name="T83" fmla="*/ 0 h 1567"/>
                <a:gd name="T84" fmla="*/ 0 w 1991"/>
                <a:gd name="T85" fmla="*/ 0 h 1567"/>
                <a:gd name="T86" fmla="*/ 0 w 1991"/>
                <a:gd name="T87" fmla="*/ 0 h 1567"/>
                <a:gd name="T88" fmla="*/ 0 w 1991"/>
                <a:gd name="T89" fmla="*/ 0 h 1567"/>
                <a:gd name="T90" fmla="*/ 0 w 1991"/>
                <a:gd name="T91" fmla="*/ 0 h 1567"/>
                <a:gd name="T92" fmla="*/ 0 w 1991"/>
                <a:gd name="T93" fmla="*/ 0 h 1567"/>
                <a:gd name="T94" fmla="*/ 0 w 1991"/>
                <a:gd name="T95" fmla="*/ 0 h 1567"/>
                <a:gd name="T96" fmla="*/ 0 w 1991"/>
                <a:gd name="T97" fmla="*/ 0 h 1567"/>
                <a:gd name="T98" fmla="*/ 0 w 1991"/>
                <a:gd name="T99" fmla="*/ 0 h 1567"/>
                <a:gd name="T100" fmla="*/ 0 w 1991"/>
                <a:gd name="T101" fmla="*/ 0 h 1567"/>
                <a:gd name="T102" fmla="*/ 0 w 1991"/>
                <a:gd name="T103" fmla="*/ 0 h 1567"/>
                <a:gd name="T104" fmla="*/ 0 w 1991"/>
                <a:gd name="T105" fmla="*/ 0 h 1567"/>
                <a:gd name="T106" fmla="*/ 0 w 1991"/>
                <a:gd name="T107" fmla="*/ 0 h 1567"/>
                <a:gd name="T108" fmla="*/ 0 w 1991"/>
                <a:gd name="T109" fmla="*/ 0 h 1567"/>
                <a:gd name="T110" fmla="*/ 0 w 1991"/>
                <a:gd name="T111" fmla="*/ 0 h 1567"/>
                <a:gd name="T112" fmla="*/ 0 w 1991"/>
                <a:gd name="T113" fmla="*/ 0 h 1567"/>
                <a:gd name="T114" fmla="*/ 0 w 1991"/>
                <a:gd name="T115" fmla="*/ 0 h 1567"/>
                <a:gd name="T116" fmla="*/ 0 w 1991"/>
                <a:gd name="T117" fmla="*/ 0 h 1567"/>
                <a:gd name="T118" fmla="*/ 0 w 1991"/>
                <a:gd name="T119" fmla="*/ 0 h 1567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1991"/>
                <a:gd name="T181" fmla="*/ 0 h 1567"/>
                <a:gd name="T182" fmla="*/ 1991 w 1991"/>
                <a:gd name="T183" fmla="*/ 1567 h 1567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1991" h="1567">
                  <a:moveTo>
                    <a:pt x="1940" y="344"/>
                  </a:moveTo>
                  <a:cubicBezTo>
                    <a:pt x="1877" y="268"/>
                    <a:pt x="1877" y="268"/>
                    <a:pt x="1877" y="268"/>
                  </a:cubicBezTo>
                  <a:cubicBezTo>
                    <a:pt x="1889" y="217"/>
                    <a:pt x="1889" y="217"/>
                    <a:pt x="1889" y="217"/>
                  </a:cubicBezTo>
                  <a:cubicBezTo>
                    <a:pt x="1851" y="77"/>
                    <a:pt x="1851" y="77"/>
                    <a:pt x="1851" y="77"/>
                  </a:cubicBezTo>
                  <a:cubicBezTo>
                    <a:pt x="1762" y="128"/>
                    <a:pt x="1762" y="128"/>
                    <a:pt x="1762" y="128"/>
                  </a:cubicBezTo>
                  <a:cubicBezTo>
                    <a:pt x="1685" y="51"/>
                    <a:pt x="1685" y="51"/>
                    <a:pt x="1685" y="51"/>
                  </a:cubicBezTo>
                  <a:cubicBezTo>
                    <a:pt x="1481" y="0"/>
                    <a:pt x="1481" y="0"/>
                    <a:pt x="1481" y="0"/>
                  </a:cubicBezTo>
                  <a:cubicBezTo>
                    <a:pt x="906" y="370"/>
                    <a:pt x="906" y="370"/>
                    <a:pt x="906" y="370"/>
                  </a:cubicBezTo>
                  <a:cubicBezTo>
                    <a:pt x="715" y="548"/>
                    <a:pt x="715" y="548"/>
                    <a:pt x="715" y="548"/>
                  </a:cubicBezTo>
                  <a:cubicBezTo>
                    <a:pt x="510" y="586"/>
                    <a:pt x="510" y="586"/>
                    <a:pt x="510" y="586"/>
                  </a:cubicBezTo>
                  <a:cubicBezTo>
                    <a:pt x="523" y="866"/>
                    <a:pt x="523" y="866"/>
                    <a:pt x="523" y="866"/>
                  </a:cubicBezTo>
                  <a:cubicBezTo>
                    <a:pt x="523" y="866"/>
                    <a:pt x="510" y="879"/>
                    <a:pt x="498" y="892"/>
                  </a:cubicBezTo>
                  <a:cubicBezTo>
                    <a:pt x="485" y="892"/>
                    <a:pt x="498" y="955"/>
                    <a:pt x="498" y="955"/>
                  </a:cubicBezTo>
                  <a:cubicBezTo>
                    <a:pt x="498" y="955"/>
                    <a:pt x="472" y="1032"/>
                    <a:pt x="459" y="1045"/>
                  </a:cubicBezTo>
                  <a:cubicBezTo>
                    <a:pt x="459" y="1045"/>
                    <a:pt x="421" y="1083"/>
                    <a:pt x="421" y="1083"/>
                  </a:cubicBezTo>
                  <a:cubicBezTo>
                    <a:pt x="140" y="1096"/>
                    <a:pt x="140" y="1096"/>
                    <a:pt x="140" y="1096"/>
                  </a:cubicBezTo>
                  <a:cubicBezTo>
                    <a:pt x="102" y="1134"/>
                    <a:pt x="102" y="1134"/>
                    <a:pt x="102" y="1134"/>
                  </a:cubicBezTo>
                  <a:cubicBezTo>
                    <a:pt x="13" y="1134"/>
                    <a:pt x="13" y="1134"/>
                    <a:pt x="13" y="1134"/>
                  </a:cubicBezTo>
                  <a:cubicBezTo>
                    <a:pt x="0" y="1197"/>
                    <a:pt x="0" y="1197"/>
                    <a:pt x="0" y="1197"/>
                  </a:cubicBezTo>
                  <a:cubicBezTo>
                    <a:pt x="25" y="1223"/>
                    <a:pt x="25" y="1223"/>
                    <a:pt x="25" y="1223"/>
                  </a:cubicBezTo>
                  <a:cubicBezTo>
                    <a:pt x="25" y="1223"/>
                    <a:pt x="25" y="1274"/>
                    <a:pt x="38" y="1274"/>
                  </a:cubicBezTo>
                  <a:cubicBezTo>
                    <a:pt x="51" y="1287"/>
                    <a:pt x="127" y="1338"/>
                    <a:pt x="127" y="1338"/>
                  </a:cubicBezTo>
                  <a:cubicBezTo>
                    <a:pt x="102" y="1376"/>
                    <a:pt x="102" y="1376"/>
                    <a:pt x="102" y="1376"/>
                  </a:cubicBezTo>
                  <a:cubicBezTo>
                    <a:pt x="179" y="1439"/>
                    <a:pt x="179" y="1439"/>
                    <a:pt x="179" y="1439"/>
                  </a:cubicBezTo>
                  <a:cubicBezTo>
                    <a:pt x="217" y="1427"/>
                    <a:pt x="217" y="1427"/>
                    <a:pt x="217" y="1427"/>
                  </a:cubicBezTo>
                  <a:cubicBezTo>
                    <a:pt x="217" y="1427"/>
                    <a:pt x="268" y="1439"/>
                    <a:pt x="268" y="1452"/>
                  </a:cubicBezTo>
                  <a:cubicBezTo>
                    <a:pt x="255" y="1465"/>
                    <a:pt x="242" y="1478"/>
                    <a:pt x="242" y="1478"/>
                  </a:cubicBezTo>
                  <a:cubicBezTo>
                    <a:pt x="281" y="1529"/>
                    <a:pt x="281" y="1529"/>
                    <a:pt x="281" y="1529"/>
                  </a:cubicBezTo>
                  <a:cubicBezTo>
                    <a:pt x="293" y="1516"/>
                    <a:pt x="281" y="1478"/>
                    <a:pt x="281" y="1478"/>
                  </a:cubicBezTo>
                  <a:cubicBezTo>
                    <a:pt x="281" y="1478"/>
                    <a:pt x="306" y="1465"/>
                    <a:pt x="319" y="1465"/>
                  </a:cubicBezTo>
                  <a:cubicBezTo>
                    <a:pt x="332" y="1465"/>
                    <a:pt x="357" y="1465"/>
                    <a:pt x="370" y="1490"/>
                  </a:cubicBezTo>
                  <a:cubicBezTo>
                    <a:pt x="383" y="1516"/>
                    <a:pt x="383" y="1516"/>
                    <a:pt x="408" y="1529"/>
                  </a:cubicBezTo>
                  <a:cubicBezTo>
                    <a:pt x="421" y="1541"/>
                    <a:pt x="421" y="1554"/>
                    <a:pt x="421" y="1567"/>
                  </a:cubicBezTo>
                  <a:cubicBezTo>
                    <a:pt x="434" y="1541"/>
                    <a:pt x="447" y="1503"/>
                    <a:pt x="447" y="1478"/>
                  </a:cubicBezTo>
                  <a:cubicBezTo>
                    <a:pt x="447" y="1439"/>
                    <a:pt x="447" y="1439"/>
                    <a:pt x="447" y="1439"/>
                  </a:cubicBezTo>
                  <a:cubicBezTo>
                    <a:pt x="447" y="1439"/>
                    <a:pt x="459" y="1414"/>
                    <a:pt x="485" y="1388"/>
                  </a:cubicBezTo>
                  <a:cubicBezTo>
                    <a:pt x="510" y="1363"/>
                    <a:pt x="510" y="1325"/>
                    <a:pt x="510" y="1325"/>
                  </a:cubicBezTo>
                  <a:cubicBezTo>
                    <a:pt x="510" y="1325"/>
                    <a:pt x="574" y="1299"/>
                    <a:pt x="587" y="1299"/>
                  </a:cubicBezTo>
                  <a:cubicBezTo>
                    <a:pt x="600" y="1299"/>
                    <a:pt x="638" y="1312"/>
                    <a:pt x="651" y="1287"/>
                  </a:cubicBezTo>
                  <a:cubicBezTo>
                    <a:pt x="664" y="1261"/>
                    <a:pt x="715" y="1274"/>
                    <a:pt x="740" y="1299"/>
                  </a:cubicBezTo>
                  <a:cubicBezTo>
                    <a:pt x="779" y="1312"/>
                    <a:pt x="779" y="1312"/>
                    <a:pt x="804" y="1338"/>
                  </a:cubicBezTo>
                  <a:cubicBezTo>
                    <a:pt x="830" y="1363"/>
                    <a:pt x="855" y="1388"/>
                    <a:pt x="855" y="1388"/>
                  </a:cubicBezTo>
                  <a:cubicBezTo>
                    <a:pt x="855" y="1388"/>
                    <a:pt x="906" y="1376"/>
                    <a:pt x="932" y="1363"/>
                  </a:cubicBezTo>
                  <a:cubicBezTo>
                    <a:pt x="970" y="1350"/>
                    <a:pt x="983" y="1350"/>
                    <a:pt x="1021" y="1363"/>
                  </a:cubicBezTo>
                  <a:cubicBezTo>
                    <a:pt x="1072" y="1376"/>
                    <a:pt x="1111" y="1414"/>
                    <a:pt x="1149" y="1414"/>
                  </a:cubicBezTo>
                  <a:cubicBezTo>
                    <a:pt x="1174" y="1414"/>
                    <a:pt x="1174" y="1401"/>
                    <a:pt x="1213" y="1388"/>
                  </a:cubicBezTo>
                  <a:cubicBezTo>
                    <a:pt x="1238" y="1376"/>
                    <a:pt x="1277" y="1350"/>
                    <a:pt x="1315" y="1350"/>
                  </a:cubicBezTo>
                  <a:cubicBezTo>
                    <a:pt x="1353" y="1350"/>
                    <a:pt x="1430" y="1350"/>
                    <a:pt x="1455" y="1350"/>
                  </a:cubicBezTo>
                  <a:cubicBezTo>
                    <a:pt x="1481" y="1363"/>
                    <a:pt x="1532" y="1376"/>
                    <a:pt x="1545" y="1376"/>
                  </a:cubicBezTo>
                  <a:cubicBezTo>
                    <a:pt x="1557" y="1376"/>
                    <a:pt x="1583" y="1325"/>
                    <a:pt x="1608" y="1325"/>
                  </a:cubicBezTo>
                  <a:cubicBezTo>
                    <a:pt x="1647" y="1312"/>
                    <a:pt x="1621" y="1287"/>
                    <a:pt x="1660" y="1287"/>
                  </a:cubicBezTo>
                  <a:cubicBezTo>
                    <a:pt x="1672" y="1287"/>
                    <a:pt x="1672" y="1299"/>
                    <a:pt x="1685" y="1299"/>
                  </a:cubicBezTo>
                  <a:cubicBezTo>
                    <a:pt x="1685" y="1287"/>
                    <a:pt x="1685" y="1287"/>
                    <a:pt x="1685" y="1287"/>
                  </a:cubicBezTo>
                  <a:cubicBezTo>
                    <a:pt x="1685" y="1197"/>
                    <a:pt x="1685" y="1197"/>
                    <a:pt x="1685" y="1197"/>
                  </a:cubicBezTo>
                  <a:cubicBezTo>
                    <a:pt x="1698" y="1146"/>
                    <a:pt x="1698" y="1146"/>
                    <a:pt x="1698" y="1146"/>
                  </a:cubicBezTo>
                  <a:cubicBezTo>
                    <a:pt x="1928" y="892"/>
                    <a:pt x="1928" y="892"/>
                    <a:pt x="1928" y="892"/>
                  </a:cubicBezTo>
                  <a:cubicBezTo>
                    <a:pt x="1953" y="484"/>
                    <a:pt x="1953" y="484"/>
                    <a:pt x="1953" y="484"/>
                  </a:cubicBezTo>
                  <a:cubicBezTo>
                    <a:pt x="1991" y="433"/>
                    <a:pt x="1991" y="433"/>
                    <a:pt x="1991" y="433"/>
                  </a:cubicBezTo>
                  <a:cubicBezTo>
                    <a:pt x="1928" y="370"/>
                    <a:pt x="1928" y="370"/>
                    <a:pt x="1928" y="370"/>
                  </a:cubicBezTo>
                  <a:lnTo>
                    <a:pt x="1940" y="344"/>
                  </a:lnTo>
                  <a:close/>
                </a:path>
              </a:pathLst>
            </a:custGeom>
            <a:grpFill/>
            <a:ln w="9525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891045"/>
              <a:endParaRPr lang="en-US" sz="1700" dirty="0">
                <a:solidFill>
                  <a:srgbClr val="003149"/>
                </a:solidFill>
                <a:cs typeface="Arial" panose="020B0604020202020204" pitchFamily="34" charset="0"/>
              </a:endParaRPr>
            </a:p>
          </p:txBody>
        </p:sp>
      </p:grpSp>
      <p:grpSp>
        <p:nvGrpSpPr>
          <p:cNvPr id="549" name="Group 452"/>
          <p:cNvGrpSpPr>
            <a:grpSpLocks/>
          </p:cNvGrpSpPr>
          <p:nvPr/>
        </p:nvGrpSpPr>
        <p:grpSpPr bwMode="gray">
          <a:xfrm>
            <a:off x="1389229" y="2033883"/>
            <a:ext cx="191071" cy="329851"/>
            <a:chOff x="4386" y="2718"/>
            <a:chExt cx="131" cy="213"/>
          </a:xfrm>
          <a:solidFill>
            <a:schemeClr val="accent3"/>
          </a:solidFill>
        </p:grpSpPr>
        <p:sp>
          <p:nvSpPr>
            <p:cNvPr id="550" name="Freeform 453"/>
            <p:cNvSpPr>
              <a:spLocks/>
            </p:cNvSpPr>
            <p:nvPr/>
          </p:nvSpPr>
          <p:spPr bwMode="gray">
            <a:xfrm>
              <a:off x="4386" y="2718"/>
              <a:ext cx="131" cy="213"/>
            </a:xfrm>
            <a:custGeom>
              <a:avLst/>
              <a:gdLst>
                <a:gd name="T0" fmla="*/ 0 w 1300"/>
                <a:gd name="T1" fmla="*/ 0 h 2108"/>
                <a:gd name="T2" fmla="*/ 0 w 1300"/>
                <a:gd name="T3" fmla="*/ 0 h 2108"/>
                <a:gd name="T4" fmla="*/ 0 w 1300"/>
                <a:gd name="T5" fmla="*/ 0 h 2108"/>
                <a:gd name="T6" fmla="*/ 0 w 1300"/>
                <a:gd name="T7" fmla="*/ 0 h 2108"/>
                <a:gd name="T8" fmla="*/ 0 w 1300"/>
                <a:gd name="T9" fmla="*/ 0 h 2108"/>
                <a:gd name="T10" fmla="*/ 0 w 1300"/>
                <a:gd name="T11" fmla="*/ 0 h 2108"/>
                <a:gd name="T12" fmla="*/ 0 w 1300"/>
                <a:gd name="T13" fmla="*/ 0 h 2108"/>
                <a:gd name="T14" fmla="*/ 0 w 1300"/>
                <a:gd name="T15" fmla="*/ 0 h 2108"/>
                <a:gd name="T16" fmla="*/ 0 w 1300"/>
                <a:gd name="T17" fmla="*/ 0 h 2108"/>
                <a:gd name="T18" fmla="*/ 0 w 1300"/>
                <a:gd name="T19" fmla="*/ 0 h 2108"/>
                <a:gd name="T20" fmla="*/ 0 w 1300"/>
                <a:gd name="T21" fmla="*/ 0 h 2108"/>
                <a:gd name="T22" fmla="*/ 0 w 1300"/>
                <a:gd name="T23" fmla="*/ 0 h 2108"/>
                <a:gd name="T24" fmla="*/ 0 w 1300"/>
                <a:gd name="T25" fmla="*/ 0 h 2108"/>
                <a:gd name="T26" fmla="*/ 0 w 1300"/>
                <a:gd name="T27" fmla="*/ 0 h 2108"/>
                <a:gd name="T28" fmla="*/ 0 w 1300"/>
                <a:gd name="T29" fmla="*/ 0 h 2108"/>
                <a:gd name="T30" fmla="*/ 0 w 1300"/>
                <a:gd name="T31" fmla="*/ 0 h 2108"/>
                <a:gd name="T32" fmla="*/ 0 w 1300"/>
                <a:gd name="T33" fmla="*/ 0 h 2108"/>
                <a:gd name="T34" fmla="*/ 0 w 1300"/>
                <a:gd name="T35" fmla="*/ 0 h 2108"/>
                <a:gd name="T36" fmla="*/ 0 w 1300"/>
                <a:gd name="T37" fmla="*/ 0 h 2108"/>
                <a:gd name="T38" fmla="*/ 0 w 1300"/>
                <a:gd name="T39" fmla="*/ 0 h 2108"/>
                <a:gd name="T40" fmla="*/ 0 w 1300"/>
                <a:gd name="T41" fmla="*/ 0 h 2108"/>
                <a:gd name="T42" fmla="*/ 0 w 1300"/>
                <a:gd name="T43" fmla="*/ 0 h 2108"/>
                <a:gd name="T44" fmla="*/ 0 w 1300"/>
                <a:gd name="T45" fmla="*/ 0 h 2108"/>
                <a:gd name="T46" fmla="*/ 0 w 1300"/>
                <a:gd name="T47" fmla="*/ 0 h 2108"/>
                <a:gd name="T48" fmla="*/ 0 w 1300"/>
                <a:gd name="T49" fmla="*/ 0 h 2108"/>
                <a:gd name="T50" fmla="*/ 0 w 1300"/>
                <a:gd name="T51" fmla="*/ 0 h 2108"/>
                <a:gd name="T52" fmla="*/ 0 w 1300"/>
                <a:gd name="T53" fmla="*/ 0 h 2108"/>
                <a:gd name="T54" fmla="*/ 0 w 1300"/>
                <a:gd name="T55" fmla="*/ 0 h 2108"/>
                <a:gd name="T56" fmla="*/ 0 w 1300"/>
                <a:gd name="T57" fmla="*/ 0 h 2108"/>
                <a:gd name="T58" fmla="*/ 0 w 1300"/>
                <a:gd name="T59" fmla="*/ 0 h 2108"/>
                <a:gd name="T60" fmla="*/ 0 w 1300"/>
                <a:gd name="T61" fmla="*/ 0 h 2108"/>
                <a:gd name="T62" fmla="*/ 0 w 1300"/>
                <a:gd name="T63" fmla="*/ 0 h 2108"/>
                <a:gd name="T64" fmla="*/ 0 w 1300"/>
                <a:gd name="T65" fmla="*/ 0 h 2108"/>
                <a:gd name="T66" fmla="*/ 0 w 1300"/>
                <a:gd name="T67" fmla="*/ 0 h 2108"/>
                <a:gd name="T68" fmla="*/ 0 w 1300"/>
                <a:gd name="T69" fmla="*/ 0 h 2108"/>
                <a:gd name="T70" fmla="*/ 0 w 1300"/>
                <a:gd name="T71" fmla="*/ 0 h 2108"/>
                <a:gd name="T72" fmla="*/ 0 w 1300"/>
                <a:gd name="T73" fmla="*/ 0 h 2108"/>
                <a:gd name="T74" fmla="*/ 0 w 1300"/>
                <a:gd name="T75" fmla="*/ 0 h 2108"/>
                <a:gd name="T76" fmla="*/ 0 w 1300"/>
                <a:gd name="T77" fmla="*/ 0 h 2108"/>
                <a:gd name="T78" fmla="*/ 0 w 1300"/>
                <a:gd name="T79" fmla="*/ 0 h 2108"/>
                <a:gd name="T80" fmla="*/ 0 w 1300"/>
                <a:gd name="T81" fmla="*/ 0 h 2108"/>
                <a:gd name="T82" fmla="*/ 0 w 1300"/>
                <a:gd name="T83" fmla="*/ 0 h 2108"/>
                <a:gd name="T84" fmla="*/ 0 w 1300"/>
                <a:gd name="T85" fmla="*/ 0 h 2108"/>
                <a:gd name="T86" fmla="*/ 0 w 1300"/>
                <a:gd name="T87" fmla="*/ 0 h 2108"/>
                <a:gd name="T88" fmla="*/ 0 w 1300"/>
                <a:gd name="T89" fmla="*/ 0 h 2108"/>
                <a:gd name="T90" fmla="*/ 0 w 1300"/>
                <a:gd name="T91" fmla="*/ 0 h 2108"/>
                <a:gd name="T92" fmla="*/ 0 w 1300"/>
                <a:gd name="T93" fmla="*/ 0 h 2108"/>
                <a:gd name="T94" fmla="*/ 0 w 1300"/>
                <a:gd name="T95" fmla="*/ 0 h 2108"/>
                <a:gd name="T96" fmla="*/ 0 w 1300"/>
                <a:gd name="T97" fmla="*/ 0 h 2108"/>
                <a:gd name="T98" fmla="*/ 0 w 1300"/>
                <a:gd name="T99" fmla="*/ 0 h 2108"/>
                <a:gd name="T100" fmla="*/ 0 w 1300"/>
                <a:gd name="T101" fmla="*/ 0 h 2108"/>
                <a:gd name="T102" fmla="*/ 0 w 1300"/>
                <a:gd name="T103" fmla="*/ 0 h 2108"/>
                <a:gd name="T104" fmla="*/ 0 w 1300"/>
                <a:gd name="T105" fmla="*/ 0 h 2108"/>
                <a:gd name="T106" fmla="*/ 0 w 1300"/>
                <a:gd name="T107" fmla="*/ 0 h 2108"/>
                <a:gd name="T108" fmla="*/ 0 w 1300"/>
                <a:gd name="T109" fmla="*/ 0 h 2108"/>
                <a:gd name="T110" fmla="*/ 0 w 1300"/>
                <a:gd name="T111" fmla="*/ 0 h 2108"/>
                <a:gd name="T112" fmla="*/ 0 w 1300"/>
                <a:gd name="T113" fmla="*/ 0 h 2108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1300"/>
                <a:gd name="T172" fmla="*/ 0 h 2108"/>
                <a:gd name="T173" fmla="*/ 1300 w 1300"/>
                <a:gd name="T174" fmla="*/ 2108 h 2108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1300" h="2108">
                  <a:moveTo>
                    <a:pt x="1161" y="1623"/>
                  </a:moveTo>
                  <a:cubicBezTo>
                    <a:pt x="1161" y="1623"/>
                    <a:pt x="1174" y="1572"/>
                    <a:pt x="1149" y="1559"/>
                  </a:cubicBezTo>
                  <a:cubicBezTo>
                    <a:pt x="1123" y="1559"/>
                    <a:pt x="1111" y="1546"/>
                    <a:pt x="1123" y="1521"/>
                  </a:cubicBezTo>
                  <a:cubicBezTo>
                    <a:pt x="1136" y="1495"/>
                    <a:pt x="1111" y="1482"/>
                    <a:pt x="1111" y="1457"/>
                  </a:cubicBezTo>
                  <a:cubicBezTo>
                    <a:pt x="1098" y="1431"/>
                    <a:pt x="1098" y="1406"/>
                    <a:pt x="1086" y="1406"/>
                  </a:cubicBezTo>
                  <a:cubicBezTo>
                    <a:pt x="1073" y="1418"/>
                    <a:pt x="1022" y="1431"/>
                    <a:pt x="1048" y="1380"/>
                  </a:cubicBezTo>
                  <a:cubicBezTo>
                    <a:pt x="1073" y="1329"/>
                    <a:pt x="1086" y="1329"/>
                    <a:pt x="1086" y="1329"/>
                  </a:cubicBezTo>
                  <a:cubicBezTo>
                    <a:pt x="1073" y="1265"/>
                    <a:pt x="1073" y="1265"/>
                    <a:pt x="1073" y="1265"/>
                  </a:cubicBezTo>
                  <a:cubicBezTo>
                    <a:pt x="1123" y="1240"/>
                    <a:pt x="1123" y="1240"/>
                    <a:pt x="1123" y="1240"/>
                  </a:cubicBezTo>
                  <a:cubicBezTo>
                    <a:pt x="1111" y="1176"/>
                    <a:pt x="1111" y="1176"/>
                    <a:pt x="1111" y="1176"/>
                  </a:cubicBezTo>
                  <a:cubicBezTo>
                    <a:pt x="1111" y="1176"/>
                    <a:pt x="1136" y="1163"/>
                    <a:pt x="1149" y="1150"/>
                  </a:cubicBezTo>
                  <a:cubicBezTo>
                    <a:pt x="1149" y="1150"/>
                    <a:pt x="1149" y="1112"/>
                    <a:pt x="1174" y="1099"/>
                  </a:cubicBezTo>
                  <a:cubicBezTo>
                    <a:pt x="1187" y="1086"/>
                    <a:pt x="1174" y="1048"/>
                    <a:pt x="1174" y="1048"/>
                  </a:cubicBezTo>
                  <a:cubicBezTo>
                    <a:pt x="1174" y="1048"/>
                    <a:pt x="1212" y="1022"/>
                    <a:pt x="1224" y="1022"/>
                  </a:cubicBezTo>
                  <a:cubicBezTo>
                    <a:pt x="1250" y="1022"/>
                    <a:pt x="1300" y="1022"/>
                    <a:pt x="1300" y="1022"/>
                  </a:cubicBezTo>
                  <a:cubicBezTo>
                    <a:pt x="1300" y="524"/>
                    <a:pt x="1300" y="524"/>
                    <a:pt x="1300" y="524"/>
                  </a:cubicBezTo>
                  <a:cubicBezTo>
                    <a:pt x="316" y="0"/>
                    <a:pt x="316" y="0"/>
                    <a:pt x="316" y="0"/>
                  </a:cubicBezTo>
                  <a:cubicBezTo>
                    <a:pt x="177" y="64"/>
                    <a:pt x="177" y="64"/>
                    <a:pt x="177" y="64"/>
                  </a:cubicBezTo>
                  <a:cubicBezTo>
                    <a:pt x="215" y="205"/>
                    <a:pt x="215" y="205"/>
                    <a:pt x="215" y="205"/>
                  </a:cubicBezTo>
                  <a:cubicBezTo>
                    <a:pt x="202" y="256"/>
                    <a:pt x="202" y="256"/>
                    <a:pt x="202" y="256"/>
                  </a:cubicBezTo>
                  <a:cubicBezTo>
                    <a:pt x="265" y="332"/>
                    <a:pt x="265" y="332"/>
                    <a:pt x="265" y="332"/>
                  </a:cubicBezTo>
                  <a:cubicBezTo>
                    <a:pt x="253" y="358"/>
                    <a:pt x="253" y="358"/>
                    <a:pt x="253" y="358"/>
                  </a:cubicBezTo>
                  <a:cubicBezTo>
                    <a:pt x="316" y="422"/>
                    <a:pt x="316" y="422"/>
                    <a:pt x="316" y="422"/>
                  </a:cubicBezTo>
                  <a:cubicBezTo>
                    <a:pt x="278" y="473"/>
                    <a:pt x="278" y="473"/>
                    <a:pt x="278" y="473"/>
                  </a:cubicBezTo>
                  <a:cubicBezTo>
                    <a:pt x="253" y="882"/>
                    <a:pt x="253" y="882"/>
                    <a:pt x="253" y="882"/>
                  </a:cubicBezTo>
                  <a:cubicBezTo>
                    <a:pt x="25" y="1137"/>
                    <a:pt x="25" y="1137"/>
                    <a:pt x="25" y="1137"/>
                  </a:cubicBezTo>
                  <a:cubicBezTo>
                    <a:pt x="13" y="1188"/>
                    <a:pt x="13" y="1188"/>
                    <a:pt x="13" y="1188"/>
                  </a:cubicBezTo>
                  <a:cubicBezTo>
                    <a:pt x="13" y="1278"/>
                    <a:pt x="13" y="1278"/>
                    <a:pt x="13" y="1278"/>
                  </a:cubicBezTo>
                  <a:cubicBezTo>
                    <a:pt x="13" y="1291"/>
                    <a:pt x="13" y="1291"/>
                    <a:pt x="13" y="1291"/>
                  </a:cubicBezTo>
                  <a:cubicBezTo>
                    <a:pt x="0" y="1291"/>
                    <a:pt x="0" y="1291"/>
                    <a:pt x="0" y="1291"/>
                  </a:cubicBezTo>
                  <a:cubicBezTo>
                    <a:pt x="25" y="1291"/>
                    <a:pt x="25" y="1291"/>
                    <a:pt x="25" y="1291"/>
                  </a:cubicBezTo>
                  <a:cubicBezTo>
                    <a:pt x="76" y="1367"/>
                    <a:pt x="76" y="1367"/>
                    <a:pt x="76" y="1367"/>
                  </a:cubicBezTo>
                  <a:cubicBezTo>
                    <a:pt x="76" y="1367"/>
                    <a:pt x="126" y="1380"/>
                    <a:pt x="139" y="1393"/>
                  </a:cubicBezTo>
                  <a:cubicBezTo>
                    <a:pt x="152" y="1406"/>
                    <a:pt x="189" y="1495"/>
                    <a:pt x="189" y="1495"/>
                  </a:cubicBezTo>
                  <a:cubicBezTo>
                    <a:pt x="189" y="1648"/>
                    <a:pt x="189" y="1648"/>
                    <a:pt x="189" y="1648"/>
                  </a:cubicBezTo>
                  <a:cubicBezTo>
                    <a:pt x="215" y="1712"/>
                    <a:pt x="215" y="1712"/>
                    <a:pt x="215" y="1712"/>
                  </a:cubicBezTo>
                  <a:cubicBezTo>
                    <a:pt x="265" y="1776"/>
                    <a:pt x="265" y="1776"/>
                    <a:pt x="265" y="1776"/>
                  </a:cubicBezTo>
                  <a:cubicBezTo>
                    <a:pt x="265" y="1776"/>
                    <a:pt x="164" y="1776"/>
                    <a:pt x="152" y="1776"/>
                  </a:cubicBezTo>
                  <a:cubicBezTo>
                    <a:pt x="139" y="1776"/>
                    <a:pt x="76" y="1776"/>
                    <a:pt x="76" y="1789"/>
                  </a:cubicBezTo>
                  <a:cubicBezTo>
                    <a:pt x="63" y="1802"/>
                    <a:pt x="114" y="1866"/>
                    <a:pt x="114" y="1878"/>
                  </a:cubicBezTo>
                  <a:cubicBezTo>
                    <a:pt x="126" y="1891"/>
                    <a:pt x="215" y="1942"/>
                    <a:pt x="215" y="1942"/>
                  </a:cubicBezTo>
                  <a:cubicBezTo>
                    <a:pt x="240" y="2032"/>
                    <a:pt x="240" y="2032"/>
                    <a:pt x="240" y="2032"/>
                  </a:cubicBezTo>
                  <a:cubicBezTo>
                    <a:pt x="253" y="2083"/>
                    <a:pt x="253" y="2083"/>
                    <a:pt x="253" y="2083"/>
                  </a:cubicBezTo>
                  <a:cubicBezTo>
                    <a:pt x="253" y="2083"/>
                    <a:pt x="290" y="2108"/>
                    <a:pt x="341" y="2070"/>
                  </a:cubicBezTo>
                  <a:cubicBezTo>
                    <a:pt x="379" y="2032"/>
                    <a:pt x="379" y="2032"/>
                    <a:pt x="379" y="2032"/>
                  </a:cubicBezTo>
                  <a:cubicBezTo>
                    <a:pt x="429" y="2083"/>
                    <a:pt x="429" y="2083"/>
                    <a:pt x="429" y="2083"/>
                  </a:cubicBezTo>
                  <a:cubicBezTo>
                    <a:pt x="429" y="2083"/>
                    <a:pt x="492" y="2032"/>
                    <a:pt x="530" y="2019"/>
                  </a:cubicBezTo>
                  <a:cubicBezTo>
                    <a:pt x="555" y="2019"/>
                    <a:pt x="631" y="2006"/>
                    <a:pt x="631" y="2006"/>
                  </a:cubicBezTo>
                  <a:cubicBezTo>
                    <a:pt x="694" y="1930"/>
                    <a:pt x="694" y="1930"/>
                    <a:pt x="694" y="1930"/>
                  </a:cubicBezTo>
                  <a:cubicBezTo>
                    <a:pt x="694" y="1930"/>
                    <a:pt x="656" y="1917"/>
                    <a:pt x="669" y="1904"/>
                  </a:cubicBezTo>
                  <a:cubicBezTo>
                    <a:pt x="669" y="1891"/>
                    <a:pt x="821" y="1878"/>
                    <a:pt x="821" y="1878"/>
                  </a:cubicBezTo>
                  <a:cubicBezTo>
                    <a:pt x="921" y="1815"/>
                    <a:pt x="921" y="1815"/>
                    <a:pt x="921" y="1815"/>
                  </a:cubicBezTo>
                  <a:cubicBezTo>
                    <a:pt x="1022" y="1725"/>
                    <a:pt x="1022" y="1725"/>
                    <a:pt x="1022" y="1725"/>
                  </a:cubicBezTo>
                  <a:cubicBezTo>
                    <a:pt x="1035" y="1661"/>
                    <a:pt x="1035" y="1661"/>
                    <a:pt x="1035" y="1661"/>
                  </a:cubicBezTo>
                  <a:cubicBezTo>
                    <a:pt x="1123" y="1636"/>
                    <a:pt x="1123" y="1636"/>
                    <a:pt x="1123" y="1636"/>
                  </a:cubicBezTo>
                  <a:cubicBezTo>
                    <a:pt x="1174" y="1661"/>
                    <a:pt x="1174" y="1661"/>
                    <a:pt x="1174" y="1661"/>
                  </a:cubicBezTo>
                  <a:cubicBezTo>
                    <a:pt x="1161" y="1648"/>
                    <a:pt x="1161" y="1623"/>
                    <a:pt x="1161" y="1623"/>
                  </a:cubicBezTo>
                </a:path>
              </a:pathLst>
            </a:custGeom>
            <a:grpFill/>
            <a:ln w="9525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891045"/>
              <a:endParaRPr lang="en-US" sz="1700" dirty="0">
                <a:solidFill>
                  <a:srgbClr val="003149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551" name="Freeform 454"/>
            <p:cNvSpPr>
              <a:spLocks/>
            </p:cNvSpPr>
            <p:nvPr/>
          </p:nvSpPr>
          <p:spPr bwMode="gray">
            <a:xfrm>
              <a:off x="4386" y="2718"/>
              <a:ext cx="131" cy="213"/>
            </a:xfrm>
            <a:custGeom>
              <a:avLst/>
              <a:gdLst>
                <a:gd name="T0" fmla="*/ 117 w 131"/>
                <a:gd name="T1" fmla="*/ 164 h 213"/>
                <a:gd name="T2" fmla="*/ 116 w 131"/>
                <a:gd name="T3" fmla="*/ 158 h 213"/>
                <a:gd name="T4" fmla="*/ 113 w 131"/>
                <a:gd name="T5" fmla="*/ 154 h 213"/>
                <a:gd name="T6" fmla="*/ 112 w 131"/>
                <a:gd name="T7" fmla="*/ 147 h 213"/>
                <a:gd name="T8" fmla="*/ 109 w 131"/>
                <a:gd name="T9" fmla="*/ 142 h 213"/>
                <a:gd name="T10" fmla="*/ 106 w 131"/>
                <a:gd name="T11" fmla="*/ 140 h 213"/>
                <a:gd name="T12" fmla="*/ 109 w 131"/>
                <a:gd name="T13" fmla="*/ 135 h 213"/>
                <a:gd name="T14" fmla="*/ 108 w 131"/>
                <a:gd name="T15" fmla="*/ 128 h 213"/>
                <a:gd name="T16" fmla="*/ 113 w 131"/>
                <a:gd name="T17" fmla="*/ 126 h 213"/>
                <a:gd name="T18" fmla="*/ 112 w 131"/>
                <a:gd name="T19" fmla="*/ 119 h 213"/>
                <a:gd name="T20" fmla="*/ 116 w 131"/>
                <a:gd name="T21" fmla="*/ 116 h 213"/>
                <a:gd name="T22" fmla="*/ 118 w 131"/>
                <a:gd name="T23" fmla="*/ 111 h 213"/>
                <a:gd name="T24" fmla="*/ 118 w 131"/>
                <a:gd name="T25" fmla="*/ 106 h 213"/>
                <a:gd name="T26" fmla="*/ 123 w 131"/>
                <a:gd name="T27" fmla="*/ 104 h 213"/>
                <a:gd name="T28" fmla="*/ 131 w 131"/>
                <a:gd name="T29" fmla="*/ 104 h 213"/>
                <a:gd name="T30" fmla="*/ 131 w 131"/>
                <a:gd name="T31" fmla="*/ 53 h 213"/>
                <a:gd name="T32" fmla="*/ 32 w 131"/>
                <a:gd name="T33" fmla="*/ 0 h 213"/>
                <a:gd name="T34" fmla="*/ 18 w 131"/>
                <a:gd name="T35" fmla="*/ 7 h 213"/>
                <a:gd name="T36" fmla="*/ 21 w 131"/>
                <a:gd name="T37" fmla="*/ 21 h 213"/>
                <a:gd name="T38" fmla="*/ 20 w 131"/>
                <a:gd name="T39" fmla="*/ 26 h 213"/>
                <a:gd name="T40" fmla="*/ 26 w 131"/>
                <a:gd name="T41" fmla="*/ 34 h 213"/>
                <a:gd name="T42" fmla="*/ 25 w 131"/>
                <a:gd name="T43" fmla="*/ 36 h 213"/>
                <a:gd name="T44" fmla="*/ 32 w 131"/>
                <a:gd name="T45" fmla="*/ 43 h 213"/>
                <a:gd name="T46" fmla="*/ 28 w 131"/>
                <a:gd name="T47" fmla="*/ 48 h 213"/>
                <a:gd name="T48" fmla="*/ 25 w 131"/>
                <a:gd name="T49" fmla="*/ 89 h 213"/>
                <a:gd name="T50" fmla="*/ 2 w 131"/>
                <a:gd name="T51" fmla="*/ 115 h 213"/>
                <a:gd name="T52" fmla="*/ 1 w 131"/>
                <a:gd name="T53" fmla="*/ 120 h 213"/>
                <a:gd name="T54" fmla="*/ 1 w 131"/>
                <a:gd name="T55" fmla="*/ 129 h 213"/>
                <a:gd name="T56" fmla="*/ 1 w 131"/>
                <a:gd name="T57" fmla="*/ 131 h 213"/>
                <a:gd name="T58" fmla="*/ 0 w 131"/>
                <a:gd name="T59" fmla="*/ 131 h 213"/>
                <a:gd name="T60" fmla="*/ 2 w 131"/>
                <a:gd name="T61" fmla="*/ 131 h 213"/>
                <a:gd name="T62" fmla="*/ 7 w 131"/>
                <a:gd name="T63" fmla="*/ 138 h 213"/>
                <a:gd name="T64" fmla="*/ 14 w 131"/>
                <a:gd name="T65" fmla="*/ 141 h 213"/>
                <a:gd name="T66" fmla="*/ 19 w 131"/>
                <a:gd name="T67" fmla="*/ 151 h 213"/>
                <a:gd name="T68" fmla="*/ 19 w 131"/>
                <a:gd name="T69" fmla="*/ 167 h 213"/>
                <a:gd name="T70" fmla="*/ 21 w 131"/>
                <a:gd name="T71" fmla="*/ 173 h 213"/>
                <a:gd name="T72" fmla="*/ 26 w 131"/>
                <a:gd name="T73" fmla="*/ 180 h 213"/>
                <a:gd name="T74" fmla="*/ 15 w 131"/>
                <a:gd name="T75" fmla="*/ 180 h 213"/>
                <a:gd name="T76" fmla="*/ 7 w 131"/>
                <a:gd name="T77" fmla="*/ 181 h 213"/>
                <a:gd name="T78" fmla="*/ 11 w 131"/>
                <a:gd name="T79" fmla="*/ 190 h 213"/>
                <a:gd name="T80" fmla="*/ 21 w 131"/>
                <a:gd name="T81" fmla="*/ 196 h 213"/>
                <a:gd name="T82" fmla="*/ 24 w 131"/>
                <a:gd name="T83" fmla="*/ 206 h 213"/>
                <a:gd name="T84" fmla="*/ 25 w 131"/>
                <a:gd name="T85" fmla="*/ 211 h 213"/>
                <a:gd name="T86" fmla="*/ 34 w 131"/>
                <a:gd name="T87" fmla="*/ 209 h 213"/>
                <a:gd name="T88" fmla="*/ 38 w 131"/>
                <a:gd name="T89" fmla="*/ 206 h 213"/>
                <a:gd name="T90" fmla="*/ 43 w 131"/>
                <a:gd name="T91" fmla="*/ 211 h 213"/>
                <a:gd name="T92" fmla="*/ 53 w 131"/>
                <a:gd name="T93" fmla="*/ 204 h 213"/>
                <a:gd name="T94" fmla="*/ 63 w 131"/>
                <a:gd name="T95" fmla="*/ 203 h 213"/>
                <a:gd name="T96" fmla="*/ 70 w 131"/>
                <a:gd name="T97" fmla="*/ 195 h 213"/>
                <a:gd name="T98" fmla="*/ 67 w 131"/>
                <a:gd name="T99" fmla="*/ 193 h 213"/>
                <a:gd name="T100" fmla="*/ 83 w 131"/>
                <a:gd name="T101" fmla="*/ 190 h 213"/>
                <a:gd name="T102" fmla="*/ 93 w 131"/>
                <a:gd name="T103" fmla="*/ 184 h 213"/>
                <a:gd name="T104" fmla="*/ 103 w 131"/>
                <a:gd name="T105" fmla="*/ 175 h 213"/>
                <a:gd name="T106" fmla="*/ 104 w 131"/>
                <a:gd name="T107" fmla="*/ 168 h 213"/>
                <a:gd name="T108" fmla="*/ 113 w 131"/>
                <a:gd name="T109" fmla="*/ 166 h 213"/>
                <a:gd name="T110" fmla="*/ 118 w 131"/>
                <a:gd name="T111" fmla="*/ 168 h 213"/>
                <a:gd name="T112" fmla="*/ 117 w 131"/>
                <a:gd name="T113" fmla="*/ 164 h 213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131"/>
                <a:gd name="T172" fmla="*/ 0 h 213"/>
                <a:gd name="T173" fmla="*/ 131 w 131"/>
                <a:gd name="T174" fmla="*/ 213 h 213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131" h="213">
                  <a:moveTo>
                    <a:pt x="117" y="164"/>
                  </a:moveTo>
                  <a:cubicBezTo>
                    <a:pt x="117" y="164"/>
                    <a:pt x="118" y="159"/>
                    <a:pt x="116" y="158"/>
                  </a:cubicBezTo>
                  <a:cubicBezTo>
                    <a:pt x="113" y="158"/>
                    <a:pt x="112" y="156"/>
                    <a:pt x="113" y="154"/>
                  </a:cubicBezTo>
                  <a:cubicBezTo>
                    <a:pt x="114" y="151"/>
                    <a:pt x="112" y="150"/>
                    <a:pt x="112" y="147"/>
                  </a:cubicBezTo>
                  <a:cubicBezTo>
                    <a:pt x="111" y="145"/>
                    <a:pt x="111" y="142"/>
                    <a:pt x="109" y="142"/>
                  </a:cubicBezTo>
                  <a:cubicBezTo>
                    <a:pt x="108" y="144"/>
                    <a:pt x="103" y="145"/>
                    <a:pt x="106" y="140"/>
                  </a:cubicBezTo>
                  <a:cubicBezTo>
                    <a:pt x="108" y="135"/>
                    <a:pt x="109" y="135"/>
                    <a:pt x="109" y="135"/>
                  </a:cubicBezTo>
                  <a:cubicBezTo>
                    <a:pt x="108" y="128"/>
                    <a:pt x="108" y="128"/>
                    <a:pt x="108" y="128"/>
                  </a:cubicBezTo>
                  <a:cubicBezTo>
                    <a:pt x="113" y="126"/>
                    <a:pt x="113" y="126"/>
                    <a:pt x="113" y="126"/>
                  </a:cubicBezTo>
                  <a:cubicBezTo>
                    <a:pt x="112" y="119"/>
                    <a:pt x="112" y="119"/>
                    <a:pt x="112" y="119"/>
                  </a:cubicBezTo>
                  <a:cubicBezTo>
                    <a:pt x="112" y="119"/>
                    <a:pt x="114" y="118"/>
                    <a:pt x="116" y="116"/>
                  </a:cubicBezTo>
                  <a:cubicBezTo>
                    <a:pt x="116" y="116"/>
                    <a:pt x="116" y="113"/>
                    <a:pt x="118" y="111"/>
                  </a:cubicBezTo>
                  <a:cubicBezTo>
                    <a:pt x="120" y="110"/>
                    <a:pt x="118" y="106"/>
                    <a:pt x="118" y="106"/>
                  </a:cubicBezTo>
                  <a:cubicBezTo>
                    <a:pt x="118" y="106"/>
                    <a:pt x="122" y="104"/>
                    <a:pt x="123" y="104"/>
                  </a:cubicBezTo>
                  <a:cubicBezTo>
                    <a:pt x="126" y="104"/>
                    <a:pt x="131" y="104"/>
                    <a:pt x="131" y="104"/>
                  </a:cubicBezTo>
                  <a:cubicBezTo>
                    <a:pt x="131" y="53"/>
                    <a:pt x="131" y="53"/>
                    <a:pt x="131" y="53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18" y="7"/>
                    <a:pt x="18" y="7"/>
                    <a:pt x="18" y="7"/>
                  </a:cubicBezTo>
                  <a:cubicBezTo>
                    <a:pt x="21" y="21"/>
                    <a:pt x="21" y="21"/>
                    <a:pt x="21" y="21"/>
                  </a:cubicBezTo>
                  <a:cubicBezTo>
                    <a:pt x="20" y="26"/>
                    <a:pt x="20" y="26"/>
                    <a:pt x="20" y="26"/>
                  </a:cubicBezTo>
                  <a:cubicBezTo>
                    <a:pt x="26" y="34"/>
                    <a:pt x="26" y="34"/>
                    <a:pt x="26" y="34"/>
                  </a:cubicBezTo>
                  <a:cubicBezTo>
                    <a:pt x="25" y="36"/>
                    <a:pt x="25" y="36"/>
                    <a:pt x="25" y="36"/>
                  </a:cubicBezTo>
                  <a:cubicBezTo>
                    <a:pt x="32" y="43"/>
                    <a:pt x="32" y="43"/>
                    <a:pt x="32" y="43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5" y="89"/>
                    <a:pt x="25" y="89"/>
                    <a:pt x="25" y="89"/>
                  </a:cubicBezTo>
                  <a:cubicBezTo>
                    <a:pt x="2" y="115"/>
                    <a:pt x="2" y="115"/>
                    <a:pt x="2" y="115"/>
                  </a:cubicBezTo>
                  <a:cubicBezTo>
                    <a:pt x="1" y="120"/>
                    <a:pt x="1" y="120"/>
                    <a:pt x="1" y="120"/>
                  </a:cubicBezTo>
                  <a:cubicBezTo>
                    <a:pt x="1" y="129"/>
                    <a:pt x="1" y="129"/>
                    <a:pt x="1" y="129"/>
                  </a:cubicBezTo>
                  <a:cubicBezTo>
                    <a:pt x="1" y="131"/>
                    <a:pt x="1" y="131"/>
                    <a:pt x="1" y="131"/>
                  </a:cubicBezTo>
                  <a:cubicBezTo>
                    <a:pt x="0" y="131"/>
                    <a:pt x="0" y="131"/>
                    <a:pt x="0" y="131"/>
                  </a:cubicBezTo>
                  <a:cubicBezTo>
                    <a:pt x="2" y="131"/>
                    <a:pt x="2" y="131"/>
                    <a:pt x="2" y="131"/>
                  </a:cubicBezTo>
                  <a:cubicBezTo>
                    <a:pt x="7" y="138"/>
                    <a:pt x="7" y="138"/>
                    <a:pt x="7" y="138"/>
                  </a:cubicBezTo>
                  <a:cubicBezTo>
                    <a:pt x="7" y="138"/>
                    <a:pt x="12" y="140"/>
                    <a:pt x="14" y="141"/>
                  </a:cubicBezTo>
                  <a:cubicBezTo>
                    <a:pt x="15" y="142"/>
                    <a:pt x="19" y="151"/>
                    <a:pt x="19" y="151"/>
                  </a:cubicBezTo>
                  <a:cubicBezTo>
                    <a:pt x="19" y="167"/>
                    <a:pt x="19" y="167"/>
                    <a:pt x="19" y="167"/>
                  </a:cubicBezTo>
                  <a:cubicBezTo>
                    <a:pt x="21" y="173"/>
                    <a:pt x="21" y="173"/>
                    <a:pt x="21" y="173"/>
                  </a:cubicBezTo>
                  <a:cubicBezTo>
                    <a:pt x="26" y="180"/>
                    <a:pt x="26" y="180"/>
                    <a:pt x="26" y="180"/>
                  </a:cubicBezTo>
                  <a:cubicBezTo>
                    <a:pt x="26" y="180"/>
                    <a:pt x="16" y="180"/>
                    <a:pt x="15" y="180"/>
                  </a:cubicBezTo>
                  <a:cubicBezTo>
                    <a:pt x="14" y="180"/>
                    <a:pt x="7" y="180"/>
                    <a:pt x="7" y="181"/>
                  </a:cubicBezTo>
                  <a:cubicBezTo>
                    <a:pt x="6" y="182"/>
                    <a:pt x="11" y="189"/>
                    <a:pt x="11" y="190"/>
                  </a:cubicBezTo>
                  <a:cubicBezTo>
                    <a:pt x="12" y="191"/>
                    <a:pt x="21" y="196"/>
                    <a:pt x="21" y="196"/>
                  </a:cubicBezTo>
                  <a:cubicBezTo>
                    <a:pt x="24" y="206"/>
                    <a:pt x="24" y="206"/>
                    <a:pt x="24" y="206"/>
                  </a:cubicBezTo>
                  <a:cubicBezTo>
                    <a:pt x="25" y="211"/>
                    <a:pt x="25" y="211"/>
                    <a:pt x="25" y="211"/>
                  </a:cubicBezTo>
                  <a:cubicBezTo>
                    <a:pt x="25" y="211"/>
                    <a:pt x="29" y="213"/>
                    <a:pt x="34" y="209"/>
                  </a:cubicBezTo>
                  <a:cubicBezTo>
                    <a:pt x="38" y="206"/>
                    <a:pt x="38" y="206"/>
                    <a:pt x="38" y="206"/>
                  </a:cubicBezTo>
                  <a:cubicBezTo>
                    <a:pt x="43" y="211"/>
                    <a:pt x="43" y="211"/>
                    <a:pt x="43" y="211"/>
                  </a:cubicBezTo>
                  <a:cubicBezTo>
                    <a:pt x="43" y="211"/>
                    <a:pt x="49" y="206"/>
                    <a:pt x="53" y="204"/>
                  </a:cubicBezTo>
                  <a:cubicBezTo>
                    <a:pt x="56" y="204"/>
                    <a:pt x="63" y="203"/>
                    <a:pt x="63" y="203"/>
                  </a:cubicBezTo>
                  <a:cubicBezTo>
                    <a:pt x="70" y="195"/>
                    <a:pt x="70" y="195"/>
                    <a:pt x="70" y="195"/>
                  </a:cubicBezTo>
                  <a:cubicBezTo>
                    <a:pt x="70" y="195"/>
                    <a:pt x="66" y="194"/>
                    <a:pt x="67" y="193"/>
                  </a:cubicBezTo>
                  <a:cubicBezTo>
                    <a:pt x="67" y="191"/>
                    <a:pt x="83" y="190"/>
                    <a:pt x="83" y="190"/>
                  </a:cubicBezTo>
                  <a:cubicBezTo>
                    <a:pt x="93" y="184"/>
                    <a:pt x="93" y="184"/>
                    <a:pt x="93" y="184"/>
                  </a:cubicBezTo>
                  <a:cubicBezTo>
                    <a:pt x="103" y="175"/>
                    <a:pt x="103" y="175"/>
                    <a:pt x="103" y="175"/>
                  </a:cubicBezTo>
                  <a:cubicBezTo>
                    <a:pt x="104" y="168"/>
                    <a:pt x="104" y="168"/>
                    <a:pt x="104" y="168"/>
                  </a:cubicBezTo>
                  <a:cubicBezTo>
                    <a:pt x="113" y="166"/>
                    <a:pt x="113" y="166"/>
                    <a:pt x="113" y="166"/>
                  </a:cubicBezTo>
                  <a:cubicBezTo>
                    <a:pt x="118" y="168"/>
                    <a:pt x="118" y="168"/>
                    <a:pt x="118" y="168"/>
                  </a:cubicBezTo>
                  <a:cubicBezTo>
                    <a:pt x="117" y="167"/>
                    <a:pt x="117" y="164"/>
                    <a:pt x="117" y="164"/>
                  </a:cubicBezTo>
                </a:path>
              </a:pathLst>
            </a:custGeom>
            <a:grpFill/>
            <a:ln w="9525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891045"/>
              <a:endParaRPr lang="en-US" sz="1700" dirty="0">
                <a:solidFill>
                  <a:srgbClr val="003149"/>
                </a:solidFill>
                <a:cs typeface="Arial" panose="020B0604020202020204" pitchFamily="34" charset="0"/>
              </a:endParaRPr>
            </a:p>
          </p:txBody>
        </p:sp>
      </p:grpSp>
      <p:grpSp>
        <p:nvGrpSpPr>
          <p:cNvPr id="552" name="Group 455"/>
          <p:cNvGrpSpPr>
            <a:grpSpLocks/>
          </p:cNvGrpSpPr>
          <p:nvPr/>
        </p:nvGrpSpPr>
        <p:grpSpPr bwMode="gray">
          <a:xfrm>
            <a:off x="1292436" y="2248261"/>
            <a:ext cx="142047" cy="228358"/>
            <a:chOff x="4320" y="2856"/>
            <a:chExt cx="97" cy="148"/>
          </a:xfrm>
          <a:solidFill>
            <a:schemeClr val="accent3"/>
          </a:solidFill>
        </p:grpSpPr>
        <p:sp>
          <p:nvSpPr>
            <p:cNvPr id="553" name="Freeform 456"/>
            <p:cNvSpPr>
              <a:spLocks/>
            </p:cNvSpPr>
            <p:nvPr/>
          </p:nvSpPr>
          <p:spPr bwMode="gray">
            <a:xfrm>
              <a:off x="4320" y="2856"/>
              <a:ext cx="97" cy="148"/>
            </a:xfrm>
            <a:custGeom>
              <a:avLst/>
              <a:gdLst>
                <a:gd name="T0" fmla="*/ 0 w 958"/>
                <a:gd name="T1" fmla="*/ 0 h 1458"/>
                <a:gd name="T2" fmla="*/ 0 w 958"/>
                <a:gd name="T3" fmla="*/ 0 h 1458"/>
                <a:gd name="T4" fmla="*/ 0 w 958"/>
                <a:gd name="T5" fmla="*/ 0 h 1458"/>
                <a:gd name="T6" fmla="*/ 0 w 958"/>
                <a:gd name="T7" fmla="*/ 0 h 1458"/>
                <a:gd name="T8" fmla="*/ 0 w 958"/>
                <a:gd name="T9" fmla="*/ 0 h 1458"/>
                <a:gd name="T10" fmla="*/ 0 w 958"/>
                <a:gd name="T11" fmla="*/ 0 h 1458"/>
                <a:gd name="T12" fmla="*/ 0 w 958"/>
                <a:gd name="T13" fmla="*/ 0 h 1458"/>
                <a:gd name="T14" fmla="*/ 0 w 958"/>
                <a:gd name="T15" fmla="*/ 0 h 1458"/>
                <a:gd name="T16" fmla="*/ 0 w 958"/>
                <a:gd name="T17" fmla="*/ 0 h 1458"/>
                <a:gd name="T18" fmla="*/ 0 w 958"/>
                <a:gd name="T19" fmla="*/ 0 h 1458"/>
                <a:gd name="T20" fmla="*/ 0 w 958"/>
                <a:gd name="T21" fmla="*/ 0 h 1458"/>
                <a:gd name="T22" fmla="*/ 0 w 958"/>
                <a:gd name="T23" fmla="*/ 0 h 1458"/>
                <a:gd name="T24" fmla="*/ 0 w 958"/>
                <a:gd name="T25" fmla="*/ 0 h 1458"/>
                <a:gd name="T26" fmla="*/ 0 w 958"/>
                <a:gd name="T27" fmla="*/ 0 h 1458"/>
                <a:gd name="T28" fmla="*/ 0 w 958"/>
                <a:gd name="T29" fmla="*/ 0 h 1458"/>
                <a:gd name="T30" fmla="*/ 0 w 958"/>
                <a:gd name="T31" fmla="*/ 0 h 1458"/>
                <a:gd name="T32" fmla="*/ 0 w 958"/>
                <a:gd name="T33" fmla="*/ 0 h 1458"/>
                <a:gd name="T34" fmla="*/ 0 w 958"/>
                <a:gd name="T35" fmla="*/ 0 h 1458"/>
                <a:gd name="T36" fmla="*/ 0 w 958"/>
                <a:gd name="T37" fmla="*/ 0 h 1458"/>
                <a:gd name="T38" fmla="*/ 0 w 958"/>
                <a:gd name="T39" fmla="*/ 0 h 1458"/>
                <a:gd name="T40" fmla="*/ 0 w 958"/>
                <a:gd name="T41" fmla="*/ 0 h 1458"/>
                <a:gd name="T42" fmla="*/ 0 w 958"/>
                <a:gd name="T43" fmla="*/ 0 h 1458"/>
                <a:gd name="T44" fmla="*/ 0 w 958"/>
                <a:gd name="T45" fmla="*/ 0 h 1458"/>
                <a:gd name="T46" fmla="*/ 0 w 958"/>
                <a:gd name="T47" fmla="*/ 0 h 1458"/>
                <a:gd name="T48" fmla="*/ 0 w 958"/>
                <a:gd name="T49" fmla="*/ 0 h 1458"/>
                <a:gd name="T50" fmla="*/ 0 w 958"/>
                <a:gd name="T51" fmla="*/ 0 h 1458"/>
                <a:gd name="T52" fmla="*/ 0 w 958"/>
                <a:gd name="T53" fmla="*/ 0 h 1458"/>
                <a:gd name="T54" fmla="*/ 0 w 958"/>
                <a:gd name="T55" fmla="*/ 0 h 1458"/>
                <a:gd name="T56" fmla="*/ 0 w 958"/>
                <a:gd name="T57" fmla="*/ 0 h 1458"/>
                <a:gd name="T58" fmla="*/ 0 w 958"/>
                <a:gd name="T59" fmla="*/ 0 h 1458"/>
                <a:gd name="T60" fmla="*/ 0 w 958"/>
                <a:gd name="T61" fmla="*/ 0 h 1458"/>
                <a:gd name="T62" fmla="*/ 0 w 958"/>
                <a:gd name="T63" fmla="*/ 0 h 1458"/>
                <a:gd name="T64" fmla="*/ 0 w 958"/>
                <a:gd name="T65" fmla="*/ 0 h 1458"/>
                <a:gd name="T66" fmla="*/ 0 w 958"/>
                <a:gd name="T67" fmla="*/ 0 h 1458"/>
                <a:gd name="T68" fmla="*/ 0 w 958"/>
                <a:gd name="T69" fmla="*/ 0 h 1458"/>
                <a:gd name="T70" fmla="*/ 0 w 958"/>
                <a:gd name="T71" fmla="*/ 0 h 1458"/>
                <a:gd name="T72" fmla="*/ 0 w 958"/>
                <a:gd name="T73" fmla="*/ 0 h 1458"/>
                <a:gd name="T74" fmla="*/ 0 w 958"/>
                <a:gd name="T75" fmla="*/ 0 h 1458"/>
                <a:gd name="T76" fmla="*/ 0 w 958"/>
                <a:gd name="T77" fmla="*/ 0 h 1458"/>
                <a:gd name="T78" fmla="*/ 0 w 958"/>
                <a:gd name="T79" fmla="*/ 0 h 1458"/>
                <a:gd name="T80" fmla="*/ 0 w 958"/>
                <a:gd name="T81" fmla="*/ 0 h 1458"/>
                <a:gd name="T82" fmla="*/ 0 w 958"/>
                <a:gd name="T83" fmla="*/ 0 h 1458"/>
                <a:gd name="T84" fmla="*/ 0 w 958"/>
                <a:gd name="T85" fmla="*/ 0 h 1458"/>
                <a:gd name="T86" fmla="*/ 0 w 958"/>
                <a:gd name="T87" fmla="*/ 0 h 1458"/>
                <a:gd name="T88" fmla="*/ 0 w 958"/>
                <a:gd name="T89" fmla="*/ 0 h 1458"/>
                <a:gd name="T90" fmla="*/ 0 w 958"/>
                <a:gd name="T91" fmla="*/ 0 h 1458"/>
                <a:gd name="T92" fmla="*/ 0 w 958"/>
                <a:gd name="T93" fmla="*/ 0 h 1458"/>
                <a:gd name="T94" fmla="*/ 0 w 958"/>
                <a:gd name="T95" fmla="*/ 0 h 1458"/>
                <a:gd name="T96" fmla="*/ 0 w 958"/>
                <a:gd name="T97" fmla="*/ 0 h 1458"/>
                <a:gd name="T98" fmla="*/ 0 w 958"/>
                <a:gd name="T99" fmla="*/ 0 h 1458"/>
                <a:gd name="T100" fmla="*/ 0 w 958"/>
                <a:gd name="T101" fmla="*/ 0 h 1458"/>
                <a:gd name="T102" fmla="*/ 0 w 958"/>
                <a:gd name="T103" fmla="*/ 0 h 1458"/>
                <a:gd name="T104" fmla="*/ 0 w 958"/>
                <a:gd name="T105" fmla="*/ 0 h 1458"/>
                <a:gd name="T106" fmla="*/ 0 w 958"/>
                <a:gd name="T107" fmla="*/ 0 h 1458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958"/>
                <a:gd name="T163" fmla="*/ 0 h 1458"/>
                <a:gd name="T164" fmla="*/ 958 w 958"/>
                <a:gd name="T165" fmla="*/ 1458 h 1458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958" h="1458">
                  <a:moveTo>
                    <a:pt x="946" y="1290"/>
                  </a:moveTo>
                  <a:cubicBezTo>
                    <a:pt x="946" y="1290"/>
                    <a:pt x="818" y="1187"/>
                    <a:pt x="818" y="1161"/>
                  </a:cubicBezTo>
                  <a:cubicBezTo>
                    <a:pt x="818" y="1148"/>
                    <a:pt x="792" y="1123"/>
                    <a:pt x="780" y="1084"/>
                  </a:cubicBezTo>
                  <a:cubicBezTo>
                    <a:pt x="780" y="1045"/>
                    <a:pt x="754" y="1006"/>
                    <a:pt x="767" y="981"/>
                  </a:cubicBezTo>
                  <a:cubicBezTo>
                    <a:pt x="780" y="955"/>
                    <a:pt x="741" y="916"/>
                    <a:pt x="741" y="916"/>
                  </a:cubicBezTo>
                  <a:cubicBezTo>
                    <a:pt x="741" y="916"/>
                    <a:pt x="780" y="877"/>
                    <a:pt x="792" y="852"/>
                  </a:cubicBezTo>
                  <a:cubicBezTo>
                    <a:pt x="818" y="826"/>
                    <a:pt x="882" y="723"/>
                    <a:pt x="882" y="723"/>
                  </a:cubicBezTo>
                  <a:cubicBezTo>
                    <a:pt x="869" y="671"/>
                    <a:pt x="869" y="671"/>
                    <a:pt x="869" y="671"/>
                  </a:cubicBezTo>
                  <a:cubicBezTo>
                    <a:pt x="843" y="581"/>
                    <a:pt x="843" y="581"/>
                    <a:pt x="843" y="581"/>
                  </a:cubicBezTo>
                  <a:cubicBezTo>
                    <a:pt x="843" y="581"/>
                    <a:pt x="754" y="529"/>
                    <a:pt x="741" y="516"/>
                  </a:cubicBezTo>
                  <a:cubicBezTo>
                    <a:pt x="741" y="503"/>
                    <a:pt x="690" y="439"/>
                    <a:pt x="703" y="426"/>
                  </a:cubicBezTo>
                  <a:cubicBezTo>
                    <a:pt x="703" y="413"/>
                    <a:pt x="767" y="413"/>
                    <a:pt x="780" y="413"/>
                  </a:cubicBezTo>
                  <a:cubicBezTo>
                    <a:pt x="792" y="413"/>
                    <a:pt x="895" y="413"/>
                    <a:pt x="895" y="413"/>
                  </a:cubicBezTo>
                  <a:cubicBezTo>
                    <a:pt x="843" y="348"/>
                    <a:pt x="843" y="348"/>
                    <a:pt x="843" y="348"/>
                  </a:cubicBezTo>
                  <a:cubicBezTo>
                    <a:pt x="818" y="284"/>
                    <a:pt x="818" y="284"/>
                    <a:pt x="818" y="284"/>
                  </a:cubicBezTo>
                  <a:cubicBezTo>
                    <a:pt x="818" y="129"/>
                    <a:pt x="818" y="129"/>
                    <a:pt x="818" y="129"/>
                  </a:cubicBezTo>
                  <a:cubicBezTo>
                    <a:pt x="818" y="129"/>
                    <a:pt x="780" y="39"/>
                    <a:pt x="767" y="26"/>
                  </a:cubicBezTo>
                  <a:cubicBezTo>
                    <a:pt x="754" y="13"/>
                    <a:pt x="703" y="0"/>
                    <a:pt x="703" y="0"/>
                  </a:cubicBezTo>
                  <a:cubicBezTo>
                    <a:pt x="703" y="64"/>
                    <a:pt x="703" y="64"/>
                    <a:pt x="703" y="64"/>
                  </a:cubicBezTo>
                  <a:cubicBezTo>
                    <a:pt x="703" y="64"/>
                    <a:pt x="741" y="51"/>
                    <a:pt x="754" y="77"/>
                  </a:cubicBezTo>
                  <a:cubicBezTo>
                    <a:pt x="767" y="103"/>
                    <a:pt x="767" y="116"/>
                    <a:pt x="767" y="155"/>
                  </a:cubicBezTo>
                  <a:cubicBezTo>
                    <a:pt x="767" y="180"/>
                    <a:pt x="780" y="206"/>
                    <a:pt x="754" y="206"/>
                  </a:cubicBezTo>
                  <a:cubicBezTo>
                    <a:pt x="728" y="219"/>
                    <a:pt x="690" y="232"/>
                    <a:pt x="690" y="232"/>
                  </a:cubicBezTo>
                  <a:cubicBezTo>
                    <a:pt x="677" y="245"/>
                    <a:pt x="639" y="297"/>
                    <a:pt x="639" y="322"/>
                  </a:cubicBezTo>
                  <a:cubicBezTo>
                    <a:pt x="626" y="335"/>
                    <a:pt x="613" y="361"/>
                    <a:pt x="601" y="387"/>
                  </a:cubicBezTo>
                  <a:cubicBezTo>
                    <a:pt x="588" y="413"/>
                    <a:pt x="601" y="439"/>
                    <a:pt x="588" y="451"/>
                  </a:cubicBezTo>
                  <a:cubicBezTo>
                    <a:pt x="588" y="451"/>
                    <a:pt x="550" y="477"/>
                    <a:pt x="550" y="477"/>
                  </a:cubicBezTo>
                  <a:cubicBezTo>
                    <a:pt x="550" y="477"/>
                    <a:pt x="562" y="503"/>
                    <a:pt x="550" y="529"/>
                  </a:cubicBezTo>
                  <a:cubicBezTo>
                    <a:pt x="524" y="568"/>
                    <a:pt x="486" y="581"/>
                    <a:pt x="486" y="581"/>
                  </a:cubicBezTo>
                  <a:cubicBezTo>
                    <a:pt x="486" y="581"/>
                    <a:pt x="473" y="619"/>
                    <a:pt x="460" y="645"/>
                  </a:cubicBezTo>
                  <a:cubicBezTo>
                    <a:pt x="447" y="684"/>
                    <a:pt x="447" y="710"/>
                    <a:pt x="447" y="723"/>
                  </a:cubicBezTo>
                  <a:cubicBezTo>
                    <a:pt x="447" y="735"/>
                    <a:pt x="409" y="761"/>
                    <a:pt x="409" y="761"/>
                  </a:cubicBezTo>
                  <a:cubicBezTo>
                    <a:pt x="409" y="761"/>
                    <a:pt x="409" y="787"/>
                    <a:pt x="383" y="813"/>
                  </a:cubicBezTo>
                  <a:cubicBezTo>
                    <a:pt x="358" y="852"/>
                    <a:pt x="320" y="839"/>
                    <a:pt x="320" y="839"/>
                  </a:cubicBezTo>
                  <a:cubicBezTo>
                    <a:pt x="320" y="839"/>
                    <a:pt x="294" y="787"/>
                    <a:pt x="268" y="774"/>
                  </a:cubicBezTo>
                  <a:cubicBezTo>
                    <a:pt x="256" y="761"/>
                    <a:pt x="281" y="813"/>
                    <a:pt x="243" y="800"/>
                  </a:cubicBezTo>
                  <a:cubicBezTo>
                    <a:pt x="205" y="800"/>
                    <a:pt x="205" y="774"/>
                    <a:pt x="205" y="774"/>
                  </a:cubicBezTo>
                  <a:cubicBezTo>
                    <a:pt x="205" y="774"/>
                    <a:pt x="153" y="813"/>
                    <a:pt x="153" y="826"/>
                  </a:cubicBezTo>
                  <a:cubicBezTo>
                    <a:pt x="141" y="826"/>
                    <a:pt x="128" y="864"/>
                    <a:pt x="102" y="877"/>
                  </a:cubicBezTo>
                  <a:cubicBezTo>
                    <a:pt x="77" y="890"/>
                    <a:pt x="38" y="942"/>
                    <a:pt x="38" y="942"/>
                  </a:cubicBezTo>
                  <a:cubicBezTo>
                    <a:pt x="38" y="942"/>
                    <a:pt x="51" y="968"/>
                    <a:pt x="38" y="994"/>
                  </a:cubicBezTo>
                  <a:cubicBezTo>
                    <a:pt x="38" y="1019"/>
                    <a:pt x="0" y="1071"/>
                    <a:pt x="0" y="1071"/>
                  </a:cubicBezTo>
                  <a:cubicBezTo>
                    <a:pt x="0" y="1071"/>
                    <a:pt x="26" y="1097"/>
                    <a:pt x="38" y="1123"/>
                  </a:cubicBezTo>
                  <a:cubicBezTo>
                    <a:pt x="64" y="1148"/>
                    <a:pt x="102" y="1200"/>
                    <a:pt x="128" y="1200"/>
                  </a:cubicBezTo>
                  <a:cubicBezTo>
                    <a:pt x="141" y="1200"/>
                    <a:pt x="179" y="1265"/>
                    <a:pt x="179" y="1277"/>
                  </a:cubicBezTo>
                  <a:cubicBezTo>
                    <a:pt x="179" y="1303"/>
                    <a:pt x="166" y="1368"/>
                    <a:pt x="166" y="1368"/>
                  </a:cubicBezTo>
                  <a:cubicBezTo>
                    <a:pt x="166" y="1368"/>
                    <a:pt x="166" y="1394"/>
                    <a:pt x="205" y="1394"/>
                  </a:cubicBezTo>
                  <a:cubicBezTo>
                    <a:pt x="243" y="1394"/>
                    <a:pt x="332" y="1419"/>
                    <a:pt x="358" y="1394"/>
                  </a:cubicBezTo>
                  <a:cubicBezTo>
                    <a:pt x="371" y="1381"/>
                    <a:pt x="575" y="1381"/>
                    <a:pt x="601" y="1381"/>
                  </a:cubicBezTo>
                  <a:cubicBezTo>
                    <a:pt x="613" y="1394"/>
                    <a:pt x="754" y="1394"/>
                    <a:pt x="780" y="1407"/>
                  </a:cubicBezTo>
                  <a:cubicBezTo>
                    <a:pt x="818" y="1419"/>
                    <a:pt x="895" y="1432"/>
                    <a:pt x="895" y="1432"/>
                  </a:cubicBezTo>
                  <a:cubicBezTo>
                    <a:pt x="958" y="1458"/>
                    <a:pt x="958" y="1458"/>
                    <a:pt x="958" y="1458"/>
                  </a:cubicBezTo>
                  <a:cubicBezTo>
                    <a:pt x="958" y="1394"/>
                    <a:pt x="958" y="1394"/>
                    <a:pt x="958" y="1394"/>
                  </a:cubicBezTo>
                  <a:lnTo>
                    <a:pt x="946" y="1290"/>
                  </a:lnTo>
                  <a:close/>
                </a:path>
              </a:pathLst>
            </a:custGeom>
            <a:grpFill/>
            <a:ln w="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891045"/>
              <a:endParaRPr lang="en-US" sz="1700" dirty="0">
                <a:solidFill>
                  <a:srgbClr val="003149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554" name="Freeform 457"/>
            <p:cNvSpPr>
              <a:spLocks/>
            </p:cNvSpPr>
            <p:nvPr/>
          </p:nvSpPr>
          <p:spPr bwMode="gray">
            <a:xfrm>
              <a:off x="4320" y="2856"/>
              <a:ext cx="97" cy="148"/>
            </a:xfrm>
            <a:custGeom>
              <a:avLst/>
              <a:gdLst>
                <a:gd name="T0" fmla="*/ 0 w 958"/>
                <a:gd name="T1" fmla="*/ 0 h 1458"/>
                <a:gd name="T2" fmla="*/ 0 w 958"/>
                <a:gd name="T3" fmla="*/ 0 h 1458"/>
                <a:gd name="T4" fmla="*/ 0 w 958"/>
                <a:gd name="T5" fmla="*/ 0 h 1458"/>
                <a:gd name="T6" fmla="*/ 0 w 958"/>
                <a:gd name="T7" fmla="*/ 0 h 1458"/>
                <a:gd name="T8" fmla="*/ 0 w 958"/>
                <a:gd name="T9" fmla="*/ 0 h 1458"/>
                <a:gd name="T10" fmla="*/ 0 w 958"/>
                <a:gd name="T11" fmla="*/ 0 h 1458"/>
                <a:gd name="T12" fmla="*/ 0 w 958"/>
                <a:gd name="T13" fmla="*/ 0 h 1458"/>
                <a:gd name="T14" fmla="*/ 0 w 958"/>
                <a:gd name="T15" fmla="*/ 0 h 1458"/>
                <a:gd name="T16" fmla="*/ 0 w 958"/>
                <a:gd name="T17" fmla="*/ 0 h 1458"/>
                <a:gd name="T18" fmla="*/ 0 w 958"/>
                <a:gd name="T19" fmla="*/ 0 h 1458"/>
                <a:gd name="T20" fmla="*/ 0 w 958"/>
                <a:gd name="T21" fmla="*/ 0 h 1458"/>
                <a:gd name="T22" fmla="*/ 0 w 958"/>
                <a:gd name="T23" fmla="*/ 0 h 1458"/>
                <a:gd name="T24" fmla="*/ 0 w 958"/>
                <a:gd name="T25" fmla="*/ 0 h 1458"/>
                <a:gd name="T26" fmla="*/ 0 w 958"/>
                <a:gd name="T27" fmla="*/ 0 h 1458"/>
                <a:gd name="T28" fmla="*/ 0 w 958"/>
                <a:gd name="T29" fmla="*/ 0 h 1458"/>
                <a:gd name="T30" fmla="*/ 0 w 958"/>
                <a:gd name="T31" fmla="*/ 0 h 1458"/>
                <a:gd name="T32" fmla="*/ 0 w 958"/>
                <a:gd name="T33" fmla="*/ 0 h 1458"/>
                <a:gd name="T34" fmla="*/ 0 w 958"/>
                <a:gd name="T35" fmla="*/ 0 h 1458"/>
                <a:gd name="T36" fmla="*/ 0 w 958"/>
                <a:gd name="T37" fmla="*/ 0 h 1458"/>
                <a:gd name="T38" fmla="*/ 0 w 958"/>
                <a:gd name="T39" fmla="*/ 0 h 1458"/>
                <a:gd name="T40" fmla="*/ 0 w 958"/>
                <a:gd name="T41" fmla="*/ 0 h 1458"/>
                <a:gd name="T42" fmla="*/ 0 w 958"/>
                <a:gd name="T43" fmla="*/ 0 h 1458"/>
                <a:gd name="T44" fmla="*/ 0 w 958"/>
                <a:gd name="T45" fmla="*/ 0 h 1458"/>
                <a:gd name="T46" fmla="*/ 0 w 958"/>
                <a:gd name="T47" fmla="*/ 0 h 1458"/>
                <a:gd name="T48" fmla="*/ 0 w 958"/>
                <a:gd name="T49" fmla="*/ 0 h 1458"/>
                <a:gd name="T50" fmla="*/ 0 w 958"/>
                <a:gd name="T51" fmla="*/ 0 h 1458"/>
                <a:gd name="T52" fmla="*/ 0 w 958"/>
                <a:gd name="T53" fmla="*/ 0 h 1458"/>
                <a:gd name="T54" fmla="*/ 0 w 958"/>
                <a:gd name="T55" fmla="*/ 0 h 1458"/>
                <a:gd name="T56" fmla="*/ 0 w 958"/>
                <a:gd name="T57" fmla="*/ 0 h 1458"/>
                <a:gd name="T58" fmla="*/ 0 w 958"/>
                <a:gd name="T59" fmla="*/ 0 h 1458"/>
                <a:gd name="T60" fmla="*/ 0 w 958"/>
                <a:gd name="T61" fmla="*/ 0 h 1458"/>
                <a:gd name="T62" fmla="*/ 0 w 958"/>
                <a:gd name="T63" fmla="*/ 0 h 1458"/>
                <a:gd name="T64" fmla="*/ 0 w 958"/>
                <a:gd name="T65" fmla="*/ 0 h 1458"/>
                <a:gd name="T66" fmla="*/ 0 w 958"/>
                <a:gd name="T67" fmla="*/ 0 h 1458"/>
                <a:gd name="T68" fmla="*/ 0 w 958"/>
                <a:gd name="T69" fmla="*/ 0 h 1458"/>
                <a:gd name="T70" fmla="*/ 0 w 958"/>
                <a:gd name="T71" fmla="*/ 0 h 1458"/>
                <a:gd name="T72" fmla="*/ 0 w 958"/>
                <a:gd name="T73" fmla="*/ 0 h 1458"/>
                <a:gd name="T74" fmla="*/ 0 w 958"/>
                <a:gd name="T75" fmla="*/ 0 h 1458"/>
                <a:gd name="T76" fmla="*/ 0 w 958"/>
                <a:gd name="T77" fmla="*/ 0 h 1458"/>
                <a:gd name="T78" fmla="*/ 0 w 958"/>
                <a:gd name="T79" fmla="*/ 0 h 1458"/>
                <a:gd name="T80" fmla="*/ 0 w 958"/>
                <a:gd name="T81" fmla="*/ 0 h 1458"/>
                <a:gd name="T82" fmla="*/ 0 w 958"/>
                <a:gd name="T83" fmla="*/ 0 h 1458"/>
                <a:gd name="T84" fmla="*/ 0 w 958"/>
                <a:gd name="T85" fmla="*/ 0 h 1458"/>
                <a:gd name="T86" fmla="*/ 0 w 958"/>
                <a:gd name="T87" fmla="*/ 0 h 1458"/>
                <a:gd name="T88" fmla="*/ 0 w 958"/>
                <a:gd name="T89" fmla="*/ 0 h 1458"/>
                <a:gd name="T90" fmla="*/ 0 w 958"/>
                <a:gd name="T91" fmla="*/ 0 h 1458"/>
                <a:gd name="T92" fmla="*/ 0 w 958"/>
                <a:gd name="T93" fmla="*/ 0 h 1458"/>
                <a:gd name="T94" fmla="*/ 0 w 958"/>
                <a:gd name="T95" fmla="*/ 0 h 1458"/>
                <a:gd name="T96" fmla="*/ 0 w 958"/>
                <a:gd name="T97" fmla="*/ 0 h 1458"/>
                <a:gd name="T98" fmla="*/ 0 w 958"/>
                <a:gd name="T99" fmla="*/ 0 h 1458"/>
                <a:gd name="T100" fmla="*/ 0 w 958"/>
                <a:gd name="T101" fmla="*/ 0 h 1458"/>
                <a:gd name="T102" fmla="*/ 0 w 958"/>
                <a:gd name="T103" fmla="*/ 0 h 1458"/>
                <a:gd name="T104" fmla="*/ 0 w 958"/>
                <a:gd name="T105" fmla="*/ 0 h 1458"/>
                <a:gd name="T106" fmla="*/ 0 w 958"/>
                <a:gd name="T107" fmla="*/ 0 h 1458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958"/>
                <a:gd name="T163" fmla="*/ 0 h 1458"/>
                <a:gd name="T164" fmla="*/ 958 w 958"/>
                <a:gd name="T165" fmla="*/ 1458 h 1458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958" h="1458">
                  <a:moveTo>
                    <a:pt x="946" y="1290"/>
                  </a:moveTo>
                  <a:cubicBezTo>
                    <a:pt x="946" y="1290"/>
                    <a:pt x="818" y="1187"/>
                    <a:pt x="818" y="1161"/>
                  </a:cubicBezTo>
                  <a:cubicBezTo>
                    <a:pt x="818" y="1148"/>
                    <a:pt x="792" y="1123"/>
                    <a:pt x="780" y="1084"/>
                  </a:cubicBezTo>
                  <a:cubicBezTo>
                    <a:pt x="780" y="1045"/>
                    <a:pt x="754" y="1006"/>
                    <a:pt x="767" y="981"/>
                  </a:cubicBezTo>
                  <a:cubicBezTo>
                    <a:pt x="780" y="955"/>
                    <a:pt x="741" y="916"/>
                    <a:pt x="741" y="916"/>
                  </a:cubicBezTo>
                  <a:cubicBezTo>
                    <a:pt x="741" y="916"/>
                    <a:pt x="780" y="877"/>
                    <a:pt x="792" y="852"/>
                  </a:cubicBezTo>
                  <a:cubicBezTo>
                    <a:pt x="818" y="826"/>
                    <a:pt x="882" y="723"/>
                    <a:pt x="882" y="723"/>
                  </a:cubicBezTo>
                  <a:cubicBezTo>
                    <a:pt x="869" y="671"/>
                    <a:pt x="869" y="671"/>
                    <a:pt x="869" y="671"/>
                  </a:cubicBezTo>
                  <a:cubicBezTo>
                    <a:pt x="843" y="581"/>
                    <a:pt x="843" y="581"/>
                    <a:pt x="843" y="581"/>
                  </a:cubicBezTo>
                  <a:cubicBezTo>
                    <a:pt x="843" y="581"/>
                    <a:pt x="754" y="529"/>
                    <a:pt x="741" y="516"/>
                  </a:cubicBezTo>
                  <a:cubicBezTo>
                    <a:pt x="741" y="503"/>
                    <a:pt x="690" y="439"/>
                    <a:pt x="703" y="426"/>
                  </a:cubicBezTo>
                  <a:cubicBezTo>
                    <a:pt x="703" y="413"/>
                    <a:pt x="767" y="413"/>
                    <a:pt x="780" y="413"/>
                  </a:cubicBezTo>
                  <a:cubicBezTo>
                    <a:pt x="792" y="413"/>
                    <a:pt x="895" y="413"/>
                    <a:pt x="895" y="413"/>
                  </a:cubicBezTo>
                  <a:cubicBezTo>
                    <a:pt x="843" y="348"/>
                    <a:pt x="843" y="348"/>
                    <a:pt x="843" y="348"/>
                  </a:cubicBezTo>
                  <a:cubicBezTo>
                    <a:pt x="818" y="284"/>
                    <a:pt x="818" y="284"/>
                    <a:pt x="818" y="284"/>
                  </a:cubicBezTo>
                  <a:cubicBezTo>
                    <a:pt x="818" y="129"/>
                    <a:pt x="818" y="129"/>
                    <a:pt x="818" y="129"/>
                  </a:cubicBezTo>
                  <a:cubicBezTo>
                    <a:pt x="818" y="129"/>
                    <a:pt x="780" y="39"/>
                    <a:pt x="767" y="26"/>
                  </a:cubicBezTo>
                  <a:cubicBezTo>
                    <a:pt x="754" y="13"/>
                    <a:pt x="703" y="0"/>
                    <a:pt x="703" y="0"/>
                  </a:cubicBezTo>
                  <a:cubicBezTo>
                    <a:pt x="703" y="64"/>
                    <a:pt x="703" y="64"/>
                    <a:pt x="703" y="64"/>
                  </a:cubicBezTo>
                  <a:cubicBezTo>
                    <a:pt x="703" y="64"/>
                    <a:pt x="741" y="51"/>
                    <a:pt x="754" y="77"/>
                  </a:cubicBezTo>
                  <a:cubicBezTo>
                    <a:pt x="767" y="103"/>
                    <a:pt x="767" y="116"/>
                    <a:pt x="767" y="155"/>
                  </a:cubicBezTo>
                  <a:cubicBezTo>
                    <a:pt x="767" y="180"/>
                    <a:pt x="780" y="206"/>
                    <a:pt x="754" y="206"/>
                  </a:cubicBezTo>
                  <a:cubicBezTo>
                    <a:pt x="728" y="219"/>
                    <a:pt x="690" y="232"/>
                    <a:pt x="690" y="232"/>
                  </a:cubicBezTo>
                  <a:cubicBezTo>
                    <a:pt x="677" y="245"/>
                    <a:pt x="639" y="297"/>
                    <a:pt x="639" y="322"/>
                  </a:cubicBezTo>
                  <a:cubicBezTo>
                    <a:pt x="626" y="335"/>
                    <a:pt x="613" y="361"/>
                    <a:pt x="601" y="387"/>
                  </a:cubicBezTo>
                  <a:cubicBezTo>
                    <a:pt x="588" y="413"/>
                    <a:pt x="601" y="439"/>
                    <a:pt x="588" y="451"/>
                  </a:cubicBezTo>
                  <a:cubicBezTo>
                    <a:pt x="588" y="451"/>
                    <a:pt x="550" y="477"/>
                    <a:pt x="550" y="477"/>
                  </a:cubicBezTo>
                  <a:cubicBezTo>
                    <a:pt x="550" y="477"/>
                    <a:pt x="562" y="503"/>
                    <a:pt x="550" y="529"/>
                  </a:cubicBezTo>
                  <a:cubicBezTo>
                    <a:pt x="524" y="568"/>
                    <a:pt x="486" y="581"/>
                    <a:pt x="486" y="581"/>
                  </a:cubicBezTo>
                  <a:cubicBezTo>
                    <a:pt x="486" y="581"/>
                    <a:pt x="473" y="619"/>
                    <a:pt x="460" y="645"/>
                  </a:cubicBezTo>
                  <a:cubicBezTo>
                    <a:pt x="447" y="684"/>
                    <a:pt x="447" y="710"/>
                    <a:pt x="447" y="723"/>
                  </a:cubicBezTo>
                  <a:cubicBezTo>
                    <a:pt x="447" y="735"/>
                    <a:pt x="409" y="761"/>
                    <a:pt x="409" y="761"/>
                  </a:cubicBezTo>
                  <a:cubicBezTo>
                    <a:pt x="409" y="761"/>
                    <a:pt x="409" y="787"/>
                    <a:pt x="383" y="813"/>
                  </a:cubicBezTo>
                  <a:cubicBezTo>
                    <a:pt x="358" y="852"/>
                    <a:pt x="320" y="839"/>
                    <a:pt x="320" y="839"/>
                  </a:cubicBezTo>
                  <a:cubicBezTo>
                    <a:pt x="320" y="839"/>
                    <a:pt x="294" y="787"/>
                    <a:pt x="268" y="774"/>
                  </a:cubicBezTo>
                  <a:cubicBezTo>
                    <a:pt x="256" y="761"/>
                    <a:pt x="281" y="813"/>
                    <a:pt x="243" y="800"/>
                  </a:cubicBezTo>
                  <a:cubicBezTo>
                    <a:pt x="205" y="800"/>
                    <a:pt x="205" y="774"/>
                    <a:pt x="205" y="774"/>
                  </a:cubicBezTo>
                  <a:cubicBezTo>
                    <a:pt x="205" y="774"/>
                    <a:pt x="153" y="813"/>
                    <a:pt x="153" y="826"/>
                  </a:cubicBezTo>
                  <a:cubicBezTo>
                    <a:pt x="141" y="826"/>
                    <a:pt x="128" y="864"/>
                    <a:pt x="102" y="877"/>
                  </a:cubicBezTo>
                  <a:cubicBezTo>
                    <a:pt x="77" y="890"/>
                    <a:pt x="38" y="942"/>
                    <a:pt x="38" y="942"/>
                  </a:cubicBezTo>
                  <a:cubicBezTo>
                    <a:pt x="38" y="942"/>
                    <a:pt x="51" y="968"/>
                    <a:pt x="38" y="994"/>
                  </a:cubicBezTo>
                  <a:cubicBezTo>
                    <a:pt x="38" y="1019"/>
                    <a:pt x="0" y="1071"/>
                    <a:pt x="0" y="1071"/>
                  </a:cubicBezTo>
                  <a:cubicBezTo>
                    <a:pt x="0" y="1071"/>
                    <a:pt x="26" y="1097"/>
                    <a:pt x="38" y="1123"/>
                  </a:cubicBezTo>
                  <a:cubicBezTo>
                    <a:pt x="64" y="1148"/>
                    <a:pt x="102" y="1200"/>
                    <a:pt x="128" y="1200"/>
                  </a:cubicBezTo>
                  <a:cubicBezTo>
                    <a:pt x="141" y="1200"/>
                    <a:pt x="179" y="1265"/>
                    <a:pt x="179" y="1277"/>
                  </a:cubicBezTo>
                  <a:cubicBezTo>
                    <a:pt x="179" y="1303"/>
                    <a:pt x="166" y="1368"/>
                    <a:pt x="166" y="1368"/>
                  </a:cubicBezTo>
                  <a:cubicBezTo>
                    <a:pt x="166" y="1368"/>
                    <a:pt x="166" y="1394"/>
                    <a:pt x="205" y="1394"/>
                  </a:cubicBezTo>
                  <a:cubicBezTo>
                    <a:pt x="243" y="1394"/>
                    <a:pt x="332" y="1419"/>
                    <a:pt x="358" y="1394"/>
                  </a:cubicBezTo>
                  <a:cubicBezTo>
                    <a:pt x="371" y="1381"/>
                    <a:pt x="575" y="1381"/>
                    <a:pt x="601" y="1381"/>
                  </a:cubicBezTo>
                  <a:cubicBezTo>
                    <a:pt x="613" y="1394"/>
                    <a:pt x="754" y="1394"/>
                    <a:pt x="780" y="1407"/>
                  </a:cubicBezTo>
                  <a:cubicBezTo>
                    <a:pt x="818" y="1419"/>
                    <a:pt x="895" y="1432"/>
                    <a:pt x="895" y="1432"/>
                  </a:cubicBezTo>
                  <a:cubicBezTo>
                    <a:pt x="958" y="1458"/>
                    <a:pt x="958" y="1458"/>
                    <a:pt x="958" y="1458"/>
                  </a:cubicBezTo>
                  <a:cubicBezTo>
                    <a:pt x="958" y="1394"/>
                    <a:pt x="958" y="1394"/>
                    <a:pt x="958" y="1394"/>
                  </a:cubicBezTo>
                  <a:lnTo>
                    <a:pt x="946" y="1290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891045"/>
              <a:endParaRPr lang="en-US" sz="1700" dirty="0">
                <a:solidFill>
                  <a:srgbClr val="003149"/>
                </a:solidFill>
                <a:cs typeface="Arial" panose="020B0604020202020204" pitchFamily="34" charset="0"/>
              </a:endParaRPr>
            </a:p>
          </p:txBody>
        </p:sp>
      </p:grpSp>
      <p:grpSp>
        <p:nvGrpSpPr>
          <p:cNvPr id="555" name="Group 458"/>
          <p:cNvGrpSpPr>
            <a:grpSpLocks/>
          </p:cNvGrpSpPr>
          <p:nvPr/>
        </p:nvGrpSpPr>
        <p:grpSpPr bwMode="gray">
          <a:xfrm>
            <a:off x="1312526" y="2466484"/>
            <a:ext cx="32684" cy="24105"/>
            <a:chOff x="4334" y="2997"/>
            <a:chExt cx="22" cy="16"/>
          </a:xfrm>
          <a:solidFill>
            <a:schemeClr val="accent3"/>
          </a:solidFill>
        </p:grpSpPr>
        <p:sp>
          <p:nvSpPr>
            <p:cNvPr id="556" name="Freeform 459"/>
            <p:cNvSpPr>
              <a:spLocks/>
            </p:cNvSpPr>
            <p:nvPr/>
          </p:nvSpPr>
          <p:spPr bwMode="gray">
            <a:xfrm>
              <a:off x="4334" y="2997"/>
              <a:ext cx="22" cy="16"/>
            </a:xfrm>
            <a:custGeom>
              <a:avLst/>
              <a:gdLst>
                <a:gd name="T0" fmla="*/ 0 w 225"/>
                <a:gd name="T1" fmla="*/ 0 h 159"/>
                <a:gd name="T2" fmla="*/ 0 w 225"/>
                <a:gd name="T3" fmla="*/ 0 h 159"/>
                <a:gd name="T4" fmla="*/ 0 w 225"/>
                <a:gd name="T5" fmla="*/ 0 h 159"/>
                <a:gd name="T6" fmla="*/ 0 w 225"/>
                <a:gd name="T7" fmla="*/ 0 h 159"/>
                <a:gd name="T8" fmla="*/ 0 w 225"/>
                <a:gd name="T9" fmla="*/ 0 h 159"/>
                <a:gd name="T10" fmla="*/ 0 w 225"/>
                <a:gd name="T11" fmla="*/ 0 h 159"/>
                <a:gd name="T12" fmla="*/ 0 w 225"/>
                <a:gd name="T13" fmla="*/ 0 h 159"/>
                <a:gd name="T14" fmla="*/ 0 w 225"/>
                <a:gd name="T15" fmla="*/ 0 h 159"/>
                <a:gd name="T16" fmla="*/ 0 w 225"/>
                <a:gd name="T17" fmla="*/ 0 h 159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225"/>
                <a:gd name="T28" fmla="*/ 0 h 159"/>
                <a:gd name="T29" fmla="*/ 225 w 225"/>
                <a:gd name="T30" fmla="*/ 159 h 159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225" h="159">
                  <a:moveTo>
                    <a:pt x="75" y="0"/>
                  </a:moveTo>
                  <a:cubicBezTo>
                    <a:pt x="63" y="0"/>
                    <a:pt x="50" y="0"/>
                    <a:pt x="50" y="0"/>
                  </a:cubicBezTo>
                  <a:cubicBezTo>
                    <a:pt x="38" y="0"/>
                    <a:pt x="38" y="0"/>
                    <a:pt x="38" y="0"/>
                  </a:cubicBezTo>
                  <a:cubicBezTo>
                    <a:pt x="0" y="106"/>
                    <a:pt x="0" y="106"/>
                    <a:pt x="0" y="106"/>
                  </a:cubicBezTo>
                  <a:cubicBezTo>
                    <a:pt x="0" y="146"/>
                    <a:pt x="0" y="146"/>
                    <a:pt x="0" y="146"/>
                  </a:cubicBezTo>
                  <a:cubicBezTo>
                    <a:pt x="50" y="159"/>
                    <a:pt x="50" y="159"/>
                    <a:pt x="50" y="159"/>
                  </a:cubicBezTo>
                  <a:cubicBezTo>
                    <a:pt x="225" y="159"/>
                    <a:pt x="225" y="159"/>
                    <a:pt x="225" y="159"/>
                  </a:cubicBezTo>
                  <a:cubicBezTo>
                    <a:pt x="225" y="0"/>
                    <a:pt x="225" y="0"/>
                    <a:pt x="225" y="0"/>
                  </a:cubicBezTo>
                  <a:cubicBezTo>
                    <a:pt x="200" y="27"/>
                    <a:pt x="113" y="0"/>
                    <a:pt x="75" y="0"/>
                  </a:cubicBezTo>
                </a:path>
              </a:pathLst>
            </a:custGeom>
            <a:grpFill/>
            <a:ln w="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891045"/>
              <a:endParaRPr lang="en-US" sz="1700" dirty="0">
                <a:solidFill>
                  <a:srgbClr val="003149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557" name="Freeform 460"/>
            <p:cNvSpPr>
              <a:spLocks/>
            </p:cNvSpPr>
            <p:nvPr/>
          </p:nvSpPr>
          <p:spPr bwMode="gray">
            <a:xfrm>
              <a:off x="4334" y="2997"/>
              <a:ext cx="22" cy="16"/>
            </a:xfrm>
            <a:custGeom>
              <a:avLst/>
              <a:gdLst>
                <a:gd name="T0" fmla="*/ 7 w 22"/>
                <a:gd name="T1" fmla="*/ 0 h 16"/>
                <a:gd name="T2" fmla="*/ 5 w 22"/>
                <a:gd name="T3" fmla="*/ 0 h 16"/>
                <a:gd name="T4" fmla="*/ 3 w 22"/>
                <a:gd name="T5" fmla="*/ 0 h 16"/>
                <a:gd name="T6" fmla="*/ 0 w 22"/>
                <a:gd name="T7" fmla="*/ 11 h 16"/>
                <a:gd name="T8" fmla="*/ 0 w 22"/>
                <a:gd name="T9" fmla="*/ 15 h 16"/>
                <a:gd name="T10" fmla="*/ 5 w 22"/>
                <a:gd name="T11" fmla="*/ 16 h 16"/>
                <a:gd name="T12" fmla="*/ 22 w 22"/>
                <a:gd name="T13" fmla="*/ 16 h 16"/>
                <a:gd name="T14" fmla="*/ 22 w 22"/>
                <a:gd name="T15" fmla="*/ 0 h 16"/>
                <a:gd name="T16" fmla="*/ 7 w 22"/>
                <a:gd name="T17" fmla="*/ 0 h 1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22"/>
                <a:gd name="T28" fmla="*/ 0 h 16"/>
                <a:gd name="T29" fmla="*/ 22 w 22"/>
                <a:gd name="T30" fmla="*/ 16 h 1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22" h="16">
                  <a:moveTo>
                    <a:pt x="7" y="0"/>
                  </a:moveTo>
                  <a:cubicBezTo>
                    <a:pt x="6" y="0"/>
                    <a:pt x="5" y="0"/>
                    <a:pt x="5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6"/>
                    <a:pt x="5" y="16"/>
                    <a:pt x="5" y="16"/>
                  </a:cubicBezTo>
                  <a:cubicBezTo>
                    <a:pt x="22" y="16"/>
                    <a:pt x="22" y="16"/>
                    <a:pt x="22" y="16"/>
                  </a:cubicBezTo>
                  <a:cubicBezTo>
                    <a:pt x="22" y="0"/>
                    <a:pt x="22" y="0"/>
                    <a:pt x="22" y="0"/>
                  </a:cubicBezTo>
                  <a:cubicBezTo>
                    <a:pt x="20" y="3"/>
                    <a:pt x="11" y="0"/>
                    <a:pt x="7" y="0"/>
                  </a:cubicBezTo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891045"/>
              <a:endParaRPr lang="en-US" sz="1700" dirty="0">
                <a:solidFill>
                  <a:srgbClr val="003149"/>
                </a:solidFill>
                <a:cs typeface="Arial" panose="020B0604020202020204" pitchFamily="34" charset="0"/>
              </a:endParaRPr>
            </a:p>
          </p:txBody>
        </p:sp>
      </p:grpSp>
      <p:grpSp>
        <p:nvGrpSpPr>
          <p:cNvPr id="558" name="Group 461"/>
          <p:cNvGrpSpPr>
            <a:grpSpLocks/>
          </p:cNvGrpSpPr>
          <p:nvPr/>
        </p:nvGrpSpPr>
        <p:grpSpPr bwMode="gray">
          <a:xfrm>
            <a:off x="1404314" y="2290127"/>
            <a:ext cx="242611" cy="178880"/>
            <a:chOff x="4397" y="2883"/>
            <a:chExt cx="165" cy="116"/>
          </a:xfrm>
          <a:solidFill>
            <a:schemeClr val="accent3"/>
          </a:solidFill>
        </p:grpSpPr>
        <p:sp>
          <p:nvSpPr>
            <p:cNvPr id="559" name="Freeform 462"/>
            <p:cNvSpPr>
              <a:spLocks/>
            </p:cNvSpPr>
            <p:nvPr/>
          </p:nvSpPr>
          <p:spPr bwMode="gray">
            <a:xfrm>
              <a:off x="4397" y="2883"/>
              <a:ext cx="165" cy="116"/>
            </a:xfrm>
            <a:custGeom>
              <a:avLst/>
              <a:gdLst>
                <a:gd name="T0" fmla="*/ 0 w 1634"/>
                <a:gd name="T1" fmla="*/ 0 h 1142"/>
                <a:gd name="T2" fmla="*/ 0 w 1634"/>
                <a:gd name="T3" fmla="*/ 0 h 1142"/>
                <a:gd name="T4" fmla="*/ 0 w 1634"/>
                <a:gd name="T5" fmla="*/ 0 h 1142"/>
                <a:gd name="T6" fmla="*/ 0 w 1634"/>
                <a:gd name="T7" fmla="*/ 0 h 1142"/>
                <a:gd name="T8" fmla="*/ 0 w 1634"/>
                <a:gd name="T9" fmla="*/ 0 h 1142"/>
                <a:gd name="T10" fmla="*/ 0 w 1634"/>
                <a:gd name="T11" fmla="*/ 0 h 1142"/>
                <a:gd name="T12" fmla="*/ 0 w 1634"/>
                <a:gd name="T13" fmla="*/ 0 h 1142"/>
                <a:gd name="T14" fmla="*/ 0 w 1634"/>
                <a:gd name="T15" fmla="*/ 0 h 1142"/>
                <a:gd name="T16" fmla="*/ 0 w 1634"/>
                <a:gd name="T17" fmla="*/ 0 h 1142"/>
                <a:gd name="T18" fmla="*/ 0 w 1634"/>
                <a:gd name="T19" fmla="*/ 0 h 1142"/>
                <a:gd name="T20" fmla="*/ 0 w 1634"/>
                <a:gd name="T21" fmla="*/ 0 h 1142"/>
                <a:gd name="T22" fmla="*/ 0 w 1634"/>
                <a:gd name="T23" fmla="*/ 0 h 1142"/>
                <a:gd name="T24" fmla="*/ 0 w 1634"/>
                <a:gd name="T25" fmla="*/ 0 h 1142"/>
                <a:gd name="T26" fmla="*/ 0 w 1634"/>
                <a:gd name="T27" fmla="*/ 0 h 1142"/>
                <a:gd name="T28" fmla="*/ 0 w 1634"/>
                <a:gd name="T29" fmla="*/ 0 h 1142"/>
                <a:gd name="T30" fmla="*/ 0 w 1634"/>
                <a:gd name="T31" fmla="*/ 0 h 1142"/>
                <a:gd name="T32" fmla="*/ 0 w 1634"/>
                <a:gd name="T33" fmla="*/ 0 h 1142"/>
                <a:gd name="T34" fmla="*/ 0 w 1634"/>
                <a:gd name="T35" fmla="*/ 0 h 1142"/>
                <a:gd name="T36" fmla="*/ 0 w 1634"/>
                <a:gd name="T37" fmla="*/ 0 h 1142"/>
                <a:gd name="T38" fmla="*/ 0 w 1634"/>
                <a:gd name="T39" fmla="*/ 0 h 1142"/>
                <a:gd name="T40" fmla="*/ 0 w 1634"/>
                <a:gd name="T41" fmla="*/ 0 h 1142"/>
                <a:gd name="T42" fmla="*/ 0 w 1634"/>
                <a:gd name="T43" fmla="*/ 0 h 1142"/>
                <a:gd name="T44" fmla="*/ 0 w 1634"/>
                <a:gd name="T45" fmla="*/ 0 h 1142"/>
                <a:gd name="T46" fmla="*/ 0 w 1634"/>
                <a:gd name="T47" fmla="*/ 0 h 1142"/>
                <a:gd name="T48" fmla="*/ 0 w 1634"/>
                <a:gd name="T49" fmla="*/ 0 h 1142"/>
                <a:gd name="T50" fmla="*/ 0 w 1634"/>
                <a:gd name="T51" fmla="*/ 0 h 1142"/>
                <a:gd name="T52" fmla="*/ 0 w 1634"/>
                <a:gd name="T53" fmla="*/ 0 h 1142"/>
                <a:gd name="T54" fmla="*/ 0 w 1634"/>
                <a:gd name="T55" fmla="*/ 0 h 1142"/>
                <a:gd name="T56" fmla="*/ 0 w 1634"/>
                <a:gd name="T57" fmla="*/ 0 h 1142"/>
                <a:gd name="T58" fmla="*/ 0 w 1634"/>
                <a:gd name="T59" fmla="*/ 0 h 1142"/>
                <a:gd name="T60" fmla="*/ 0 w 1634"/>
                <a:gd name="T61" fmla="*/ 0 h 1142"/>
                <a:gd name="T62" fmla="*/ 0 w 1634"/>
                <a:gd name="T63" fmla="*/ 0 h 1142"/>
                <a:gd name="T64" fmla="*/ 0 w 1634"/>
                <a:gd name="T65" fmla="*/ 0 h 1142"/>
                <a:gd name="T66" fmla="*/ 0 w 1634"/>
                <a:gd name="T67" fmla="*/ 0 h 1142"/>
                <a:gd name="T68" fmla="*/ 0 w 1634"/>
                <a:gd name="T69" fmla="*/ 0 h 1142"/>
                <a:gd name="T70" fmla="*/ 0 w 1634"/>
                <a:gd name="T71" fmla="*/ 0 h 1142"/>
                <a:gd name="T72" fmla="*/ 0 w 1634"/>
                <a:gd name="T73" fmla="*/ 0 h 1142"/>
                <a:gd name="T74" fmla="*/ 0 w 1634"/>
                <a:gd name="T75" fmla="*/ 0 h 1142"/>
                <a:gd name="T76" fmla="*/ 0 w 1634"/>
                <a:gd name="T77" fmla="*/ 0 h 1142"/>
                <a:gd name="T78" fmla="*/ 0 w 1634"/>
                <a:gd name="T79" fmla="*/ 0 h 1142"/>
                <a:gd name="T80" fmla="*/ 0 w 1634"/>
                <a:gd name="T81" fmla="*/ 0 h 1142"/>
                <a:gd name="T82" fmla="*/ 0 w 1634"/>
                <a:gd name="T83" fmla="*/ 0 h 1142"/>
                <a:gd name="T84" fmla="*/ 0 w 1634"/>
                <a:gd name="T85" fmla="*/ 0 h 1142"/>
                <a:gd name="T86" fmla="*/ 0 w 1634"/>
                <a:gd name="T87" fmla="*/ 0 h 1142"/>
                <a:gd name="T88" fmla="*/ 0 w 1634"/>
                <a:gd name="T89" fmla="*/ 0 h 1142"/>
                <a:gd name="T90" fmla="*/ 0 w 1634"/>
                <a:gd name="T91" fmla="*/ 0 h 1142"/>
                <a:gd name="T92" fmla="*/ 0 w 1634"/>
                <a:gd name="T93" fmla="*/ 0 h 1142"/>
                <a:gd name="T94" fmla="*/ 0 w 1634"/>
                <a:gd name="T95" fmla="*/ 0 h 1142"/>
                <a:gd name="T96" fmla="*/ 0 w 1634"/>
                <a:gd name="T97" fmla="*/ 0 h 1142"/>
                <a:gd name="T98" fmla="*/ 0 w 1634"/>
                <a:gd name="T99" fmla="*/ 0 h 1142"/>
                <a:gd name="T100" fmla="*/ 0 w 1634"/>
                <a:gd name="T101" fmla="*/ 0 h 1142"/>
                <a:gd name="T102" fmla="*/ 0 w 1634"/>
                <a:gd name="T103" fmla="*/ 0 h 1142"/>
                <a:gd name="T104" fmla="*/ 0 w 1634"/>
                <a:gd name="T105" fmla="*/ 0 h 1142"/>
                <a:gd name="T106" fmla="*/ 0 w 1634"/>
                <a:gd name="T107" fmla="*/ 0 h 1142"/>
                <a:gd name="T108" fmla="*/ 0 w 1634"/>
                <a:gd name="T109" fmla="*/ 0 h 1142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1634"/>
                <a:gd name="T166" fmla="*/ 0 h 1142"/>
                <a:gd name="T167" fmla="*/ 1634 w 1634"/>
                <a:gd name="T168" fmla="*/ 1142 h 1142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1634" h="1142">
                  <a:moveTo>
                    <a:pt x="1608" y="740"/>
                  </a:moveTo>
                  <a:cubicBezTo>
                    <a:pt x="1608" y="727"/>
                    <a:pt x="1583" y="662"/>
                    <a:pt x="1583" y="662"/>
                  </a:cubicBezTo>
                  <a:cubicBezTo>
                    <a:pt x="1506" y="636"/>
                    <a:pt x="1506" y="636"/>
                    <a:pt x="1506" y="636"/>
                  </a:cubicBezTo>
                  <a:cubicBezTo>
                    <a:pt x="1493" y="571"/>
                    <a:pt x="1493" y="571"/>
                    <a:pt x="1493" y="571"/>
                  </a:cubicBezTo>
                  <a:cubicBezTo>
                    <a:pt x="1493" y="571"/>
                    <a:pt x="1506" y="558"/>
                    <a:pt x="1468" y="532"/>
                  </a:cubicBezTo>
                  <a:cubicBezTo>
                    <a:pt x="1430" y="519"/>
                    <a:pt x="1366" y="480"/>
                    <a:pt x="1366" y="455"/>
                  </a:cubicBezTo>
                  <a:cubicBezTo>
                    <a:pt x="1353" y="442"/>
                    <a:pt x="1391" y="416"/>
                    <a:pt x="1353" y="390"/>
                  </a:cubicBezTo>
                  <a:cubicBezTo>
                    <a:pt x="1315" y="377"/>
                    <a:pt x="1302" y="351"/>
                    <a:pt x="1289" y="351"/>
                  </a:cubicBezTo>
                  <a:cubicBezTo>
                    <a:pt x="1277" y="351"/>
                    <a:pt x="1200" y="338"/>
                    <a:pt x="1225" y="325"/>
                  </a:cubicBezTo>
                  <a:cubicBezTo>
                    <a:pt x="1238" y="312"/>
                    <a:pt x="1225" y="286"/>
                    <a:pt x="1200" y="299"/>
                  </a:cubicBezTo>
                  <a:cubicBezTo>
                    <a:pt x="1187" y="299"/>
                    <a:pt x="1136" y="299"/>
                    <a:pt x="1136" y="273"/>
                  </a:cubicBezTo>
                  <a:cubicBezTo>
                    <a:pt x="1149" y="247"/>
                    <a:pt x="1162" y="234"/>
                    <a:pt x="1162" y="208"/>
                  </a:cubicBezTo>
                  <a:cubicBezTo>
                    <a:pt x="1162" y="169"/>
                    <a:pt x="1162" y="117"/>
                    <a:pt x="1123" y="91"/>
                  </a:cubicBezTo>
                  <a:cubicBezTo>
                    <a:pt x="1111" y="65"/>
                    <a:pt x="1085" y="39"/>
                    <a:pt x="1072" y="26"/>
                  </a:cubicBezTo>
                  <a:cubicBezTo>
                    <a:pt x="1072" y="26"/>
                    <a:pt x="1072" y="26"/>
                    <a:pt x="1072" y="26"/>
                  </a:cubicBezTo>
                  <a:cubicBezTo>
                    <a:pt x="1021" y="0"/>
                    <a:pt x="1021" y="0"/>
                    <a:pt x="1021" y="0"/>
                  </a:cubicBezTo>
                  <a:cubicBezTo>
                    <a:pt x="932" y="26"/>
                    <a:pt x="932" y="26"/>
                    <a:pt x="932" y="26"/>
                  </a:cubicBezTo>
                  <a:cubicBezTo>
                    <a:pt x="919" y="91"/>
                    <a:pt x="919" y="91"/>
                    <a:pt x="919" y="91"/>
                  </a:cubicBezTo>
                  <a:cubicBezTo>
                    <a:pt x="817" y="182"/>
                    <a:pt x="817" y="182"/>
                    <a:pt x="817" y="182"/>
                  </a:cubicBezTo>
                  <a:cubicBezTo>
                    <a:pt x="715" y="247"/>
                    <a:pt x="715" y="247"/>
                    <a:pt x="715" y="247"/>
                  </a:cubicBezTo>
                  <a:cubicBezTo>
                    <a:pt x="715" y="247"/>
                    <a:pt x="562" y="260"/>
                    <a:pt x="562" y="273"/>
                  </a:cubicBezTo>
                  <a:cubicBezTo>
                    <a:pt x="549" y="286"/>
                    <a:pt x="587" y="299"/>
                    <a:pt x="587" y="299"/>
                  </a:cubicBezTo>
                  <a:cubicBezTo>
                    <a:pt x="524" y="377"/>
                    <a:pt x="524" y="377"/>
                    <a:pt x="524" y="377"/>
                  </a:cubicBezTo>
                  <a:cubicBezTo>
                    <a:pt x="524" y="377"/>
                    <a:pt x="447" y="390"/>
                    <a:pt x="422" y="390"/>
                  </a:cubicBezTo>
                  <a:cubicBezTo>
                    <a:pt x="383" y="403"/>
                    <a:pt x="319" y="455"/>
                    <a:pt x="319" y="455"/>
                  </a:cubicBezTo>
                  <a:cubicBezTo>
                    <a:pt x="268" y="403"/>
                    <a:pt x="268" y="403"/>
                    <a:pt x="268" y="403"/>
                  </a:cubicBezTo>
                  <a:cubicBezTo>
                    <a:pt x="268" y="403"/>
                    <a:pt x="268" y="403"/>
                    <a:pt x="230" y="442"/>
                  </a:cubicBezTo>
                  <a:cubicBezTo>
                    <a:pt x="179" y="480"/>
                    <a:pt x="141" y="455"/>
                    <a:pt x="141" y="455"/>
                  </a:cubicBezTo>
                  <a:cubicBezTo>
                    <a:pt x="141" y="455"/>
                    <a:pt x="77" y="558"/>
                    <a:pt x="52" y="584"/>
                  </a:cubicBezTo>
                  <a:cubicBezTo>
                    <a:pt x="39" y="610"/>
                    <a:pt x="0" y="649"/>
                    <a:pt x="0" y="649"/>
                  </a:cubicBezTo>
                  <a:cubicBezTo>
                    <a:pt x="0" y="649"/>
                    <a:pt x="39" y="688"/>
                    <a:pt x="26" y="714"/>
                  </a:cubicBezTo>
                  <a:cubicBezTo>
                    <a:pt x="13" y="740"/>
                    <a:pt x="39" y="779"/>
                    <a:pt x="39" y="818"/>
                  </a:cubicBezTo>
                  <a:cubicBezTo>
                    <a:pt x="52" y="857"/>
                    <a:pt x="77" y="883"/>
                    <a:pt x="77" y="896"/>
                  </a:cubicBezTo>
                  <a:cubicBezTo>
                    <a:pt x="77" y="922"/>
                    <a:pt x="205" y="1025"/>
                    <a:pt x="205" y="1025"/>
                  </a:cubicBezTo>
                  <a:cubicBezTo>
                    <a:pt x="217" y="1129"/>
                    <a:pt x="217" y="1129"/>
                    <a:pt x="217" y="1129"/>
                  </a:cubicBezTo>
                  <a:cubicBezTo>
                    <a:pt x="217" y="1142"/>
                    <a:pt x="217" y="1142"/>
                    <a:pt x="217" y="1142"/>
                  </a:cubicBezTo>
                  <a:cubicBezTo>
                    <a:pt x="217" y="1142"/>
                    <a:pt x="256" y="1025"/>
                    <a:pt x="268" y="999"/>
                  </a:cubicBezTo>
                  <a:cubicBezTo>
                    <a:pt x="268" y="961"/>
                    <a:pt x="332" y="961"/>
                    <a:pt x="332" y="961"/>
                  </a:cubicBezTo>
                  <a:cubicBezTo>
                    <a:pt x="332" y="961"/>
                    <a:pt x="409" y="948"/>
                    <a:pt x="422" y="948"/>
                  </a:cubicBezTo>
                  <a:cubicBezTo>
                    <a:pt x="447" y="948"/>
                    <a:pt x="524" y="961"/>
                    <a:pt x="524" y="961"/>
                  </a:cubicBezTo>
                  <a:cubicBezTo>
                    <a:pt x="524" y="961"/>
                    <a:pt x="549" y="844"/>
                    <a:pt x="549" y="831"/>
                  </a:cubicBezTo>
                  <a:cubicBezTo>
                    <a:pt x="549" y="818"/>
                    <a:pt x="613" y="766"/>
                    <a:pt x="638" y="753"/>
                  </a:cubicBezTo>
                  <a:cubicBezTo>
                    <a:pt x="651" y="740"/>
                    <a:pt x="766" y="831"/>
                    <a:pt x="766" y="831"/>
                  </a:cubicBezTo>
                  <a:cubicBezTo>
                    <a:pt x="766" y="831"/>
                    <a:pt x="868" y="870"/>
                    <a:pt x="881" y="870"/>
                  </a:cubicBezTo>
                  <a:cubicBezTo>
                    <a:pt x="906" y="870"/>
                    <a:pt x="983" y="896"/>
                    <a:pt x="1009" y="896"/>
                  </a:cubicBezTo>
                  <a:cubicBezTo>
                    <a:pt x="1021" y="896"/>
                    <a:pt x="1060" y="805"/>
                    <a:pt x="1060" y="805"/>
                  </a:cubicBezTo>
                  <a:cubicBezTo>
                    <a:pt x="1123" y="818"/>
                    <a:pt x="1123" y="818"/>
                    <a:pt x="1123" y="818"/>
                  </a:cubicBezTo>
                  <a:cubicBezTo>
                    <a:pt x="1123" y="818"/>
                    <a:pt x="1213" y="792"/>
                    <a:pt x="1238" y="779"/>
                  </a:cubicBezTo>
                  <a:cubicBezTo>
                    <a:pt x="1264" y="753"/>
                    <a:pt x="1289" y="792"/>
                    <a:pt x="1315" y="792"/>
                  </a:cubicBezTo>
                  <a:cubicBezTo>
                    <a:pt x="1328" y="779"/>
                    <a:pt x="1366" y="753"/>
                    <a:pt x="1379" y="740"/>
                  </a:cubicBezTo>
                  <a:cubicBezTo>
                    <a:pt x="1391" y="727"/>
                    <a:pt x="1430" y="753"/>
                    <a:pt x="1468" y="753"/>
                  </a:cubicBezTo>
                  <a:cubicBezTo>
                    <a:pt x="1506" y="753"/>
                    <a:pt x="1544" y="779"/>
                    <a:pt x="1557" y="766"/>
                  </a:cubicBezTo>
                  <a:cubicBezTo>
                    <a:pt x="1583" y="740"/>
                    <a:pt x="1634" y="766"/>
                    <a:pt x="1634" y="766"/>
                  </a:cubicBezTo>
                  <a:cubicBezTo>
                    <a:pt x="1634" y="766"/>
                    <a:pt x="1634" y="766"/>
                    <a:pt x="1634" y="766"/>
                  </a:cubicBezTo>
                  <a:cubicBezTo>
                    <a:pt x="1621" y="753"/>
                    <a:pt x="1621" y="740"/>
                    <a:pt x="1608" y="740"/>
                  </a:cubicBezTo>
                </a:path>
              </a:pathLst>
            </a:custGeom>
            <a:grpFill/>
            <a:ln w="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891045"/>
              <a:endParaRPr lang="en-US" sz="1700" dirty="0">
                <a:solidFill>
                  <a:srgbClr val="003149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560" name="Freeform 463"/>
            <p:cNvSpPr>
              <a:spLocks/>
            </p:cNvSpPr>
            <p:nvPr/>
          </p:nvSpPr>
          <p:spPr bwMode="gray">
            <a:xfrm>
              <a:off x="4397" y="2883"/>
              <a:ext cx="165" cy="116"/>
            </a:xfrm>
            <a:custGeom>
              <a:avLst/>
              <a:gdLst>
                <a:gd name="T0" fmla="*/ 162 w 165"/>
                <a:gd name="T1" fmla="*/ 75 h 116"/>
                <a:gd name="T2" fmla="*/ 159 w 165"/>
                <a:gd name="T3" fmla="*/ 67 h 116"/>
                <a:gd name="T4" fmla="*/ 152 w 165"/>
                <a:gd name="T5" fmla="*/ 64 h 116"/>
                <a:gd name="T6" fmla="*/ 150 w 165"/>
                <a:gd name="T7" fmla="*/ 58 h 116"/>
                <a:gd name="T8" fmla="*/ 148 w 165"/>
                <a:gd name="T9" fmla="*/ 54 h 116"/>
                <a:gd name="T10" fmla="*/ 138 w 165"/>
                <a:gd name="T11" fmla="*/ 46 h 116"/>
                <a:gd name="T12" fmla="*/ 136 w 165"/>
                <a:gd name="T13" fmla="*/ 40 h 116"/>
                <a:gd name="T14" fmla="*/ 130 w 165"/>
                <a:gd name="T15" fmla="*/ 36 h 116"/>
                <a:gd name="T16" fmla="*/ 123 w 165"/>
                <a:gd name="T17" fmla="*/ 33 h 116"/>
                <a:gd name="T18" fmla="*/ 121 w 165"/>
                <a:gd name="T19" fmla="*/ 30 h 116"/>
                <a:gd name="T20" fmla="*/ 114 w 165"/>
                <a:gd name="T21" fmla="*/ 28 h 116"/>
                <a:gd name="T22" fmla="*/ 117 w 165"/>
                <a:gd name="T23" fmla="*/ 21 h 116"/>
                <a:gd name="T24" fmla="*/ 113 w 165"/>
                <a:gd name="T25" fmla="*/ 9 h 116"/>
                <a:gd name="T26" fmla="*/ 108 w 165"/>
                <a:gd name="T27" fmla="*/ 3 h 116"/>
                <a:gd name="T28" fmla="*/ 108 w 165"/>
                <a:gd name="T29" fmla="*/ 3 h 116"/>
                <a:gd name="T30" fmla="*/ 103 w 165"/>
                <a:gd name="T31" fmla="*/ 0 h 116"/>
                <a:gd name="T32" fmla="*/ 94 w 165"/>
                <a:gd name="T33" fmla="*/ 3 h 116"/>
                <a:gd name="T34" fmla="*/ 92 w 165"/>
                <a:gd name="T35" fmla="*/ 9 h 116"/>
                <a:gd name="T36" fmla="*/ 82 w 165"/>
                <a:gd name="T37" fmla="*/ 19 h 116"/>
                <a:gd name="T38" fmla="*/ 72 w 165"/>
                <a:gd name="T39" fmla="*/ 25 h 116"/>
                <a:gd name="T40" fmla="*/ 56 w 165"/>
                <a:gd name="T41" fmla="*/ 28 h 116"/>
                <a:gd name="T42" fmla="*/ 59 w 165"/>
                <a:gd name="T43" fmla="*/ 30 h 116"/>
                <a:gd name="T44" fmla="*/ 53 w 165"/>
                <a:gd name="T45" fmla="*/ 38 h 116"/>
                <a:gd name="T46" fmla="*/ 42 w 165"/>
                <a:gd name="T47" fmla="*/ 40 h 116"/>
                <a:gd name="T48" fmla="*/ 32 w 165"/>
                <a:gd name="T49" fmla="*/ 46 h 116"/>
                <a:gd name="T50" fmla="*/ 27 w 165"/>
                <a:gd name="T51" fmla="*/ 41 h 116"/>
                <a:gd name="T52" fmla="*/ 23 w 165"/>
                <a:gd name="T53" fmla="*/ 45 h 116"/>
                <a:gd name="T54" fmla="*/ 14 w 165"/>
                <a:gd name="T55" fmla="*/ 46 h 116"/>
                <a:gd name="T56" fmla="*/ 5 w 165"/>
                <a:gd name="T57" fmla="*/ 59 h 116"/>
                <a:gd name="T58" fmla="*/ 0 w 165"/>
                <a:gd name="T59" fmla="*/ 66 h 116"/>
                <a:gd name="T60" fmla="*/ 2 w 165"/>
                <a:gd name="T61" fmla="*/ 72 h 116"/>
                <a:gd name="T62" fmla="*/ 4 w 165"/>
                <a:gd name="T63" fmla="*/ 83 h 116"/>
                <a:gd name="T64" fmla="*/ 7 w 165"/>
                <a:gd name="T65" fmla="*/ 91 h 116"/>
                <a:gd name="T66" fmla="*/ 20 w 165"/>
                <a:gd name="T67" fmla="*/ 104 h 116"/>
                <a:gd name="T68" fmla="*/ 22 w 165"/>
                <a:gd name="T69" fmla="*/ 114 h 116"/>
                <a:gd name="T70" fmla="*/ 22 w 165"/>
                <a:gd name="T71" fmla="*/ 116 h 116"/>
                <a:gd name="T72" fmla="*/ 27 w 165"/>
                <a:gd name="T73" fmla="*/ 101 h 116"/>
                <a:gd name="T74" fmla="*/ 33 w 165"/>
                <a:gd name="T75" fmla="*/ 97 h 116"/>
                <a:gd name="T76" fmla="*/ 42 w 165"/>
                <a:gd name="T77" fmla="*/ 96 h 116"/>
                <a:gd name="T78" fmla="*/ 53 w 165"/>
                <a:gd name="T79" fmla="*/ 97 h 116"/>
                <a:gd name="T80" fmla="*/ 55 w 165"/>
                <a:gd name="T81" fmla="*/ 84 h 116"/>
                <a:gd name="T82" fmla="*/ 64 w 165"/>
                <a:gd name="T83" fmla="*/ 76 h 116"/>
                <a:gd name="T84" fmla="*/ 77 w 165"/>
                <a:gd name="T85" fmla="*/ 84 h 116"/>
                <a:gd name="T86" fmla="*/ 89 w 165"/>
                <a:gd name="T87" fmla="*/ 88 h 116"/>
                <a:gd name="T88" fmla="*/ 101 w 165"/>
                <a:gd name="T89" fmla="*/ 91 h 116"/>
                <a:gd name="T90" fmla="*/ 107 w 165"/>
                <a:gd name="T91" fmla="*/ 82 h 116"/>
                <a:gd name="T92" fmla="*/ 113 w 165"/>
                <a:gd name="T93" fmla="*/ 83 h 116"/>
                <a:gd name="T94" fmla="*/ 125 w 165"/>
                <a:gd name="T95" fmla="*/ 79 h 116"/>
                <a:gd name="T96" fmla="*/ 132 w 165"/>
                <a:gd name="T97" fmla="*/ 80 h 116"/>
                <a:gd name="T98" fmla="*/ 139 w 165"/>
                <a:gd name="T99" fmla="*/ 75 h 116"/>
                <a:gd name="T100" fmla="*/ 148 w 165"/>
                <a:gd name="T101" fmla="*/ 76 h 116"/>
                <a:gd name="T102" fmla="*/ 157 w 165"/>
                <a:gd name="T103" fmla="*/ 78 h 116"/>
                <a:gd name="T104" fmla="*/ 165 w 165"/>
                <a:gd name="T105" fmla="*/ 78 h 116"/>
                <a:gd name="T106" fmla="*/ 165 w 165"/>
                <a:gd name="T107" fmla="*/ 78 h 116"/>
                <a:gd name="T108" fmla="*/ 162 w 165"/>
                <a:gd name="T109" fmla="*/ 75 h 11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165"/>
                <a:gd name="T166" fmla="*/ 0 h 116"/>
                <a:gd name="T167" fmla="*/ 165 w 165"/>
                <a:gd name="T168" fmla="*/ 116 h 11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165" h="116">
                  <a:moveTo>
                    <a:pt x="162" y="75"/>
                  </a:moveTo>
                  <a:cubicBezTo>
                    <a:pt x="162" y="74"/>
                    <a:pt x="159" y="67"/>
                    <a:pt x="159" y="67"/>
                  </a:cubicBezTo>
                  <a:cubicBezTo>
                    <a:pt x="152" y="64"/>
                    <a:pt x="152" y="64"/>
                    <a:pt x="152" y="64"/>
                  </a:cubicBezTo>
                  <a:cubicBezTo>
                    <a:pt x="150" y="58"/>
                    <a:pt x="150" y="58"/>
                    <a:pt x="150" y="58"/>
                  </a:cubicBezTo>
                  <a:cubicBezTo>
                    <a:pt x="150" y="58"/>
                    <a:pt x="152" y="57"/>
                    <a:pt x="148" y="54"/>
                  </a:cubicBezTo>
                  <a:cubicBezTo>
                    <a:pt x="144" y="53"/>
                    <a:pt x="138" y="49"/>
                    <a:pt x="138" y="46"/>
                  </a:cubicBezTo>
                  <a:cubicBezTo>
                    <a:pt x="136" y="45"/>
                    <a:pt x="140" y="42"/>
                    <a:pt x="136" y="40"/>
                  </a:cubicBezTo>
                  <a:cubicBezTo>
                    <a:pt x="132" y="38"/>
                    <a:pt x="131" y="36"/>
                    <a:pt x="130" y="36"/>
                  </a:cubicBezTo>
                  <a:cubicBezTo>
                    <a:pt x="129" y="36"/>
                    <a:pt x="121" y="34"/>
                    <a:pt x="123" y="33"/>
                  </a:cubicBezTo>
                  <a:cubicBezTo>
                    <a:pt x="125" y="32"/>
                    <a:pt x="123" y="29"/>
                    <a:pt x="121" y="30"/>
                  </a:cubicBezTo>
                  <a:cubicBezTo>
                    <a:pt x="119" y="30"/>
                    <a:pt x="114" y="30"/>
                    <a:pt x="114" y="28"/>
                  </a:cubicBezTo>
                  <a:cubicBezTo>
                    <a:pt x="116" y="25"/>
                    <a:pt x="117" y="24"/>
                    <a:pt x="117" y="21"/>
                  </a:cubicBezTo>
                  <a:cubicBezTo>
                    <a:pt x="117" y="17"/>
                    <a:pt x="117" y="12"/>
                    <a:pt x="113" y="9"/>
                  </a:cubicBezTo>
                  <a:cubicBezTo>
                    <a:pt x="112" y="7"/>
                    <a:pt x="109" y="4"/>
                    <a:pt x="108" y="3"/>
                  </a:cubicBezTo>
                  <a:cubicBezTo>
                    <a:pt x="108" y="3"/>
                    <a:pt x="108" y="3"/>
                    <a:pt x="108" y="3"/>
                  </a:cubicBezTo>
                  <a:cubicBezTo>
                    <a:pt x="103" y="0"/>
                    <a:pt x="103" y="0"/>
                    <a:pt x="103" y="0"/>
                  </a:cubicBezTo>
                  <a:cubicBezTo>
                    <a:pt x="94" y="3"/>
                    <a:pt x="94" y="3"/>
                    <a:pt x="94" y="3"/>
                  </a:cubicBezTo>
                  <a:cubicBezTo>
                    <a:pt x="92" y="9"/>
                    <a:pt x="92" y="9"/>
                    <a:pt x="92" y="9"/>
                  </a:cubicBezTo>
                  <a:cubicBezTo>
                    <a:pt x="82" y="19"/>
                    <a:pt x="82" y="19"/>
                    <a:pt x="82" y="19"/>
                  </a:cubicBezTo>
                  <a:cubicBezTo>
                    <a:pt x="72" y="25"/>
                    <a:pt x="72" y="25"/>
                    <a:pt x="72" y="25"/>
                  </a:cubicBezTo>
                  <a:cubicBezTo>
                    <a:pt x="72" y="25"/>
                    <a:pt x="56" y="27"/>
                    <a:pt x="56" y="28"/>
                  </a:cubicBezTo>
                  <a:cubicBezTo>
                    <a:pt x="55" y="29"/>
                    <a:pt x="59" y="30"/>
                    <a:pt x="59" y="30"/>
                  </a:cubicBezTo>
                  <a:cubicBezTo>
                    <a:pt x="53" y="38"/>
                    <a:pt x="53" y="38"/>
                    <a:pt x="53" y="38"/>
                  </a:cubicBezTo>
                  <a:cubicBezTo>
                    <a:pt x="53" y="38"/>
                    <a:pt x="45" y="40"/>
                    <a:pt x="42" y="40"/>
                  </a:cubicBezTo>
                  <a:cubicBezTo>
                    <a:pt x="38" y="41"/>
                    <a:pt x="32" y="46"/>
                    <a:pt x="32" y="46"/>
                  </a:cubicBezTo>
                  <a:cubicBezTo>
                    <a:pt x="27" y="41"/>
                    <a:pt x="27" y="41"/>
                    <a:pt x="27" y="41"/>
                  </a:cubicBezTo>
                  <a:cubicBezTo>
                    <a:pt x="27" y="41"/>
                    <a:pt x="27" y="41"/>
                    <a:pt x="23" y="45"/>
                  </a:cubicBezTo>
                  <a:cubicBezTo>
                    <a:pt x="18" y="49"/>
                    <a:pt x="14" y="46"/>
                    <a:pt x="14" y="46"/>
                  </a:cubicBezTo>
                  <a:cubicBezTo>
                    <a:pt x="14" y="46"/>
                    <a:pt x="7" y="57"/>
                    <a:pt x="5" y="59"/>
                  </a:cubicBezTo>
                  <a:cubicBezTo>
                    <a:pt x="4" y="62"/>
                    <a:pt x="0" y="66"/>
                    <a:pt x="0" y="66"/>
                  </a:cubicBezTo>
                  <a:cubicBezTo>
                    <a:pt x="0" y="66"/>
                    <a:pt x="4" y="70"/>
                    <a:pt x="2" y="72"/>
                  </a:cubicBezTo>
                  <a:cubicBezTo>
                    <a:pt x="1" y="75"/>
                    <a:pt x="4" y="79"/>
                    <a:pt x="4" y="83"/>
                  </a:cubicBezTo>
                  <a:cubicBezTo>
                    <a:pt x="5" y="87"/>
                    <a:pt x="7" y="89"/>
                    <a:pt x="7" y="91"/>
                  </a:cubicBezTo>
                  <a:cubicBezTo>
                    <a:pt x="7" y="93"/>
                    <a:pt x="20" y="104"/>
                    <a:pt x="20" y="104"/>
                  </a:cubicBezTo>
                  <a:cubicBezTo>
                    <a:pt x="22" y="114"/>
                    <a:pt x="22" y="114"/>
                    <a:pt x="22" y="114"/>
                  </a:cubicBezTo>
                  <a:cubicBezTo>
                    <a:pt x="22" y="116"/>
                    <a:pt x="22" y="116"/>
                    <a:pt x="22" y="116"/>
                  </a:cubicBezTo>
                  <a:cubicBezTo>
                    <a:pt x="22" y="116"/>
                    <a:pt x="25" y="104"/>
                    <a:pt x="27" y="101"/>
                  </a:cubicBezTo>
                  <a:cubicBezTo>
                    <a:pt x="27" y="97"/>
                    <a:pt x="33" y="97"/>
                    <a:pt x="33" y="97"/>
                  </a:cubicBezTo>
                  <a:cubicBezTo>
                    <a:pt x="33" y="97"/>
                    <a:pt x="41" y="96"/>
                    <a:pt x="42" y="96"/>
                  </a:cubicBezTo>
                  <a:cubicBezTo>
                    <a:pt x="45" y="96"/>
                    <a:pt x="53" y="97"/>
                    <a:pt x="53" y="97"/>
                  </a:cubicBezTo>
                  <a:cubicBezTo>
                    <a:pt x="53" y="97"/>
                    <a:pt x="55" y="85"/>
                    <a:pt x="55" y="84"/>
                  </a:cubicBezTo>
                  <a:cubicBezTo>
                    <a:pt x="55" y="83"/>
                    <a:pt x="61" y="78"/>
                    <a:pt x="64" y="76"/>
                  </a:cubicBezTo>
                  <a:cubicBezTo>
                    <a:pt x="65" y="75"/>
                    <a:pt x="77" y="84"/>
                    <a:pt x="77" y="84"/>
                  </a:cubicBezTo>
                  <a:cubicBezTo>
                    <a:pt x="77" y="84"/>
                    <a:pt x="87" y="88"/>
                    <a:pt x="89" y="88"/>
                  </a:cubicBezTo>
                  <a:cubicBezTo>
                    <a:pt x="91" y="88"/>
                    <a:pt x="99" y="91"/>
                    <a:pt x="101" y="91"/>
                  </a:cubicBezTo>
                  <a:cubicBezTo>
                    <a:pt x="103" y="91"/>
                    <a:pt x="107" y="82"/>
                    <a:pt x="107" y="82"/>
                  </a:cubicBezTo>
                  <a:cubicBezTo>
                    <a:pt x="113" y="83"/>
                    <a:pt x="113" y="83"/>
                    <a:pt x="113" y="83"/>
                  </a:cubicBezTo>
                  <a:cubicBezTo>
                    <a:pt x="113" y="83"/>
                    <a:pt x="122" y="80"/>
                    <a:pt x="125" y="79"/>
                  </a:cubicBezTo>
                  <a:cubicBezTo>
                    <a:pt x="127" y="76"/>
                    <a:pt x="130" y="80"/>
                    <a:pt x="132" y="80"/>
                  </a:cubicBezTo>
                  <a:cubicBezTo>
                    <a:pt x="134" y="79"/>
                    <a:pt x="138" y="76"/>
                    <a:pt x="139" y="75"/>
                  </a:cubicBezTo>
                  <a:cubicBezTo>
                    <a:pt x="140" y="74"/>
                    <a:pt x="144" y="76"/>
                    <a:pt x="148" y="76"/>
                  </a:cubicBezTo>
                  <a:cubicBezTo>
                    <a:pt x="152" y="76"/>
                    <a:pt x="155" y="79"/>
                    <a:pt x="157" y="78"/>
                  </a:cubicBezTo>
                  <a:cubicBezTo>
                    <a:pt x="159" y="75"/>
                    <a:pt x="165" y="78"/>
                    <a:pt x="165" y="78"/>
                  </a:cubicBezTo>
                  <a:cubicBezTo>
                    <a:pt x="165" y="78"/>
                    <a:pt x="165" y="78"/>
                    <a:pt x="165" y="78"/>
                  </a:cubicBezTo>
                  <a:cubicBezTo>
                    <a:pt x="163" y="76"/>
                    <a:pt x="163" y="75"/>
                    <a:pt x="162" y="75"/>
                  </a:cubicBezTo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891045"/>
              <a:endParaRPr lang="en-US" sz="1700" dirty="0">
                <a:solidFill>
                  <a:srgbClr val="003149"/>
                </a:solidFill>
                <a:cs typeface="Arial" panose="020B0604020202020204" pitchFamily="34" charset="0"/>
              </a:endParaRPr>
            </a:p>
          </p:txBody>
        </p:sp>
      </p:grpSp>
      <p:grpSp>
        <p:nvGrpSpPr>
          <p:cNvPr id="561" name="Group 464"/>
          <p:cNvGrpSpPr>
            <a:grpSpLocks/>
          </p:cNvGrpSpPr>
          <p:nvPr/>
        </p:nvGrpSpPr>
        <p:grpSpPr bwMode="gray">
          <a:xfrm>
            <a:off x="1765087" y="2417017"/>
            <a:ext cx="145817" cy="183955"/>
            <a:chOff x="4643" y="2965"/>
            <a:chExt cx="99" cy="119"/>
          </a:xfrm>
          <a:solidFill>
            <a:schemeClr val="accent3"/>
          </a:solidFill>
        </p:grpSpPr>
        <p:sp>
          <p:nvSpPr>
            <p:cNvPr id="562" name="Freeform 465"/>
            <p:cNvSpPr>
              <a:spLocks/>
            </p:cNvSpPr>
            <p:nvPr/>
          </p:nvSpPr>
          <p:spPr bwMode="gray">
            <a:xfrm>
              <a:off x="4643" y="2965"/>
              <a:ext cx="99" cy="119"/>
            </a:xfrm>
            <a:custGeom>
              <a:avLst/>
              <a:gdLst>
                <a:gd name="T0" fmla="*/ 0 w 983"/>
                <a:gd name="T1" fmla="*/ 0 h 1183"/>
                <a:gd name="T2" fmla="*/ 0 w 983"/>
                <a:gd name="T3" fmla="*/ 0 h 1183"/>
                <a:gd name="T4" fmla="*/ 0 w 983"/>
                <a:gd name="T5" fmla="*/ 0 h 1183"/>
                <a:gd name="T6" fmla="*/ 0 w 983"/>
                <a:gd name="T7" fmla="*/ 0 h 1183"/>
                <a:gd name="T8" fmla="*/ 0 w 983"/>
                <a:gd name="T9" fmla="*/ 0 h 1183"/>
                <a:gd name="T10" fmla="*/ 0 w 983"/>
                <a:gd name="T11" fmla="*/ 0 h 1183"/>
                <a:gd name="T12" fmla="*/ 0 w 983"/>
                <a:gd name="T13" fmla="*/ 0 h 1183"/>
                <a:gd name="T14" fmla="*/ 0 w 983"/>
                <a:gd name="T15" fmla="*/ 0 h 1183"/>
                <a:gd name="T16" fmla="*/ 0 w 983"/>
                <a:gd name="T17" fmla="*/ 0 h 1183"/>
                <a:gd name="T18" fmla="*/ 0 w 983"/>
                <a:gd name="T19" fmla="*/ 0 h 1183"/>
                <a:gd name="T20" fmla="*/ 0 w 983"/>
                <a:gd name="T21" fmla="*/ 0 h 1183"/>
                <a:gd name="T22" fmla="*/ 0 w 983"/>
                <a:gd name="T23" fmla="*/ 0 h 1183"/>
                <a:gd name="T24" fmla="*/ 0 w 983"/>
                <a:gd name="T25" fmla="*/ 0 h 1183"/>
                <a:gd name="T26" fmla="*/ 0 w 983"/>
                <a:gd name="T27" fmla="*/ 0 h 1183"/>
                <a:gd name="T28" fmla="*/ 0 w 983"/>
                <a:gd name="T29" fmla="*/ 0 h 1183"/>
                <a:gd name="T30" fmla="*/ 0 w 983"/>
                <a:gd name="T31" fmla="*/ 0 h 1183"/>
                <a:gd name="T32" fmla="*/ 0 w 983"/>
                <a:gd name="T33" fmla="*/ 0 h 1183"/>
                <a:gd name="T34" fmla="*/ 0 w 983"/>
                <a:gd name="T35" fmla="*/ 0 h 1183"/>
                <a:gd name="T36" fmla="*/ 0 w 983"/>
                <a:gd name="T37" fmla="*/ 0 h 1183"/>
                <a:gd name="T38" fmla="*/ 0 w 983"/>
                <a:gd name="T39" fmla="*/ 0 h 1183"/>
                <a:gd name="T40" fmla="*/ 0 w 983"/>
                <a:gd name="T41" fmla="*/ 0 h 1183"/>
                <a:gd name="T42" fmla="*/ 0 w 983"/>
                <a:gd name="T43" fmla="*/ 0 h 1183"/>
                <a:gd name="T44" fmla="*/ 0 w 983"/>
                <a:gd name="T45" fmla="*/ 0 h 1183"/>
                <a:gd name="T46" fmla="*/ 0 w 983"/>
                <a:gd name="T47" fmla="*/ 0 h 1183"/>
                <a:gd name="T48" fmla="*/ 0 w 983"/>
                <a:gd name="T49" fmla="*/ 0 h 1183"/>
                <a:gd name="T50" fmla="*/ 0 w 983"/>
                <a:gd name="T51" fmla="*/ 0 h 1183"/>
                <a:gd name="T52" fmla="*/ 0 w 983"/>
                <a:gd name="T53" fmla="*/ 0 h 1183"/>
                <a:gd name="T54" fmla="*/ 0 w 983"/>
                <a:gd name="T55" fmla="*/ 0 h 1183"/>
                <a:gd name="T56" fmla="*/ 0 w 983"/>
                <a:gd name="T57" fmla="*/ 0 h 1183"/>
                <a:gd name="T58" fmla="*/ 0 w 983"/>
                <a:gd name="T59" fmla="*/ 0 h 1183"/>
                <a:gd name="T60" fmla="*/ 0 w 983"/>
                <a:gd name="T61" fmla="*/ 0 h 1183"/>
                <a:gd name="T62" fmla="*/ 0 w 983"/>
                <a:gd name="T63" fmla="*/ 0 h 1183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983"/>
                <a:gd name="T97" fmla="*/ 0 h 1183"/>
                <a:gd name="T98" fmla="*/ 983 w 983"/>
                <a:gd name="T99" fmla="*/ 1183 h 1183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983" h="1183">
                  <a:moveTo>
                    <a:pt x="883" y="229"/>
                  </a:moveTo>
                  <a:cubicBezTo>
                    <a:pt x="983" y="89"/>
                    <a:pt x="983" y="89"/>
                    <a:pt x="983" y="89"/>
                  </a:cubicBezTo>
                  <a:cubicBezTo>
                    <a:pt x="971" y="89"/>
                    <a:pt x="908" y="89"/>
                    <a:pt x="908" y="89"/>
                  </a:cubicBezTo>
                  <a:cubicBezTo>
                    <a:pt x="857" y="38"/>
                    <a:pt x="857" y="38"/>
                    <a:pt x="857" y="38"/>
                  </a:cubicBezTo>
                  <a:cubicBezTo>
                    <a:pt x="857" y="38"/>
                    <a:pt x="757" y="89"/>
                    <a:pt x="731" y="102"/>
                  </a:cubicBezTo>
                  <a:cubicBezTo>
                    <a:pt x="719" y="114"/>
                    <a:pt x="719" y="152"/>
                    <a:pt x="706" y="152"/>
                  </a:cubicBezTo>
                  <a:cubicBezTo>
                    <a:pt x="694" y="140"/>
                    <a:pt x="605" y="127"/>
                    <a:pt x="567" y="127"/>
                  </a:cubicBezTo>
                  <a:cubicBezTo>
                    <a:pt x="530" y="140"/>
                    <a:pt x="467" y="76"/>
                    <a:pt x="467" y="76"/>
                  </a:cubicBezTo>
                  <a:cubicBezTo>
                    <a:pt x="467" y="76"/>
                    <a:pt x="366" y="13"/>
                    <a:pt x="341" y="13"/>
                  </a:cubicBezTo>
                  <a:cubicBezTo>
                    <a:pt x="315" y="13"/>
                    <a:pt x="265" y="0"/>
                    <a:pt x="265" y="0"/>
                  </a:cubicBezTo>
                  <a:cubicBezTo>
                    <a:pt x="63" y="0"/>
                    <a:pt x="63" y="0"/>
                    <a:pt x="63" y="0"/>
                  </a:cubicBezTo>
                  <a:cubicBezTo>
                    <a:pt x="13" y="51"/>
                    <a:pt x="13" y="51"/>
                    <a:pt x="13" y="51"/>
                  </a:cubicBezTo>
                  <a:cubicBezTo>
                    <a:pt x="25" y="76"/>
                    <a:pt x="25" y="76"/>
                    <a:pt x="25" y="76"/>
                  </a:cubicBezTo>
                  <a:cubicBezTo>
                    <a:pt x="25" y="76"/>
                    <a:pt x="76" y="114"/>
                    <a:pt x="76" y="140"/>
                  </a:cubicBezTo>
                  <a:cubicBezTo>
                    <a:pt x="76" y="152"/>
                    <a:pt x="76" y="203"/>
                    <a:pt x="114" y="229"/>
                  </a:cubicBezTo>
                  <a:cubicBezTo>
                    <a:pt x="151" y="267"/>
                    <a:pt x="126" y="305"/>
                    <a:pt x="139" y="369"/>
                  </a:cubicBezTo>
                  <a:cubicBezTo>
                    <a:pt x="151" y="432"/>
                    <a:pt x="88" y="445"/>
                    <a:pt x="63" y="458"/>
                  </a:cubicBezTo>
                  <a:cubicBezTo>
                    <a:pt x="51" y="483"/>
                    <a:pt x="13" y="534"/>
                    <a:pt x="0" y="560"/>
                  </a:cubicBezTo>
                  <a:cubicBezTo>
                    <a:pt x="38" y="585"/>
                    <a:pt x="76" y="598"/>
                    <a:pt x="76" y="623"/>
                  </a:cubicBezTo>
                  <a:cubicBezTo>
                    <a:pt x="63" y="649"/>
                    <a:pt x="38" y="674"/>
                    <a:pt x="13" y="712"/>
                  </a:cubicBezTo>
                  <a:cubicBezTo>
                    <a:pt x="13" y="712"/>
                    <a:pt x="13" y="712"/>
                    <a:pt x="13" y="712"/>
                  </a:cubicBezTo>
                  <a:cubicBezTo>
                    <a:pt x="467" y="954"/>
                    <a:pt x="467" y="954"/>
                    <a:pt x="467" y="954"/>
                  </a:cubicBezTo>
                  <a:cubicBezTo>
                    <a:pt x="467" y="954"/>
                    <a:pt x="479" y="1018"/>
                    <a:pt x="479" y="1030"/>
                  </a:cubicBezTo>
                  <a:cubicBezTo>
                    <a:pt x="479" y="1043"/>
                    <a:pt x="567" y="1107"/>
                    <a:pt x="580" y="1120"/>
                  </a:cubicBezTo>
                  <a:cubicBezTo>
                    <a:pt x="605" y="1132"/>
                    <a:pt x="656" y="1183"/>
                    <a:pt x="656" y="1183"/>
                  </a:cubicBezTo>
                  <a:cubicBezTo>
                    <a:pt x="681" y="1170"/>
                    <a:pt x="719" y="1056"/>
                    <a:pt x="719" y="1043"/>
                  </a:cubicBezTo>
                  <a:cubicBezTo>
                    <a:pt x="731" y="1030"/>
                    <a:pt x="757" y="1018"/>
                    <a:pt x="782" y="941"/>
                  </a:cubicBezTo>
                  <a:cubicBezTo>
                    <a:pt x="794" y="865"/>
                    <a:pt x="820" y="903"/>
                    <a:pt x="845" y="890"/>
                  </a:cubicBezTo>
                  <a:cubicBezTo>
                    <a:pt x="870" y="890"/>
                    <a:pt x="870" y="840"/>
                    <a:pt x="895" y="840"/>
                  </a:cubicBezTo>
                  <a:cubicBezTo>
                    <a:pt x="908" y="827"/>
                    <a:pt x="958" y="789"/>
                    <a:pt x="958" y="789"/>
                  </a:cubicBezTo>
                  <a:cubicBezTo>
                    <a:pt x="883" y="687"/>
                    <a:pt x="883" y="687"/>
                    <a:pt x="883" y="687"/>
                  </a:cubicBezTo>
                  <a:lnTo>
                    <a:pt x="883" y="229"/>
                  </a:lnTo>
                  <a:close/>
                </a:path>
              </a:pathLst>
            </a:custGeom>
            <a:grpFill/>
            <a:ln w="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891045"/>
              <a:endParaRPr lang="en-US" sz="1700" dirty="0">
                <a:solidFill>
                  <a:srgbClr val="003149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563" name="Freeform 466"/>
            <p:cNvSpPr>
              <a:spLocks/>
            </p:cNvSpPr>
            <p:nvPr/>
          </p:nvSpPr>
          <p:spPr bwMode="gray">
            <a:xfrm>
              <a:off x="4643" y="2965"/>
              <a:ext cx="99" cy="119"/>
            </a:xfrm>
            <a:custGeom>
              <a:avLst/>
              <a:gdLst>
                <a:gd name="T0" fmla="*/ 0 w 983"/>
                <a:gd name="T1" fmla="*/ 0 h 1183"/>
                <a:gd name="T2" fmla="*/ 0 w 983"/>
                <a:gd name="T3" fmla="*/ 0 h 1183"/>
                <a:gd name="T4" fmla="*/ 0 w 983"/>
                <a:gd name="T5" fmla="*/ 0 h 1183"/>
                <a:gd name="T6" fmla="*/ 0 w 983"/>
                <a:gd name="T7" fmla="*/ 0 h 1183"/>
                <a:gd name="T8" fmla="*/ 0 w 983"/>
                <a:gd name="T9" fmla="*/ 0 h 1183"/>
                <a:gd name="T10" fmla="*/ 0 w 983"/>
                <a:gd name="T11" fmla="*/ 0 h 1183"/>
                <a:gd name="T12" fmla="*/ 0 w 983"/>
                <a:gd name="T13" fmla="*/ 0 h 1183"/>
                <a:gd name="T14" fmla="*/ 0 w 983"/>
                <a:gd name="T15" fmla="*/ 0 h 1183"/>
                <a:gd name="T16" fmla="*/ 0 w 983"/>
                <a:gd name="T17" fmla="*/ 0 h 1183"/>
                <a:gd name="T18" fmla="*/ 0 w 983"/>
                <a:gd name="T19" fmla="*/ 0 h 1183"/>
                <a:gd name="T20" fmla="*/ 0 w 983"/>
                <a:gd name="T21" fmla="*/ 0 h 1183"/>
                <a:gd name="T22" fmla="*/ 0 w 983"/>
                <a:gd name="T23" fmla="*/ 0 h 1183"/>
                <a:gd name="T24" fmla="*/ 0 w 983"/>
                <a:gd name="T25" fmla="*/ 0 h 1183"/>
                <a:gd name="T26" fmla="*/ 0 w 983"/>
                <a:gd name="T27" fmla="*/ 0 h 1183"/>
                <a:gd name="T28" fmla="*/ 0 w 983"/>
                <a:gd name="T29" fmla="*/ 0 h 1183"/>
                <a:gd name="T30" fmla="*/ 0 w 983"/>
                <a:gd name="T31" fmla="*/ 0 h 1183"/>
                <a:gd name="T32" fmla="*/ 0 w 983"/>
                <a:gd name="T33" fmla="*/ 0 h 1183"/>
                <a:gd name="T34" fmla="*/ 0 w 983"/>
                <a:gd name="T35" fmla="*/ 0 h 1183"/>
                <a:gd name="T36" fmla="*/ 0 w 983"/>
                <a:gd name="T37" fmla="*/ 0 h 1183"/>
                <a:gd name="T38" fmla="*/ 0 w 983"/>
                <a:gd name="T39" fmla="*/ 0 h 1183"/>
                <a:gd name="T40" fmla="*/ 0 w 983"/>
                <a:gd name="T41" fmla="*/ 0 h 1183"/>
                <a:gd name="T42" fmla="*/ 0 w 983"/>
                <a:gd name="T43" fmla="*/ 0 h 1183"/>
                <a:gd name="T44" fmla="*/ 0 w 983"/>
                <a:gd name="T45" fmla="*/ 0 h 1183"/>
                <a:gd name="T46" fmla="*/ 0 w 983"/>
                <a:gd name="T47" fmla="*/ 0 h 1183"/>
                <a:gd name="T48" fmla="*/ 0 w 983"/>
                <a:gd name="T49" fmla="*/ 0 h 1183"/>
                <a:gd name="T50" fmla="*/ 0 w 983"/>
                <a:gd name="T51" fmla="*/ 0 h 1183"/>
                <a:gd name="T52" fmla="*/ 0 w 983"/>
                <a:gd name="T53" fmla="*/ 0 h 1183"/>
                <a:gd name="T54" fmla="*/ 0 w 983"/>
                <a:gd name="T55" fmla="*/ 0 h 1183"/>
                <a:gd name="T56" fmla="*/ 0 w 983"/>
                <a:gd name="T57" fmla="*/ 0 h 1183"/>
                <a:gd name="T58" fmla="*/ 0 w 983"/>
                <a:gd name="T59" fmla="*/ 0 h 1183"/>
                <a:gd name="T60" fmla="*/ 0 w 983"/>
                <a:gd name="T61" fmla="*/ 0 h 1183"/>
                <a:gd name="T62" fmla="*/ 0 w 983"/>
                <a:gd name="T63" fmla="*/ 0 h 1183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983"/>
                <a:gd name="T97" fmla="*/ 0 h 1183"/>
                <a:gd name="T98" fmla="*/ 983 w 983"/>
                <a:gd name="T99" fmla="*/ 1183 h 1183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983" h="1183">
                  <a:moveTo>
                    <a:pt x="883" y="229"/>
                  </a:moveTo>
                  <a:cubicBezTo>
                    <a:pt x="983" y="89"/>
                    <a:pt x="983" y="89"/>
                    <a:pt x="983" y="89"/>
                  </a:cubicBezTo>
                  <a:cubicBezTo>
                    <a:pt x="971" y="89"/>
                    <a:pt x="908" y="89"/>
                    <a:pt x="908" y="89"/>
                  </a:cubicBezTo>
                  <a:cubicBezTo>
                    <a:pt x="857" y="38"/>
                    <a:pt x="857" y="38"/>
                    <a:pt x="857" y="38"/>
                  </a:cubicBezTo>
                  <a:cubicBezTo>
                    <a:pt x="857" y="38"/>
                    <a:pt x="757" y="89"/>
                    <a:pt x="731" y="102"/>
                  </a:cubicBezTo>
                  <a:cubicBezTo>
                    <a:pt x="719" y="114"/>
                    <a:pt x="719" y="152"/>
                    <a:pt x="706" y="152"/>
                  </a:cubicBezTo>
                  <a:cubicBezTo>
                    <a:pt x="694" y="140"/>
                    <a:pt x="605" y="127"/>
                    <a:pt x="567" y="127"/>
                  </a:cubicBezTo>
                  <a:cubicBezTo>
                    <a:pt x="530" y="140"/>
                    <a:pt x="467" y="76"/>
                    <a:pt x="467" y="76"/>
                  </a:cubicBezTo>
                  <a:cubicBezTo>
                    <a:pt x="467" y="76"/>
                    <a:pt x="366" y="13"/>
                    <a:pt x="341" y="13"/>
                  </a:cubicBezTo>
                  <a:cubicBezTo>
                    <a:pt x="315" y="13"/>
                    <a:pt x="265" y="0"/>
                    <a:pt x="265" y="0"/>
                  </a:cubicBezTo>
                  <a:cubicBezTo>
                    <a:pt x="63" y="0"/>
                    <a:pt x="63" y="0"/>
                    <a:pt x="63" y="0"/>
                  </a:cubicBezTo>
                  <a:cubicBezTo>
                    <a:pt x="13" y="51"/>
                    <a:pt x="13" y="51"/>
                    <a:pt x="13" y="51"/>
                  </a:cubicBezTo>
                  <a:cubicBezTo>
                    <a:pt x="25" y="76"/>
                    <a:pt x="25" y="76"/>
                    <a:pt x="25" y="76"/>
                  </a:cubicBezTo>
                  <a:cubicBezTo>
                    <a:pt x="25" y="76"/>
                    <a:pt x="76" y="114"/>
                    <a:pt x="76" y="140"/>
                  </a:cubicBezTo>
                  <a:cubicBezTo>
                    <a:pt x="76" y="152"/>
                    <a:pt x="76" y="203"/>
                    <a:pt x="114" y="229"/>
                  </a:cubicBezTo>
                  <a:cubicBezTo>
                    <a:pt x="151" y="267"/>
                    <a:pt x="126" y="305"/>
                    <a:pt x="139" y="369"/>
                  </a:cubicBezTo>
                  <a:cubicBezTo>
                    <a:pt x="151" y="432"/>
                    <a:pt x="88" y="445"/>
                    <a:pt x="63" y="458"/>
                  </a:cubicBezTo>
                  <a:cubicBezTo>
                    <a:pt x="51" y="483"/>
                    <a:pt x="13" y="534"/>
                    <a:pt x="0" y="560"/>
                  </a:cubicBezTo>
                  <a:cubicBezTo>
                    <a:pt x="38" y="585"/>
                    <a:pt x="76" y="598"/>
                    <a:pt x="76" y="623"/>
                  </a:cubicBezTo>
                  <a:cubicBezTo>
                    <a:pt x="63" y="649"/>
                    <a:pt x="38" y="674"/>
                    <a:pt x="13" y="712"/>
                  </a:cubicBezTo>
                  <a:cubicBezTo>
                    <a:pt x="13" y="712"/>
                    <a:pt x="13" y="712"/>
                    <a:pt x="13" y="712"/>
                  </a:cubicBezTo>
                  <a:cubicBezTo>
                    <a:pt x="467" y="954"/>
                    <a:pt x="467" y="954"/>
                    <a:pt x="467" y="954"/>
                  </a:cubicBezTo>
                  <a:cubicBezTo>
                    <a:pt x="467" y="954"/>
                    <a:pt x="479" y="1018"/>
                    <a:pt x="479" y="1030"/>
                  </a:cubicBezTo>
                  <a:cubicBezTo>
                    <a:pt x="479" y="1043"/>
                    <a:pt x="567" y="1107"/>
                    <a:pt x="580" y="1120"/>
                  </a:cubicBezTo>
                  <a:cubicBezTo>
                    <a:pt x="605" y="1132"/>
                    <a:pt x="656" y="1183"/>
                    <a:pt x="656" y="1183"/>
                  </a:cubicBezTo>
                  <a:cubicBezTo>
                    <a:pt x="681" y="1170"/>
                    <a:pt x="719" y="1056"/>
                    <a:pt x="719" y="1043"/>
                  </a:cubicBezTo>
                  <a:cubicBezTo>
                    <a:pt x="731" y="1030"/>
                    <a:pt x="757" y="1018"/>
                    <a:pt x="782" y="941"/>
                  </a:cubicBezTo>
                  <a:cubicBezTo>
                    <a:pt x="794" y="865"/>
                    <a:pt x="820" y="903"/>
                    <a:pt x="845" y="890"/>
                  </a:cubicBezTo>
                  <a:cubicBezTo>
                    <a:pt x="870" y="890"/>
                    <a:pt x="870" y="840"/>
                    <a:pt x="895" y="840"/>
                  </a:cubicBezTo>
                  <a:cubicBezTo>
                    <a:pt x="908" y="827"/>
                    <a:pt x="958" y="789"/>
                    <a:pt x="958" y="789"/>
                  </a:cubicBezTo>
                  <a:cubicBezTo>
                    <a:pt x="883" y="687"/>
                    <a:pt x="883" y="687"/>
                    <a:pt x="883" y="687"/>
                  </a:cubicBezTo>
                  <a:lnTo>
                    <a:pt x="883" y="229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891045"/>
              <a:endParaRPr lang="en-US" sz="1700" dirty="0">
                <a:solidFill>
                  <a:srgbClr val="003149"/>
                </a:solidFill>
                <a:cs typeface="Arial" panose="020B0604020202020204" pitchFamily="34" charset="0"/>
              </a:endParaRPr>
            </a:p>
          </p:txBody>
        </p:sp>
      </p:grpSp>
      <p:grpSp>
        <p:nvGrpSpPr>
          <p:cNvPr id="564" name="Group 467"/>
          <p:cNvGrpSpPr>
            <a:grpSpLocks/>
          </p:cNvGrpSpPr>
          <p:nvPr/>
        </p:nvGrpSpPr>
        <p:grpSpPr bwMode="gray">
          <a:xfrm>
            <a:off x="1669551" y="2528634"/>
            <a:ext cx="38969" cy="35523"/>
            <a:chOff x="4578" y="3037"/>
            <a:chExt cx="26" cy="23"/>
          </a:xfrm>
          <a:solidFill>
            <a:schemeClr val="accent3"/>
          </a:solidFill>
        </p:grpSpPr>
        <p:sp>
          <p:nvSpPr>
            <p:cNvPr id="565" name="Freeform 468"/>
            <p:cNvSpPr>
              <a:spLocks/>
            </p:cNvSpPr>
            <p:nvPr/>
          </p:nvSpPr>
          <p:spPr bwMode="gray">
            <a:xfrm>
              <a:off x="4578" y="3037"/>
              <a:ext cx="26" cy="23"/>
            </a:xfrm>
            <a:custGeom>
              <a:avLst/>
              <a:gdLst>
                <a:gd name="T0" fmla="*/ 0 w 267"/>
                <a:gd name="T1" fmla="*/ 0 h 225"/>
                <a:gd name="T2" fmla="*/ 0 w 267"/>
                <a:gd name="T3" fmla="*/ 0 h 225"/>
                <a:gd name="T4" fmla="*/ 0 w 267"/>
                <a:gd name="T5" fmla="*/ 0 h 225"/>
                <a:gd name="T6" fmla="*/ 0 w 267"/>
                <a:gd name="T7" fmla="*/ 0 h 225"/>
                <a:gd name="T8" fmla="*/ 0 w 267"/>
                <a:gd name="T9" fmla="*/ 0 h 225"/>
                <a:gd name="T10" fmla="*/ 0 w 267"/>
                <a:gd name="T11" fmla="*/ 0 h 225"/>
                <a:gd name="T12" fmla="*/ 0 w 267"/>
                <a:gd name="T13" fmla="*/ 0 h 225"/>
                <a:gd name="T14" fmla="*/ 0 w 267"/>
                <a:gd name="T15" fmla="*/ 0 h 225"/>
                <a:gd name="T16" fmla="*/ 0 w 267"/>
                <a:gd name="T17" fmla="*/ 0 h 225"/>
                <a:gd name="T18" fmla="*/ 0 w 267"/>
                <a:gd name="T19" fmla="*/ 0 h 225"/>
                <a:gd name="T20" fmla="*/ 0 w 267"/>
                <a:gd name="T21" fmla="*/ 0 h 225"/>
                <a:gd name="T22" fmla="*/ 0 w 267"/>
                <a:gd name="T23" fmla="*/ 0 h 225"/>
                <a:gd name="T24" fmla="*/ 0 w 267"/>
                <a:gd name="T25" fmla="*/ 0 h 225"/>
                <a:gd name="T26" fmla="*/ 0 w 267"/>
                <a:gd name="T27" fmla="*/ 0 h 225"/>
                <a:gd name="T28" fmla="*/ 0 w 267"/>
                <a:gd name="T29" fmla="*/ 0 h 225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267"/>
                <a:gd name="T46" fmla="*/ 0 h 225"/>
                <a:gd name="T47" fmla="*/ 267 w 267"/>
                <a:gd name="T48" fmla="*/ 225 h 225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267" h="225">
                  <a:moveTo>
                    <a:pt x="216" y="27"/>
                  </a:moveTo>
                  <a:cubicBezTo>
                    <a:pt x="203" y="0"/>
                    <a:pt x="203" y="0"/>
                    <a:pt x="203" y="0"/>
                  </a:cubicBezTo>
                  <a:cubicBezTo>
                    <a:pt x="203" y="0"/>
                    <a:pt x="203" y="0"/>
                    <a:pt x="203" y="0"/>
                  </a:cubicBezTo>
                  <a:cubicBezTo>
                    <a:pt x="191" y="14"/>
                    <a:pt x="153" y="40"/>
                    <a:pt x="153" y="40"/>
                  </a:cubicBezTo>
                  <a:cubicBezTo>
                    <a:pt x="114" y="40"/>
                    <a:pt x="114" y="40"/>
                    <a:pt x="114" y="40"/>
                  </a:cubicBezTo>
                  <a:cubicBezTo>
                    <a:pt x="114" y="40"/>
                    <a:pt x="102" y="40"/>
                    <a:pt x="102" y="40"/>
                  </a:cubicBezTo>
                  <a:cubicBezTo>
                    <a:pt x="64" y="53"/>
                    <a:pt x="51" y="93"/>
                    <a:pt x="51" y="93"/>
                  </a:cubicBezTo>
                  <a:cubicBezTo>
                    <a:pt x="51" y="93"/>
                    <a:pt x="26" y="159"/>
                    <a:pt x="13" y="173"/>
                  </a:cubicBezTo>
                  <a:cubicBezTo>
                    <a:pt x="0" y="186"/>
                    <a:pt x="38" y="199"/>
                    <a:pt x="38" y="199"/>
                  </a:cubicBezTo>
                  <a:cubicBezTo>
                    <a:pt x="64" y="225"/>
                    <a:pt x="64" y="225"/>
                    <a:pt x="64" y="225"/>
                  </a:cubicBezTo>
                  <a:cubicBezTo>
                    <a:pt x="140" y="212"/>
                    <a:pt x="140" y="212"/>
                    <a:pt x="140" y="212"/>
                  </a:cubicBezTo>
                  <a:cubicBezTo>
                    <a:pt x="140" y="212"/>
                    <a:pt x="140" y="173"/>
                    <a:pt x="153" y="173"/>
                  </a:cubicBezTo>
                  <a:cubicBezTo>
                    <a:pt x="165" y="173"/>
                    <a:pt x="216" y="173"/>
                    <a:pt x="241" y="173"/>
                  </a:cubicBezTo>
                  <a:cubicBezTo>
                    <a:pt x="267" y="173"/>
                    <a:pt x="254" y="133"/>
                    <a:pt x="254" y="106"/>
                  </a:cubicBezTo>
                  <a:cubicBezTo>
                    <a:pt x="254" y="80"/>
                    <a:pt x="216" y="27"/>
                    <a:pt x="216" y="27"/>
                  </a:cubicBezTo>
                </a:path>
              </a:pathLst>
            </a:custGeom>
            <a:grpFill/>
            <a:ln w="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891045"/>
              <a:endParaRPr lang="en-US" sz="1700" dirty="0">
                <a:solidFill>
                  <a:srgbClr val="003149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566" name="Freeform 469"/>
            <p:cNvSpPr>
              <a:spLocks/>
            </p:cNvSpPr>
            <p:nvPr/>
          </p:nvSpPr>
          <p:spPr bwMode="gray">
            <a:xfrm>
              <a:off x="4578" y="3037"/>
              <a:ext cx="26" cy="23"/>
            </a:xfrm>
            <a:custGeom>
              <a:avLst/>
              <a:gdLst>
                <a:gd name="T0" fmla="*/ 21 w 26"/>
                <a:gd name="T1" fmla="*/ 3 h 23"/>
                <a:gd name="T2" fmla="*/ 20 w 26"/>
                <a:gd name="T3" fmla="*/ 0 h 23"/>
                <a:gd name="T4" fmla="*/ 20 w 26"/>
                <a:gd name="T5" fmla="*/ 0 h 23"/>
                <a:gd name="T6" fmla="*/ 15 w 26"/>
                <a:gd name="T7" fmla="*/ 4 h 23"/>
                <a:gd name="T8" fmla="*/ 11 w 26"/>
                <a:gd name="T9" fmla="*/ 4 h 23"/>
                <a:gd name="T10" fmla="*/ 10 w 26"/>
                <a:gd name="T11" fmla="*/ 4 h 23"/>
                <a:gd name="T12" fmla="*/ 5 w 26"/>
                <a:gd name="T13" fmla="*/ 10 h 23"/>
                <a:gd name="T14" fmla="*/ 1 w 26"/>
                <a:gd name="T15" fmla="*/ 18 h 23"/>
                <a:gd name="T16" fmla="*/ 3 w 26"/>
                <a:gd name="T17" fmla="*/ 20 h 23"/>
                <a:gd name="T18" fmla="*/ 6 w 26"/>
                <a:gd name="T19" fmla="*/ 23 h 23"/>
                <a:gd name="T20" fmla="*/ 14 w 26"/>
                <a:gd name="T21" fmla="*/ 22 h 23"/>
                <a:gd name="T22" fmla="*/ 15 w 26"/>
                <a:gd name="T23" fmla="*/ 18 h 23"/>
                <a:gd name="T24" fmla="*/ 24 w 26"/>
                <a:gd name="T25" fmla="*/ 18 h 23"/>
                <a:gd name="T26" fmla="*/ 25 w 26"/>
                <a:gd name="T27" fmla="*/ 11 h 23"/>
                <a:gd name="T28" fmla="*/ 21 w 26"/>
                <a:gd name="T29" fmla="*/ 3 h 23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26"/>
                <a:gd name="T46" fmla="*/ 0 h 23"/>
                <a:gd name="T47" fmla="*/ 26 w 26"/>
                <a:gd name="T48" fmla="*/ 23 h 23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26" h="23">
                  <a:moveTo>
                    <a:pt x="21" y="3"/>
                  </a:moveTo>
                  <a:cubicBezTo>
                    <a:pt x="20" y="0"/>
                    <a:pt x="20" y="0"/>
                    <a:pt x="20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19" y="2"/>
                    <a:pt x="15" y="4"/>
                    <a:pt x="15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4"/>
                    <a:pt x="10" y="4"/>
                    <a:pt x="10" y="4"/>
                  </a:cubicBezTo>
                  <a:cubicBezTo>
                    <a:pt x="6" y="6"/>
                    <a:pt x="5" y="10"/>
                    <a:pt x="5" y="10"/>
                  </a:cubicBezTo>
                  <a:cubicBezTo>
                    <a:pt x="5" y="10"/>
                    <a:pt x="2" y="16"/>
                    <a:pt x="1" y="18"/>
                  </a:cubicBezTo>
                  <a:cubicBezTo>
                    <a:pt x="0" y="19"/>
                    <a:pt x="3" y="20"/>
                    <a:pt x="3" y="20"/>
                  </a:cubicBezTo>
                  <a:cubicBezTo>
                    <a:pt x="6" y="23"/>
                    <a:pt x="6" y="23"/>
                    <a:pt x="6" y="23"/>
                  </a:cubicBezTo>
                  <a:cubicBezTo>
                    <a:pt x="14" y="22"/>
                    <a:pt x="14" y="22"/>
                    <a:pt x="14" y="22"/>
                  </a:cubicBezTo>
                  <a:cubicBezTo>
                    <a:pt x="14" y="22"/>
                    <a:pt x="14" y="18"/>
                    <a:pt x="15" y="18"/>
                  </a:cubicBezTo>
                  <a:cubicBezTo>
                    <a:pt x="16" y="18"/>
                    <a:pt x="21" y="18"/>
                    <a:pt x="24" y="18"/>
                  </a:cubicBezTo>
                  <a:cubicBezTo>
                    <a:pt x="26" y="18"/>
                    <a:pt x="25" y="14"/>
                    <a:pt x="25" y="11"/>
                  </a:cubicBezTo>
                  <a:cubicBezTo>
                    <a:pt x="25" y="8"/>
                    <a:pt x="21" y="3"/>
                    <a:pt x="21" y="3"/>
                  </a:cubicBezTo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891045"/>
              <a:endParaRPr lang="en-US" sz="1700" dirty="0">
                <a:solidFill>
                  <a:srgbClr val="003149"/>
                </a:solidFill>
                <a:cs typeface="Arial" panose="020B0604020202020204" pitchFamily="34" charset="0"/>
              </a:endParaRPr>
            </a:p>
          </p:txBody>
        </p:sp>
      </p:grpSp>
      <p:grpSp>
        <p:nvGrpSpPr>
          <p:cNvPr id="567" name="Group 470"/>
          <p:cNvGrpSpPr>
            <a:grpSpLocks/>
          </p:cNvGrpSpPr>
          <p:nvPr/>
        </p:nvGrpSpPr>
        <p:grpSpPr bwMode="gray">
          <a:xfrm>
            <a:off x="1673300" y="2557819"/>
            <a:ext cx="35197" cy="41866"/>
            <a:chOff x="4580" y="3056"/>
            <a:chExt cx="24" cy="27"/>
          </a:xfrm>
          <a:solidFill>
            <a:schemeClr val="accent3"/>
          </a:solidFill>
        </p:grpSpPr>
        <p:sp>
          <p:nvSpPr>
            <p:cNvPr id="568" name="Freeform 471"/>
            <p:cNvSpPr>
              <a:spLocks/>
            </p:cNvSpPr>
            <p:nvPr/>
          </p:nvSpPr>
          <p:spPr bwMode="gray">
            <a:xfrm>
              <a:off x="4580" y="3056"/>
              <a:ext cx="24" cy="27"/>
            </a:xfrm>
            <a:custGeom>
              <a:avLst/>
              <a:gdLst>
                <a:gd name="T0" fmla="*/ 0 w 242"/>
                <a:gd name="T1" fmla="*/ 0 h 266"/>
                <a:gd name="T2" fmla="*/ 0 w 242"/>
                <a:gd name="T3" fmla="*/ 0 h 266"/>
                <a:gd name="T4" fmla="*/ 0 w 242"/>
                <a:gd name="T5" fmla="*/ 0 h 266"/>
                <a:gd name="T6" fmla="*/ 0 w 242"/>
                <a:gd name="T7" fmla="*/ 0 h 266"/>
                <a:gd name="T8" fmla="*/ 0 w 242"/>
                <a:gd name="T9" fmla="*/ 0 h 266"/>
                <a:gd name="T10" fmla="*/ 0 w 242"/>
                <a:gd name="T11" fmla="*/ 0 h 266"/>
                <a:gd name="T12" fmla="*/ 0 w 242"/>
                <a:gd name="T13" fmla="*/ 0 h 266"/>
                <a:gd name="T14" fmla="*/ 0 w 242"/>
                <a:gd name="T15" fmla="*/ 0 h 266"/>
                <a:gd name="T16" fmla="*/ 0 w 242"/>
                <a:gd name="T17" fmla="*/ 0 h 266"/>
                <a:gd name="T18" fmla="*/ 0 w 242"/>
                <a:gd name="T19" fmla="*/ 0 h 266"/>
                <a:gd name="T20" fmla="*/ 0 w 242"/>
                <a:gd name="T21" fmla="*/ 0 h 266"/>
                <a:gd name="T22" fmla="*/ 0 w 242"/>
                <a:gd name="T23" fmla="*/ 0 h 266"/>
                <a:gd name="T24" fmla="*/ 0 w 242"/>
                <a:gd name="T25" fmla="*/ 0 h 266"/>
                <a:gd name="T26" fmla="*/ 0 w 242"/>
                <a:gd name="T27" fmla="*/ 0 h 26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242"/>
                <a:gd name="T43" fmla="*/ 0 h 266"/>
                <a:gd name="T44" fmla="*/ 242 w 242"/>
                <a:gd name="T45" fmla="*/ 266 h 26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242" h="266">
                  <a:moveTo>
                    <a:pt x="188" y="60"/>
                  </a:moveTo>
                  <a:cubicBezTo>
                    <a:pt x="202" y="0"/>
                    <a:pt x="202" y="0"/>
                    <a:pt x="202" y="0"/>
                  </a:cubicBezTo>
                  <a:cubicBezTo>
                    <a:pt x="175" y="0"/>
                    <a:pt x="148" y="0"/>
                    <a:pt x="134" y="0"/>
                  </a:cubicBezTo>
                  <a:cubicBezTo>
                    <a:pt x="121" y="0"/>
                    <a:pt x="121" y="36"/>
                    <a:pt x="121" y="36"/>
                  </a:cubicBezTo>
                  <a:cubicBezTo>
                    <a:pt x="40" y="48"/>
                    <a:pt x="40" y="48"/>
                    <a:pt x="40" y="48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4" y="24"/>
                    <a:pt x="0" y="24"/>
                    <a:pt x="0" y="24"/>
                  </a:cubicBezTo>
                  <a:cubicBezTo>
                    <a:pt x="14" y="60"/>
                    <a:pt x="14" y="60"/>
                    <a:pt x="14" y="60"/>
                  </a:cubicBezTo>
                  <a:cubicBezTo>
                    <a:pt x="14" y="60"/>
                    <a:pt x="40" y="109"/>
                    <a:pt x="27" y="145"/>
                  </a:cubicBezTo>
                  <a:cubicBezTo>
                    <a:pt x="14" y="182"/>
                    <a:pt x="40" y="230"/>
                    <a:pt x="54" y="242"/>
                  </a:cubicBezTo>
                  <a:cubicBezTo>
                    <a:pt x="54" y="266"/>
                    <a:pt x="81" y="254"/>
                    <a:pt x="94" y="254"/>
                  </a:cubicBezTo>
                  <a:cubicBezTo>
                    <a:pt x="108" y="254"/>
                    <a:pt x="188" y="145"/>
                    <a:pt x="188" y="145"/>
                  </a:cubicBezTo>
                  <a:cubicBezTo>
                    <a:pt x="242" y="85"/>
                    <a:pt x="242" y="85"/>
                    <a:pt x="242" y="85"/>
                  </a:cubicBezTo>
                  <a:lnTo>
                    <a:pt x="188" y="60"/>
                  </a:lnTo>
                  <a:close/>
                </a:path>
              </a:pathLst>
            </a:custGeom>
            <a:grpFill/>
            <a:ln w="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891045"/>
              <a:endParaRPr lang="en-US" sz="1700" dirty="0">
                <a:solidFill>
                  <a:srgbClr val="003149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569" name="Freeform 472"/>
            <p:cNvSpPr>
              <a:spLocks/>
            </p:cNvSpPr>
            <p:nvPr/>
          </p:nvSpPr>
          <p:spPr bwMode="gray">
            <a:xfrm>
              <a:off x="4580" y="3056"/>
              <a:ext cx="24" cy="27"/>
            </a:xfrm>
            <a:custGeom>
              <a:avLst/>
              <a:gdLst>
                <a:gd name="T0" fmla="*/ 0 w 242"/>
                <a:gd name="T1" fmla="*/ 0 h 266"/>
                <a:gd name="T2" fmla="*/ 0 w 242"/>
                <a:gd name="T3" fmla="*/ 0 h 266"/>
                <a:gd name="T4" fmla="*/ 0 w 242"/>
                <a:gd name="T5" fmla="*/ 0 h 266"/>
                <a:gd name="T6" fmla="*/ 0 w 242"/>
                <a:gd name="T7" fmla="*/ 0 h 266"/>
                <a:gd name="T8" fmla="*/ 0 w 242"/>
                <a:gd name="T9" fmla="*/ 0 h 266"/>
                <a:gd name="T10" fmla="*/ 0 w 242"/>
                <a:gd name="T11" fmla="*/ 0 h 266"/>
                <a:gd name="T12" fmla="*/ 0 w 242"/>
                <a:gd name="T13" fmla="*/ 0 h 266"/>
                <a:gd name="T14" fmla="*/ 0 w 242"/>
                <a:gd name="T15" fmla="*/ 0 h 266"/>
                <a:gd name="T16" fmla="*/ 0 w 242"/>
                <a:gd name="T17" fmla="*/ 0 h 266"/>
                <a:gd name="T18" fmla="*/ 0 w 242"/>
                <a:gd name="T19" fmla="*/ 0 h 266"/>
                <a:gd name="T20" fmla="*/ 0 w 242"/>
                <a:gd name="T21" fmla="*/ 0 h 266"/>
                <a:gd name="T22" fmla="*/ 0 w 242"/>
                <a:gd name="T23" fmla="*/ 0 h 266"/>
                <a:gd name="T24" fmla="*/ 0 w 242"/>
                <a:gd name="T25" fmla="*/ 0 h 266"/>
                <a:gd name="T26" fmla="*/ 0 w 242"/>
                <a:gd name="T27" fmla="*/ 0 h 26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242"/>
                <a:gd name="T43" fmla="*/ 0 h 266"/>
                <a:gd name="T44" fmla="*/ 242 w 242"/>
                <a:gd name="T45" fmla="*/ 266 h 26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242" h="266">
                  <a:moveTo>
                    <a:pt x="188" y="60"/>
                  </a:moveTo>
                  <a:cubicBezTo>
                    <a:pt x="202" y="0"/>
                    <a:pt x="202" y="0"/>
                    <a:pt x="202" y="0"/>
                  </a:cubicBezTo>
                  <a:cubicBezTo>
                    <a:pt x="175" y="0"/>
                    <a:pt x="148" y="0"/>
                    <a:pt x="134" y="0"/>
                  </a:cubicBezTo>
                  <a:cubicBezTo>
                    <a:pt x="121" y="0"/>
                    <a:pt x="121" y="36"/>
                    <a:pt x="121" y="36"/>
                  </a:cubicBezTo>
                  <a:cubicBezTo>
                    <a:pt x="40" y="48"/>
                    <a:pt x="40" y="48"/>
                    <a:pt x="40" y="48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4" y="24"/>
                    <a:pt x="0" y="24"/>
                    <a:pt x="0" y="24"/>
                  </a:cubicBezTo>
                  <a:cubicBezTo>
                    <a:pt x="14" y="60"/>
                    <a:pt x="14" y="60"/>
                    <a:pt x="14" y="60"/>
                  </a:cubicBezTo>
                  <a:cubicBezTo>
                    <a:pt x="14" y="60"/>
                    <a:pt x="40" y="109"/>
                    <a:pt x="27" y="145"/>
                  </a:cubicBezTo>
                  <a:cubicBezTo>
                    <a:pt x="14" y="182"/>
                    <a:pt x="40" y="230"/>
                    <a:pt x="54" y="242"/>
                  </a:cubicBezTo>
                  <a:cubicBezTo>
                    <a:pt x="54" y="266"/>
                    <a:pt x="81" y="254"/>
                    <a:pt x="94" y="254"/>
                  </a:cubicBezTo>
                  <a:cubicBezTo>
                    <a:pt x="108" y="254"/>
                    <a:pt x="188" y="145"/>
                    <a:pt x="188" y="145"/>
                  </a:cubicBezTo>
                  <a:cubicBezTo>
                    <a:pt x="242" y="85"/>
                    <a:pt x="242" y="85"/>
                    <a:pt x="242" y="85"/>
                  </a:cubicBezTo>
                  <a:lnTo>
                    <a:pt x="188" y="60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891045"/>
              <a:endParaRPr lang="en-US" sz="1700" dirty="0">
                <a:solidFill>
                  <a:srgbClr val="003149"/>
                </a:solidFill>
                <a:cs typeface="Arial" panose="020B0604020202020204" pitchFamily="34" charset="0"/>
              </a:endParaRPr>
            </a:p>
          </p:txBody>
        </p:sp>
      </p:grpSp>
      <p:grpSp>
        <p:nvGrpSpPr>
          <p:cNvPr id="570" name="Group 473"/>
          <p:cNvGrpSpPr>
            <a:grpSpLocks/>
          </p:cNvGrpSpPr>
          <p:nvPr/>
        </p:nvGrpSpPr>
        <p:grpSpPr bwMode="gray">
          <a:xfrm>
            <a:off x="1297442" y="2461395"/>
            <a:ext cx="106850" cy="126866"/>
            <a:chOff x="4324" y="2994"/>
            <a:chExt cx="73" cy="82"/>
          </a:xfrm>
          <a:solidFill>
            <a:schemeClr val="accent3"/>
          </a:solidFill>
        </p:grpSpPr>
        <p:sp>
          <p:nvSpPr>
            <p:cNvPr id="571" name="Freeform 474"/>
            <p:cNvSpPr>
              <a:spLocks/>
            </p:cNvSpPr>
            <p:nvPr/>
          </p:nvSpPr>
          <p:spPr bwMode="gray">
            <a:xfrm>
              <a:off x="4324" y="2994"/>
              <a:ext cx="73" cy="82"/>
            </a:xfrm>
            <a:custGeom>
              <a:avLst/>
              <a:gdLst>
                <a:gd name="T0" fmla="*/ 0 w 716"/>
                <a:gd name="T1" fmla="*/ 0 h 809"/>
                <a:gd name="T2" fmla="*/ 0 w 716"/>
                <a:gd name="T3" fmla="*/ 0 h 809"/>
                <a:gd name="T4" fmla="*/ 0 w 716"/>
                <a:gd name="T5" fmla="*/ 0 h 809"/>
                <a:gd name="T6" fmla="*/ 0 w 716"/>
                <a:gd name="T7" fmla="*/ 0 h 809"/>
                <a:gd name="T8" fmla="*/ 0 w 716"/>
                <a:gd name="T9" fmla="*/ 0 h 809"/>
                <a:gd name="T10" fmla="*/ 0 w 716"/>
                <a:gd name="T11" fmla="*/ 0 h 809"/>
                <a:gd name="T12" fmla="*/ 0 w 716"/>
                <a:gd name="T13" fmla="*/ 0 h 809"/>
                <a:gd name="T14" fmla="*/ 0 w 716"/>
                <a:gd name="T15" fmla="*/ 0 h 809"/>
                <a:gd name="T16" fmla="*/ 0 w 716"/>
                <a:gd name="T17" fmla="*/ 0 h 809"/>
                <a:gd name="T18" fmla="*/ 0 w 716"/>
                <a:gd name="T19" fmla="*/ 0 h 809"/>
                <a:gd name="T20" fmla="*/ 0 w 716"/>
                <a:gd name="T21" fmla="*/ 0 h 809"/>
                <a:gd name="T22" fmla="*/ 0 w 716"/>
                <a:gd name="T23" fmla="*/ 0 h 809"/>
                <a:gd name="T24" fmla="*/ 0 w 716"/>
                <a:gd name="T25" fmla="*/ 0 h 809"/>
                <a:gd name="T26" fmla="*/ 0 w 716"/>
                <a:gd name="T27" fmla="*/ 0 h 809"/>
                <a:gd name="T28" fmla="*/ 0 w 716"/>
                <a:gd name="T29" fmla="*/ 0 h 809"/>
                <a:gd name="T30" fmla="*/ 0 w 716"/>
                <a:gd name="T31" fmla="*/ 0 h 809"/>
                <a:gd name="T32" fmla="*/ 0 w 716"/>
                <a:gd name="T33" fmla="*/ 0 h 809"/>
                <a:gd name="T34" fmla="*/ 0 w 716"/>
                <a:gd name="T35" fmla="*/ 0 h 809"/>
                <a:gd name="T36" fmla="*/ 0 w 716"/>
                <a:gd name="T37" fmla="*/ 0 h 809"/>
                <a:gd name="T38" fmla="*/ 0 w 716"/>
                <a:gd name="T39" fmla="*/ 0 h 809"/>
                <a:gd name="T40" fmla="*/ 0 w 716"/>
                <a:gd name="T41" fmla="*/ 0 h 809"/>
                <a:gd name="T42" fmla="*/ 0 w 716"/>
                <a:gd name="T43" fmla="*/ 0 h 809"/>
                <a:gd name="T44" fmla="*/ 0 w 716"/>
                <a:gd name="T45" fmla="*/ 0 h 809"/>
                <a:gd name="T46" fmla="*/ 0 w 716"/>
                <a:gd name="T47" fmla="*/ 0 h 809"/>
                <a:gd name="T48" fmla="*/ 0 w 716"/>
                <a:gd name="T49" fmla="*/ 0 h 809"/>
                <a:gd name="T50" fmla="*/ 0 w 716"/>
                <a:gd name="T51" fmla="*/ 0 h 809"/>
                <a:gd name="T52" fmla="*/ 0 w 716"/>
                <a:gd name="T53" fmla="*/ 0 h 809"/>
                <a:gd name="T54" fmla="*/ 0 w 716"/>
                <a:gd name="T55" fmla="*/ 0 h 809"/>
                <a:gd name="T56" fmla="*/ 0 w 716"/>
                <a:gd name="T57" fmla="*/ 0 h 809"/>
                <a:gd name="T58" fmla="*/ 0 w 716"/>
                <a:gd name="T59" fmla="*/ 0 h 809"/>
                <a:gd name="T60" fmla="*/ 0 w 716"/>
                <a:gd name="T61" fmla="*/ 0 h 809"/>
                <a:gd name="T62" fmla="*/ 0 w 716"/>
                <a:gd name="T63" fmla="*/ 0 h 809"/>
                <a:gd name="T64" fmla="*/ 0 w 716"/>
                <a:gd name="T65" fmla="*/ 0 h 809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716"/>
                <a:gd name="T100" fmla="*/ 0 h 809"/>
                <a:gd name="T101" fmla="*/ 716 w 716"/>
                <a:gd name="T102" fmla="*/ 809 h 809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716" h="809">
                  <a:moveTo>
                    <a:pt x="716" y="379"/>
                  </a:moveTo>
                  <a:cubicBezTo>
                    <a:pt x="641" y="313"/>
                    <a:pt x="641" y="313"/>
                    <a:pt x="641" y="313"/>
                  </a:cubicBezTo>
                  <a:cubicBezTo>
                    <a:pt x="641" y="313"/>
                    <a:pt x="654" y="235"/>
                    <a:pt x="666" y="222"/>
                  </a:cubicBezTo>
                  <a:cubicBezTo>
                    <a:pt x="691" y="209"/>
                    <a:pt x="704" y="170"/>
                    <a:pt x="704" y="170"/>
                  </a:cubicBezTo>
                  <a:cubicBezTo>
                    <a:pt x="679" y="118"/>
                    <a:pt x="679" y="118"/>
                    <a:pt x="679" y="118"/>
                  </a:cubicBezTo>
                  <a:cubicBezTo>
                    <a:pt x="679" y="118"/>
                    <a:pt x="641" y="118"/>
                    <a:pt x="591" y="131"/>
                  </a:cubicBezTo>
                  <a:cubicBezTo>
                    <a:pt x="540" y="144"/>
                    <a:pt x="553" y="118"/>
                    <a:pt x="553" y="105"/>
                  </a:cubicBezTo>
                  <a:cubicBezTo>
                    <a:pt x="540" y="79"/>
                    <a:pt x="553" y="40"/>
                    <a:pt x="566" y="0"/>
                  </a:cubicBezTo>
                  <a:cubicBezTo>
                    <a:pt x="540" y="0"/>
                    <a:pt x="339" y="0"/>
                    <a:pt x="327" y="14"/>
                  </a:cubicBezTo>
                  <a:cubicBezTo>
                    <a:pt x="327" y="170"/>
                    <a:pt x="327" y="170"/>
                    <a:pt x="327" y="170"/>
                  </a:cubicBezTo>
                  <a:cubicBezTo>
                    <a:pt x="151" y="170"/>
                    <a:pt x="151" y="170"/>
                    <a:pt x="151" y="170"/>
                  </a:cubicBezTo>
                  <a:cubicBezTo>
                    <a:pt x="100" y="157"/>
                    <a:pt x="100" y="157"/>
                    <a:pt x="100" y="157"/>
                  </a:cubicBezTo>
                  <a:cubicBezTo>
                    <a:pt x="100" y="157"/>
                    <a:pt x="100" y="196"/>
                    <a:pt x="100" y="235"/>
                  </a:cubicBezTo>
                  <a:cubicBezTo>
                    <a:pt x="100" y="274"/>
                    <a:pt x="63" y="352"/>
                    <a:pt x="63" y="352"/>
                  </a:cubicBezTo>
                  <a:cubicBezTo>
                    <a:pt x="0" y="392"/>
                    <a:pt x="0" y="392"/>
                    <a:pt x="0" y="392"/>
                  </a:cubicBezTo>
                  <a:cubicBezTo>
                    <a:pt x="0" y="392"/>
                    <a:pt x="38" y="470"/>
                    <a:pt x="50" y="496"/>
                  </a:cubicBezTo>
                  <a:cubicBezTo>
                    <a:pt x="63" y="522"/>
                    <a:pt x="126" y="626"/>
                    <a:pt x="163" y="652"/>
                  </a:cubicBezTo>
                  <a:cubicBezTo>
                    <a:pt x="201" y="665"/>
                    <a:pt x="314" y="809"/>
                    <a:pt x="314" y="809"/>
                  </a:cubicBezTo>
                  <a:cubicBezTo>
                    <a:pt x="314" y="809"/>
                    <a:pt x="327" y="757"/>
                    <a:pt x="339" y="757"/>
                  </a:cubicBezTo>
                  <a:cubicBezTo>
                    <a:pt x="352" y="757"/>
                    <a:pt x="377" y="783"/>
                    <a:pt x="377" y="783"/>
                  </a:cubicBezTo>
                  <a:cubicBezTo>
                    <a:pt x="402" y="731"/>
                    <a:pt x="402" y="731"/>
                    <a:pt x="402" y="731"/>
                  </a:cubicBezTo>
                  <a:cubicBezTo>
                    <a:pt x="402" y="678"/>
                    <a:pt x="402" y="678"/>
                    <a:pt x="402" y="678"/>
                  </a:cubicBezTo>
                  <a:cubicBezTo>
                    <a:pt x="352" y="652"/>
                    <a:pt x="352" y="652"/>
                    <a:pt x="352" y="652"/>
                  </a:cubicBezTo>
                  <a:cubicBezTo>
                    <a:pt x="352" y="652"/>
                    <a:pt x="364" y="600"/>
                    <a:pt x="377" y="600"/>
                  </a:cubicBezTo>
                  <a:cubicBezTo>
                    <a:pt x="390" y="600"/>
                    <a:pt x="465" y="613"/>
                    <a:pt x="465" y="613"/>
                  </a:cubicBezTo>
                  <a:cubicBezTo>
                    <a:pt x="452" y="535"/>
                    <a:pt x="452" y="535"/>
                    <a:pt x="452" y="535"/>
                  </a:cubicBezTo>
                  <a:cubicBezTo>
                    <a:pt x="452" y="535"/>
                    <a:pt x="478" y="535"/>
                    <a:pt x="490" y="522"/>
                  </a:cubicBezTo>
                  <a:cubicBezTo>
                    <a:pt x="503" y="509"/>
                    <a:pt x="528" y="587"/>
                    <a:pt x="553" y="600"/>
                  </a:cubicBezTo>
                  <a:cubicBezTo>
                    <a:pt x="578" y="613"/>
                    <a:pt x="616" y="561"/>
                    <a:pt x="616" y="561"/>
                  </a:cubicBezTo>
                  <a:cubicBezTo>
                    <a:pt x="654" y="613"/>
                    <a:pt x="654" y="613"/>
                    <a:pt x="654" y="613"/>
                  </a:cubicBezTo>
                  <a:cubicBezTo>
                    <a:pt x="654" y="613"/>
                    <a:pt x="666" y="587"/>
                    <a:pt x="679" y="574"/>
                  </a:cubicBezTo>
                  <a:cubicBezTo>
                    <a:pt x="679" y="561"/>
                    <a:pt x="716" y="509"/>
                    <a:pt x="704" y="483"/>
                  </a:cubicBezTo>
                  <a:cubicBezTo>
                    <a:pt x="704" y="470"/>
                    <a:pt x="716" y="379"/>
                    <a:pt x="716" y="379"/>
                  </a:cubicBezTo>
                </a:path>
              </a:pathLst>
            </a:custGeom>
            <a:grpFill/>
            <a:ln w="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891045"/>
              <a:endParaRPr lang="en-US" sz="1700" dirty="0">
                <a:solidFill>
                  <a:srgbClr val="003149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572" name="Freeform 475"/>
            <p:cNvSpPr>
              <a:spLocks/>
            </p:cNvSpPr>
            <p:nvPr/>
          </p:nvSpPr>
          <p:spPr bwMode="gray">
            <a:xfrm>
              <a:off x="4324" y="2994"/>
              <a:ext cx="73" cy="82"/>
            </a:xfrm>
            <a:custGeom>
              <a:avLst/>
              <a:gdLst>
                <a:gd name="T0" fmla="*/ 73 w 73"/>
                <a:gd name="T1" fmla="*/ 39 h 82"/>
                <a:gd name="T2" fmla="*/ 65 w 73"/>
                <a:gd name="T3" fmla="*/ 32 h 82"/>
                <a:gd name="T4" fmla="*/ 68 w 73"/>
                <a:gd name="T5" fmla="*/ 23 h 82"/>
                <a:gd name="T6" fmla="*/ 71 w 73"/>
                <a:gd name="T7" fmla="*/ 18 h 82"/>
                <a:gd name="T8" fmla="*/ 69 w 73"/>
                <a:gd name="T9" fmla="*/ 12 h 82"/>
                <a:gd name="T10" fmla="*/ 60 w 73"/>
                <a:gd name="T11" fmla="*/ 14 h 82"/>
                <a:gd name="T12" fmla="*/ 56 w 73"/>
                <a:gd name="T13" fmla="*/ 11 h 82"/>
                <a:gd name="T14" fmla="*/ 57 w 73"/>
                <a:gd name="T15" fmla="*/ 0 h 82"/>
                <a:gd name="T16" fmla="*/ 33 w 73"/>
                <a:gd name="T17" fmla="*/ 2 h 82"/>
                <a:gd name="T18" fmla="*/ 33 w 73"/>
                <a:gd name="T19" fmla="*/ 18 h 82"/>
                <a:gd name="T20" fmla="*/ 16 w 73"/>
                <a:gd name="T21" fmla="*/ 18 h 82"/>
                <a:gd name="T22" fmla="*/ 10 w 73"/>
                <a:gd name="T23" fmla="*/ 16 h 82"/>
                <a:gd name="T24" fmla="*/ 10 w 73"/>
                <a:gd name="T25" fmla="*/ 24 h 82"/>
                <a:gd name="T26" fmla="*/ 7 w 73"/>
                <a:gd name="T27" fmla="*/ 36 h 82"/>
                <a:gd name="T28" fmla="*/ 0 w 73"/>
                <a:gd name="T29" fmla="*/ 40 h 82"/>
                <a:gd name="T30" fmla="*/ 5 w 73"/>
                <a:gd name="T31" fmla="*/ 50 h 82"/>
                <a:gd name="T32" fmla="*/ 17 w 73"/>
                <a:gd name="T33" fmla="*/ 66 h 82"/>
                <a:gd name="T34" fmla="*/ 32 w 73"/>
                <a:gd name="T35" fmla="*/ 82 h 82"/>
                <a:gd name="T36" fmla="*/ 35 w 73"/>
                <a:gd name="T37" fmla="*/ 77 h 82"/>
                <a:gd name="T38" fmla="*/ 38 w 73"/>
                <a:gd name="T39" fmla="*/ 79 h 82"/>
                <a:gd name="T40" fmla="*/ 41 w 73"/>
                <a:gd name="T41" fmla="*/ 74 h 82"/>
                <a:gd name="T42" fmla="*/ 41 w 73"/>
                <a:gd name="T43" fmla="*/ 69 h 82"/>
                <a:gd name="T44" fmla="*/ 36 w 73"/>
                <a:gd name="T45" fmla="*/ 66 h 82"/>
                <a:gd name="T46" fmla="*/ 38 w 73"/>
                <a:gd name="T47" fmla="*/ 61 h 82"/>
                <a:gd name="T48" fmla="*/ 47 w 73"/>
                <a:gd name="T49" fmla="*/ 62 h 82"/>
                <a:gd name="T50" fmla="*/ 46 w 73"/>
                <a:gd name="T51" fmla="*/ 54 h 82"/>
                <a:gd name="T52" fmla="*/ 50 w 73"/>
                <a:gd name="T53" fmla="*/ 53 h 82"/>
                <a:gd name="T54" fmla="*/ 56 w 73"/>
                <a:gd name="T55" fmla="*/ 61 h 82"/>
                <a:gd name="T56" fmla="*/ 63 w 73"/>
                <a:gd name="T57" fmla="*/ 57 h 82"/>
                <a:gd name="T58" fmla="*/ 66 w 73"/>
                <a:gd name="T59" fmla="*/ 62 h 82"/>
                <a:gd name="T60" fmla="*/ 69 w 73"/>
                <a:gd name="T61" fmla="*/ 58 h 82"/>
                <a:gd name="T62" fmla="*/ 71 w 73"/>
                <a:gd name="T63" fmla="*/ 49 h 82"/>
                <a:gd name="T64" fmla="*/ 73 w 73"/>
                <a:gd name="T65" fmla="*/ 39 h 82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73"/>
                <a:gd name="T100" fmla="*/ 0 h 82"/>
                <a:gd name="T101" fmla="*/ 73 w 73"/>
                <a:gd name="T102" fmla="*/ 82 h 82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73" h="82">
                  <a:moveTo>
                    <a:pt x="73" y="39"/>
                  </a:moveTo>
                  <a:cubicBezTo>
                    <a:pt x="65" y="32"/>
                    <a:pt x="65" y="32"/>
                    <a:pt x="65" y="32"/>
                  </a:cubicBezTo>
                  <a:cubicBezTo>
                    <a:pt x="65" y="32"/>
                    <a:pt x="66" y="24"/>
                    <a:pt x="68" y="23"/>
                  </a:cubicBezTo>
                  <a:cubicBezTo>
                    <a:pt x="70" y="21"/>
                    <a:pt x="71" y="18"/>
                    <a:pt x="71" y="18"/>
                  </a:cubicBezTo>
                  <a:cubicBezTo>
                    <a:pt x="69" y="12"/>
                    <a:pt x="69" y="12"/>
                    <a:pt x="69" y="12"/>
                  </a:cubicBezTo>
                  <a:cubicBezTo>
                    <a:pt x="69" y="12"/>
                    <a:pt x="65" y="12"/>
                    <a:pt x="60" y="14"/>
                  </a:cubicBezTo>
                  <a:cubicBezTo>
                    <a:pt x="55" y="15"/>
                    <a:pt x="56" y="12"/>
                    <a:pt x="56" y="11"/>
                  </a:cubicBezTo>
                  <a:cubicBezTo>
                    <a:pt x="55" y="8"/>
                    <a:pt x="56" y="4"/>
                    <a:pt x="57" y="0"/>
                  </a:cubicBezTo>
                  <a:cubicBezTo>
                    <a:pt x="55" y="0"/>
                    <a:pt x="35" y="0"/>
                    <a:pt x="33" y="2"/>
                  </a:cubicBezTo>
                  <a:cubicBezTo>
                    <a:pt x="33" y="18"/>
                    <a:pt x="33" y="18"/>
                    <a:pt x="33" y="18"/>
                  </a:cubicBezTo>
                  <a:cubicBezTo>
                    <a:pt x="16" y="18"/>
                    <a:pt x="16" y="18"/>
                    <a:pt x="16" y="18"/>
                  </a:cubicBezTo>
                  <a:cubicBezTo>
                    <a:pt x="10" y="16"/>
                    <a:pt x="10" y="16"/>
                    <a:pt x="10" y="16"/>
                  </a:cubicBezTo>
                  <a:cubicBezTo>
                    <a:pt x="10" y="16"/>
                    <a:pt x="10" y="20"/>
                    <a:pt x="10" y="24"/>
                  </a:cubicBezTo>
                  <a:cubicBezTo>
                    <a:pt x="10" y="28"/>
                    <a:pt x="7" y="36"/>
                    <a:pt x="7" y="36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0" y="40"/>
                    <a:pt x="4" y="48"/>
                    <a:pt x="5" y="50"/>
                  </a:cubicBezTo>
                  <a:cubicBezTo>
                    <a:pt x="7" y="53"/>
                    <a:pt x="13" y="64"/>
                    <a:pt x="17" y="66"/>
                  </a:cubicBezTo>
                  <a:cubicBezTo>
                    <a:pt x="21" y="68"/>
                    <a:pt x="32" y="82"/>
                    <a:pt x="32" y="82"/>
                  </a:cubicBezTo>
                  <a:cubicBezTo>
                    <a:pt x="32" y="82"/>
                    <a:pt x="33" y="77"/>
                    <a:pt x="35" y="77"/>
                  </a:cubicBezTo>
                  <a:cubicBezTo>
                    <a:pt x="36" y="77"/>
                    <a:pt x="38" y="79"/>
                    <a:pt x="38" y="79"/>
                  </a:cubicBezTo>
                  <a:cubicBezTo>
                    <a:pt x="41" y="74"/>
                    <a:pt x="41" y="74"/>
                    <a:pt x="41" y="74"/>
                  </a:cubicBezTo>
                  <a:cubicBezTo>
                    <a:pt x="41" y="69"/>
                    <a:pt x="41" y="69"/>
                    <a:pt x="41" y="69"/>
                  </a:cubicBezTo>
                  <a:cubicBezTo>
                    <a:pt x="36" y="66"/>
                    <a:pt x="36" y="66"/>
                    <a:pt x="36" y="66"/>
                  </a:cubicBezTo>
                  <a:cubicBezTo>
                    <a:pt x="36" y="66"/>
                    <a:pt x="37" y="61"/>
                    <a:pt x="38" y="61"/>
                  </a:cubicBezTo>
                  <a:cubicBezTo>
                    <a:pt x="40" y="61"/>
                    <a:pt x="47" y="62"/>
                    <a:pt x="47" y="62"/>
                  </a:cubicBezTo>
                  <a:cubicBezTo>
                    <a:pt x="46" y="54"/>
                    <a:pt x="46" y="54"/>
                    <a:pt x="46" y="54"/>
                  </a:cubicBezTo>
                  <a:cubicBezTo>
                    <a:pt x="46" y="54"/>
                    <a:pt x="49" y="54"/>
                    <a:pt x="50" y="53"/>
                  </a:cubicBezTo>
                  <a:cubicBezTo>
                    <a:pt x="51" y="52"/>
                    <a:pt x="54" y="60"/>
                    <a:pt x="56" y="61"/>
                  </a:cubicBezTo>
                  <a:cubicBezTo>
                    <a:pt x="59" y="62"/>
                    <a:pt x="63" y="57"/>
                    <a:pt x="63" y="57"/>
                  </a:cubicBezTo>
                  <a:cubicBezTo>
                    <a:pt x="66" y="62"/>
                    <a:pt x="66" y="62"/>
                    <a:pt x="66" y="62"/>
                  </a:cubicBezTo>
                  <a:cubicBezTo>
                    <a:pt x="66" y="62"/>
                    <a:pt x="68" y="60"/>
                    <a:pt x="69" y="58"/>
                  </a:cubicBezTo>
                  <a:cubicBezTo>
                    <a:pt x="69" y="57"/>
                    <a:pt x="73" y="52"/>
                    <a:pt x="71" y="49"/>
                  </a:cubicBezTo>
                  <a:cubicBezTo>
                    <a:pt x="71" y="48"/>
                    <a:pt x="73" y="39"/>
                    <a:pt x="73" y="39"/>
                  </a:cubicBezTo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891045"/>
              <a:endParaRPr lang="en-US" sz="1700" dirty="0">
                <a:solidFill>
                  <a:srgbClr val="003149"/>
                </a:solidFill>
                <a:cs typeface="Arial" panose="020B0604020202020204" pitchFamily="34" charset="0"/>
              </a:endParaRPr>
            </a:p>
          </p:txBody>
        </p:sp>
      </p:grpSp>
      <p:grpSp>
        <p:nvGrpSpPr>
          <p:cNvPr id="573" name="Group 479"/>
          <p:cNvGrpSpPr>
            <a:grpSpLocks/>
          </p:cNvGrpSpPr>
          <p:nvPr/>
        </p:nvGrpSpPr>
        <p:grpSpPr bwMode="gray">
          <a:xfrm>
            <a:off x="1359036" y="2594604"/>
            <a:ext cx="18856" cy="25373"/>
            <a:chOff x="4366" y="3080"/>
            <a:chExt cx="13" cy="16"/>
          </a:xfrm>
          <a:solidFill>
            <a:schemeClr val="accent3"/>
          </a:solidFill>
        </p:grpSpPr>
        <p:sp>
          <p:nvSpPr>
            <p:cNvPr id="574" name="Freeform 480"/>
            <p:cNvSpPr>
              <a:spLocks/>
            </p:cNvSpPr>
            <p:nvPr/>
          </p:nvSpPr>
          <p:spPr bwMode="gray">
            <a:xfrm>
              <a:off x="4366" y="3080"/>
              <a:ext cx="13" cy="16"/>
            </a:xfrm>
            <a:custGeom>
              <a:avLst/>
              <a:gdLst>
                <a:gd name="T0" fmla="*/ 0 w 133"/>
                <a:gd name="T1" fmla="*/ 0 h 159"/>
                <a:gd name="T2" fmla="*/ 0 w 133"/>
                <a:gd name="T3" fmla="*/ 0 h 159"/>
                <a:gd name="T4" fmla="*/ 0 w 133"/>
                <a:gd name="T5" fmla="*/ 0 h 159"/>
                <a:gd name="T6" fmla="*/ 0 w 133"/>
                <a:gd name="T7" fmla="*/ 0 h 159"/>
                <a:gd name="T8" fmla="*/ 0 w 133"/>
                <a:gd name="T9" fmla="*/ 0 h 159"/>
                <a:gd name="T10" fmla="*/ 0 w 133"/>
                <a:gd name="T11" fmla="*/ 0 h 159"/>
                <a:gd name="T12" fmla="*/ 0 w 133"/>
                <a:gd name="T13" fmla="*/ 0 h 159"/>
                <a:gd name="T14" fmla="*/ 0 w 133"/>
                <a:gd name="T15" fmla="*/ 0 h 159"/>
                <a:gd name="T16" fmla="*/ 0 w 133"/>
                <a:gd name="T17" fmla="*/ 0 h 159"/>
                <a:gd name="T18" fmla="*/ 0 w 133"/>
                <a:gd name="T19" fmla="*/ 0 h 15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33"/>
                <a:gd name="T31" fmla="*/ 0 h 159"/>
                <a:gd name="T32" fmla="*/ 133 w 133"/>
                <a:gd name="T33" fmla="*/ 159 h 15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33" h="159">
                  <a:moveTo>
                    <a:pt x="97" y="0"/>
                  </a:moveTo>
                  <a:cubicBezTo>
                    <a:pt x="97" y="0"/>
                    <a:pt x="49" y="37"/>
                    <a:pt x="36" y="37"/>
                  </a:cubicBezTo>
                  <a:cubicBezTo>
                    <a:pt x="24" y="37"/>
                    <a:pt x="0" y="74"/>
                    <a:pt x="0" y="74"/>
                  </a:cubicBezTo>
                  <a:cubicBezTo>
                    <a:pt x="24" y="159"/>
                    <a:pt x="24" y="159"/>
                    <a:pt x="24" y="159"/>
                  </a:cubicBezTo>
                  <a:cubicBezTo>
                    <a:pt x="61" y="159"/>
                    <a:pt x="61" y="159"/>
                    <a:pt x="61" y="159"/>
                  </a:cubicBezTo>
                  <a:cubicBezTo>
                    <a:pt x="61" y="122"/>
                    <a:pt x="61" y="122"/>
                    <a:pt x="61" y="122"/>
                  </a:cubicBezTo>
                  <a:cubicBezTo>
                    <a:pt x="73" y="74"/>
                    <a:pt x="73" y="74"/>
                    <a:pt x="73" y="74"/>
                  </a:cubicBezTo>
                  <a:cubicBezTo>
                    <a:pt x="133" y="25"/>
                    <a:pt x="133" y="25"/>
                    <a:pt x="133" y="25"/>
                  </a:cubicBezTo>
                  <a:cubicBezTo>
                    <a:pt x="133" y="25"/>
                    <a:pt x="133" y="25"/>
                    <a:pt x="133" y="25"/>
                  </a:cubicBezTo>
                  <a:cubicBezTo>
                    <a:pt x="121" y="13"/>
                    <a:pt x="97" y="0"/>
                    <a:pt x="97" y="0"/>
                  </a:cubicBezTo>
                </a:path>
              </a:pathLst>
            </a:custGeom>
            <a:grpFill/>
            <a:ln w="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891045"/>
              <a:endParaRPr lang="en-US" sz="1700" dirty="0">
                <a:solidFill>
                  <a:srgbClr val="003149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575" name="Freeform 481"/>
            <p:cNvSpPr>
              <a:spLocks/>
            </p:cNvSpPr>
            <p:nvPr/>
          </p:nvSpPr>
          <p:spPr bwMode="gray">
            <a:xfrm>
              <a:off x="4366" y="3080"/>
              <a:ext cx="13" cy="16"/>
            </a:xfrm>
            <a:custGeom>
              <a:avLst/>
              <a:gdLst>
                <a:gd name="T0" fmla="*/ 9 w 13"/>
                <a:gd name="T1" fmla="*/ 0 h 16"/>
                <a:gd name="T2" fmla="*/ 3 w 13"/>
                <a:gd name="T3" fmla="*/ 4 h 16"/>
                <a:gd name="T4" fmla="*/ 0 w 13"/>
                <a:gd name="T5" fmla="*/ 8 h 16"/>
                <a:gd name="T6" fmla="*/ 2 w 13"/>
                <a:gd name="T7" fmla="*/ 16 h 16"/>
                <a:gd name="T8" fmla="*/ 6 w 13"/>
                <a:gd name="T9" fmla="*/ 16 h 16"/>
                <a:gd name="T10" fmla="*/ 6 w 13"/>
                <a:gd name="T11" fmla="*/ 13 h 16"/>
                <a:gd name="T12" fmla="*/ 7 w 13"/>
                <a:gd name="T13" fmla="*/ 8 h 16"/>
                <a:gd name="T14" fmla="*/ 13 w 13"/>
                <a:gd name="T15" fmla="*/ 3 h 16"/>
                <a:gd name="T16" fmla="*/ 13 w 13"/>
                <a:gd name="T17" fmla="*/ 3 h 16"/>
                <a:gd name="T18" fmla="*/ 9 w 13"/>
                <a:gd name="T19" fmla="*/ 0 h 1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3"/>
                <a:gd name="T31" fmla="*/ 0 h 16"/>
                <a:gd name="T32" fmla="*/ 13 w 13"/>
                <a:gd name="T33" fmla="*/ 16 h 1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3" h="16">
                  <a:moveTo>
                    <a:pt x="9" y="0"/>
                  </a:moveTo>
                  <a:cubicBezTo>
                    <a:pt x="9" y="0"/>
                    <a:pt x="4" y="4"/>
                    <a:pt x="3" y="4"/>
                  </a:cubicBezTo>
                  <a:cubicBezTo>
                    <a:pt x="2" y="4"/>
                    <a:pt x="0" y="8"/>
                    <a:pt x="0" y="8"/>
                  </a:cubicBezTo>
                  <a:cubicBezTo>
                    <a:pt x="2" y="16"/>
                    <a:pt x="2" y="16"/>
                    <a:pt x="2" y="16"/>
                  </a:cubicBezTo>
                  <a:cubicBezTo>
                    <a:pt x="6" y="16"/>
                    <a:pt x="6" y="16"/>
                    <a:pt x="6" y="16"/>
                  </a:cubicBezTo>
                  <a:cubicBezTo>
                    <a:pt x="6" y="13"/>
                    <a:pt x="6" y="13"/>
                    <a:pt x="6" y="13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13" y="3"/>
                    <a:pt x="13" y="3"/>
                    <a:pt x="13" y="3"/>
                  </a:cubicBezTo>
                  <a:cubicBezTo>
                    <a:pt x="13" y="3"/>
                    <a:pt x="13" y="3"/>
                    <a:pt x="13" y="3"/>
                  </a:cubicBezTo>
                  <a:cubicBezTo>
                    <a:pt x="12" y="2"/>
                    <a:pt x="9" y="0"/>
                    <a:pt x="9" y="0"/>
                  </a:cubicBezTo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891045"/>
              <a:endParaRPr lang="en-US" sz="1700" dirty="0">
                <a:solidFill>
                  <a:srgbClr val="003149"/>
                </a:solidFill>
                <a:cs typeface="Arial" panose="020B0604020202020204" pitchFamily="34" charset="0"/>
              </a:endParaRPr>
            </a:p>
          </p:txBody>
        </p:sp>
      </p:grpSp>
      <p:grpSp>
        <p:nvGrpSpPr>
          <p:cNvPr id="576" name="Group 488"/>
          <p:cNvGrpSpPr>
            <a:grpSpLocks/>
          </p:cNvGrpSpPr>
          <p:nvPr/>
        </p:nvGrpSpPr>
        <p:grpSpPr bwMode="gray">
          <a:xfrm>
            <a:off x="1350264" y="2623807"/>
            <a:ext cx="233811" cy="244851"/>
            <a:chOff x="4360" y="3099"/>
            <a:chExt cx="159" cy="158"/>
          </a:xfrm>
          <a:solidFill>
            <a:schemeClr val="accent3">
              <a:lumMod val="50000"/>
            </a:schemeClr>
          </a:solidFill>
        </p:grpSpPr>
        <p:sp>
          <p:nvSpPr>
            <p:cNvPr id="577" name="Freeform 489"/>
            <p:cNvSpPr>
              <a:spLocks/>
            </p:cNvSpPr>
            <p:nvPr/>
          </p:nvSpPr>
          <p:spPr bwMode="gray">
            <a:xfrm>
              <a:off x="4360" y="3099"/>
              <a:ext cx="159" cy="158"/>
            </a:xfrm>
            <a:custGeom>
              <a:avLst/>
              <a:gdLst>
                <a:gd name="T0" fmla="*/ 0 w 1567"/>
                <a:gd name="T1" fmla="*/ 0 h 1566"/>
                <a:gd name="T2" fmla="*/ 0 w 1567"/>
                <a:gd name="T3" fmla="*/ 0 h 1566"/>
                <a:gd name="T4" fmla="*/ 0 w 1567"/>
                <a:gd name="T5" fmla="*/ 0 h 1566"/>
                <a:gd name="T6" fmla="*/ 0 w 1567"/>
                <a:gd name="T7" fmla="*/ 0 h 1566"/>
                <a:gd name="T8" fmla="*/ 0 w 1567"/>
                <a:gd name="T9" fmla="*/ 0 h 1566"/>
                <a:gd name="T10" fmla="*/ 0 w 1567"/>
                <a:gd name="T11" fmla="*/ 0 h 1566"/>
                <a:gd name="T12" fmla="*/ 0 w 1567"/>
                <a:gd name="T13" fmla="*/ 0 h 1566"/>
                <a:gd name="T14" fmla="*/ 0 w 1567"/>
                <a:gd name="T15" fmla="*/ 0 h 1566"/>
                <a:gd name="T16" fmla="*/ 0 w 1567"/>
                <a:gd name="T17" fmla="*/ 0 h 1566"/>
                <a:gd name="T18" fmla="*/ 0 w 1567"/>
                <a:gd name="T19" fmla="*/ 0 h 1566"/>
                <a:gd name="T20" fmla="*/ 0 w 1567"/>
                <a:gd name="T21" fmla="*/ 0 h 1566"/>
                <a:gd name="T22" fmla="*/ 0 w 1567"/>
                <a:gd name="T23" fmla="*/ 0 h 1566"/>
                <a:gd name="T24" fmla="*/ 0 w 1567"/>
                <a:gd name="T25" fmla="*/ 0 h 1566"/>
                <a:gd name="T26" fmla="*/ 0 w 1567"/>
                <a:gd name="T27" fmla="*/ 0 h 1566"/>
                <a:gd name="T28" fmla="*/ 0 w 1567"/>
                <a:gd name="T29" fmla="*/ 0 h 1566"/>
                <a:gd name="T30" fmla="*/ 0 w 1567"/>
                <a:gd name="T31" fmla="*/ 0 h 1566"/>
                <a:gd name="T32" fmla="*/ 0 w 1567"/>
                <a:gd name="T33" fmla="*/ 0 h 1566"/>
                <a:gd name="T34" fmla="*/ 0 w 1567"/>
                <a:gd name="T35" fmla="*/ 0 h 1566"/>
                <a:gd name="T36" fmla="*/ 0 w 1567"/>
                <a:gd name="T37" fmla="*/ 0 h 1566"/>
                <a:gd name="T38" fmla="*/ 0 w 1567"/>
                <a:gd name="T39" fmla="*/ 0 h 1566"/>
                <a:gd name="T40" fmla="*/ 0 w 1567"/>
                <a:gd name="T41" fmla="*/ 0 h 1566"/>
                <a:gd name="T42" fmla="*/ 0 w 1567"/>
                <a:gd name="T43" fmla="*/ 0 h 1566"/>
                <a:gd name="T44" fmla="*/ 0 w 1567"/>
                <a:gd name="T45" fmla="*/ 0 h 1566"/>
                <a:gd name="T46" fmla="*/ 0 w 1567"/>
                <a:gd name="T47" fmla="*/ 0 h 1566"/>
                <a:gd name="T48" fmla="*/ 0 w 1567"/>
                <a:gd name="T49" fmla="*/ 0 h 1566"/>
                <a:gd name="T50" fmla="*/ 0 w 1567"/>
                <a:gd name="T51" fmla="*/ 0 h 1566"/>
                <a:gd name="T52" fmla="*/ 0 w 1567"/>
                <a:gd name="T53" fmla="*/ 0 h 1566"/>
                <a:gd name="T54" fmla="*/ 0 w 1567"/>
                <a:gd name="T55" fmla="*/ 0 h 1566"/>
                <a:gd name="T56" fmla="*/ 0 w 1567"/>
                <a:gd name="T57" fmla="*/ 0 h 1566"/>
                <a:gd name="T58" fmla="*/ 0 w 1567"/>
                <a:gd name="T59" fmla="*/ 0 h 1566"/>
                <a:gd name="T60" fmla="*/ 0 w 1567"/>
                <a:gd name="T61" fmla="*/ 0 h 1566"/>
                <a:gd name="T62" fmla="*/ 0 w 1567"/>
                <a:gd name="T63" fmla="*/ 0 h 1566"/>
                <a:gd name="T64" fmla="*/ 0 w 1567"/>
                <a:gd name="T65" fmla="*/ 0 h 1566"/>
                <a:gd name="T66" fmla="*/ 0 w 1567"/>
                <a:gd name="T67" fmla="*/ 0 h 1566"/>
                <a:gd name="T68" fmla="*/ 0 w 1567"/>
                <a:gd name="T69" fmla="*/ 0 h 1566"/>
                <a:gd name="T70" fmla="*/ 0 w 1567"/>
                <a:gd name="T71" fmla="*/ 0 h 1566"/>
                <a:gd name="T72" fmla="*/ 0 w 1567"/>
                <a:gd name="T73" fmla="*/ 0 h 1566"/>
                <a:gd name="T74" fmla="*/ 0 w 1567"/>
                <a:gd name="T75" fmla="*/ 0 h 1566"/>
                <a:gd name="T76" fmla="*/ 0 w 1567"/>
                <a:gd name="T77" fmla="*/ 0 h 1566"/>
                <a:gd name="T78" fmla="*/ 0 w 1567"/>
                <a:gd name="T79" fmla="*/ 0 h 1566"/>
                <a:gd name="T80" fmla="*/ 0 w 1567"/>
                <a:gd name="T81" fmla="*/ 0 h 1566"/>
                <a:gd name="T82" fmla="*/ 0 w 1567"/>
                <a:gd name="T83" fmla="*/ 0 h 1566"/>
                <a:gd name="T84" fmla="*/ 0 w 1567"/>
                <a:gd name="T85" fmla="*/ 0 h 1566"/>
                <a:gd name="T86" fmla="*/ 0 w 1567"/>
                <a:gd name="T87" fmla="*/ 0 h 1566"/>
                <a:gd name="T88" fmla="*/ 0 w 1567"/>
                <a:gd name="T89" fmla="*/ 0 h 1566"/>
                <a:gd name="T90" fmla="*/ 0 w 1567"/>
                <a:gd name="T91" fmla="*/ 0 h 1566"/>
                <a:gd name="T92" fmla="*/ 0 w 1567"/>
                <a:gd name="T93" fmla="*/ 0 h 1566"/>
                <a:gd name="T94" fmla="*/ 0 w 1567"/>
                <a:gd name="T95" fmla="*/ 0 h 156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1567"/>
                <a:gd name="T145" fmla="*/ 0 h 1566"/>
                <a:gd name="T146" fmla="*/ 1567 w 1567"/>
                <a:gd name="T147" fmla="*/ 1566 h 1566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1567" h="1566">
                  <a:moveTo>
                    <a:pt x="1554" y="770"/>
                  </a:moveTo>
                  <a:cubicBezTo>
                    <a:pt x="1554" y="745"/>
                    <a:pt x="1554" y="642"/>
                    <a:pt x="1554" y="642"/>
                  </a:cubicBezTo>
                  <a:cubicBezTo>
                    <a:pt x="1528" y="655"/>
                    <a:pt x="1477" y="655"/>
                    <a:pt x="1464" y="655"/>
                  </a:cubicBezTo>
                  <a:cubicBezTo>
                    <a:pt x="1451" y="655"/>
                    <a:pt x="1374" y="668"/>
                    <a:pt x="1374" y="668"/>
                  </a:cubicBezTo>
                  <a:cubicBezTo>
                    <a:pt x="1323" y="680"/>
                    <a:pt x="1323" y="680"/>
                    <a:pt x="1323" y="680"/>
                  </a:cubicBezTo>
                  <a:cubicBezTo>
                    <a:pt x="1323" y="680"/>
                    <a:pt x="1323" y="629"/>
                    <a:pt x="1336" y="616"/>
                  </a:cubicBezTo>
                  <a:cubicBezTo>
                    <a:pt x="1348" y="603"/>
                    <a:pt x="1323" y="513"/>
                    <a:pt x="1310" y="501"/>
                  </a:cubicBezTo>
                  <a:cubicBezTo>
                    <a:pt x="1284" y="488"/>
                    <a:pt x="1271" y="385"/>
                    <a:pt x="1284" y="359"/>
                  </a:cubicBezTo>
                  <a:cubicBezTo>
                    <a:pt x="1297" y="347"/>
                    <a:pt x="1284" y="295"/>
                    <a:pt x="1271" y="282"/>
                  </a:cubicBezTo>
                  <a:cubicBezTo>
                    <a:pt x="1271" y="257"/>
                    <a:pt x="1271" y="205"/>
                    <a:pt x="1271" y="192"/>
                  </a:cubicBezTo>
                  <a:cubicBezTo>
                    <a:pt x="1271" y="167"/>
                    <a:pt x="1117" y="180"/>
                    <a:pt x="1117" y="180"/>
                  </a:cubicBezTo>
                  <a:cubicBezTo>
                    <a:pt x="1130" y="128"/>
                    <a:pt x="1130" y="128"/>
                    <a:pt x="1130" y="128"/>
                  </a:cubicBezTo>
                  <a:cubicBezTo>
                    <a:pt x="1002" y="154"/>
                    <a:pt x="1002" y="154"/>
                    <a:pt x="1002" y="154"/>
                  </a:cubicBezTo>
                  <a:cubicBezTo>
                    <a:pt x="976" y="231"/>
                    <a:pt x="976" y="231"/>
                    <a:pt x="976" y="231"/>
                  </a:cubicBezTo>
                  <a:cubicBezTo>
                    <a:pt x="963" y="269"/>
                    <a:pt x="963" y="269"/>
                    <a:pt x="963" y="269"/>
                  </a:cubicBezTo>
                  <a:cubicBezTo>
                    <a:pt x="963" y="269"/>
                    <a:pt x="873" y="269"/>
                    <a:pt x="861" y="269"/>
                  </a:cubicBezTo>
                  <a:cubicBezTo>
                    <a:pt x="848" y="282"/>
                    <a:pt x="745" y="282"/>
                    <a:pt x="745" y="282"/>
                  </a:cubicBezTo>
                  <a:cubicBezTo>
                    <a:pt x="745" y="282"/>
                    <a:pt x="668" y="192"/>
                    <a:pt x="668" y="167"/>
                  </a:cubicBezTo>
                  <a:cubicBezTo>
                    <a:pt x="668" y="128"/>
                    <a:pt x="617" y="13"/>
                    <a:pt x="617" y="13"/>
                  </a:cubicBezTo>
                  <a:cubicBezTo>
                    <a:pt x="180" y="0"/>
                    <a:pt x="180" y="0"/>
                    <a:pt x="180" y="0"/>
                  </a:cubicBezTo>
                  <a:cubicBezTo>
                    <a:pt x="90" y="25"/>
                    <a:pt x="90" y="25"/>
                    <a:pt x="90" y="25"/>
                  </a:cubicBezTo>
                  <a:cubicBezTo>
                    <a:pt x="154" y="180"/>
                    <a:pt x="154" y="180"/>
                    <a:pt x="154" y="180"/>
                  </a:cubicBezTo>
                  <a:cubicBezTo>
                    <a:pt x="154" y="180"/>
                    <a:pt x="193" y="269"/>
                    <a:pt x="193" y="308"/>
                  </a:cubicBezTo>
                  <a:cubicBezTo>
                    <a:pt x="193" y="347"/>
                    <a:pt x="167" y="398"/>
                    <a:pt x="167" y="411"/>
                  </a:cubicBezTo>
                  <a:cubicBezTo>
                    <a:pt x="167" y="424"/>
                    <a:pt x="206" y="513"/>
                    <a:pt x="244" y="578"/>
                  </a:cubicBezTo>
                  <a:cubicBezTo>
                    <a:pt x="270" y="629"/>
                    <a:pt x="270" y="719"/>
                    <a:pt x="257" y="757"/>
                  </a:cubicBezTo>
                  <a:cubicBezTo>
                    <a:pt x="244" y="809"/>
                    <a:pt x="206" y="860"/>
                    <a:pt x="167" y="886"/>
                  </a:cubicBezTo>
                  <a:cubicBezTo>
                    <a:pt x="116" y="912"/>
                    <a:pt x="116" y="1001"/>
                    <a:pt x="103" y="1027"/>
                  </a:cubicBezTo>
                  <a:cubicBezTo>
                    <a:pt x="90" y="1053"/>
                    <a:pt x="77" y="1117"/>
                    <a:pt x="52" y="1194"/>
                  </a:cubicBezTo>
                  <a:cubicBezTo>
                    <a:pt x="26" y="1258"/>
                    <a:pt x="0" y="1284"/>
                    <a:pt x="13" y="1310"/>
                  </a:cubicBezTo>
                  <a:cubicBezTo>
                    <a:pt x="26" y="1335"/>
                    <a:pt x="0" y="1477"/>
                    <a:pt x="0" y="1477"/>
                  </a:cubicBezTo>
                  <a:cubicBezTo>
                    <a:pt x="39" y="1464"/>
                    <a:pt x="39" y="1464"/>
                    <a:pt x="39" y="1464"/>
                  </a:cubicBezTo>
                  <a:cubicBezTo>
                    <a:pt x="39" y="1464"/>
                    <a:pt x="77" y="1464"/>
                    <a:pt x="103" y="1477"/>
                  </a:cubicBezTo>
                  <a:cubicBezTo>
                    <a:pt x="129" y="1477"/>
                    <a:pt x="154" y="1438"/>
                    <a:pt x="167" y="1438"/>
                  </a:cubicBezTo>
                  <a:cubicBezTo>
                    <a:pt x="193" y="1425"/>
                    <a:pt x="244" y="1464"/>
                    <a:pt x="257" y="1477"/>
                  </a:cubicBezTo>
                  <a:cubicBezTo>
                    <a:pt x="283" y="1489"/>
                    <a:pt x="321" y="1489"/>
                    <a:pt x="321" y="1489"/>
                  </a:cubicBezTo>
                  <a:cubicBezTo>
                    <a:pt x="848" y="1489"/>
                    <a:pt x="848" y="1489"/>
                    <a:pt x="848" y="1489"/>
                  </a:cubicBezTo>
                  <a:cubicBezTo>
                    <a:pt x="912" y="1554"/>
                    <a:pt x="912" y="1554"/>
                    <a:pt x="912" y="1554"/>
                  </a:cubicBezTo>
                  <a:cubicBezTo>
                    <a:pt x="912" y="1554"/>
                    <a:pt x="1079" y="1554"/>
                    <a:pt x="1092" y="1554"/>
                  </a:cubicBezTo>
                  <a:cubicBezTo>
                    <a:pt x="1105" y="1566"/>
                    <a:pt x="1156" y="1566"/>
                    <a:pt x="1169" y="1554"/>
                  </a:cubicBezTo>
                  <a:cubicBezTo>
                    <a:pt x="1182" y="1554"/>
                    <a:pt x="1233" y="1566"/>
                    <a:pt x="1233" y="1566"/>
                  </a:cubicBezTo>
                  <a:cubicBezTo>
                    <a:pt x="1233" y="1566"/>
                    <a:pt x="1477" y="1515"/>
                    <a:pt x="1477" y="1515"/>
                  </a:cubicBezTo>
                  <a:cubicBezTo>
                    <a:pt x="1464" y="1515"/>
                    <a:pt x="1297" y="1335"/>
                    <a:pt x="1297" y="1335"/>
                  </a:cubicBezTo>
                  <a:cubicBezTo>
                    <a:pt x="1297" y="912"/>
                    <a:pt x="1297" y="912"/>
                    <a:pt x="1297" y="912"/>
                  </a:cubicBezTo>
                  <a:cubicBezTo>
                    <a:pt x="1554" y="912"/>
                    <a:pt x="1554" y="912"/>
                    <a:pt x="1554" y="912"/>
                  </a:cubicBezTo>
                  <a:cubicBezTo>
                    <a:pt x="1541" y="860"/>
                    <a:pt x="1541" y="860"/>
                    <a:pt x="1541" y="860"/>
                  </a:cubicBezTo>
                  <a:cubicBezTo>
                    <a:pt x="1567" y="822"/>
                    <a:pt x="1567" y="822"/>
                    <a:pt x="1567" y="822"/>
                  </a:cubicBezTo>
                  <a:cubicBezTo>
                    <a:pt x="1567" y="822"/>
                    <a:pt x="1554" y="783"/>
                    <a:pt x="1554" y="770"/>
                  </a:cubicBezTo>
                </a:path>
              </a:pathLst>
            </a:custGeom>
            <a:grpFill/>
            <a:ln w="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891045"/>
              <a:endParaRPr lang="en-US" sz="1700" dirty="0">
                <a:solidFill>
                  <a:srgbClr val="003149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578" name="Freeform 490"/>
            <p:cNvSpPr>
              <a:spLocks/>
            </p:cNvSpPr>
            <p:nvPr/>
          </p:nvSpPr>
          <p:spPr bwMode="gray">
            <a:xfrm>
              <a:off x="4360" y="3099"/>
              <a:ext cx="159" cy="158"/>
            </a:xfrm>
            <a:custGeom>
              <a:avLst/>
              <a:gdLst>
                <a:gd name="T0" fmla="*/ 157 w 159"/>
                <a:gd name="T1" fmla="*/ 78 h 158"/>
                <a:gd name="T2" fmla="*/ 157 w 159"/>
                <a:gd name="T3" fmla="*/ 65 h 158"/>
                <a:gd name="T4" fmla="*/ 148 w 159"/>
                <a:gd name="T5" fmla="*/ 66 h 158"/>
                <a:gd name="T6" fmla="*/ 139 w 159"/>
                <a:gd name="T7" fmla="*/ 67 h 158"/>
                <a:gd name="T8" fmla="*/ 134 w 159"/>
                <a:gd name="T9" fmla="*/ 68 h 158"/>
                <a:gd name="T10" fmla="*/ 135 w 159"/>
                <a:gd name="T11" fmla="*/ 62 h 158"/>
                <a:gd name="T12" fmla="*/ 133 w 159"/>
                <a:gd name="T13" fmla="*/ 50 h 158"/>
                <a:gd name="T14" fmla="*/ 130 w 159"/>
                <a:gd name="T15" fmla="*/ 36 h 158"/>
                <a:gd name="T16" fmla="*/ 129 w 159"/>
                <a:gd name="T17" fmla="*/ 28 h 158"/>
                <a:gd name="T18" fmla="*/ 129 w 159"/>
                <a:gd name="T19" fmla="*/ 19 h 158"/>
                <a:gd name="T20" fmla="*/ 113 w 159"/>
                <a:gd name="T21" fmla="*/ 18 h 158"/>
                <a:gd name="T22" fmla="*/ 115 w 159"/>
                <a:gd name="T23" fmla="*/ 13 h 158"/>
                <a:gd name="T24" fmla="*/ 102 w 159"/>
                <a:gd name="T25" fmla="*/ 15 h 158"/>
                <a:gd name="T26" fmla="*/ 99 w 159"/>
                <a:gd name="T27" fmla="*/ 23 h 158"/>
                <a:gd name="T28" fmla="*/ 98 w 159"/>
                <a:gd name="T29" fmla="*/ 27 h 158"/>
                <a:gd name="T30" fmla="*/ 87 w 159"/>
                <a:gd name="T31" fmla="*/ 27 h 158"/>
                <a:gd name="T32" fmla="*/ 76 w 159"/>
                <a:gd name="T33" fmla="*/ 28 h 158"/>
                <a:gd name="T34" fmla="*/ 68 w 159"/>
                <a:gd name="T35" fmla="*/ 17 h 158"/>
                <a:gd name="T36" fmla="*/ 63 w 159"/>
                <a:gd name="T37" fmla="*/ 1 h 158"/>
                <a:gd name="T38" fmla="*/ 19 w 159"/>
                <a:gd name="T39" fmla="*/ 0 h 158"/>
                <a:gd name="T40" fmla="*/ 10 w 159"/>
                <a:gd name="T41" fmla="*/ 2 h 158"/>
                <a:gd name="T42" fmla="*/ 16 w 159"/>
                <a:gd name="T43" fmla="*/ 18 h 158"/>
                <a:gd name="T44" fmla="*/ 20 w 159"/>
                <a:gd name="T45" fmla="*/ 31 h 158"/>
                <a:gd name="T46" fmla="*/ 17 w 159"/>
                <a:gd name="T47" fmla="*/ 41 h 158"/>
                <a:gd name="T48" fmla="*/ 25 w 159"/>
                <a:gd name="T49" fmla="*/ 58 h 158"/>
                <a:gd name="T50" fmla="*/ 26 w 159"/>
                <a:gd name="T51" fmla="*/ 76 h 158"/>
                <a:gd name="T52" fmla="*/ 17 w 159"/>
                <a:gd name="T53" fmla="*/ 89 h 158"/>
                <a:gd name="T54" fmla="*/ 11 w 159"/>
                <a:gd name="T55" fmla="*/ 104 h 158"/>
                <a:gd name="T56" fmla="*/ 6 w 159"/>
                <a:gd name="T57" fmla="*/ 120 h 158"/>
                <a:gd name="T58" fmla="*/ 2 w 159"/>
                <a:gd name="T59" fmla="*/ 132 h 158"/>
                <a:gd name="T60" fmla="*/ 0 w 159"/>
                <a:gd name="T61" fmla="*/ 149 h 158"/>
                <a:gd name="T62" fmla="*/ 4 w 159"/>
                <a:gd name="T63" fmla="*/ 148 h 158"/>
                <a:gd name="T64" fmla="*/ 11 w 159"/>
                <a:gd name="T65" fmla="*/ 149 h 158"/>
                <a:gd name="T66" fmla="*/ 17 w 159"/>
                <a:gd name="T67" fmla="*/ 145 h 158"/>
                <a:gd name="T68" fmla="*/ 26 w 159"/>
                <a:gd name="T69" fmla="*/ 149 h 158"/>
                <a:gd name="T70" fmla="*/ 33 w 159"/>
                <a:gd name="T71" fmla="*/ 150 h 158"/>
                <a:gd name="T72" fmla="*/ 86 w 159"/>
                <a:gd name="T73" fmla="*/ 150 h 158"/>
                <a:gd name="T74" fmla="*/ 93 w 159"/>
                <a:gd name="T75" fmla="*/ 157 h 158"/>
                <a:gd name="T76" fmla="*/ 111 w 159"/>
                <a:gd name="T77" fmla="*/ 157 h 158"/>
                <a:gd name="T78" fmla="*/ 118 w 159"/>
                <a:gd name="T79" fmla="*/ 157 h 158"/>
                <a:gd name="T80" fmla="*/ 125 w 159"/>
                <a:gd name="T81" fmla="*/ 158 h 158"/>
                <a:gd name="T82" fmla="*/ 150 w 159"/>
                <a:gd name="T83" fmla="*/ 153 h 158"/>
                <a:gd name="T84" fmla="*/ 131 w 159"/>
                <a:gd name="T85" fmla="*/ 135 h 158"/>
                <a:gd name="T86" fmla="*/ 131 w 159"/>
                <a:gd name="T87" fmla="*/ 92 h 158"/>
                <a:gd name="T88" fmla="*/ 157 w 159"/>
                <a:gd name="T89" fmla="*/ 92 h 158"/>
                <a:gd name="T90" fmla="*/ 156 w 159"/>
                <a:gd name="T91" fmla="*/ 87 h 158"/>
                <a:gd name="T92" fmla="*/ 159 w 159"/>
                <a:gd name="T93" fmla="*/ 83 h 158"/>
                <a:gd name="T94" fmla="*/ 157 w 159"/>
                <a:gd name="T95" fmla="*/ 78 h 158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159"/>
                <a:gd name="T145" fmla="*/ 0 h 158"/>
                <a:gd name="T146" fmla="*/ 159 w 159"/>
                <a:gd name="T147" fmla="*/ 158 h 158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159" h="158">
                  <a:moveTo>
                    <a:pt x="157" y="78"/>
                  </a:moveTo>
                  <a:cubicBezTo>
                    <a:pt x="157" y="75"/>
                    <a:pt x="157" y="65"/>
                    <a:pt x="157" y="65"/>
                  </a:cubicBezTo>
                  <a:cubicBezTo>
                    <a:pt x="155" y="66"/>
                    <a:pt x="150" y="66"/>
                    <a:pt x="148" y="66"/>
                  </a:cubicBezTo>
                  <a:cubicBezTo>
                    <a:pt x="147" y="66"/>
                    <a:pt x="139" y="67"/>
                    <a:pt x="139" y="67"/>
                  </a:cubicBezTo>
                  <a:cubicBezTo>
                    <a:pt x="134" y="68"/>
                    <a:pt x="134" y="68"/>
                    <a:pt x="134" y="68"/>
                  </a:cubicBezTo>
                  <a:cubicBezTo>
                    <a:pt x="134" y="68"/>
                    <a:pt x="134" y="63"/>
                    <a:pt x="135" y="62"/>
                  </a:cubicBezTo>
                  <a:cubicBezTo>
                    <a:pt x="137" y="61"/>
                    <a:pt x="134" y="52"/>
                    <a:pt x="133" y="50"/>
                  </a:cubicBezTo>
                  <a:cubicBezTo>
                    <a:pt x="130" y="49"/>
                    <a:pt x="129" y="39"/>
                    <a:pt x="130" y="36"/>
                  </a:cubicBezTo>
                  <a:cubicBezTo>
                    <a:pt x="131" y="35"/>
                    <a:pt x="130" y="30"/>
                    <a:pt x="129" y="28"/>
                  </a:cubicBezTo>
                  <a:cubicBezTo>
                    <a:pt x="129" y="26"/>
                    <a:pt x="129" y="21"/>
                    <a:pt x="129" y="19"/>
                  </a:cubicBezTo>
                  <a:cubicBezTo>
                    <a:pt x="129" y="17"/>
                    <a:pt x="113" y="18"/>
                    <a:pt x="113" y="18"/>
                  </a:cubicBezTo>
                  <a:cubicBezTo>
                    <a:pt x="115" y="13"/>
                    <a:pt x="115" y="13"/>
                    <a:pt x="115" y="13"/>
                  </a:cubicBezTo>
                  <a:cubicBezTo>
                    <a:pt x="102" y="15"/>
                    <a:pt x="102" y="15"/>
                    <a:pt x="102" y="15"/>
                  </a:cubicBezTo>
                  <a:cubicBezTo>
                    <a:pt x="99" y="23"/>
                    <a:pt x="99" y="23"/>
                    <a:pt x="99" y="23"/>
                  </a:cubicBezTo>
                  <a:cubicBezTo>
                    <a:pt x="98" y="27"/>
                    <a:pt x="98" y="27"/>
                    <a:pt x="98" y="27"/>
                  </a:cubicBezTo>
                  <a:cubicBezTo>
                    <a:pt x="98" y="27"/>
                    <a:pt x="89" y="27"/>
                    <a:pt x="87" y="27"/>
                  </a:cubicBezTo>
                  <a:cubicBezTo>
                    <a:pt x="86" y="28"/>
                    <a:pt x="76" y="28"/>
                    <a:pt x="76" y="28"/>
                  </a:cubicBezTo>
                  <a:cubicBezTo>
                    <a:pt x="76" y="28"/>
                    <a:pt x="68" y="19"/>
                    <a:pt x="68" y="17"/>
                  </a:cubicBezTo>
                  <a:cubicBezTo>
                    <a:pt x="68" y="13"/>
                    <a:pt x="63" y="1"/>
                    <a:pt x="63" y="1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16" y="18"/>
                    <a:pt x="16" y="18"/>
                    <a:pt x="16" y="18"/>
                  </a:cubicBezTo>
                  <a:cubicBezTo>
                    <a:pt x="16" y="18"/>
                    <a:pt x="20" y="27"/>
                    <a:pt x="20" y="31"/>
                  </a:cubicBezTo>
                  <a:cubicBezTo>
                    <a:pt x="20" y="35"/>
                    <a:pt x="17" y="40"/>
                    <a:pt x="17" y="41"/>
                  </a:cubicBezTo>
                  <a:cubicBezTo>
                    <a:pt x="17" y="43"/>
                    <a:pt x="21" y="52"/>
                    <a:pt x="25" y="58"/>
                  </a:cubicBezTo>
                  <a:cubicBezTo>
                    <a:pt x="28" y="63"/>
                    <a:pt x="28" y="72"/>
                    <a:pt x="26" y="76"/>
                  </a:cubicBezTo>
                  <a:cubicBezTo>
                    <a:pt x="25" y="82"/>
                    <a:pt x="21" y="87"/>
                    <a:pt x="17" y="89"/>
                  </a:cubicBezTo>
                  <a:cubicBezTo>
                    <a:pt x="12" y="92"/>
                    <a:pt x="12" y="101"/>
                    <a:pt x="11" y="104"/>
                  </a:cubicBezTo>
                  <a:cubicBezTo>
                    <a:pt x="10" y="106"/>
                    <a:pt x="8" y="113"/>
                    <a:pt x="6" y="120"/>
                  </a:cubicBezTo>
                  <a:cubicBezTo>
                    <a:pt x="3" y="127"/>
                    <a:pt x="0" y="130"/>
                    <a:pt x="2" y="132"/>
                  </a:cubicBezTo>
                  <a:cubicBezTo>
                    <a:pt x="3" y="135"/>
                    <a:pt x="0" y="149"/>
                    <a:pt x="0" y="149"/>
                  </a:cubicBezTo>
                  <a:cubicBezTo>
                    <a:pt x="4" y="148"/>
                    <a:pt x="4" y="148"/>
                    <a:pt x="4" y="148"/>
                  </a:cubicBezTo>
                  <a:cubicBezTo>
                    <a:pt x="4" y="148"/>
                    <a:pt x="8" y="148"/>
                    <a:pt x="11" y="149"/>
                  </a:cubicBezTo>
                  <a:cubicBezTo>
                    <a:pt x="14" y="149"/>
                    <a:pt x="16" y="145"/>
                    <a:pt x="17" y="145"/>
                  </a:cubicBezTo>
                  <a:cubicBezTo>
                    <a:pt x="20" y="144"/>
                    <a:pt x="25" y="148"/>
                    <a:pt x="26" y="149"/>
                  </a:cubicBezTo>
                  <a:cubicBezTo>
                    <a:pt x="29" y="150"/>
                    <a:pt x="33" y="150"/>
                    <a:pt x="33" y="150"/>
                  </a:cubicBezTo>
                  <a:cubicBezTo>
                    <a:pt x="86" y="150"/>
                    <a:pt x="86" y="150"/>
                    <a:pt x="86" y="150"/>
                  </a:cubicBezTo>
                  <a:cubicBezTo>
                    <a:pt x="93" y="157"/>
                    <a:pt x="93" y="157"/>
                    <a:pt x="93" y="157"/>
                  </a:cubicBezTo>
                  <a:cubicBezTo>
                    <a:pt x="93" y="157"/>
                    <a:pt x="109" y="157"/>
                    <a:pt x="111" y="157"/>
                  </a:cubicBezTo>
                  <a:cubicBezTo>
                    <a:pt x="112" y="158"/>
                    <a:pt x="117" y="158"/>
                    <a:pt x="118" y="157"/>
                  </a:cubicBezTo>
                  <a:cubicBezTo>
                    <a:pt x="120" y="157"/>
                    <a:pt x="125" y="158"/>
                    <a:pt x="125" y="158"/>
                  </a:cubicBezTo>
                  <a:cubicBezTo>
                    <a:pt x="125" y="158"/>
                    <a:pt x="150" y="153"/>
                    <a:pt x="150" y="153"/>
                  </a:cubicBezTo>
                  <a:cubicBezTo>
                    <a:pt x="148" y="153"/>
                    <a:pt x="131" y="135"/>
                    <a:pt x="131" y="135"/>
                  </a:cubicBezTo>
                  <a:cubicBezTo>
                    <a:pt x="131" y="92"/>
                    <a:pt x="131" y="92"/>
                    <a:pt x="131" y="92"/>
                  </a:cubicBezTo>
                  <a:cubicBezTo>
                    <a:pt x="157" y="92"/>
                    <a:pt x="157" y="92"/>
                    <a:pt x="157" y="92"/>
                  </a:cubicBezTo>
                  <a:cubicBezTo>
                    <a:pt x="156" y="87"/>
                    <a:pt x="156" y="87"/>
                    <a:pt x="156" y="87"/>
                  </a:cubicBezTo>
                  <a:cubicBezTo>
                    <a:pt x="159" y="83"/>
                    <a:pt x="159" y="83"/>
                    <a:pt x="159" y="83"/>
                  </a:cubicBezTo>
                  <a:cubicBezTo>
                    <a:pt x="159" y="83"/>
                    <a:pt x="157" y="79"/>
                    <a:pt x="157" y="78"/>
                  </a:cubicBezTo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891045"/>
              <a:endParaRPr lang="en-US" sz="1700" dirty="0">
                <a:solidFill>
                  <a:srgbClr val="003149"/>
                </a:solidFill>
                <a:cs typeface="Arial" panose="020B0604020202020204" pitchFamily="34" charset="0"/>
              </a:endParaRPr>
            </a:p>
          </p:txBody>
        </p:sp>
      </p:grpSp>
      <p:grpSp>
        <p:nvGrpSpPr>
          <p:cNvPr id="579" name="Group 491"/>
          <p:cNvGrpSpPr>
            <a:grpSpLocks/>
          </p:cNvGrpSpPr>
          <p:nvPr/>
        </p:nvGrpSpPr>
        <p:grpSpPr bwMode="gray">
          <a:xfrm>
            <a:off x="1543837" y="2668226"/>
            <a:ext cx="218726" cy="200447"/>
            <a:chOff x="4492" y="3127"/>
            <a:chExt cx="149" cy="130"/>
          </a:xfrm>
          <a:solidFill>
            <a:schemeClr val="accent3"/>
          </a:solidFill>
        </p:grpSpPr>
        <p:sp>
          <p:nvSpPr>
            <p:cNvPr id="580" name="Freeform 492"/>
            <p:cNvSpPr>
              <a:spLocks/>
            </p:cNvSpPr>
            <p:nvPr/>
          </p:nvSpPr>
          <p:spPr bwMode="gray">
            <a:xfrm>
              <a:off x="4492" y="3127"/>
              <a:ext cx="149" cy="130"/>
            </a:xfrm>
            <a:custGeom>
              <a:avLst/>
              <a:gdLst>
                <a:gd name="T0" fmla="*/ 0 w 1475"/>
                <a:gd name="T1" fmla="*/ 0 h 1283"/>
                <a:gd name="T2" fmla="*/ 0 w 1475"/>
                <a:gd name="T3" fmla="*/ 0 h 1283"/>
                <a:gd name="T4" fmla="*/ 0 w 1475"/>
                <a:gd name="T5" fmla="*/ 0 h 1283"/>
                <a:gd name="T6" fmla="*/ 0 w 1475"/>
                <a:gd name="T7" fmla="*/ 0 h 1283"/>
                <a:gd name="T8" fmla="*/ 0 w 1475"/>
                <a:gd name="T9" fmla="*/ 0 h 1283"/>
                <a:gd name="T10" fmla="*/ 0 w 1475"/>
                <a:gd name="T11" fmla="*/ 0 h 1283"/>
                <a:gd name="T12" fmla="*/ 0 w 1475"/>
                <a:gd name="T13" fmla="*/ 0 h 1283"/>
                <a:gd name="T14" fmla="*/ 0 w 1475"/>
                <a:gd name="T15" fmla="*/ 0 h 1283"/>
                <a:gd name="T16" fmla="*/ 0 w 1475"/>
                <a:gd name="T17" fmla="*/ 0 h 1283"/>
                <a:gd name="T18" fmla="*/ 0 w 1475"/>
                <a:gd name="T19" fmla="*/ 0 h 1283"/>
                <a:gd name="T20" fmla="*/ 0 w 1475"/>
                <a:gd name="T21" fmla="*/ 0 h 1283"/>
                <a:gd name="T22" fmla="*/ 0 w 1475"/>
                <a:gd name="T23" fmla="*/ 0 h 1283"/>
                <a:gd name="T24" fmla="*/ 0 w 1475"/>
                <a:gd name="T25" fmla="*/ 0 h 1283"/>
                <a:gd name="T26" fmla="*/ 0 w 1475"/>
                <a:gd name="T27" fmla="*/ 0 h 1283"/>
                <a:gd name="T28" fmla="*/ 0 w 1475"/>
                <a:gd name="T29" fmla="*/ 0 h 1283"/>
                <a:gd name="T30" fmla="*/ 0 w 1475"/>
                <a:gd name="T31" fmla="*/ 0 h 1283"/>
                <a:gd name="T32" fmla="*/ 0 w 1475"/>
                <a:gd name="T33" fmla="*/ 0 h 1283"/>
                <a:gd name="T34" fmla="*/ 0 w 1475"/>
                <a:gd name="T35" fmla="*/ 0 h 1283"/>
                <a:gd name="T36" fmla="*/ 0 w 1475"/>
                <a:gd name="T37" fmla="*/ 0 h 1283"/>
                <a:gd name="T38" fmla="*/ 0 w 1475"/>
                <a:gd name="T39" fmla="*/ 0 h 1283"/>
                <a:gd name="T40" fmla="*/ 0 w 1475"/>
                <a:gd name="T41" fmla="*/ 0 h 1283"/>
                <a:gd name="T42" fmla="*/ 0 w 1475"/>
                <a:gd name="T43" fmla="*/ 0 h 1283"/>
                <a:gd name="T44" fmla="*/ 0 w 1475"/>
                <a:gd name="T45" fmla="*/ 0 h 1283"/>
                <a:gd name="T46" fmla="*/ 0 w 1475"/>
                <a:gd name="T47" fmla="*/ 0 h 1283"/>
                <a:gd name="T48" fmla="*/ 0 w 1475"/>
                <a:gd name="T49" fmla="*/ 0 h 1283"/>
                <a:gd name="T50" fmla="*/ 0 w 1475"/>
                <a:gd name="T51" fmla="*/ 0 h 1283"/>
                <a:gd name="T52" fmla="*/ 0 w 1475"/>
                <a:gd name="T53" fmla="*/ 0 h 1283"/>
                <a:gd name="T54" fmla="*/ 0 w 1475"/>
                <a:gd name="T55" fmla="*/ 0 h 1283"/>
                <a:gd name="T56" fmla="*/ 0 w 1475"/>
                <a:gd name="T57" fmla="*/ 0 h 1283"/>
                <a:gd name="T58" fmla="*/ 0 w 1475"/>
                <a:gd name="T59" fmla="*/ 0 h 1283"/>
                <a:gd name="T60" fmla="*/ 0 w 1475"/>
                <a:gd name="T61" fmla="*/ 0 h 1283"/>
                <a:gd name="T62" fmla="*/ 0 w 1475"/>
                <a:gd name="T63" fmla="*/ 0 h 1283"/>
                <a:gd name="T64" fmla="*/ 0 w 1475"/>
                <a:gd name="T65" fmla="*/ 0 h 1283"/>
                <a:gd name="T66" fmla="*/ 0 w 1475"/>
                <a:gd name="T67" fmla="*/ 0 h 1283"/>
                <a:gd name="T68" fmla="*/ 0 w 1475"/>
                <a:gd name="T69" fmla="*/ 0 h 1283"/>
                <a:gd name="T70" fmla="*/ 0 w 1475"/>
                <a:gd name="T71" fmla="*/ 0 h 1283"/>
                <a:gd name="T72" fmla="*/ 0 w 1475"/>
                <a:gd name="T73" fmla="*/ 0 h 1283"/>
                <a:gd name="T74" fmla="*/ 0 w 1475"/>
                <a:gd name="T75" fmla="*/ 0 h 1283"/>
                <a:gd name="T76" fmla="*/ 0 w 1475"/>
                <a:gd name="T77" fmla="*/ 0 h 1283"/>
                <a:gd name="T78" fmla="*/ 0 w 1475"/>
                <a:gd name="T79" fmla="*/ 0 h 1283"/>
                <a:gd name="T80" fmla="*/ 0 w 1475"/>
                <a:gd name="T81" fmla="*/ 0 h 1283"/>
                <a:gd name="T82" fmla="*/ 0 w 1475"/>
                <a:gd name="T83" fmla="*/ 0 h 1283"/>
                <a:gd name="T84" fmla="*/ 0 w 1475"/>
                <a:gd name="T85" fmla="*/ 0 h 1283"/>
                <a:gd name="T86" fmla="*/ 0 w 1475"/>
                <a:gd name="T87" fmla="*/ 0 h 1283"/>
                <a:gd name="T88" fmla="*/ 0 w 1475"/>
                <a:gd name="T89" fmla="*/ 0 h 1283"/>
                <a:gd name="T90" fmla="*/ 0 w 1475"/>
                <a:gd name="T91" fmla="*/ 0 h 1283"/>
                <a:gd name="T92" fmla="*/ 0 w 1475"/>
                <a:gd name="T93" fmla="*/ 0 h 1283"/>
                <a:gd name="T94" fmla="*/ 0 w 1475"/>
                <a:gd name="T95" fmla="*/ 0 h 1283"/>
                <a:gd name="T96" fmla="*/ 0 w 1475"/>
                <a:gd name="T97" fmla="*/ 0 h 1283"/>
                <a:gd name="T98" fmla="*/ 0 w 1475"/>
                <a:gd name="T99" fmla="*/ 0 h 1283"/>
                <a:gd name="T100" fmla="*/ 0 w 1475"/>
                <a:gd name="T101" fmla="*/ 0 h 1283"/>
                <a:gd name="T102" fmla="*/ 0 w 1475"/>
                <a:gd name="T103" fmla="*/ 0 h 1283"/>
                <a:gd name="T104" fmla="*/ 0 w 1475"/>
                <a:gd name="T105" fmla="*/ 0 h 1283"/>
                <a:gd name="T106" fmla="*/ 0 w 1475"/>
                <a:gd name="T107" fmla="*/ 0 h 1283"/>
                <a:gd name="T108" fmla="*/ 0 w 1475"/>
                <a:gd name="T109" fmla="*/ 0 h 1283"/>
                <a:gd name="T110" fmla="*/ 0 w 1475"/>
                <a:gd name="T111" fmla="*/ 0 h 1283"/>
                <a:gd name="T112" fmla="*/ 0 w 1475"/>
                <a:gd name="T113" fmla="*/ 0 h 1283"/>
                <a:gd name="T114" fmla="*/ 0 w 1475"/>
                <a:gd name="T115" fmla="*/ 0 h 1283"/>
                <a:gd name="T116" fmla="*/ 0 w 1475"/>
                <a:gd name="T117" fmla="*/ 0 h 1283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1475"/>
                <a:gd name="T178" fmla="*/ 0 h 1283"/>
                <a:gd name="T179" fmla="*/ 1475 w 1475"/>
                <a:gd name="T180" fmla="*/ 1283 h 1283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1475" h="1283">
                  <a:moveTo>
                    <a:pt x="1424" y="398"/>
                  </a:moveTo>
                  <a:cubicBezTo>
                    <a:pt x="1424" y="334"/>
                    <a:pt x="1424" y="334"/>
                    <a:pt x="1424" y="334"/>
                  </a:cubicBezTo>
                  <a:cubicBezTo>
                    <a:pt x="1475" y="308"/>
                    <a:pt x="1475" y="308"/>
                    <a:pt x="1475" y="308"/>
                  </a:cubicBezTo>
                  <a:cubicBezTo>
                    <a:pt x="1449" y="244"/>
                    <a:pt x="1449" y="244"/>
                    <a:pt x="1449" y="244"/>
                  </a:cubicBezTo>
                  <a:cubicBezTo>
                    <a:pt x="1424" y="205"/>
                    <a:pt x="1424" y="205"/>
                    <a:pt x="1424" y="205"/>
                  </a:cubicBezTo>
                  <a:cubicBezTo>
                    <a:pt x="1424" y="205"/>
                    <a:pt x="1385" y="180"/>
                    <a:pt x="1385" y="167"/>
                  </a:cubicBezTo>
                  <a:cubicBezTo>
                    <a:pt x="1360" y="154"/>
                    <a:pt x="1257" y="103"/>
                    <a:pt x="1219" y="77"/>
                  </a:cubicBezTo>
                  <a:cubicBezTo>
                    <a:pt x="1180" y="51"/>
                    <a:pt x="1103" y="0"/>
                    <a:pt x="1103" y="0"/>
                  </a:cubicBezTo>
                  <a:cubicBezTo>
                    <a:pt x="872" y="51"/>
                    <a:pt x="872" y="51"/>
                    <a:pt x="872" y="51"/>
                  </a:cubicBezTo>
                  <a:cubicBezTo>
                    <a:pt x="872" y="51"/>
                    <a:pt x="872" y="103"/>
                    <a:pt x="859" y="103"/>
                  </a:cubicBezTo>
                  <a:cubicBezTo>
                    <a:pt x="834" y="103"/>
                    <a:pt x="808" y="141"/>
                    <a:pt x="808" y="141"/>
                  </a:cubicBezTo>
                  <a:cubicBezTo>
                    <a:pt x="808" y="141"/>
                    <a:pt x="834" y="154"/>
                    <a:pt x="834" y="193"/>
                  </a:cubicBezTo>
                  <a:cubicBezTo>
                    <a:pt x="834" y="231"/>
                    <a:pt x="847" y="308"/>
                    <a:pt x="847" y="321"/>
                  </a:cubicBezTo>
                  <a:cubicBezTo>
                    <a:pt x="834" y="334"/>
                    <a:pt x="821" y="398"/>
                    <a:pt x="821" y="424"/>
                  </a:cubicBezTo>
                  <a:cubicBezTo>
                    <a:pt x="808" y="462"/>
                    <a:pt x="872" y="513"/>
                    <a:pt x="872" y="513"/>
                  </a:cubicBezTo>
                  <a:cubicBezTo>
                    <a:pt x="911" y="539"/>
                    <a:pt x="911" y="539"/>
                    <a:pt x="911" y="539"/>
                  </a:cubicBezTo>
                  <a:cubicBezTo>
                    <a:pt x="962" y="552"/>
                    <a:pt x="962" y="552"/>
                    <a:pt x="962" y="552"/>
                  </a:cubicBezTo>
                  <a:cubicBezTo>
                    <a:pt x="962" y="552"/>
                    <a:pt x="949" y="513"/>
                    <a:pt x="975" y="513"/>
                  </a:cubicBezTo>
                  <a:cubicBezTo>
                    <a:pt x="988" y="513"/>
                    <a:pt x="988" y="513"/>
                    <a:pt x="988" y="513"/>
                  </a:cubicBezTo>
                  <a:cubicBezTo>
                    <a:pt x="988" y="680"/>
                    <a:pt x="988" y="680"/>
                    <a:pt x="988" y="680"/>
                  </a:cubicBezTo>
                  <a:cubicBezTo>
                    <a:pt x="962" y="680"/>
                    <a:pt x="962" y="680"/>
                    <a:pt x="962" y="680"/>
                  </a:cubicBezTo>
                  <a:cubicBezTo>
                    <a:pt x="962" y="680"/>
                    <a:pt x="975" y="642"/>
                    <a:pt x="949" y="655"/>
                  </a:cubicBezTo>
                  <a:cubicBezTo>
                    <a:pt x="911" y="667"/>
                    <a:pt x="885" y="693"/>
                    <a:pt x="885" y="667"/>
                  </a:cubicBezTo>
                  <a:cubicBezTo>
                    <a:pt x="872" y="642"/>
                    <a:pt x="847" y="603"/>
                    <a:pt x="834" y="590"/>
                  </a:cubicBezTo>
                  <a:cubicBezTo>
                    <a:pt x="808" y="590"/>
                    <a:pt x="757" y="552"/>
                    <a:pt x="744" y="552"/>
                  </a:cubicBezTo>
                  <a:cubicBezTo>
                    <a:pt x="718" y="539"/>
                    <a:pt x="680" y="462"/>
                    <a:pt x="680" y="462"/>
                  </a:cubicBezTo>
                  <a:cubicBezTo>
                    <a:pt x="680" y="462"/>
                    <a:pt x="629" y="424"/>
                    <a:pt x="629" y="449"/>
                  </a:cubicBezTo>
                  <a:cubicBezTo>
                    <a:pt x="629" y="462"/>
                    <a:pt x="616" y="501"/>
                    <a:pt x="603" y="488"/>
                  </a:cubicBezTo>
                  <a:cubicBezTo>
                    <a:pt x="577" y="488"/>
                    <a:pt x="513" y="488"/>
                    <a:pt x="488" y="475"/>
                  </a:cubicBezTo>
                  <a:cubicBezTo>
                    <a:pt x="462" y="462"/>
                    <a:pt x="423" y="449"/>
                    <a:pt x="423" y="436"/>
                  </a:cubicBezTo>
                  <a:cubicBezTo>
                    <a:pt x="423" y="424"/>
                    <a:pt x="423" y="385"/>
                    <a:pt x="423" y="385"/>
                  </a:cubicBezTo>
                  <a:cubicBezTo>
                    <a:pt x="346" y="411"/>
                    <a:pt x="346" y="411"/>
                    <a:pt x="346" y="411"/>
                  </a:cubicBezTo>
                  <a:cubicBezTo>
                    <a:pt x="346" y="411"/>
                    <a:pt x="295" y="436"/>
                    <a:pt x="295" y="411"/>
                  </a:cubicBezTo>
                  <a:cubicBezTo>
                    <a:pt x="295" y="385"/>
                    <a:pt x="269" y="347"/>
                    <a:pt x="257" y="359"/>
                  </a:cubicBezTo>
                  <a:cubicBezTo>
                    <a:pt x="257" y="359"/>
                    <a:pt x="257" y="449"/>
                    <a:pt x="257" y="475"/>
                  </a:cubicBezTo>
                  <a:cubicBezTo>
                    <a:pt x="257" y="501"/>
                    <a:pt x="269" y="526"/>
                    <a:pt x="269" y="526"/>
                  </a:cubicBezTo>
                  <a:cubicBezTo>
                    <a:pt x="244" y="578"/>
                    <a:pt x="244" y="578"/>
                    <a:pt x="244" y="578"/>
                  </a:cubicBezTo>
                  <a:cubicBezTo>
                    <a:pt x="257" y="616"/>
                    <a:pt x="257" y="616"/>
                    <a:pt x="257" y="616"/>
                  </a:cubicBezTo>
                  <a:cubicBezTo>
                    <a:pt x="0" y="629"/>
                    <a:pt x="0" y="629"/>
                    <a:pt x="0" y="629"/>
                  </a:cubicBezTo>
                  <a:cubicBezTo>
                    <a:pt x="0" y="1052"/>
                    <a:pt x="0" y="1052"/>
                    <a:pt x="0" y="1052"/>
                  </a:cubicBezTo>
                  <a:cubicBezTo>
                    <a:pt x="0" y="1052"/>
                    <a:pt x="167" y="1232"/>
                    <a:pt x="180" y="1232"/>
                  </a:cubicBezTo>
                  <a:cubicBezTo>
                    <a:pt x="180" y="1232"/>
                    <a:pt x="308" y="1219"/>
                    <a:pt x="321" y="1219"/>
                  </a:cubicBezTo>
                  <a:cubicBezTo>
                    <a:pt x="334" y="1219"/>
                    <a:pt x="411" y="1258"/>
                    <a:pt x="411" y="1258"/>
                  </a:cubicBezTo>
                  <a:cubicBezTo>
                    <a:pt x="411" y="1258"/>
                    <a:pt x="513" y="1283"/>
                    <a:pt x="526" y="1271"/>
                  </a:cubicBezTo>
                  <a:cubicBezTo>
                    <a:pt x="552" y="1271"/>
                    <a:pt x="590" y="1283"/>
                    <a:pt x="590" y="1283"/>
                  </a:cubicBezTo>
                  <a:cubicBezTo>
                    <a:pt x="590" y="1283"/>
                    <a:pt x="641" y="1258"/>
                    <a:pt x="667" y="1232"/>
                  </a:cubicBezTo>
                  <a:cubicBezTo>
                    <a:pt x="693" y="1194"/>
                    <a:pt x="731" y="1129"/>
                    <a:pt x="744" y="1129"/>
                  </a:cubicBezTo>
                  <a:cubicBezTo>
                    <a:pt x="757" y="1129"/>
                    <a:pt x="859" y="1078"/>
                    <a:pt x="859" y="1078"/>
                  </a:cubicBezTo>
                  <a:cubicBezTo>
                    <a:pt x="885" y="1001"/>
                    <a:pt x="885" y="1001"/>
                    <a:pt x="885" y="1001"/>
                  </a:cubicBezTo>
                  <a:cubicBezTo>
                    <a:pt x="885" y="1001"/>
                    <a:pt x="936" y="975"/>
                    <a:pt x="988" y="975"/>
                  </a:cubicBezTo>
                  <a:cubicBezTo>
                    <a:pt x="1026" y="975"/>
                    <a:pt x="1065" y="963"/>
                    <a:pt x="1065" y="963"/>
                  </a:cubicBezTo>
                  <a:cubicBezTo>
                    <a:pt x="1065" y="963"/>
                    <a:pt x="1039" y="911"/>
                    <a:pt x="1039" y="886"/>
                  </a:cubicBezTo>
                  <a:cubicBezTo>
                    <a:pt x="1052" y="860"/>
                    <a:pt x="1385" y="757"/>
                    <a:pt x="1385" y="757"/>
                  </a:cubicBezTo>
                  <a:cubicBezTo>
                    <a:pt x="1360" y="693"/>
                    <a:pt x="1360" y="693"/>
                    <a:pt x="1360" y="693"/>
                  </a:cubicBezTo>
                  <a:cubicBezTo>
                    <a:pt x="1360" y="693"/>
                    <a:pt x="1398" y="655"/>
                    <a:pt x="1398" y="629"/>
                  </a:cubicBezTo>
                  <a:cubicBezTo>
                    <a:pt x="1398" y="616"/>
                    <a:pt x="1398" y="578"/>
                    <a:pt x="1398" y="578"/>
                  </a:cubicBezTo>
                  <a:cubicBezTo>
                    <a:pt x="1449" y="539"/>
                    <a:pt x="1449" y="539"/>
                    <a:pt x="1449" y="539"/>
                  </a:cubicBezTo>
                  <a:cubicBezTo>
                    <a:pt x="1449" y="539"/>
                    <a:pt x="1437" y="488"/>
                    <a:pt x="1437" y="475"/>
                  </a:cubicBezTo>
                  <a:cubicBezTo>
                    <a:pt x="1437" y="462"/>
                    <a:pt x="1424" y="398"/>
                    <a:pt x="1424" y="398"/>
                  </a:cubicBezTo>
                </a:path>
              </a:pathLst>
            </a:custGeom>
            <a:grpFill/>
            <a:ln w="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891045"/>
              <a:endParaRPr lang="en-US" sz="1700" dirty="0">
                <a:solidFill>
                  <a:srgbClr val="003149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581" name="Freeform 493"/>
            <p:cNvSpPr>
              <a:spLocks/>
            </p:cNvSpPr>
            <p:nvPr/>
          </p:nvSpPr>
          <p:spPr bwMode="gray">
            <a:xfrm>
              <a:off x="4492" y="3127"/>
              <a:ext cx="149" cy="130"/>
            </a:xfrm>
            <a:custGeom>
              <a:avLst/>
              <a:gdLst>
                <a:gd name="T0" fmla="*/ 143 w 149"/>
                <a:gd name="T1" fmla="*/ 41 h 130"/>
                <a:gd name="T2" fmla="*/ 143 w 149"/>
                <a:gd name="T3" fmla="*/ 34 h 130"/>
                <a:gd name="T4" fmla="*/ 149 w 149"/>
                <a:gd name="T5" fmla="*/ 32 h 130"/>
                <a:gd name="T6" fmla="*/ 146 w 149"/>
                <a:gd name="T7" fmla="*/ 25 h 130"/>
                <a:gd name="T8" fmla="*/ 143 w 149"/>
                <a:gd name="T9" fmla="*/ 21 h 130"/>
                <a:gd name="T10" fmla="*/ 140 w 149"/>
                <a:gd name="T11" fmla="*/ 17 h 130"/>
                <a:gd name="T12" fmla="*/ 123 w 149"/>
                <a:gd name="T13" fmla="*/ 8 h 130"/>
                <a:gd name="T14" fmla="*/ 111 w 149"/>
                <a:gd name="T15" fmla="*/ 0 h 130"/>
                <a:gd name="T16" fmla="*/ 88 w 149"/>
                <a:gd name="T17" fmla="*/ 6 h 130"/>
                <a:gd name="T18" fmla="*/ 86 w 149"/>
                <a:gd name="T19" fmla="*/ 11 h 130"/>
                <a:gd name="T20" fmla="*/ 81 w 149"/>
                <a:gd name="T21" fmla="*/ 15 h 130"/>
                <a:gd name="T22" fmla="*/ 84 w 149"/>
                <a:gd name="T23" fmla="*/ 20 h 130"/>
                <a:gd name="T24" fmla="*/ 85 w 149"/>
                <a:gd name="T25" fmla="*/ 33 h 130"/>
                <a:gd name="T26" fmla="*/ 83 w 149"/>
                <a:gd name="T27" fmla="*/ 43 h 130"/>
                <a:gd name="T28" fmla="*/ 88 w 149"/>
                <a:gd name="T29" fmla="*/ 52 h 130"/>
                <a:gd name="T30" fmla="*/ 92 w 149"/>
                <a:gd name="T31" fmla="*/ 55 h 130"/>
                <a:gd name="T32" fmla="*/ 97 w 149"/>
                <a:gd name="T33" fmla="*/ 56 h 130"/>
                <a:gd name="T34" fmla="*/ 98 w 149"/>
                <a:gd name="T35" fmla="*/ 52 h 130"/>
                <a:gd name="T36" fmla="*/ 99 w 149"/>
                <a:gd name="T37" fmla="*/ 52 h 130"/>
                <a:gd name="T38" fmla="*/ 99 w 149"/>
                <a:gd name="T39" fmla="*/ 69 h 130"/>
                <a:gd name="T40" fmla="*/ 97 w 149"/>
                <a:gd name="T41" fmla="*/ 69 h 130"/>
                <a:gd name="T42" fmla="*/ 95 w 149"/>
                <a:gd name="T43" fmla="*/ 67 h 130"/>
                <a:gd name="T44" fmla="*/ 89 w 149"/>
                <a:gd name="T45" fmla="*/ 68 h 130"/>
                <a:gd name="T46" fmla="*/ 84 w 149"/>
                <a:gd name="T47" fmla="*/ 60 h 130"/>
                <a:gd name="T48" fmla="*/ 75 w 149"/>
                <a:gd name="T49" fmla="*/ 56 h 130"/>
                <a:gd name="T50" fmla="*/ 68 w 149"/>
                <a:gd name="T51" fmla="*/ 47 h 130"/>
                <a:gd name="T52" fmla="*/ 63 w 149"/>
                <a:gd name="T53" fmla="*/ 46 h 130"/>
                <a:gd name="T54" fmla="*/ 61 w 149"/>
                <a:gd name="T55" fmla="*/ 50 h 130"/>
                <a:gd name="T56" fmla="*/ 49 w 149"/>
                <a:gd name="T57" fmla="*/ 48 h 130"/>
                <a:gd name="T58" fmla="*/ 42 w 149"/>
                <a:gd name="T59" fmla="*/ 44 h 130"/>
                <a:gd name="T60" fmla="*/ 42 w 149"/>
                <a:gd name="T61" fmla="*/ 39 h 130"/>
                <a:gd name="T62" fmla="*/ 35 w 149"/>
                <a:gd name="T63" fmla="*/ 42 h 130"/>
                <a:gd name="T64" fmla="*/ 29 w 149"/>
                <a:gd name="T65" fmla="*/ 42 h 130"/>
                <a:gd name="T66" fmla="*/ 26 w 149"/>
                <a:gd name="T67" fmla="*/ 37 h 130"/>
                <a:gd name="T68" fmla="*/ 26 w 149"/>
                <a:gd name="T69" fmla="*/ 48 h 130"/>
                <a:gd name="T70" fmla="*/ 27 w 149"/>
                <a:gd name="T71" fmla="*/ 54 h 130"/>
                <a:gd name="T72" fmla="*/ 24 w 149"/>
                <a:gd name="T73" fmla="*/ 59 h 130"/>
                <a:gd name="T74" fmla="*/ 26 w 149"/>
                <a:gd name="T75" fmla="*/ 63 h 130"/>
                <a:gd name="T76" fmla="*/ 0 w 149"/>
                <a:gd name="T77" fmla="*/ 64 h 130"/>
                <a:gd name="T78" fmla="*/ 0 w 149"/>
                <a:gd name="T79" fmla="*/ 107 h 130"/>
                <a:gd name="T80" fmla="*/ 18 w 149"/>
                <a:gd name="T81" fmla="*/ 125 h 130"/>
                <a:gd name="T82" fmla="*/ 32 w 149"/>
                <a:gd name="T83" fmla="*/ 124 h 130"/>
                <a:gd name="T84" fmla="*/ 41 w 149"/>
                <a:gd name="T85" fmla="*/ 127 h 130"/>
                <a:gd name="T86" fmla="*/ 53 w 149"/>
                <a:gd name="T87" fmla="*/ 129 h 130"/>
                <a:gd name="T88" fmla="*/ 59 w 149"/>
                <a:gd name="T89" fmla="*/ 130 h 130"/>
                <a:gd name="T90" fmla="*/ 67 w 149"/>
                <a:gd name="T91" fmla="*/ 125 h 130"/>
                <a:gd name="T92" fmla="*/ 75 w 149"/>
                <a:gd name="T93" fmla="*/ 114 h 130"/>
                <a:gd name="T94" fmla="*/ 86 w 149"/>
                <a:gd name="T95" fmla="*/ 109 h 130"/>
                <a:gd name="T96" fmla="*/ 89 w 149"/>
                <a:gd name="T97" fmla="*/ 102 h 130"/>
                <a:gd name="T98" fmla="*/ 99 w 149"/>
                <a:gd name="T99" fmla="*/ 99 h 130"/>
                <a:gd name="T100" fmla="*/ 107 w 149"/>
                <a:gd name="T101" fmla="*/ 98 h 130"/>
                <a:gd name="T102" fmla="*/ 105 w 149"/>
                <a:gd name="T103" fmla="*/ 90 h 130"/>
                <a:gd name="T104" fmla="*/ 140 w 149"/>
                <a:gd name="T105" fmla="*/ 77 h 130"/>
                <a:gd name="T106" fmla="*/ 137 w 149"/>
                <a:gd name="T107" fmla="*/ 70 h 130"/>
                <a:gd name="T108" fmla="*/ 141 w 149"/>
                <a:gd name="T109" fmla="*/ 64 h 130"/>
                <a:gd name="T110" fmla="*/ 141 w 149"/>
                <a:gd name="T111" fmla="*/ 59 h 130"/>
                <a:gd name="T112" fmla="*/ 146 w 149"/>
                <a:gd name="T113" fmla="*/ 55 h 130"/>
                <a:gd name="T114" fmla="*/ 145 w 149"/>
                <a:gd name="T115" fmla="*/ 48 h 130"/>
                <a:gd name="T116" fmla="*/ 143 w 149"/>
                <a:gd name="T117" fmla="*/ 41 h 130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149"/>
                <a:gd name="T178" fmla="*/ 0 h 130"/>
                <a:gd name="T179" fmla="*/ 149 w 149"/>
                <a:gd name="T180" fmla="*/ 130 h 130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149" h="130">
                  <a:moveTo>
                    <a:pt x="143" y="41"/>
                  </a:moveTo>
                  <a:cubicBezTo>
                    <a:pt x="143" y="34"/>
                    <a:pt x="143" y="34"/>
                    <a:pt x="143" y="34"/>
                  </a:cubicBezTo>
                  <a:cubicBezTo>
                    <a:pt x="149" y="32"/>
                    <a:pt x="149" y="32"/>
                    <a:pt x="149" y="32"/>
                  </a:cubicBezTo>
                  <a:cubicBezTo>
                    <a:pt x="146" y="25"/>
                    <a:pt x="146" y="25"/>
                    <a:pt x="146" y="25"/>
                  </a:cubicBezTo>
                  <a:cubicBezTo>
                    <a:pt x="143" y="21"/>
                    <a:pt x="143" y="21"/>
                    <a:pt x="143" y="21"/>
                  </a:cubicBezTo>
                  <a:cubicBezTo>
                    <a:pt x="143" y="21"/>
                    <a:pt x="140" y="19"/>
                    <a:pt x="140" y="17"/>
                  </a:cubicBezTo>
                  <a:cubicBezTo>
                    <a:pt x="137" y="16"/>
                    <a:pt x="127" y="11"/>
                    <a:pt x="123" y="8"/>
                  </a:cubicBezTo>
                  <a:cubicBezTo>
                    <a:pt x="119" y="6"/>
                    <a:pt x="111" y="0"/>
                    <a:pt x="111" y="0"/>
                  </a:cubicBezTo>
                  <a:cubicBezTo>
                    <a:pt x="88" y="6"/>
                    <a:pt x="88" y="6"/>
                    <a:pt x="88" y="6"/>
                  </a:cubicBezTo>
                  <a:cubicBezTo>
                    <a:pt x="88" y="6"/>
                    <a:pt x="88" y="11"/>
                    <a:pt x="86" y="11"/>
                  </a:cubicBezTo>
                  <a:cubicBezTo>
                    <a:pt x="84" y="11"/>
                    <a:pt x="81" y="15"/>
                    <a:pt x="81" y="15"/>
                  </a:cubicBezTo>
                  <a:cubicBezTo>
                    <a:pt x="81" y="15"/>
                    <a:pt x="84" y="16"/>
                    <a:pt x="84" y="20"/>
                  </a:cubicBezTo>
                  <a:cubicBezTo>
                    <a:pt x="84" y="24"/>
                    <a:pt x="85" y="32"/>
                    <a:pt x="85" y="33"/>
                  </a:cubicBezTo>
                  <a:cubicBezTo>
                    <a:pt x="84" y="34"/>
                    <a:pt x="83" y="41"/>
                    <a:pt x="83" y="43"/>
                  </a:cubicBezTo>
                  <a:cubicBezTo>
                    <a:pt x="81" y="47"/>
                    <a:pt x="88" y="52"/>
                    <a:pt x="88" y="52"/>
                  </a:cubicBezTo>
                  <a:cubicBezTo>
                    <a:pt x="92" y="55"/>
                    <a:pt x="92" y="55"/>
                    <a:pt x="92" y="55"/>
                  </a:cubicBezTo>
                  <a:cubicBezTo>
                    <a:pt x="97" y="56"/>
                    <a:pt x="97" y="56"/>
                    <a:pt x="97" y="56"/>
                  </a:cubicBezTo>
                  <a:cubicBezTo>
                    <a:pt x="97" y="56"/>
                    <a:pt x="95" y="52"/>
                    <a:pt x="98" y="52"/>
                  </a:cubicBezTo>
                  <a:cubicBezTo>
                    <a:pt x="99" y="52"/>
                    <a:pt x="99" y="52"/>
                    <a:pt x="99" y="52"/>
                  </a:cubicBezTo>
                  <a:cubicBezTo>
                    <a:pt x="99" y="69"/>
                    <a:pt x="99" y="69"/>
                    <a:pt x="99" y="69"/>
                  </a:cubicBezTo>
                  <a:cubicBezTo>
                    <a:pt x="97" y="69"/>
                    <a:pt x="97" y="69"/>
                    <a:pt x="97" y="69"/>
                  </a:cubicBezTo>
                  <a:cubicBezTo>
                    <a:pt x="97" y="69"/>
                    <a:pt x="98" y="65"/>
                    <a:pt x="95" y="67"/>
                  </a:cubicBezTo>
                  <a:cubicBezTo>
                    <a:pt x="92" y="68"/>
                    <a:pt x="89" y="70"/>
                    <a:pt x="89" y="68"/>
                  </a:cubicBezTo>
                  <a:cubicBezTo>
                    <a:pt x="88" y="65"/>
                    <a:pt x="85" y="61"/>
                    <a:pt x="84" y="60"/>
                  </a:cubicBezTo>
                  <a:cubicBezTo>
                    <a:pt x="81" y="60"/>
                    <a:pt x="76" y="56"/>
                    <a:pt x="75" y="56"/>
                  </a:cubicBezTo>
                  <a:cubicBezTo>
                    <a:pt x="72" y="55"/>
                    <a:pt x="68" y="47"/>
                    <a:pt x="68" y="47"/>
                  </a:cubicBezTo>
                  <a:cubicBezTo>
                    <a:pt x="68" y="47"/>
                    <a:pt x="63" y="43"/>
                    <a:pt x="63" y="46"/>
                  </a:cubicBezTo>
                  <a:cubicBezTo>
                    <a:pt x="63" y="47"/>
                    <a:pt x="62" y="51"/>
                    <a:pt x="61" y="50"/>
                  </a:cubicBezTo>
                  <a:cubicBezTo>
                    <a:pt x="58" y="50"/>
                    <a:pt x="51" y="50"/>
                    <a:pt x="49" y="48"/>
                  </a:cubicBezTo>
                  <a:cubicBezTo>
                    <a:pt x="46" y="47"/>
                    <a:pt x="42" y="46"/>
                    <a:pt x="42" y="44"/>
                  </a:cubicBezTo>
                  <a:cubicBezTo>
                    <a:pt x="42" y="43"/>
                    <a:pt x="42" y="39"/>
                    <a:pt x="42" y="39"/>
                  </a:cubicBezTo>
                  <a:cubicBezTo>
                    <a:pt x="35" y="42"/>
                    <a:pt x="35" y="42"/>
                    <a:pt x="35" y="42"/>
                  </a:cubicBezTo>
                  <a:cubicBezTo>
                    <a:pt x="35" y="42"/>
                    <a:pt x="29" y="44"/>
                    <a:pt x="29" y="42"/>
                  </a:cubicBezTo>
                  <a:cubicBezTo>
                    <a:pt x="29" y="39"/>
                    <a:pt x="27" y="35"/>
                    <a:pt x="26" y="37"/>
                  </a:cubicBezTo>
                  <a:cubicBezTo>
                    <a:pt x="26" y="37"/>
                    <a:pt x="26" y="46"/>
                    <a:pt x="26" y="48"/>
                  </a:cubicBezTo>
                  <a:cubicBezTo>
                    <a:pt x="26" y="51"/>
                    <a:pt x="27" y="54"/>
                    <a:pt x="27" y="54"/>
                  </a:cubicBezTo>
                  <a:cubicBezTo>
                    <a:pt x="24" y="59"/>
                    <a:pt x="24" y="59"/>
                    <a:pt x="24" y="59"/>
                  </a:cubicBezTo>
                  <a:cubicBezTo>
                    <a:pt x="26" y="63"/>
                    <a:pt x="26" y="63"/>
                    <a:pt x="26" y="63"/>
                  </a:cubicBezTo>
                  <a:cubicBezTo>
                    <a:pt x="0" y="64"/>
                    <a:pt x="0" y="64"/>
                    <a:pt x="0" y="64"/>
                  </a:cubicBezTo>
                  <a:cubicBezTo>
                    <a:pt x="0" y="107"/>
                    <a:pt x="0" y="107"/>
                    <a:pt x="0" y="107"/>
                  </a:cubicBezTo>
                  <a:cubicBezTo>
                    <a:pt x="0" y="107"/>
                    <a:pt x="17" y="125"/>
                    <a:pt x="18" y="125"/>
                  </a:cubicBezTo>
                  <a:cubicBezTo>
                    <a:pt x="18" y="125"/>
                    <a:pt x="31" y="124"/>
                    <a:pt x="32" y="124"/>
                  </a:cubicBezTo>
                  <a:cubicBezTo>
                    <a:pt x="33" y="124"/>
                    <a:pt x="41" y="127"/>
                    <a:pt x="41" y="127"/>
                  </a:cubicBezTo>
                  <a:cubicBezTo>
                    <a:pt x="41" y="127"/>
                    <a:pt x="51" y="130"/>
                    <a:pt x="53" y="129"/>
                  </a:cubicBezTo>
                  <a:cubicBezTo>
                    <a:pt x="55" y="129"/>
                    <a:pt x="59" y="130"/>
                    <a:pt x="59" y="130"/>
                  </a:cubicBezTo>
                  <a:cubicBezTo>
                    <a:pt x="59" y="130"/>
                    <a:pt x="64" y="127"/>
                    <a:pt x="67" y="125"/>
                  </a:cubicBezTo>
                  <a:cubicBezTo>
                    <a:pt x="70" y="121"/>
                    <a:pt x="73" y="114"/>
                    <a:pt x="75" y="114"/>
                  </a:cubicBezTo>
                  <a:cubicBezTo>
                    <a:pt x="76" y="114"/>
                    <a:pt x="86" y="109"/>
                    <a:pt x="86" y="109"/>
                  </a:cubicBezTo>
                  <a:cubicBezTo>
                    <a:pt x="89" y="102"/>
                    <a:pt x="89" y="102"/>
                    <a:pt x="89" y="102"/>
                  </a:cubicBezTo>
                  <a:cubicBezTo>
                    <a:pt x="89" y="102"/>
                    <a:pt x="94" y="99"/>
                    <a:pt x="99" y="99"/>
                  </a:cubicBezTo>
                  <a:cubicBezTo>
                    <a:pt x="103" y="99"/>
                    <a:pt x="107" y="98"/>
                    <a:pt x="107" y="98"/>
                  </a:cubicBezTo>
                  <a:cubicBezTo>
                    <a:pt x="107" y="98"/>
                    <a:pt x="105" y="92"/>
                    <a:pt x="105" y="90"/>
                  </a:cubicBezTo>
                  <a:cubicBezTo>
                    <a:pt x="106" y="87"/>
                    <a:pt x="140" y="77"/>
                    <a:pt x="140" y="77"/>
                  </a:cubicBezTo>
                  <a:cubicBezTo>
                    <a:pt x="137" y="70"/>
                    <a:pt x="137" y="70"/>
                    <a:pt x="137" y="70"/>
                  </a:cubicBezTo>
                  <a:cubicBezTo>
                    <a:pt x="137" y="70"/>
                    <a:pt x="141" y="67"/>
                    <a:pt x="141" y="64"/>
                  </a:cubicBezTo>
                  <a:cubicBezTo>
                    <a:pt x="141" y="63"/>
                    <a:pt x="141" y="59"/>
                    <a:pt x="141" y="59"/>
                  </a:cubicBezTo>
                  <a:cubicBezTo>
                    <a:pt x="146" y="55"/>
                    <a:pt x="146" y="55"/>
                    <a:pt x="146" y="55"/>
                  </a:cubicBezTo>
                  <a:cubicBezTo>
                    <a:pt x="146" y="55"/>
                    <a:pt x="145" y="50"/>
                    <a:pt x="145" y="48"/>
                  </a:cubicBezTo>
                  <a:cubicBezTo>
                    <a:pt x="145" y="47"/>
                    <a:pt x="143" y="41"/>
                    <a:pt x="143" y="41"/>
                  </a:cubicBezTo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891045"/>
              <a:endParaRPr lang="en-US" sz="1700" dirty="0">
                <a:solidFill>
                  <a:srgbClr val="003149"/>
                </a:solidFill>
                <a:cs typeface="Arial" panose="020B0604020202020204" pitchFamily="34" charset="0"/>
              </a:endParaRPr>
            </a:p>
          </p:txBody>
        </p:sp>
      </p:grpSp>
      <p:grpSp>
        <p:nvGrpSpPr>
          <p:cNvPr id="582" name="Group 494"/>
          <p:cNvGrpSpPr>
            <a:grpSpLocks/>
          </p:cNvGrpSpPr>
          <p:nvPr/>
        </p:nvGrpSpPr>
        <p:grpSpPr bwMode="gray">
          <a:xfrm>
            <a:off x="1742452" y="2697370"/>
            <a:ext cx="59082" cy="153507"/>
            <a:chOff x="4627" y="3146"/>
            <a:chExt cx="41" cy="99"/>
          </a:xfrm>
          <a:solidFill>
            <a:schemeClr val="accent3"/>
          </a:solidFill>
        </p:grpSpPr>
        <p:sp>
          <p:nvSpPr>
            <p:cNvPr id="583" name="Freeform 495"/>
            <p:cNvSpPr>
              <a:spLocks/>
            </p:cNvSpPr>
            <p:nvPr/>
          </p:nvSpPr>
          <p:spPr bwMode="gray">
            <a:xfrm>
              <a:off x="4627" y="3146"/>
              <a:ext cx="41" cy="99"/>
            </a:xfrm>
            <a:custGeom>
              <a:avLst/>
              <a:gdLst>
                <a:gd name="T0" fmla="*/ 0 w 408"/>
                <a:gd name="T1" fmla="*/ 0 h 984"/>
                <a:gd name="T2" fmla="*/ 0 w 408"/>
                <a:gd name="T3" fmla="*/ 0 h 984"/>
                <a:gd name="T4" fmla="*/ 0 w 408"/>
                <a:gd name="T5" fmla="*/ 0 h 984"/>
                <a:gd name="T6" fmla="*/ 0 w 408"/>
                <a:gd name="T7" fmla="*/ 0 h 984"/>
                <a:gd name="T8" fmla="*/ 0 w 408"/>
                <a:gd name="T9" fmla="*/ 0 h 984"/>
                <a:gd name="T10" fmla="*/ 0 w 408"/>
                <a:gd name="T11" fmla="*/ 0 h 984"/>
                <a:gd name="T12" fmla="*/ 0 w 408"/>
                <a:gd name="T13" fmla="*/ 0 h 984"/>
                <a:gd name="T14" fmla="*/ 0 w 408"/>
                <a:gd name="T15" fmla="*/ 0 h 984"/>
                <a:gd name="T16" fmla="*/ 0 w 408"/>
                <a:gd name="T17" fmla="*/ 0 h 984"/>
                <a:gd name="T18" fmla="*/ 0 w 408"/>
                <a:gd name="T19" fmla="*/ 0 h 984"/>
                <a:gd name="T20" fmla="*/ 0 w 408"/>
                <a:gd name="T21" fmla="*/ 0 h 984"/>
                <a:gd name="T22" fmla="*/ 0 w 408"/>
                <a:gd name="T23" fmla="*/ 0 h 984"/>
                <a:gd name="T24" fmla="*/ 0 w 408"/>
                <a:gd name="T25" fmla="*/ 0 h 984"/>
                <a:gd name="T26" fmla="*/ 0 w 408"/>
                <a:gd name="T27" fmla="*/ 0 h 984"/>
                <a:gd name="T28" fmla="*/ 0 w 408"/>
                <a:gd name="T29" fmla="*/ 0 h 984"/>
                <a:gd name="T30" fmla="*/ 0 w 408"/>
                <a:gd name="T31" fmla="*/ 0 h 984"/>
                <a:gd name="T32" fmla="*/ 0 w 408"/>
                <a:gd name="T33" fmla="*/ 0 h 984"/>
                <a:gd name="T34" fmla="*/ 0 w 408"/>
                <a:gd name="T35" fmla="*/ 0 h 984"/>
                <a:gd name="T36" fmla="*/ 0 w 408"/>
                <a:gd name="T37" fmla="*/ 0 h 984"/>
                <a:gd name="T38" fmla="*/ 0 w 408"/>
                <a:gd name="T39" fmla="*/ 0 h 984"/>
                <a:gd name="T40" fmla="*/ 0 w 408"/>
                <a:gd name="T41" fmla="*/ 0 h 984"/>
                <a:gd name="T42" fmla="*/ 0 w 408"/>
                <a:gd name="T43" fmla="*/ 0 h 984"/>
                <a:gd name="T44" fmla="*/ 0 w 408"/>
                <a:gd name="T45" fmla="*/ 0 h 984"/>
                <a:gd name="T46" fmla="*/ 0 w 408"/>
                <a:gd name="T47" fmla="*/ 0 h 984"/>
                <a:gd name="T48" fmla="*/ 0 w 408"/>
                <a:gd name="T49" fmla="*/ 0 h 984"/>
                <a:gd name="T50" fmla="*/ 0 w 408"/>
                <a:gd name="T51" fmla="*/ 0 h 984"/>
                <a:gd name="T52" fmla="*/ 0 w 408"/>
                <a:gd name="T53" fmla="*/ 0 h 984"/>
                <a:gd name="T54" fmla="*/ 0 w 408"/>
                <a:gd name="T55" fmla="*/ 0 h 984"/>
                <a:gd name="T56" fmla="*/ 0 w 408"/>
                <a:gd name="T57" fmla="*/ 0 h 984"/>
                <a:gd name="T58" fmla="*/ 0 w 408"/>
                <a:gd name="T59" fmla="*/ 0 h 984"/>
                <a:gd name="T60" fmla="*/ 0 w 408"/>
                <a:gd name="T61" fmla="*/ 0 h 984"/>
                <a:gd name="T62" fmla="*/ 0 w 408"/>
                <a:gd name="T63" fmla="*/ 0 h 984"/>
                <a:gd name="T64" fmla="*/ 0 w 408"/>
                <a:gd name="T65" fmla="*/ 0 h 984"/>
                <a:gd name="T66" fmla="*/ 0 w 408"/>
                <a:gd name="T67" fmla="*/ 0 h 984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408"/>
                <a:gd name="T103" fmla="*/ 0 h 984"/>
                <a:gd name="T104" fmla="*/ 408 w 408"/>
                <a:gd name="T105" fmla="*/ 984 h 984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408" h="984">
                  <a:moveTo>
                    <a:pt x="395" y="656"/>
                  </a:moveTo>
                  <a:cubicBezTo>
                    <a:pt x="382" y="631"/>
                    <a:pt x="316" y="530"/>
                    <a:pt x="290" y="530"/>
                  </a:cubicBezTo>
                  <a:cubicBezTo>
                    <a:pt x="276" y="530"/>
                    <a:pt x="237" y="517"/>
                    <a:pt x="237" y="517"/>
                  </a:cubicBezTo>
                  <a:cubicBezTo>
                    <a:pt x="237" y="517"/>
                    <a:pt x="224" y="404"/>
                    <a:pt x="211" y="379"/>
                  </a:cubicBezTo>
                  <a:cubicBezTo>
                    <a:pt x="211" y="353"/>
                    <a:pt x="237" y="290"/>
                    <a:pt x="237" y="290"/>
                  </a:cubicBezTo>
                  <a:cubicBezTo>
                    <a:pt x="276" y="265"/>
                    <a:pt x="276" y="265"/>
                    <a:pt x="276" y="265"/>
                  </a:cubicBezTo>
                  <a:cubicBezTo>
                    <a:pt x="276" y="265"/>
                    <a:pt x="263" y="227"/>
                    <a:pt x="250" y="202"/>
                  </a:cubicBezTo>
                  <a:cubicBezTo>
                    <a:pt x="237" y="177"/>
                    <a:pt x="237" y="89"/>
                    <a:pt x="211" y="38"/>
                  </a:cubicBezTo>
                  <a:cubicBezTo>
                    <a:pt x="184" y="0"/>
                    <a:pt x="158" y="13"/>
                    <a:pt x="145" y="26"/>
                  </a:cubicBezTo>
                  <a:cubicBezTo>
                    <a:pt x="132" y="26"/>
                    <a:pt x="52" y="13"/>
                    <a:pt x="26" y="0"/>
                  </a:cubicBezTo>
                  <a:cubicBezTo>
                    <a:pt x="26" y="13"/>
                    <a:pt x="66" y="38"/>
                    <a:pt x="66" y="38"/>
                  </a:cubicBezTo>
                  <a:cubicBezTo>
                    <a:pt x="92" y="76"/>
                    <a:pt x="92" y="76"/>
                    <a:pt x="92" y="76"/>
                  </a:cubicBezTo>
                  <a:cubicBezTo>
                    <a:pt x="118" y="139"/>
                    <a:pt x="118" y="139"/>
                    <a:pt x="118" y="139"/>
                  </a:cubicBezTo>
                  <a:cubicBezTo>
                    <a:pt x="66" y="164"/>
                    <a:pt x="66" y="164"/>
                    <a:pt x="66" y="164"/>
                  </a:cubicBezTo>
                  <a:cubicBezTo>
                    <a:pt x="66" y="227"/>
                    <a:pt x="66" y="227"/>
                    <a:pt x="66" y="227"/>
                  </a:cubicBezTo>
                  <a:cubicBezTo>
                    <a:pt x="66" y="227"/>
                    <a:pt x="79" y="290"/>
                    <a:pt x="79" y="303"/>
                  </a:cubicBezTo>
                  <a:cubicBezTo>
                    <a:pt x="79" y="316"/>
                    <a:pt x="92" y="366"/>
                    <a:pt x="92" y="366"/>
                  </a:cubicBezTo>
                  <a:cubicBezTo>
                    <a:pt x="39" y="404"/>
                    <a:pt x="39" y="404"/>
                    <a:pt x="39" y="404"/>
                  </a:cubicBezTo>
                  <a:cubicBezTo>
                    <a:pt x="39" y="404"/>
                    <a:pt x="39" y="442"/>
                    <a:pt x="39" y="454"/>
                  </a:cubicBezTo>
                  <a:cubicBezTo>
                    <a:pt x="39" y="480"/>
                    <a:pt x="0" y="517"/>
                    <a:pt x="0" y="517"/>
                  </a:cubicBezTo>
                  <a:cubicBezTo>
                    <a:pt x="26" y="580"/>
                    <a:pt x="26" y="580"/>
                    <a:pt x="26" y="580"/>
                  </a:cubicBezTo>
                  <a:cubicBezTo>
                    <a:pt x="52" y="568"/>
                    <a:pt x="52" y="568"/>
                    <a:pt x="52" y="568"/>
                  </a:cubicBezTo>
                  <a:cubicBezTo>
                    <a:pt x="105" y="631"/>
                    <a:pt x="105" y="631"/>
                    <a:pt x="105" y="631"/>
                  </a:cubicBezTo>
                  <a:cubicBezTo>
                    <a:pt x="105" y="631"/>
                    <a:pt x="184" y="618"/>
                    <a:pt x="211" y="618"/>
                  </a:cubicBezTo>
                  <a:cubicBezTo>
                    <a:pt x="237" y="618"/>
                    <a:pt x="250" y="681"/>
                    <a:pt x="237" y="719"/>
                  </a:cubicBezTo>
                  <a:cubicBezTo>
                    <a:pt x="211" y="769"/>
                    <a:pt x="197" y="820"/>
                    <a:pt x="197" y="820"/>
                  </a:cubicBezTo>
                  <a:cubicBezTo>
                    <a:pt x="197" y="820"/>
                    <a:pt x="224" y="896"/>
                    <a:pt x="263" y="908"/>
                  </a:cubicBezTo>
                  <a:cubicBezTo>
                    <a:pt x="290" y="933"/>
                    <a:pt x="303" y="971"/>
                    <a:pt x="303" y="971"/>
                  </a:cubicBezTo>
                  <a:cubicBezTo>
                    <a:pt x="303" y="971"/>
                    <a:pt x="329" y="984"/>
                    <a:pt x="329" y="946"/>
                  </a:cubicBezTo>
                  <a:cubicBezTo>
                    <a:pt x="329" y="908"/>
                    <a:pt x="316" y="908"/>
                    <a:pt x="316" y="896"/>
                  </a:cubicBezTo>
                  <a:cubicBezTo>
                    <a:pt x="303" y="883"/>
                    <a:pt x="329" y="858"/>
                    <a:pt x="329" y="858"/>
                  </a:cubicBezTo>
                  <a:cubicBezTo>
                    <a:pt x="395" y="845"/>
                    <a:pt x="395" y="845"/>
                    <a:pt x="395" y="845"/>
                  </a:cubicBezTo>
                  <a:cubicBezTo>
                    <a:pt x="395" y="769"/>
                    <a:pt x="395" y="769"/>
                    <a:pt x="395" y="769"/>
                  </a:cubicBezTo>
                  <a:cubicBezTo>
                    <a:pt x="395" y="769"/>
                    <a:pt x="408" y="681"/>
                    <a:pt x="395" y="656"/>
                  </a:cubicBezTo>
                </a:path>
              </a:pathLst>
            </a:custGeom>
            <a:grpFill/>
            <a:ln w="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891045"/>
              <a:endParaRPr lang="en-US" sz="1700" dirty="0">
                <a:solidFill>
                  <a:srgbClr val="003149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584" name="Freeform 496"/>
            <p:cNvSpPr>
              <a:spLocks/>
            </p:cNvSpPr>
            <p:nvPr/>
          </p:nvSpPr>
          <p:spPr bwMode="gray">
            <a:xfrm>
              <a:off x="4627" y="3146"/>
              <a:ext cx="41" cy="99"/>
            </a:xfrm>
            <a:custGeom>
              <a:avLst/>
              <a:gdLst>
                <a:gd name="T0" fmla="*/ 40 w 41"/>
                <a:gd name="T1" fmla="*/ 66 h 99"/>
                <a:gd name="T2" fmla="*/ 29 w 41"/>
                <a:gd name="T3" fmla="*/ 53 h 99"/>
                <a:gd name="T4" fmla="*/ 24 w 41"/>
                <a:gd name="T5" fmla="*/ 52 h 99"/>
                <a:gd name="T6" fmla="*/ 21 w 41"/>
                <a:gd name="T7" fmla="*/ 38 h 99"/>
                <a:gd name="T8" fmla="*/ 24 w 41"/>
                <a:gd name="T9" fmla="*/ 29 h 99"/>
                <a:gd name="T10" fmla="*/ 28 w 41"/>
                <a:gd name="T11" fmla="*/ 27 h 99"/>
                <a:gd name="T12" fmla="*/ 25 w 41"/>
                <a:gd name="T13" fmla="*/ 20 h 99"/>
                <a:gd name="T14" fmla="*/ 21 w 41"/>
                <a:gd name="T15" fmla="*/ 4 h 99"/>
                <a:gd name="T16" fmla="*/ 15 w 41"/>
                <a:gd name="T17" fmla="*/ 3 h 99"/>
                <a:gd name="T18" fmla="*/ 3 w 41"/>
                <a:gd name="T19" fmla="*/ 0 h 99"/>
                <a:gd name="T20" fmla="*/ 7 w 41"/>
                <a:gd name="T21" fmla="*/ 4 h 99"/>
                <a:gd name="T22" fmla="*/ 9 w 41"/>
                <a:gd name="T23" fmla="*/ 8 h 99"/>
                <a:gd name="T24" fmla="*/ 12 w 41"/>
                <a:gd name="T25" fmla="*/ 14 h 99"/>
                <a:gd name="T26" fmla="*/ 7 w 41"/>
                <a:gd name="T27" fmla="*/ 16 h 99"/>
                <a:gd name="T28" fmla="*/ 7 w 41"/>
                <a:gd name="T29" fmla="*/ 23 h 99"/>
                <a:gd name="T30" fmla="*/ 8 w 41"/>
                <a:gd name="T31" fmla="*/ 30 h 99"/>
                <a:gd name="T32" fmla="*/ 9 w 41"/>
                <a:gd name="T33" fmla="*/ 37 h 99"/>
                <a:gd name="T34" fmla="*/ 4 w 41"/>
                <a:gd name="T35" fmla="*/ 41 h 99"/>
                <a:gd name="T36" fmla="*/ 4 w 41"/>
                <a:gd name="T37" fmla="*/ 46 h 99"/>
                <a:gd name="T38" fmla="*/ 0 w 41"/>
                <a:gd name="T39" fmla="*/ 52 h 99"/>
                <a:gd name="T40" fmla="*/ 3 w 41"/>
                <a:gd name="T41" fmla="*/ 58 h 99"/>
                <a:gd name="T42" fmla="*/ 5 w 41"/>
                <a:gd name="T43" fmla="*/ 57 h 99"/>
                <a:gd name="T44" fmla="*/ 11 w 41"/>
                <a:gd name="T45" fmla="*/ 64 h 99"/>
                <a:gd name="T46" fmla="*/ 21 w 41"/>
                <a:gd name="T47" fmla="*/ 62 h 99"/>
                <a:gd name="T48" fmla="*/ 24 w 41"/>
                <a:gd name="T49" fmla="*/ 73 h 99"/>
                <a:gd name="T50" fmla="*/ 20 w 41"/>
                <a:gd name="T51" fmla="*/ 83 h 99"/>
                <a:gd name="T52" fmla="*/ 27 w 41"/>
                <a:gd name="T53" fmla="*/ 92 h 99"/>
                <a:gd name="T54" fmla="*/ 31 w 41"/>
                <a:gd name="T55" fmla="*/ 98 h 99"/>
                <a:gd name="T56" fmla="*/ 33 w 41"/>
                <a:gd name="T57" fmla="*/ 95 h 99"/>
                <a:gd name="T58" fmla="*/ 32 w 41"/>
                <a:gd name="T59" fmla="*/ 90 h 99"/>
                <a:gd name="T60" fmla="*/ 33 w 41"/>
                <a:gd name="T61" fmla="*/ 87 h 99"/>
                <a:gd name="T62" fmla="*/ 40 w 41"/>
                <a:gd name="T63" fmla="*/ 85 h 99"/>
                <a:gd name="T64" fmla="*/ 40 w 41"/>
                <a:gd name="T65" fmla="*/ 78 h 99"/>
                <a:gd name="T66" fmla="*/ 40 w 41"/>
                <a:gd name="T67" fmla="*/ 66 h 99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41"/>
                <a:gd name="T103" fmla="*/ 0 h 99"/>
                <a:gd name="T104" fmla="*/ 41 w 41"/>
                <a:gd name="T105" fmla="*/ 99 h 99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41" h="99">
                  <a:moveTo>
                    <a:pt x="40" y="66"/>
                  </a:moveTo>
                  <a:cubicBezTo>
                    <a:pt x="39" y="64"/>
                    <a:pt x="32" y="53"/>
                    <a:pt x="29" y="53"/>
                  </a:cubicBezTo>
                  <a:cubicBezTo>
                    <a:pt x="28" y="53"/>
                    <a:pt x="24" y="52"/>
                    <a:pt x="24" y="52"/>
                  </a:cubicBezTo>
                  <a:cubicBezTo>
                    <a:pt x="24" y="52"/>
                    <a:pt x="23" y="41"/>
                    <a:pt x="21" y="38"/>
                  </a:cubicBezTo>
                  <a:cubicBezTo>
                    <a:pt x="21" y="36"/>
                    <a:pt x="24" y="29"/>
                    <a:pt x="24" y="29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7"/>
                    <a:pt x="27" y="23"/>
                    <a:pt x="25" y="20"/>
                  </a:cubicBezTo>
                  <a:cubicBezTo>
                    <a:pt x="24" y="18"/>
                    <a:pt x="24" y="9"/>
                    <a:pt x="21" y="4"/>
                  </a:cubicBezTo>
                  <a:cubicBezTo>
                    <a:pt x="19" y="0"/>
                    <a:pt x="16" y="1"/>
                    <a:pt x="15" y="3"/>
                  </a:cubicBezTo>
                  <a:cubicBezTo>
                    <a:pt x="13" y="3"/>
                    <a:pt x="5" y="1"/>
                    <a:pt x="3" y="0"/>
                  </a:cubicBezTo>
                  <a:cubicBezTo>
                    <a:pt x="3" y="1"/>
                    <a:pt x="7" y="4"/>
                    <a:pt x="7" y="4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12" y="14"/>
                    <a:pt x="12" y="14"/>
                    <a:pt x="12" y="14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7" y="23"/>
                    <a:pt x="8" y="29"/>
                    <a:pt x="8" y="30"/>
                  </a:cubicBezTo>
                  <a:cubicBezTo>
                    <a:pt x="8" y="32"/>
                    <a:pt x="9" y="37"/>
                    <a:pt x="9" y="37"/>
                  </a:cubicBezTo>
                  <a:cubicBezTo>
                    <a:pt x="4" y="41"/>
                    <a:pt x="4" y="41"/>
                    <a:pt x="4" y="41"/>
                  </a:cubicBezTo>
                  <a:cubicBezTo>
                    <a:pt x="4" y="41"/>
                    <a:pt x="4" y="45"/>
                    <a:pt x="4" y="46"/>
                  </a:cubicBezTo>
                  <a:cubicBezTo>
                    <a:pt x="4" y="48"/>
                    <a:pt x="0" y="52"/>
                    <a:pt x="0" y="52"/>
                  </a:cubicBezTo>
                  <a:cubicBezTo>
                    <a:pt x="3" y="58"/>
                    <a:pt x="3" y="58"/>
                    <a:pt x="3" y="58"/>
                  </a:cubicBezTo>
                  <a:cubicBezTo>
                    <a:pt x="5" y="57"/>
                    <a:pt x="5" y="57"/>
                    <a:pt x="5" y="57"/>
                  </a:cubicBezTo>
                  <a:cubicBezTo>
                    <a:pt x="11" y="64"/>
                    <a:pt x="11" y="64"/>
                    <a:pt x="11" y="64"/>
                  </a:cubicBezTo>
                  <a:cubicBezTo>
                    <a:pt x="11" y="64"/>
                    <a:pt x="19" y="62"/>
                    <a:pt x="21" y="62"/>
                  </a:cubicBezTo>
                  <a:cubicBezTo>
                    <a:pt x="24" y="62"/>
                    <a:pt x="25" y="69"/>
                    <a:pt x="24" y="73"/>
                  </a:cubicBezTo>
                  <a:cubicBezTo>
                    <a:pt x="21" y="78"/>
                    <a:pt x="20" y="83"/>
                    <a:pt x="20" y="83"/>
                  </a:cubicBezTo>
                  <a:cubicBezTo>
                    <a:pt x="20" y="83"/>
                    <a:pt x="23" y="90"/>
                    <a:pt x="27" y="92"/>
                  </a:cubicBezTo>
                  <a:cubicBezTo>
                    <a:pt x="29" y="94"/>
                    <a:pt x="31" y="98"/>
                    <a:pt x="31" y="98"/>
                  </a:cubicBezTo>
                  <a:cubicBezTo>
                    <a:pt x="31" y="98"/>
                    <a:pt x="33" y="99"/>
                    <a:pt x="33" y="95"/>
                  </a:cubicBezTo>
                  <a:cubicBezTo>
                    <a:pt x="33" y="92"/>
                    <a:pt x="32" y="92"/>
                    <a:pt x="32" y="90"/>
                  </a:cubicBezTo>
                  <a:cubicBezTo>
                    <a:pt x="31" y="89"/>
                    <a:pt x="33" y="87"/>
                    <a:pt x="33" y="87"/>
                  </a:cubicBezTo>
                  <a:cubicBezTo>
                    <a:pt x="40" y="85"/>
                    <a:pt x="40" y="85"/>
                    <a:pt x="40" y="85"/>
                  </a:cubicBezTo>
                  <a:cubicBezTo>
                    <a:pt x="40" y="78"/>
                    <a:pt x="40" y="78"/>
                    <a:pt x="40" y="78"/>
                  </a:cubicBezTo>
                  <a:cubicBezTo>
                    <a:pt x="40" y="78"/>
                    <a:pt x="41" y="69"/>
                    <a:pt x="40" y="66"/>
                  </a:cubicBezTo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891045"/>
              <a:endParaRPr lang="en-US" sz="1700" dirty="0">
                <a:solidFill>
                  <a:srgbClr val="003149"/>
                </a:solidFill>
                <a:cs typeface="Arial" panose="020B0604020202020204" pitchFamily="34" charset="0"/>
              </a:endParaRPr>
            </a:p>
          </p:txBody>
        </p:sp>
      </p:grpSp>
      <p:grpSp>
        <p:nvGrpSpPr>
          <p:cNvPr id="585" name="Group 497"/>
          <p:cNvGrpSpPr>
            <a:grpSpLocks/>
          </p:cNvGrpSpPr>
          <p:nvPr/>
        </p:nvGrpSpPr>
        <p:grpSpPr bwMode="gray">
          <a:xfrm>
            <a:off x="1695949" y="2717663"/>
            <a:ext cx="196099" cy="341269"/>
            <a:chOff x="4596" y="3159"/>
            <a:chExt cx="133" cy="220"/>
          </a:xfrm>
          <a:solidFill>
            <a:schemeClr val="accent3"/>
          </a:solidFill>
        </p:grpSpPr>
        <p:sp>
          <p:nvSpPr>
            <p:cNvPr id="586" name="Freeform 498"/>
            <p:cNvSpPr>
              <a:spLocks/>
            </p:cNvSpPr>
            <p:nvPr/>
          </p:nvSpPr>
          <p:spPr bwMode="gray">
            <a:xfrm>
              <a:off x="4596" y="3159"/>
              <a:ext cx="133" cy="220"/>
            </a:xfrm>
            <a:custGeom>
              <a:avLst/>
              <a:gdLst>
                <a:gd name="T0" fmla="*/ 0 w 1317"/>
                <a:gd name="T1" fmla="*/ 0 h 2175"/>
                <a:gd name="T2" fmla="*/ 0 w 1317"/>
                <a:gd name="T3" fmla="*/ 0 h 2175"/>
                <a:gd name="T4" fmla="*/ 0 w 1317"/>
                <a:gd name="T5" fmla="*/ 0 h 2175"/>
                <a:gd name="T6" fmla="*/ 0 w 1317"/>
                <a:gd name="T7" fmla="*/ 0 h 2175"/>
                <a:gd name="T8" fmla="*/ 0 w 1317"/>
                <a:gd name="T9" fmla="*/ 0 h 2175"/>
                <a:gd name="T10" fmla="*/ 0 w 1317"/>
                <a:gd name="T11" fmla="*/ 0 h 2175"/>
                <a:gd name="T12" fmla="*/ 0 w 1317"/>
                <a:gd name="T13" fmla="*/ 0 h 2175"/>
                <a:gd name="T14" fmla="*/ 0 w 1317"/>
                <a:gd name="T15" fmla="*/ 0 h 2175"/>
                <a:gd name="T16" fmla="*/ 0 w 1317"/>
                <a:gd name="T17" fmla="*/ 0 h 2175"/>
                <a:gd name="T18" fmla="*/ 0 w 1317"/>
                <a:gd name="T19" fmla="*/ 0 h 2175"/>
                <a:gd name="T20" fmla="*/ 0 w 1317"/>
                <a:gd name="T21" fmla="*/ 0 h 2175"/>
                <a:gd name="T22" fmla="*/ 0 w 1317"/>
                <a:gd name="T23" fmla="*/ 0 h 2175"/>
                <a:gd name="T24" fmla="*/ 0 w 1317"/>
                <a:gd name="T25" fmla="*/ 0 h 2175"/>
                <a:gd name="T26" fmla="*/ 0 w 1317"/>
                <a:gd name="T27" fmla="*/ 0 h 2175"/>
                <a:gd name="T28" fmla="*/ 0 w 1317"/>
                <a:gd name="T29" fmla="*/ 0 h 2175"/>
                <a:gd name="T30" fmla="*/ 0 w 1317"/>
                <a:gd name="T31" fmla="*/ 0 h 2175"/>
                <a:gd name="T32" fmla="*/ 0 w 1317"/>
                <a:gd name="T33" fmla="*/ 0 h 2175"/>
                <a:gd name="T34" fmla="*/ 0 w 1317"/>
                <a:gd name="T35" fmla="*/ 0 h 2175"/>
                <a:gd name="T36" fmla="*/ 0 w 1317"/>
                <a:gd name="T37" fmla="*/ 0 h 2175"/>
                <a:gd name="T38" fmla="*/ 0 w 1317"/>
                <a:gd name="T39" fmla="*/ 0 h 2175"/>
                <a:gd name="T40" fmla="*/ 0 w 1317"/>
                <a:gd name="T41" fmla="*/ 0 h 2175"/>
                <a:gd name="T42" fmla="*/ 0 w 1317"/>
                <a:gd name="T43" fmla="*/ 0 h 2175"/>
                <a:gd name="T44" fmla="*/ 0 w 1317"/>
                <a:gd name="T45" fmla="*/ 0 h 2175"/>
                <a:gd name="T46" fmla="*/ 0 w 1317"/>
                <a:gd name="T47" fmla="*/ 0 h 2175"/>
                <a:gd name="T48" fmla="*/ 0 w 1317"/>
                <a:gd name="T49" fmla="*/ 0 h 2175"/>
                <a:gd name="T50" fmla="*/ 0 w 1317"/>
                <a:gd name="T51" fmla="*/ 0 h 2175"/>
                <a:gd name="T52" fmla="*/ 0 w 1317"/>
                <a:gd name="T53" fmla="*/ 0 h 2175"/>
                <a:gd name="T54" fmla="*/ 0 w 1317"/>
                <a:gd name="T55" fmla="*/ 0 h 2175"/>
                <a:gd name="T56" fmla="*/ 0 w 1317"/>
                <a:gd name="T57" fmla="*/ 0 h 2175"/>
                <a:gd name="T58" fmla="*/ 0 w 1317"/>
                <a:gd name="T59" fmla="*/ 0 h 2175"/>
                <a:gd name="T60" fmla="*/ 0 w 1317"/>
                <a:gd name="T61" fmla="*/ 0 h 2175"/>
                <a:gd name="T62" fmla="*/ 0 w 1317"/>
                <a:gd name="T63" fmla="*/ 0 h 2175"/>
                <a:gd name="T64" fmla="*/ 0 w 1317"/>
                <a:gd name="T65" fmla="*/ 0 h 2175"/>
                <a:gd name="T66" fmla="*/ 0 w 1317"/>
                <a:gd name="T67" fmla="*/ 0 h 2175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1317"/>
                <a:gd name="T103" fmla="*/ 0 h 2175"/>
                <a:gd name="T104" fmla="*/ 1317 w 1317"/>
                <a:gd name="T105" fmla="*/ 2175 h 2175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1317" h="2175">
                  <a:moveTo>
                    <a:pt x="1304" y="470"/>
                  </a:moveTo>
                  <a:cubicBezTo>
                    <a:pt x="1304" y="432"/>
                    <a:pt x="1279" y="394"/>
                    <a:pt x="1292" y="356"/>
                  </a:cubicBezTo>
                  <a:cubicBezTo>
                    <a:pt x="1304" y="305"/>
                    <a:pt x="1266" y="140"/>
                    <a:pt x="1279" y="127"/>
                  </a:cubicBezTo>
                  <a:cubicBezTo>
                    <a:pt x="1279" y="102"/>
                    <a:pt x="1279" y="0"/>
                    <a:pt x="1279" y="0"/>
                  </a:cubicBezTo>
                  <a:cubicBezTo>
                    <a:pt x="1279" y="0"/>
                    <a:pt x="1266" y="25"/>
                    <a:pt x="1241" y="25"/>
                  </a:cubicBezTo>
                  <a:cubicBezTo>
                    <a:pt x="1229" y="25"/>
                    <a:pt x="1165" y="63"/>
                    <a:pt x="1140" y="76"/>
                  </a:cubicBezTo>
                  <a:cubicBezTo>
                    <a:pt x="1115" y="89"/>
                    <a:pt x="1064" y="102"/>
                    <a:pt x="1039" y="114"/>
                  </a:cubicBezTo>
                  <a:cubicBezTo>
                    <a:pt x="1013" y="127"/>
                    <a:pt x="1001" y="89"/>
                    <a:pt x="963" y="114"/>
                  </a:cubicBezTo>
                  <a:cubicBezTo>
                    <a:pt x="925" y="127"/>
                    <a:pt x="937" y="152"/>
                    <a:pt x="899" y="152"/>
                  </a:cubicBezTo>
                  <a:cubicBezTo>
                    <a:pt x="861" y="140"/>
                    <a:pt x="849" y="140"/>
                    <a:pt x="811" y="152"/>
                  </a:cubicBezTo>
                  <a:cubicBezTo>
                    <a:pt x="773" y="165"/>
                    <a:pt x="747" y="165"/>
                    <a:pt x="735" y="140"/>
                  </a:cubicBezTo>
                  <a:cubicBezTo>
                    <a:pt x="735" y="114"/>
                    <a:pt x="697" y="140"/>
                    <a:pt x="671" y="140"/>
                  </a:cubicBezTo>
                  <a:cubicBezTo>
                    <a:pt x="659" y="140"/>
                    <a:pt x="583" y="140"/>
                    <a:pt x="583" y="140"/>
                  </a:cubicBezTo>
                  <a:cubicBezTo>
                    <a:pt x="545" y="165"/>
                    <a:pt x="545" y="165"/>
                    <a:pt x="545" y="165"/>
                  </a:cubicBezTo>
                  <a:cubicBezTo>
                    <a:pt x="545" y="165"/>
                    <a:pt x="520" y="229"/>
                    <a:pt x="520" y="254"/>
                  </a:cubicBezTo>
                  <a:cubicBezTo>
                    <a:pt x="532" y="280"/>
                    <a:pt x="545" y="394"/>
                    <a:pt x="545" y="394"/>
                  </a:cubicBezTo>
                  <a:cubicBezTo>
                    <a:pt x="545" y="394"/>
                    <a:pt x="583" y="407"/>
                    <a:pt x="596" y="407"/>
                  </a:cubicBezTo>
                  <a:cubicBezTo>
                    <a:pt x="621" y="407"/>
                    <a:pt x="684" y="509"/>
                    <a:pt x="697" y="534"/>
                  </a:cubicBezTo>
                  <a:cubicBezTo>
                    <a:pt x="709" y="559"/>
                    <a:pt x="697" y="648"/>
                    <a:pt x="697" y="648"/>
                  </a:cubicBezTo>
                  <a:cubicBezTo>
                    <a:pt x="697" y="725"/>
                    <a:pt x="697" y="725"/>
                    <a:pt x="697" y="725"/>
                  </a:cubicBezTo>
                  <a:cubicBezTo>
                    <a:pt x="633" y="738"/>
                    <a:pt x="633" y="738"/>
                    <a:pt x="633" y="738"/>
                  </a:cubicBezTo>
                  <a:cubicBezTo>
                    <a:pt x="633" y="738"/>
                    <a:pt x="608" y="763"/>
                    <a:pt x="621" y="776"/>
                  </a:cubicBezTo>
                  <a:cubicBezTo>
                    <a:pt x="621" y="788"/>
                    <a:pt x="633" y="788"/>
                    <a:pt x="633" y="827"/>
                  </a:cubicBezTo>
                  <a:cubicBezTo>
                    <a:pt x="633" y="865"/>
                    <a:pt x="608" y="852"/>
                    <a:pt x="608" y="852"/>
                  </a:cubicBezTo>
                  <a:cubicBezTo>
                    <a:pt x="608" y="852"/>
                    <a:pt x="596" y="814"/>
                    <a:pt x="570" y="788"/>
                  </a:cubicBezTo>
                  <a:cubicBezTo>
                    <a:pt x="532" y="776"/>
                    <a:pt x="507" y="699"/>
                    <a:pt x="507" y="699"/>
                  </a:cubicBezTo>
                  <a:cubicBezTo>
                    <a:pt x="507" y="699"/>
                    <a:pt x="520" y="648"/>
                    <a:pt x="545" y="598"/>
                  </a:cubicBezTo>
                  <a:cubicBezTo>
                    <a:pt x="558" y="559"/>
                    <a:pt x="545" y="496"/>
                    <a:pt x="520" y="496"/>
                  </a:cubicBezTo>
                  <a:cubicBezTo>
                    <a:pt x="494" y="496"/>
                    <a:pt x="418" y="509"/>
                    <a:pt x="418" y="509"/>
                  </a:cubicBezTo>
                  <a:cubicBezTo>
                    <a:pt x="368" y="445"/>
                    <a:pt x="368" y="445"/>
                    <a:pt x="368" y="445"/>
                  </a:cubicBezTo>
                  <a:cubicBezTo>
                    <a:pt x="342" y="458"/>
                    <a:pt x="342" y="458"/>
                    <a:pt x="342" y="458"/>
                  </a:cubicBezTo>
                  <a:cubicBezTo>
                    <a:pt x="342" y="458"/>
                    <a:pt x="13" y="559"/>
                    <a:pt x="0" y="585"/>
                  </a:cubicBezTo>
                  <a:cubicBezTo>
                    <a:pt x="0" y="610"/>
                    <a:pt x="26" y="661"/>
                    <a:pt x="26" y="661"/>
                  </a:cubicBezTo>
                  <a:cubicBezTo>
                    <a:pt x="26" y="712"/>
                    <a:pt x="26" y="712"/>
                    <a:pt x="26" y="712"/>
                  </a:cubicBezTo>
                  <a:cubicBezTo>
                    <a:pt x="102" y="712"/>
                    <a:pt x="102" y="712"/>
                    <a:pt x="102" y="712"/>
                  </a:cubicBezTo>
                  <a:cubicBezTo>
                    <a:pt x="102" y="712"/>
                    <a:pt x="165" y="738"/>
                    <a:pt x="178" y="738"/>
                  </a:cubicBezTo>
                  <a:cubicBezTo>
                    <a:pt x="203" y="738"/>
                    <a:pt x="241" y="763"/>
                    <a:pt x="266" y="776"/>
                  </a:cubicBezTo>
                  <a:cubicBezTo>
                    <a:pt x="279" y="776"/>
                    <a:pt x="330" y="788"/>
                    <a:pt x="342" y="801"/>
                  </a:cubicBezTo>
                  <a:cubicBezTo>
                    <a:pt x="355" y="801"/>
                    <a:pt x="342" y="890"/>
                    <a:pt x="342" y="928"/>
                  </a:cubicBezTo>
                  <a:cubicBezTo>
                    <a:pt x="342" y="954"/>
                    <a:pt x="355" y="1017"/>
                    <a:pt x="342" y="1030"/>
                  </a:cubicBezTo>
                  <a:cubicBezTo>
                    <a:pt x="330" y="1056"/>
                    <a:pt x="330" y="1081"/>
                    <a:pt x="317" y="1081"/>
                  </a:cubicBezTo>
                  <a:cubicBezTo>
                    <a:pt x="292" y="1081"/>
                    <a:pt x="330" y="1119"/>
                    <a:pt x="330" y="1145"/>
                  </a:cubicBezTo>
                  <a:cubicBezTo>
                    <a:pt x="317" y="1170"/>
                    <a:pt x="355" y="1195"/>
                    <a:pt x="355" y="1208"/>
                  </a:cubicBezTo>
                  <a:cubicBezTo>
                    <a:pt x="355" y="1221"/>
                    <a:pt x="342" y="1272"/>
                    <a:pt x="330" y="1284"/>
                  </a:cubicBezTo>
                  <a:cubicBezTo>
                    <a:pt x="304" y="1310"/>
                    <a:pt x="304" y="1310"/>
                    <a:pt x="292" y="1335"/>
                  </a:cubicBezTo>
                  <a:cubicBezTo>
                    <a:pt x="279" y="1348"/>
                    <a:pt x="279" y="1399"/>
                    <a:pt x="279" y="1399"/>
                  </a:cubicBezTo>
                  <a:cubicBezTo>
                    <a:pt x="140" y="1552"/>
                    <a:pt x="140" y="1552"/>
                    <a:pt x="140" y="1552"/>
                  </a:cubicBezTo>
                  <a:cubicBezTo>
                    <a:pt x="140" y="1552"/>
                    <a:pt x="165" y="1615"/>
                    <a:pt x="152" y="1628"/>
                  </a:cubicBezTo>
                  <a:cubicBezTo>
                    <a:pt x="152" y="1641"/>
                    <a:pt x="190" y="1742"/>
                    <a:pt x="203" y="1768"/>
                  </a:cubicBezTo>
                  <a:cubicBezTo>
                    <a:pt x="228" y="1806"/>
                    <a:pt x="228" y="1882"/>
                    <a:pt x="228" y="1920"/>
                  </a:cubicBezTo>
                  <a:cubicBezTo>
                    <a:pt x="228" y="1971"/>
                    <a:pt x="216" y="2035"/>
                    <a:pt x="228" y="2048"/>
                  </a:cubicBezTo>
                  <a:cubicBezTo>
                    <a:pt x="241" y="2048"/>
                    <a:pt x="228" y="2162"/>
                    <a:pt x="228" y="2162"/>
                  </a:cubicBezTo>
                  <a:cubicBezTo>
                    <a:pt x="330" y="2175"/>
                    <a:pt x="330" y="2175"/>
                    <a:pt x="330" y="2175"/>
                  </a:cubicBezTo>
                  <a:cubicBezTo>
                    <a:pt x="330" y="2175"/>
                    <a:pt x="330" y="2060"/>
                    <a:pt x="330" y="2009"/>
                  </a:cubicBezTo>
                  <a:cubicBezTo>
                    <a:pt x="330" y="1971"/>
                    <a:pt x="342" y="1971"/>
                    <a:pt x="380" y="1959"/>
                  </a:cubicBezTo>
                  <a:cubicBezTo>
                    <a:pt x="418" y="1933"/>
                    <a:pt x="596" y="1870"/>
                    <a:pt x="621" y="1844"/>
                  </a:cubicBezTo>
                  <a:cubicBezTo>
                    <a:pt x="646" y="1831"/>
                    <a:pt x="659" y="1781"/>
                    <a:pt x="659" y="1742"/>
                  </a:cubicBezTo>
                  <a:cubicBezTo>
                    <a:pt x="671" y="1691"/>
                    <a:pt x="659" y="1577"/>
                    <a:pt x="659" y="1552"/>
                  </a:cubicBezTo>
                  <a:cubicBezTo>
                    <a:pt x="659" y="1526"/>
                    <a:pt x="633" y="1526"/>
                    <a:pt x="633" y="1526"/>
                  </a:cubicBezTo>
                  <a:cubicBezTo>
                    <a:pt x="633" y="1526"/>
                    <a:pt x="621" y="1488"/>
                    <a:pt x="621" y="1437"/>
                  </a:cubicBezTo>
                  <a:cubicBezTo>
                    <a:pt x="621" y="1373"/>
                    <a:pt x="583" y="1323"/>
                    <a:pt x="558" y="1310"/>
                  </a:cubicBezTo>
                  <a:cubicBezTo>
                    <a:pt x="532" y="1284"/>
                    <a:pt x="558" y="1246"/>
                    <a:pt x="583" y="1208"/>
                  </a:cubicBezTo>
                  <a:cubicBezTo>
                    <a:pt x="608" y="1183"/>
                    <a:pt x="659" y="1145"/>
                    <a:pt x="684" y="1132"/>
                  </a:cubicBezTo>
                  <a:cubicBezTo>
                    <a:pt x="697" y="1106"/>
                    <a:pt x="773" y="1081"/>
                    <a:pt x="773" y="1081"/>
                  </a:cubicBezTo>
                  <a:cubicBezTo>
                    <a:pt x="773" y="1081"/>
                    <a:pt x="773" y="1043"/>
                    <a:pt x="785" y="1030"/>
                  </a:cubicBezTo>
                  <a:cubicBezTo>
                    <a:pt x="811" y="1017"/>
                    <a:pt x="925" y="890"/>
                    <a:pt x="963" y="890"/>
                  </a:cubicBezTo>
                  <a:cubicBezTo>
                    <a:pt x="1013" y="890"/>
                    <a:pt x="1153" y="788"/>
                    <a:pt x="1178" y="776"/>
                  </a:cubicBezTo>
                  <a:cubicBezTo>
                    <a:pt x="1216" y="763"/>
                    <a:pt x="1266" y="648"/>
                    <a:pt x="1292" y="623"/>
                  </a:cubicBezTo>
                  <a:cubicBezTo>
                    <a:pt x="1304" y="598"/>
                    <a:pt x="1317" y="509"/>
                    <a:pt x="1304" y="470"/>
                  </a:cubicBezTo>
                </a:path>
              </a:pathLst>
            </a:custGeom>
            <a:grpFill/>
            <a:ln w="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891045"/>
              <a:endParaRPr lang="en-US" sz="1700" dirty="0">
                <a:solidFill>
                  <a:srgbClr val="003149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587" name="Freeform 499"/>
            <p:cNvSpPr>
              <a:spLocks/>
            </p:cNvSpPr>
            <p:nvPr/>
          </p:nvSpPr>
          <p:spPr bwMode="gray">
            <a:xfrm>
              <a:off x="4596" y="3159"/>
              <a:ext cx="133" cy="220"/>
            </a:xfrm>
            <a:custGeom>
              <a:avLst/>
              <a:gdLst>
                <a:gd name="T0" fmla="*/ 130 w 133"/>
                <a:gd name="T1" fmla="*/ 36 h 220"/>
                <a:gd name="T2" fmla="*/ 129 w 133"/>
                <a:gd name="T3" fmla="*/ 0 h 220"/>
                <a:gd name="T4" fmla="*/ 115 w 133"/>
                <a:gd name="T5" fmla="*/ 8 h 220"/>
                <a:gd name="T6" fmla="*/ 97 w 133"/>
                <a:gd name="T7" fmla="*/ 12 h 220"/>
                <a:gd name="T8" fmla="*/ 82 w 133"/>
                <a:gd name="T9" fmla="*/ 16 h 220"/>
                <a:gd name="T10" fmla="*/ 68 w 133"/>
                <a:gd name="T11" fmla="*/ 15 h 220"/>
                <a:gd name="T12" fmla="*/ 55 w 133"/>
                <a:gd name="T13" fmla="*/ 17 h 220"/>
                <a:gd name="T14" fmla="*/ 55 w 133"/>
                <a:gd name="T15" fmla="*/ 40 h 220"/>
                <a:gd name="T16" fmla="*/ 70 w 133"/>
                <a:gd name="T17" fmla="*/ 54 h 220"/>
                <a:gd name="T18" fmla="*/ 70 w 133"/>
                <a:gd name="T19" fmla="*/ 74 h 220"/>
                <a:gd name="T20" fmla="*/ 63 w 133"/>
                <a:gd name="T21" fmla="*/ 79 h 220"/>
                <a:gd name="T22" fmla="*/ 61 w 133"/>
                <a:gd name="T23" fmla="*/ 86 h 220"/>
                <a:gd name="T24" fmla="*/ 51 w 133"/>
                <a:gd name="T25" fmla="*/ 71 h 220"/>
                <a:gd name="T26" fmla="*/ 52 w 133"/>
                <a:gd name="T27" fmla="*/ 51 h 220"/>
                <a:gd name="T28" fmla="*/ 37 w 133"/>
                <a:gd name="T29" fmla="*/ 45 h 220"/>
                <a:gd name="T30" fmla="*/ 0 w 133"/>
                <a:gd name="T31" fmla="*/ 60 h 220"/>
                <a:gd name="T32" fmla="*/ 3 w 133"/>
                <a:gd name="T33" fmla="*/ 72 h 220"/>
                <a:gd name="T34" fmla="*/ 18 w 133"/>
                <a:gd name="T35" fmla="*/ 75 h 220"/>
                <a:gd name="T36" fmla="*/ 34 w 133"/>
                <a:gd name="T37" fmla="*/ 81 h 220"/>
                <a:gd name="T38" fmla="*/ 34 w 133"/>
                <a:gd name="T39" fmla="*/ 104 h 220"/>
                <a:gd name="T40" fmla="*/ 33 w 133"/>
                <a:gd name="T41" fmla="*/ 116 h 220"/>
                <a:gd name="T42" fmla="*/ 33 w 133"/>
                <a:gd name="T43" fmla="*/ 130 h 220"/>
                <a:gd name="T44" fmla="*/ 28 w 133"/>
                <a:gd name="T45" fmla="*/ 142 h 220"/>
                <a:gd name="T46" fmla="*/ 15 w 133"/>
                <a:gd name="T47" fmla="*/ 165 h 220"/>
                <a:gd name="T48" fmla="*/ 23 w 133"/>
                <a:gd name="T49" fmla="*/ 194 h 220"/>
                <a:gd name="T50" fmla="*/ 23 w 133"/>
                <a:gd name="T51" fmla="*/ 219 h 220"/>
                <a:gd name="T52" fmla="*/ 33 w 133"/>
                <a:gd name="T53" fmla="*/ 203 h 220"/>
                <a:gd name="T54" fmla="*/ 63 w 133"/>
                <a:gd name="T55" fmla="*/ 187 h 220"/>
                <a:gd name="T56" fmla="*/ 66 w 133"/>
                <a:gd name="T57" fmla="*/ 157 h 220"/>
                <a:gd name="T58" fmla="*/ 63 w 133"/>
                <a:gd name="T59" fmla="*/ 146 h 220"/>
                <a:gd name="T60" fmla="*/ 59 w 133"/>
                <a:gd name="T61" fmla="*/ 122 h 220"/>
                <a:gd name="T62" fmla="*/ 78 w 133"/>
                <a:gd name="T63" fmla="*/ 110 h 220"/>
                <a:gd name="T64" fmla="*/ 97 w 133"/>
                <a:gd name="T65" fmla="*/ 90 h 220"/>
                <a:gd name="T66" fmla="*/ 130 w 133"/>
                <a:gd name="T67" fmla="*/ 63 h 220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133"/>
                <a:gd name="T103" fmla="*/ 0 h 220"/>
                <a:gd name="T104" fmla="*/ 133 w 133"/>
                <a:gd name="T105" fmla="*/ 220 h 220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133" h="220">
                  <a:moveTo>
                    <a:pt x="132" y="48"/>
                  </a:moveTo>
                  <a:cubicBezTo>
                    <a:pt x="132" y="44"/>
                    <a:pt x="129" y="40"/>
                    <a:pt x="130" y="36"/>
                  </a:cubicBezTo>
                  <a:cubicBezTo>
                    <a:pt x="132" y="31"/>
                    <a:pt x="128" y="15"/>
                    <a:pt x="129" y="13"/>
                  </a:cubicBezTo>
                  <a:cubicBezTo>
                    <a:pt x="129" y="11"/>
                    <a:pt x="129" y="0"/>
                    <a:pt x="129" y="0"/>
                  </a:cubicBezTo>
                  <a:cubicBezTo>
                    <a:pt x="129" y="0"/>
                    <a:pt x="128" y="3"/>
                    <a:pt x="125" y="3"/>
                  </a:cubicBezTo>
                  <a:cubicBezTo>
                    <a:pt x="124" y="3"/>
                    <a:pt x="118" y="7"/>
                    <a:pt x="115" y="8"/>
                  </a:cubicBezTo>
                  <a:cubicBezTo>
                    <a:pt x="113" y="9"/>
                    <a:pt x="107" y="11"/>
                    <a:pt x="105" y="12"/>
                  </a:cubicBezTo>
                  <a:cubicBezTo>
                    <a:pt x="102" y="13"/>
                    <a:pt x="101" y="9"/>
                    <a:pt x="97" y="12"/>
                  </a:cubicBezTo>
                  <a:cubicBezTo>
                    <a:pt x="93" y="13"/>
                    <a:pt x="95" y="16"/>
                    <a:pt x="91" y="16"/>
                  </a:cubicBezTo>
                  <a:cubicBezTo>
                    <a:pt x="87" y="15"/>
                    <a:pt x="86" y="15"/>
                    <a:pt x="82" y="16"/>
                  </a:cubicBezTo>
                  <a:cubicBezTo>
                    <a:pt x="78" y="17"/>
                    <a:pt x="75" y="17"/>
                    <a:pt x="74" y="15"/>
                  </a:cubicBezTo>
                  <a:cubicBezTo>
                    <a:pt x="74" y="12"/>
                    <a:pt x="70" y="15"/>
                    <a:pt x="68" y="15"/>
                  </a:cubicBezTo>
                  <a:cubicBezTo>
                    <a:pt x="66" y="15"/>
                    <a:pt x="59" y="15"/>
                    <a:pt x="59" y="15"/>
                  </a:cubicBezTo>
                  <a:cubicBezTo>
                    <a:pt x="55" y="17"/>
                    <a:pt x="55" y="17"/>
                    <a:pt x="55" y="17"/>
                  </a:cubicBezTo>
                  <a:cubicBezTo>
                    <a:pt x="55" y="17"/>
                    <a:pt x="52" y="24"/>
                    <a:pt x="52" y="26"/>
                  </a:cubicBezTo>
                  <a:cubicBezTo>
                    <a:pt x="54" y="29"/>
                    <a:pt x="55" y="40"/>
                    <a:pt x="55" y="40"/>
                  </a:cubicBezTo>
                  <a:cubicBezTo>
                    <a:pt x="55" y="40"/>
                    <a:pt x="59" y="42"/>
                    <a:pt x="60" y="42"/>
                  </a:cubicBezTo>
                  <a:cubicBezTo>
                    <a:pt x="63" y="42"/>
                    <a:pt x="69" y="52"/>
                    <a:pt x="70" y="54"/>
                  </a:cubicBezTo>
                  <a:cubicBezTo>
                    <a:pt x="72" y="57"/>
                    <a:pt x="70" y="66"/>
                    <a:pt x="70" y="66"/>
                  </a:cubicBezTo>
                  <a:cubicBezTo>
                    <a:pt x="70" y="74"/>
                    <a:pt x="70" y="74"/>
                    <a:pt x="70" y="74"/>
                  </a:cubicBezTo>
                  <a:cubicBezTo>
                    <a:pt x="64" y="75"/>
                    <a:pt x="64" y="75"/>
                    <a:pt x="64" y="75"/>
                  </a:cubicBezTo>
                  <a:cubicBezTo>
                    <a:pt x="64" y="75"/>
                    <a:pt x="61" y="77"/>
                    <a:pt x="63" y="79"/>
                  </a:cubicBezTo>
                  <a:cubicBezTo>
                    <a:pt x="63" y="80"/>
                    <a:pt x="64" y="80"/>
                    <a:pt x="64" y="84"/>
                  </a:cubicBezTo>
                  <a:cubicBezTo>
                    <a:pt x="64" y="88"/>
                    <a:pt x="61" y="86"/>
                    <a:pt x="61" y="86"/>
                  </a:cubicBezTo>
                  <a:cubicBezTo>
                    <a:pt x="61" y="86"/>
                    <a:pt x="60" y="83"/>
                    <a:pt x="58" y="80"/>
                  </a:cubicBezTo>
                  <a:cubicBezTo>
                    <a:pt x="54" y="79"/>
                    <a:pt x="51" y="71"/>
                    <a:pt x="51" y="71"/>
                  </a:cubicBezTo>
                  <a:cubicBezTo>
                    <a:pt x="51" y="71"/>
                    <a:pt x="52" y="66"/>
                    <a:pt x="55" y="61"/>
                  </a:cubicBezTo>
                  <a:cubicBezTo>
                    <a:pt x="56" y="57"/>
                    <a:pt x="55" y="51"/>
                    <a:pt x="52" y="51"/>
                  </a:cubicBezTo>
                  <a:cubicBezTo>
                    <a:pt x="50" y="51"/>
                    <a:pt x="42" y="52"/>
                    <a:pt x="42" y="52"/>
                  </a:cubicBezTo>
                  <a:cubicBezTo>
                    <a:pt x="37" y="45"/>
                    <a:pt x="37" y="45"/>
                    <a:pt x="37" y="45"/>
                  </a:cubicBezTo>
                  <a:cubicBezTo>
                    <a:pt x="34" y="47"/>
                    <a:pt x="34" y="47"/>
                    <a:pt x="34" y="47"/>
                  </a:cubicBezTo>
                  <a:cubicBezTo>
                    <a:pt x="34" y="47"/>
                    <a:pt x="1" y="57"/>
                    <a:pt x="0" y="60"/>
                  </a:cubicBezTo>
                  <a:cubicBezTo>
                    <a:pt x="0" y="62"/>
                    <a:pt x="3" y="67"/>
                    <a:pt x="3" y="67"/>
                  </a:cubicBezTo>
                  <a:cubicBezTo>
                    <a:pt x="3" y="72"/>
                    <a:pt x="3" y="72"/>
                    <a:pt x="3" y="72"/>
                  </a:cubicBezTo>
                  <a:cubicBezTo>
                    <a:pt x="10" y="72"/>
                    <a:pt x="10" y="72"/>
                    <a:pt x="10" y="72"/>
                  </a:cubicBezTo>
                  <a:cubicBezTo>
                    <a:pt x="10" y="72"/>
                    <a:pt x="17" y="75"/>
                    <a:pt x="18" y="75"/>
                  </a:cubicBezTo>
                  <a:cubicBezTo>
                    <a:pt x="20" y="75"/>
                    <a:pt x="24" y="77"/>
                    <a:pt x="27" y="79"/>
                  </a:cubicBezTo>
                  <a:cubicBezTo>
                    <a:pt x="28" y="79"/>
                    <a:pt x="33" y="80"/>
                    <a:pt x="34" y="81"/>
                  </a:cubicBezTo>
                  <a:cubicBezTo>
                    <a:pt x="36" y="81"/>
                    <a:pt x="34" y="90"/>
                    <a:pt x="34" y="94"/>
                  </a:cubicBezTo>
                  <a:cubicBezTo>
                    <a:pt x="34" y="97"/>
                    <a:pt x="36" y="103"/>
                    <a:pt x="34" y="104"/>
                  </a:cubicBezTo>
                  <a:cubicBezTo>
                    <a:pt x="33" y="107"/>
                    <a:pt x="33" y="110"/>
                    <a:pt x="32" y="110"/>
                  </a:cubicBezTo>
                  <a:cubicBezTo>
                    <a:pt x="29" y="110"/>
                    <a:pt x="33" y="113"/>
                    <a:pt x="33" y="116"/>
                  </a:cubicBezTo>
                  <a:cubicBezTo>
                    <a:pt x="32" y="119"/>
                    <a:pt x="36" y="121"/>
                    <a:pt x="36" y="122"/>
                  </a:cubicBezTo>
                  <a:cubicBezTo>
                    <a:pt x="36" y="124"/>
                    <a:pt x="34" y="129"/>
                    <a:pt x="33" y="130"/>
                  </a:cubicBezTo>
                  <a:cubicBezTo>
                    <a:pt x="31" y="133"/>
                    <a:pt x="31" y="133"/>
                    <a:pt x="29" y="135"/>
                  </a:cubicBezTo>
                  <a:cubicBezTo>
                    <a:pt x="28" y="137"/>
                    <a:pt x="28" y="142"/>
                    <a:pt x="28" y="142"/>
                  </a:cubicBezTo>
                  <a:cubicBezTo>
                    <a:pt x="14" y="157"/>
                    <a:pt x="14" y="157"/>
                    <a:pt x="14" y="157"/>
                  </a:cubicBezTo>
                  <a:cubicBezTo>
                    <a:pt x="14" y="157"/>
                    <a:pt x="17" y="164"/>
                    <a:pt x="15" y="165"/>
                  </a:cubicBezTo>
                  <a:cubicBezTo>
                    <a:pt x="15" y="166"/>
                    <a:pt x="19" y="176"/>
                    <a:pt x="20" y="179"/>
                  </a:cubicBezTo>
                  <a:cubicBezTo>
                    <a:pt x="23" y="183"/>
                    <a:pt x="23" y="191"/>
                    <a:pt x="23" y="194"/>
                  </a:cubicBezTo>
                  <a:cubicBezTo>
                    <a:pt x="23" y="200"/>
                    <a:pt x="22" y="206"/>
                    <a:pt x="23" y="207"/>
                  </a:cubicBezTo>
                  <a:cubicBezTo>
                    <a:pt x="24" y="207"/>
                    <a:pt x="23" y="219"/>
                    <a:pt x="23" y="219"/>
                  </a:cubicBezTo>
                  <a:cubicBezTo>
                    <a:pt x="33" y="220"/>
                    <a:pt x="33" y="220"/>
                    <a:pt x="33" y="220"/>
                  </a:cubicBezTo>
                  <a:cubicBezTo>
                    <a:pt x="33" y="220"/>
                    <a:pt x="33" y="209"/>
                    <a:pt x="33" y="203"/>
                  </a:cubicBezTo>
                  <a:cubicBezTo>
                    <a:pt x="33" y="200"/>
                    <a:pt x="34" y="200"/>
                    <a:pt x="38" y="198"/>
                  </a:cubicBezTo>
                  <a:cubicBezTo>
                    <a:pt x="42" y="196"/>
                    <a:pt x="60" y="189"/>
                    <a:pt x="63" y="187"/>
                  </a:cubicBezTo>
                  <a:cubicBezTo>
                    <a:pt x="65" y="185"/>
                    <a:pt x="66" y="180"/>
                    <a:pt x="66" y="176"/>
                  </a:cubicBezTo>
                  <a:cubicBezTo>
                    <a:pt x="68" y="171"/>
                    <a:pt x="66" y="160"/>
                    <a:pt x="66" y="157"/>
                  </a:cubicBezTo>
                  <a:cubicBezTo>
                    <a:pt x="66" y="155"/>
                    <a:pt x="64" y="155"/>
                    <a:pt x="64" y="155"/>
                  </a:cubicBezTo>
                  <a:cubicBezTo>
                    <a:pt x="64" y="155"/>
                    <a:pt x="63" y="151"/>
                    <a:pt x="63" y="146"/>
                  </a:cubicBezTo>
                  <a:cubicBezTo>
                    <a:pt x="63" y="139"/>
                    <a:pt x="59" y="134"/>
                    <a:pt x="56" y="133"/>
                  </a:cubicBezTo>
                  <a:cubicBezTo>
                    <a:pt x="54" y="130"/>
                    <a:pt x="56" y="126"/>
                    <a:pt x="59" y="122"/>
                  </a:cubicBezTo>
                  <a:cubicBezTo>
                    <a:pt x="61" y="120"/>
                    <a:pt x="66" y="116"/>
                    <a:pt x="69" y="115"/>
                  </a:cubicBezTo>
                  <a:cubicBezTo>
                    <a:pt x="70" y="112"/>
                    <a:pt x="78" y="110"/>
                    <a:pt x="78" y="110"/>
                  </a:cubicBezTo>
                  <a:cubicBezTo>
                    <a:pt x="78" y="110"/>
                    <a:pt x="78" y="106"/>
                    <a:pt x="79" y="104"/>
                  </a:cubicBezTo>
                  <a:cubicBezTo>
                    <a:pt x="82" y="103"/>
                    <a:pt x="93" y="90"/>
                    <a:pt x="97" y="90"/>
                  </a:cubicBezTo>
                  <a:cubicBezTo>
                    <a:pt x="102" y="90"/>
                    <a:pt x="116" y="80"/>
                    <a:pt x="119" y="79"/>
                  </a:cubicBezTo>
                  <a:cubicBezTo>
                    <a:pt x="123" y="77"/>
                    <a:pt x="128" y="66"/>
                    <a:pt x="130" y="63"/>
                  </a:cubicBezTo>
                  <a:cubicBezTo>
                    <a:pt x="132" y="61"/>
                    <a:pt x="133" y="52"/>
                    <a:pt x="132" y="48"/>
                  </a:cubicBezTo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891045"/>
              <a:endParaRPr lang="en-US" sz="1700" dirty="0">
                <a:solidFill>
                  <a:srgbClr val="003149"/>
                </a:solidFill>
                <a:cs typeface="Arial" panose="020B0604020202020204" pitchFamily="34" charset="0"/>
              </a:endParaRPr>
            </a:p>
          </p:txBody>
        </p:sp>
      </p:grpSp>
      <p:grpSp>
        <p:nvGrpSpPr>
          <p:cNvPr id="588" name="Group 503"/>
          <p:cNvGrpSpPr>
            <a:grpSpLocks/>
          </p:cNvGrpSpPr>
          <p:nvPr/>
        </p:nvGrpSpPr>
        <p:grpSpPr bwMode="gray">
          <a:xfrm>
            <a:off x="1702225" y="3033560"/>
            <a:ext cx="28912" cy="30448"/>
            <a:chOff x="4600" y="3363"/>
            <a:chExt cx="20" cy="20"/>
          </a:xfrm>
          <a:solidFill>
            <a:schemeClr val="accent3"/>
          </a:solidFill>
        </p:grpSpPr>
        <p:sp>
          <p:nvSpPr>
            <p:cNvPr id="589" name="Freeform 504"/>
            <p:cNvSpPr>
              <a:spLocks/>
            </p:cNvSpPr>
            <p:nvPr/>
          </p:nvSpPr>
          <p:spPr bwMode="gray">
            <a:xfrm>
              <a:off x="4600" y="3363"/>
              <a:ext cx="20" cy="20"/>
            </a:xfrm>
            <a:custGeom>
              <a:avLst/>
              <a:gdLst>
                <a:gd name="T0" fmla="*/ 0 w 200"/>
                <a:gd name="T1" fmla="*/ 0 h 200"/>
                <a:gd name="T2" fmla="*/ 0 w 200"/>
                <a:gd name="T3" fmla="*/ 0 h 200"/>
                <a:gd name="T4" fmla="*/ 0 w 200"/>
                <a:gd name="T5" fmla="*/ 0 h 200"/>
                <a:gd name="T6" fmla="*/ 0 w 200"/>
                <a:gd name="T7" fmla="*/ 0 h 200"/>
                <a:gd name="T8" fmla="*/ 0 w 200"/>
                <a:gd name="T9" fmla="*/ 0 h 200"/>
                <a:gd name="T10" fmla="*/ 0 w 200"/>
                <a:gd name="T11" fmla="*/ 0 h 200"/>
                <a:gd name="T12" fmla="*/ 0 w 200"/>
                <a:gd name="T13" fmla="*/ 0 h 200"/>
                <a:gd name="T14" fmla="*/ 0 w 200"/>
                <a:gd name="T15" fmla="*/ 0 h 200"/>
                <a:gd name="T16" fmla="*/ 0 w 200"/>
                <a:gd name="T17" fmla="*/ 0 h 200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200"/>
                <a:gd name="T28" fmla="*/ 0 h 200"/>
                <a:gd name="T29" fmla="*/ 200 w 200"/>
                <a:gd name="T30" fmla="*/ 200 h 200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200" h="200">
                  <a:moveTo>
                    <a:pt x="187" y="36"/>
                  </a:moveTo>
                  <a:cubicBezTo>
                    <a:pt x="187" y="36"/>
                    <a:pt x="187" y="36"/>
                    <a:pt x="187" y="36"/>
                  </a:cubicBezTo>
                  <a:cubicBezTo>
                    <a:pt x="160" y="36"/>
                    <a:pt x="133" y="36"/>
                    <a:pt x="133" y="24"/>
                  </a:cubicBezTo>
                  <a:cubicBezTo>
                    <a:pt x="120" y="12"/>
                    <a:pt x="80" y="0"/>
                    <a:pt x="80" y="0"/>
                  </a:cubicBezTo>
                  <a:cubicBezTo>
                    <a:pt x="0" y="106"/>
                    <a:pt x="0" y="106"/>
                    <a:pt x="0" y="106"/>
                  </a:cubicBezTo>
                  <a:cubicBezTo>
                    <a:pt x="0" y="106"/>
                    <a:pt x="40" y="142"/>
                    <a:pt x="53" y="165"/>
                  </a:cubicBezTo>
                  <a:cubicBezTo>
                    <a:pt x="67" y="189"/>
                    <a:pt x="173" y="200"/>
                    <a:pt x="173" y="200"/>
                  </a:cubicBezTo>
                  <a:cubicBezTo>
                    <a:pt x="187" y="142"/>
                    <a:pt x="187" y="142"/>
                    <a:pt x="187" y="142"/>
                  </a:cubicBezTo>
                  <a:cubicBezTo>
                    <a:pt x="187" y="142"/>
                    <a:pt x="200" y="36"/>
                    <a:pt x="187" y="36"/>
                  </a:cubicBezTo>
                </a:path>
              </a:pathLst>
            </a:custGeom>
            <a:grpFill/>
            <a:ln w="9525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891045"/>
              <a:endParaRPr lang="en-US" sz="1700" dirty="0">
                <a:solidFill>
                  <a:srgbClr val="003149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590" name="Freeform 505"/>
            <p:cNvSpPr>
              <a:spLocks/>
            </p:cNvSpPr>
            <p:nvPr/>
          </p:nvSpPr>
          <p:spPr bwMode="gray">
            <a:xfrm>
              <a:off x="4600" y="3363"/>
              <a:ext cx="20" cy="20"/>
            </a:xfrm>
            <a:custGeom>
              <a:avLst/>
              <a:gdLst>
                <a:gd name="T0" fmla="*/ 19 w 20"/>
                <a:gd name="T1" fmla="*/ 4 h 20"/>
                <a:gd name="T2" fmla="*/ 19 w 20"/>
                <a:gd name="T3" fmla="*/ 4 h 20"/>
                <a:gd name="T4" fmla="*/ 14 w 20"/>
                <a:gd name="T5" fmla="*/ 2 h 20"/>
                <a:gd name="T6" fmla="*/ 8 w 20"/>
                <a:gd name="T7" fmla="*/ 0 h 20"/>
                <a:gd name="T8" fmla="*/ 0 w 20"/>
                <a:gd name="T9" fmla="*/ 11 h 20"/>
                <a:gd name="T10" fmla="*/ 6 w 20"/>
                <a:gd name="T11" fmla="*/ 17 h 20"/>
                <a:gd name="T12" fmla="*/ 18 w 20"/>
                <a:gd name="T13" fmla="*/ 20 h 20"/>
                <a:gd name="T14" fmla="*/ 19 w 20"/>
                <a:gd name="T15" fmla="*/ 14 h 20"/>
                <a:gd name="T16" fmla="*/ 19 w 20"/>
                <a:gd name="T17" fmla="*/ 4 h 20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20"/>
                <a:gd name="T28" fmla="*/ 0 h 20"/>
                <a:gd name="T29" fmla="*/ 20 w 20"/>
                <a:gd name="T30" fmla="*/ 20 h 20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20" h="20">
                  <a:moveTo>
                    <a:pt x="19" y="4"/>
                  </a:moveTo>
                  <a:cubicBezTo>
                    <a:pt x="19" y="4"/>
                    <a:pt x="19" y="4"/>
                    <a:pt x="19" y="4"/>
                  </a:cubicBezTo>
                  <a:cubicBezTo>
                    <a:pt x="16" y="4"/>
                    <a:pt x="14" y="4"/>
                    <a:pt x="14" y="2"/>
                  </a:cubicBezTo>
                  <a:cubicBezTo>
                    <a:pt x="12" y="1"/>
                    <a:pt x="8" y="0"/>
                    <a:pt x="8" y="0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0" y="11"/>
                    <a:pt x="4" y="14"/>
                    <a:pt x="6" y="17"/>
                  </a:cubicBezTo>
                  <a:cubicBezTo>
                    <a:pt x="7" y="19"/>
                    <a:pt x="18" y="20"/>
                    <a:pt x="18" y="20"/>
                  </a:cubicBezTo>
                  <a:cubicBezTo>
                    <a:pt x="19" y="14"/>
                    <a:pt x="19" y="14"/>
                    <a:pt x="19" y="14"/>
                  </a:cubicBezTo>
                  <a:cubicBezTo>
                    <a:pt x="19" y="14"/>
                    <a:pt x="20" y="4"/>
                    <a:pt x="19" y="4"/>
                  </a:cubicBezTo>
                </a:path>
              </a:pathLst>
            </a:custGeom>
            <a:grpFill/>
            <a:ln w="9525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891045"/>
              <a:endParaRPr lang="en-US" sz="1700" dirty="0">
                <a:solidFill>
                  <a:srgbClr val="003149"/>
                </a:solidFill>
                <a:cs typeface="Arial" panose="020B0604020202020204" pitchFamily="34" charset="0"/>
              </a:endParaRPr>
            </a:p>
          </p:txBody>
        </p:sp>
      </p:grpSp>
      <p:grpSp>
        <p:nvGrpSpPr>
          <p:cNvPr id="591" name="Group 506"/>
          <p:cNvGrpSpPr>
            <a:grpSpLocks/>
          </p:cNvGrpSpPr>
          <p:nvPr/>
        </p:nvGrpSpPr>
        <p:grpSpPr bwMode="gray">
          <a:xfrm>
            <a:off x="1636846" y="3091932"/>
            <a:ext cx="46512" cy="53283"/>
            <a:chOff x="4555" y="3401"/>
            <a:chExt cx="32" cy="34"/>
          </a:xfrm>
          <a:solidFill>
            <a:schemeClr val="accent3"/>
          </a:solidFill>
        </p:grpSpPr>
        <p:sp>
          <p:nvSpPr>
            <p:cNvPr id="592" name="Freeform 507"/>
            <p:cNvSpPr>
              <a:spLocks/>
            </p:cNvSpPr>
            <p:nvPr/>
          </p:nvSpPr>
          <p:spPr bwMode="gray">
            <a:xfrm>
              <a:off x="4555" y="3401"/>
              <a:ext cx="32" cy="34"/>
            </a:xfrm>
            <a:custGeom>
              <a:avLst/>
              <a:gdLst>
                <a:gd name="T0" fmla="*/ 0 w 317"/>
                <a:gd name="T1" fmla="*/ 0 h 342"/>
                <a:gd name="T2" fmla="*/ 0 w 317"/>
                <a:gd name="T3" fmla="*/ 0 h 342"/>
                <a:gd name="T4" fmla="*/ 0 w 317"/>
                <a:gd name="T5" fmla="*/ 0 h 342"/>
                <a:gd name="T6" fmla="*/ 0 w 317"/>
                <a:gd name="T7" fmla="*/ 0 h 342"/>
                <a:gd name="T8" fmla="*/ 0 w 317"/>
                <a:gd name="T9" fmla="*/ 0 h 342"/>
                <a:gd name="T10" fmla="*/ 0 w 317"/>
                <a:gd name="T11" fmla="*/ 0 h 342"/>
                <a:gd name="T12" fmla="*/ 0 w 317"/>
                <a:gd name="T13" fmla="*/ 0 h 342"/>
                <a:gd name="T14" fmla="*/ 0 w 317"/>
                <a:gd name="T15" fmla="*/ 0 h 342"/>
                <a:gd name="T16" fmla="*/ 0 w 317"/>
                <a:gd name="T17" fmla="*/ 0 h 342"/>
                <a:gd name="T18" fmla="*/ 0 w 317"/>
                <a:gd name="T19" fmla="*/ 0 h 342"/>
                <a:gd name="T20" fmla="*/ 0 w 317"/>
                <a:gd name="T21" fmla="*/ 0 h 342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317"/>
                <a:gd name="T34" fmla="*/ 0 h 342"/>
                <a:gd name="T35" fmla="*/ 317 w 317"/>
                <a:gd name="T36" fmla="*/ 342 h 342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317" h="342">
                  <a:moveTo>
                    <a:pt x="0" y="164"/>
                  </a:moveTo>
                  <a:cubicBezTo>
                    <a:pt x="0" y="164"/>
                    <a:pt x="40" y="123"/>
                    <a:pt x="66" y="96"/>
                  </a:cubicBezTo>
                  <a:cubicBezTo>
                    <a:pt x="106" y="55"/>
                    <a:pt x="145" y="41"/>
                    <a:pt x="158" y="28"/>
                  </a:cubicBezTo>
                  <a:cubicBezTo>
                    <a:pt x="185" y="14"/>
                    <a:pt x="198" y="0"/>
                    <a:pt x="251" y="41"/>
                  </a:cubicBezTo>
                  <a:cubicBezTo>
                    <a:pt x="290" y="96"/>
                    <a:pt x="317" y="110"/>
                    <a:pt x="304" y="123"/>
                  </a:cubicBezTo>
                  <a:cubicBezTo>
                    <a:pt x="290" y="137"/>
                    <a:pt x="277" y="164"/>
                    <a:pt x="277" y="178"/>
                  </a:cubicBezTo>
                  <a:cubicBezTo>
                    <a:pt x="264" y="205"/>
                    <a:pt x="264" y="233"/>
                    <a:pt x="211" y="246"/>
                  </a:cubicBezTo>
                  <a:cubicBezTo>
                    <a:pt x="172" y="246"/>
                    <a:pt x="145" y="260"/>
                    <a:pt x="145" y="287"/>
                  </a:cubicBezTo>
                  <a:cubicBezTo>
                    <a:pt x="145" y="301"/>
                    <a:pt x="132" y="342"/>
                    <a:pt x="132" y="342"/>
                  </a:cubicBezTo>
                  <a:cubicBezTo>
                    <a:pt x="132" y="342"/>
                    <a:pt x="66" y="287"/>
                    <a:pt x="53" y="260"/>
                  </a:cubicBezTo>
                  <a:cubicBezTo>
                    <a:pt x="27" y="233"/>
                    <a:pt x="0" y="164"/>
                    <a:pt x="0" y="164"/>
                  </a:cubicBezTo>
                </a:path>
              </a:pathLst>
            </a:custGeom>
            <a:grpFill/>
            <a:ln w="9525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891045"/>
              <a:endParaRPr lang="en-US" sz="1700" dirty="0">
                <a:solidFill>
                  <a:srgbClr val="003149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593" name="Freeform 508"/>
            <p:cNvSpPr>
              <a:spLocks/>
            </p:cNvSpPr>
            <p:nvPr/>
          </p:nvSpPr>
          <p:spPr bwMode="gray">
            <a:xfrm>
              <a:off x="4555" y="3401"/>
              <a:ext cx="32" cy="34"/>
            </a:xfrm>
            <a:custGeom>
              <a:avLst/>
              <a:gdLst>
                <a:gd name="T0" fmla="*/ 0 w 32"/>
                <a:gd name="T1" fmla="*/ 17 h 34"/>
                <a:gd name="T2" fmla="*/ 6 w 32"/>
                <a:gd name="T3" fmla="*/ 10 h 34"/>
                <a:gd name="T4" fmla="*/ 16 w 32"/>
                <a:gd name="T5" fmla="*/ 3 h 34"/>
                <a:gd name="T6" fmla="*/ 25 w 32"/>
                <a:gd name="T7" fmla="*/ 4 h 34"/>
                <a:gd name="T8" fmla="*/ 30 w 32"/>
                <a:gd name="T9" fmla="*/ 12 h 34"/>
                <a:gd name="T10" fmla="*/ 28 w 32"/>
                <a:gd name="T11" fmla="*/ 18 h 34"/>
                <a:gd name="T12" fmla="*/ 21 w 32"/>
                <a:gd name="T13" fmla="*/ 25 h 34"/>
                <a:gd name="T14" fmla="*/ 14 w 32"/>
                <a:gd name="T15" fmla="*/ 29 h 34"/>
                <a:gd name="T16" fmla="*/ 13 w 32"/>
                <a:gd name="T17" fmla="*/ 34 h 34"/>
                <a:gd name="T18" fmla="*/ 5 w 32"/>
                <a:gd name="T19" fmla="*/ 26 h 34"/>
                <a:gd name="T20" fmla="*/ 0 w 32"/>
                <a:gd name="T21" fmla="*/ 17 h 34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32"/>
                <a:gd name="T34" fmla="*/ 0 h 34"/>
                <a:gd name="T35" fmla="*/ 32 w 32"/>
                <a:gd name="T36" fmla="*/ 34 h 34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32" h="34">
                  <a:moveTo>
                    <a:pt x="0" y="17"/>
                  </a:moveTo>
                  <a:cubicBezTo>
                    <a:pt x="0" y="17"/>
                    <a:pt x="4" y="12"/>
                    <a:pt x="6" y="10"/>
                  </a:cubicBezTo>
                  <a:cubicBezTo>
                    <a:pt x="10" y="5"/>
                    <a:pt x="14" y="4"/>
                    <a:pt x="16" y="3"/>
                  </a:cubicBezTo>
                  <a:cubicBezTo>
                    <a:pt x="18" y="1"/>
                    <a:pt x="20" y="0"/>
                    <a:pt x="25" y="4"/>
                  </a:cubicBezTo>
                  <a:cubicBezTo>
                    <a:pt x="29" y="10"/>
                    <a:pt x="32" y="11"/>
                    <a:pt x="30" y="12"/>
                  </a:cubicBezTo>
                  <a:cubicBezTo>
                    <a:pt x="29" y="14"/>
                    <a:pt x="28" y="17"/>
                    <a:pt x="28" y="18"/>
                  </a:cubicBezTo>
                  <a:cubicBezTo>
                    <a:pt x="26" y="21"/>
                    <a:pt x="26" y="23"/>
                    <a:pt x="21" y="25"/>
                  </a:cubicBezTo>
                  <a:cubicBezTo>
                    <a:pt x="17" y="25"/>
                    <a:pt x="14" y="26"/>
                    <a:pt x="14" y="29"/>
                  </a:cubicBezTo>
                  <a:cubicBezTo>
                    <a:pt x="14" y="30"/>
                    <a:pt x="13" y="34"/>
                    <a:pt x="13" y="34"/>
                  </a:cubicBezTo>
                  <a:cubicBezTo>
                    <a:pt x="13" y="34"/>
                    <a:pt x="6" y="29"/>
                    <a:pt x="5" y="26"/>
                  </a:cubicBezTo>
                  <a:cubicBezTo>
                    <a:pt x="3" y="23"/>
                    <a:pt x="0" y="17"/>
                    <a:pt x="0" y="17"/>
                  </a:cubicBezTo>
                </a:path>
              </a:pathLst>
            </a:custGeom>
            <a:grpFill/>
            <a:ln w="9525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891045"/>
              <a:endParaRPr lang="en-US" sz="1700" dirty="0">
                <a:solidFill>
                  <a:srgbClr val="003149"/>
                </a:solidFill>
                <a:cs typeface="Arial" panose="020B0604020202020204" pitchFamily="34" charset="0"/>
              </a:endParaRPr>
            </a:p>
          </p:txBody>
        </p:sp>
      </p:grpSp>
      <p:grpSp>
        <p:nvGrpSpPr>
          <p:cNvPr id="594" name="Group 524"/>
          <p:cNvGrpSpPr>
            <a:grpSpLocks/>
          </p:cNvGrpSpPr>
          <p:nvPr/>
        </p:nvGrpSpPr>
        <p:grpSpPr bwMode="gray">
          <a:xfrm>
            <a:off x="1685868" y="2427147"/>
            <a:ext cx="103078" cy="109104"/>
            <a:chOff x="4589" y="2972"/>
            <a:chExt cx="70" cy="70"/>
          </a:xfrm>
          <a:solidFill>
            <a:schemeClr val="accent3"/>
          </a:solidFill>
        </p:grpSpPr>
        <p:sp>
          <p:nvSpPr>
            <p:cNvPr id="595" name="Freeform 525"/>
            <p:cNvSpPr>
              <a:spLocks noEditPoints="1"/>
            </p:cNvSpPr>
            <p:nvPr/>
          </p:nvSpPr>
          <p:spPr bwMode="gray">
            <a:xfrm>
              <a:off x="4589" y="2972"/>
              <a:ext cx="70" cy="70"/>
            </a:xfrm>
            <a:custGeom>
              <a:avLst/>
              <a:gdLst>
                <a:gd name="T0" fmla="*/ 0 w 691"/>
                <a:gd name="T1" fmla="*/ 0 h 692"/>
                <a:gd name="T2" fmla="*/ 0 w 691"/>
                <a:gd name="T3" fmla="*/ 0 h 692"/>
                <a:gd name="T4" fmla="*/ 0 w 691"/>
                <a:gd name="T5" fmla="*/ 0 h 692"/>
                <a:gd name="T6" fmla="*/ 0 w 691"/>
                <a:gd name="T7" fmla="*/ 0 h 692"/>
                <a:gd name="T8" fmla="*/ 0 w 691"/>
                <a:gd name="T9" fmla="*/ 0 h 692"/>
                <a:gd name="T10" fmla="*/ 0 w 691"/>
                <a:gd name="T11" fmla="*/ 0 h 692"/>
                <a:gd name="T12" fmla="*/ 0 w 691"/>
                <a:gd name="T13" fmla="*/ 0 h 692"/>
                <a:gd name="T14" fmla="*/ 0 w 691"/>
                <a:gd name="T15" fmla="*/ 0 h 692"/>
                <a:gd name="T16" fmla="*/ 0 w 691"/>
                <a:gd name="T17" fmla="*/ 0 h 692"/>
                <a:gd name="T18" fmla="*/ 0 w 691"/>
                <a:gd name="T19" fmla="*/ 0 h 692"/>
                <a:gd name="T20" fmla="*/ 0 w 691"/>
                <a:gd name="T21" fmla="*/ 0 h 692"/>
                <a:gd name="T22" fmla="*/ 0 w 691"/>
                <a:gd name="T23" fmla="*/ 0 h 692"/>
                <a:gd name="T24" fmla="*/ 0 w 691"/>
                <a:gd name="T25" fmla="*/ 0 h 692"/>
                <a:gd name="T26" fmla="*/ 0 w 691"/>
                <a:gd name="T27" fmla="*/ 0 h 692"/>
                <a:gd name="T28" fmla="*/ 0 w 691"/>
                <a:gd name="T29" fmla="*/ 0 h 692"/>
                <a:gd name="T30" fmla="*/ 0 w 691"/>
                <a:gd name="T31" fmla="*/ 0 h 692"/>
                <a:gd name="T32" fmla="*/ 0 w 691"/>
                <a:gd name="T33" fmla="*/ 0 h 692"/>
                <a:gd name="T34" fmla="*/ 0 w 691"/>
                <a:gd name="T35" fmla="*/ 0 h 692"/>
                <a:gd name="T36" fmla="*/ 0 w 691"/>
                <a:gd name="T37" fmla="*/ 0 h 692"/>
                <a:gd name="T38" fmla="*/ 0 w 691"/>
                <a:gd name="T39" fmla="*/ 0 h 692"/>
                <a:gd name="T40" fmla="*/ 0 w 691"/>
                <a:gd name="T41" fmla="*/ 0 h 692"/>
                <a:gd name="T42" fmla="*/ 0 w 691"/>
                <a:gd name="T43" fmla="*/ 0 h 692"/>
                <a:gd name="T44" fmla="*/ 0 w 691"/>
                <a:gd name="T45" fmla="*/ 0 h 692"/>
                <a:gd name="T46" fmla="*/ 0 w 691"/>
                <a:gd name="T47" fmla="*/ 0 h 692"/>
                <a:gd name="T48" fmla="*/ 0 w 691"/>
                <a:gd name="T49" fmla="*/ 0 h 692"/>
                <a:gd name="T50" fmla="*/ 0 w 691"/>
                <a:gd name="T51" fmla="*/ 0 h 692"/>
                <a:gd name="T52" fmla="*/ 0 w 691"/>
                <a:gd name="T53" fmla="*/ 0 h 692"/>
                <a:gd name="T54" fmla="*/ 0 w 691"/>
                <a:gd name="T55" fmla="*/ 0 h 692"/>
                <a:gd name="T56" fmla="*/ 0 w 691"/>
                <a:gd name="T57" fmla="*/ 0 h 692"/>
                <a:gd name="T58" fmla="*/ 0 w 691"/>
                <a:gd name="T59" fmla="*/ 0 h 692"/>
                <a:gd name="T60" fmla="*/ 0 w 691"/>
                <a:gd name="T61" fmla="*/ 0 h 692"/>
                <a:gd name="T62" fmla="*/ 0 w 691"/>
                <a:gd name="T63" fmla="*/ 0 h 692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691"/>
                <a:gd name="T97" fmla="*/ 0 h 692"/>
                <a:gd name="T98" fmla="*/ 691 w 691"/>
                <a:gd name="T99" fmla="*/ 692 h 692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691" h="692">
                  <a:moveTo>
                    <a:pt x="653" y="177"/>
                  </a:moveTo>
                  <a:cubicBezTo>
                    <a:pt x="615" y="151"/>
                    <a:pt x="615" y="101"/>
                    <a:pt x="615" y="89"/>
                  </a:cubicBezTo>
                  <a:cubicBezTo>
                    <a:pt x="615" y="63"/>
                    <a:pt x="563" y="26"/>
                    <a:pt x="563" y="26"/>
                  </a:cubicBezTo>
                  <a:cubicBezTo>
                    <a:pt x="551" y="0"/>
                    <a:pt x="551" y="0"/>
                    <a:pt x="551" y="0"/>
                  </a:cubicBezTo>
                  <a:cubicBezTo>
                    <a:pt x="499" y="63"/>
                    <a:pt x="499" y="63"/>
                    <a:pt x="499" y="63"/>
                  </a:cubicBezTo>
                  <a:cubicBezTo>
                    <a:pt x="499" y="63"/>
                    <a:pt x="435" y="51"/>
                    <a:pt x="435" y="51"/>
                  </a:cubicBezTo>
                  <a:cubicBezTo>
                    <a:pt x="422" y="51"/>
                    <a:pt x="358" y="63"/>
                    <a:pt x="358" y="63"/>
                  </a:cubicBezTo>
                  <a:cubicBezTo>
                    <a:pt x="358" y="63"/>
                    <a:pt x="346" y="101"/>
                    <a:pt x="320" y="89"/>
                  </a:cubicBezTo>
                  <a:cubicBezTo>
                    <a:pt x="307" y="89"/>
                    <a:pt x="282" y="63"/>
                    <a:pt x="269" y="63"/>
                  </a:cubicBezTo>
                  <a:cubicBezTo>
                    <a:pt x="256" y="63"/>
                    <a:pt x="243" y="76"/>
                    <a:pt x="218" y="63"/>
                  </a:cubicBezTo>
                  <a:cubicBezTo>
                    <a:pt x="205" y="63"/>
                    <a:pt x="154" y="89"/>
                    <a:pt x="154" y="89"/>
                  </a:cubicBezTo>
                  <a:cubicBezTo>
                    <a:pt x="154" y="89"/>
                    <a:pt x="166" y="114"/>
                    <a:pt x="154" y="139"/>
                  </a:cubicBezTo>
                  <a:cubicBezTo>
                    <a:pt x="141" y="151"/>
                    <a:pt x="154" y="151"/>
                    <a:pt x="154" y="177"/>
                  </a:cubicBezTo>
                  <a:cubicBezTo>
                    <a:pt x="154" y="202"/>
                    <a:pt x="154" y="214"/>
                    <a:pt x="179" y="227"/>
                  </a:cubicBezTo>
                  <a:cubicBezTo>
                    <a:pt x="205" y="239"/>
                    <a:pt x="230" y="252"/>
                    <a:pt x="205" y="277"/>
                  </a:cubicBezTo>
                  <a:cubicBezTo>
                    <a:pt x="179" y="315"/>
                    <a:pt x="115" y="353"/>
                    <a:pt x="102" y="365"/>
                  </a:cubicBezTo>
                  <a:cubicBezTo>
                    <a:pt x="89" y="378"/>
                    <a:pt x="51" y="403"/>
                    <a:pt x="51" y="428"/>
                  </a:cubicBezTo>
                  <a:cubicBezTo>
                    <a:pt x="38" y="453"/>
                    <a:pt x="13" y="529"/>
                    <a:pt x="0" y="541"/>
                  </a:cubicBezTo>
                  <a:cubicBezTo>
                    <a:pt x="0" y="566"/>
                    <a:pt x="0" y="680"/>
                    <a:pt x="0" y="680"/>
                  </a:cubicBezTo>
                  <a:cubicBezTo>
                    <a:pt x="51" y="692"/>
                    <a:pt x="51" y="692"/>
                    <a:pt x="51" y="692"/>
                  </a:cubicBezTo>
                  <a:cubicBezTo>
                    <a:pt x="51" y="692"/>
                    <a:pt x="89" y="667"/>
                    <a:pt x="102" y="654"/>
                  </a:cubicBezTo>
                  <a:cubicBezTo>
                    <a:pt x="115" y="654"/>
                    <a:pt x="192" y="654"/>
                    <a:pt x="294" y="654"/>
                  </a:cubicBezTo>
                  <a:cubicBezTo>
                    <a:pt x="294" y="617"/>
                    <a:pt x="256" y="566"/>
                    <a:pt x="307" y="541"/>
                  </a:cubicBezTo>
                  <a:cubicBezTo>
                    <a:pt x="371" y="504"/>
                    <a:pt x="435" y="478"/>
                    <a:pt x="499" y="491"/>
                  </a:cubicBezTo>
                  <a:cubicBezTo>
                    <a:pt x="512" y="504"/>
                    <a:pt x="525" y="504"/>
                    <a:pt x="538" y="504"/>
                  </a:cubicBezTo>
                  <a:cubicBezTo>
                    <a:pt x="551" y="478"/>
                    <a:pt x="589" y="428"/>
                    <a:pt x="602" y="403"/>
                  </a:cubicBezTo>
                  <a:cubicBezTo>
                    <a:pt x="627" y="390"/>
                    <a:pt x="691" y="378"/>
                    <a:pt x="679" y="315"/>
                  </a:cubicBezTo>
                  <a:cubicBezTo>
                    <a:pt x="666" y="252"/>
                    <a:pt x="691" y="214"/>
                    <a:pt x="653" y="177"/>
                  </a:cubicBezTo>
                  <a:close/>
                  <a:moveTo>
                    <a:pt x="551" y="654"/>
                  </a:moveTo>
                  <a:cubicBezTo>
                    <a:pt x="551" y="654"/>
                    <a:pt x="551" y="654"/>
                    <a:pt x="551" y="654"/>
                  </a:cubicBezTo>
                  <a:cubicBezTo>
                    <a:pt x="551" y="654"/>
                    <a:pt x="551" y="654"/>
                    <a:pt x="551" y="654"/>
                  </a:cubicBezTo>
                  <a:cubicBezTo>
                    <a:pt x="551" y="654"/>
                    <a:pt x="551" y="654"/>
                    <a:pt x="551" y="654"/>
                  </a:cubicBezTo>
                  <a:close/>
                </a:path>
              </a:pathLst>
            </a:custGeom>
            <a:grpFill/>
            <a:ln w="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891045"/>
              <a:endParaRPr lang="en-US" sz="1700" dirty="0">
                <a:solidFill>
                  <a:srgbClr val="003149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596" name="Freeform 526"/>
            <p:cNvSpPr>
              <a:spLocks noEditPoints="1"/>
            </p:cNvSpPr>
            <p:nvPr/>
          </p:nvSpPr>
          <p:spPr bwMode="gray">
            <a:xfrm>
              <a:off x="4589" y="2972"/>
              <a:ext cx="70" cy="70"/>
            </a:xfrm>
            <a:custGeom>
              <a:avLst/>
              <a:gdLst>
                <a:gd name="T0" fmla="*/ 0 w 691"/>
                <a:gd name="T1" fmla="*/ 0 h 692"/>
                <a:gd name="T2" fmla="*/ 0 w 691"/>
                <a:gd name="T3" fmla="*/ 0 h 692"/>
                <a:gd name="T4" fmla="*/ 0 w 691"/>
                <a:gd name="T5" fmla="*/ 0 h 692"/>
                <a:gd name="T6" fmla="*/ 0 w 691"/>
                <a:gd name="T7" fmla="*/ 0 h 692"/>
                <a:gd name="T8" fmla="*/ 0 w 691"/>
                <a:gd name="T9" fmla="*/ 0 h 692"/>
                <a:gd name="T10" fmla="*/ 0 w 691"/>
                <a:gd name="T11" fmla="*/ 0 h 692"/>
                <a:gd name="T12" fmla="*/ 0 w 691"/>
                <a:gd name="T13" fmla="*/ 0 h 692"/>
                <a:gd name="T14" fmla="*/ 0 w 691"/>
                <a:gd name="T15" fmla="*/ 0 h 692"/>
                <a:gd name="T16" fmla="*/ 0 w 691"/>
                <a:gd name="T17" fmla="*/ 0 h 692"/>
                <a:gd name="T18" fmla="*/ 0 w 691"/>
                <a:gd name="T19" fmla="*/ 0 h 692"/>
                <a:gd name="T20" fmla="*/ 0 w 691"/>
                <a:gd name="T21" fmla="*/ 0 h 692"/>
                <a:gd name="T22" fmla="*/ 0 w 691"/>
                <a:gd name="T23" fmla="*/ 0 h 692"/>
                <a:gd name="T24" fmla="*/ 0 w 691"/>
                <a:gd name="T25" fmla="*/ 0 h 692"/>
                <a:gd name="T26" fmla="*/ 0 w 691"/>
                <a:gd name="T27" fmla="*/ 0 h 692"/>
                <a:gd name="T28" fmla="*/ 0 w 691"/>
                <a:gd name="T29" fmla="*/ 0 h 692"/>
                <a:gd name="T30" fmla="*/ 0 w 691"/>
                <a:gd name="T31" fmla="*/ 0 h 692"/>
                <a:gd name="T32" fmla="*/ 0 w 691"/>
                <a:gd name="T33" fmla="*/ 0 h 692"/>
                <a:gd name="T34" fmla="*/ 0 w 691"/>
                <a:gd name="T35" fmla="*/ 0 h 692"/>
                <a:gd name="T36" fmla="*/ 0 w 691"/>
                <a:gd name="T37" fmla="*/ 0 h 692"/>
                <a:gd name="T38" fmla="*/ 0 w 691"/>
                <a:gd name="T39" fmla="*/ 0 h 692"/>
                <a:gd name="T40" fmla="*/ 0 w 691"/>
                <a:gd name="T41" fmla="*/ 0 h 692"/>
                <a:gd name="T42" fmla="*/ 0 w 691"/>
                <a:gd name="T43" fmla="*/ 0 h 692"/>
                <a:gd name="T44" fmla="*/ 0 w 691"/>
                <a:gd name="T45" fmla="*/ 0 h 692"/>
                <a:gd name="T46" fmla="*/ 0 w 691"/>
                <a:gd name="T47" fmla="*/ 0 h 692"/>
                <a:gd name="T48" fmla="*/ 0 w 691"/>
                <a:gd name="T49" fmla="*/ 0 h 692"/>
                <a:gd name="T50" fmla="*/ 0 w 691"/>
                <a:gd name="T51" fmla="*/ 0 h 692"/>
                <a:gd name="T52" fmla="*/ 0 w 691"/>
                <a:gd name="T53" fmla="*/ 0 h 692"/>
                <a:gd name="T54" fmla="*/ 0 w 691"/>
                <a:gd name="T55" fmla="*/ 0 h 692"/>
                <a:gd name="T56" fmla="*/ 0 w 691"/>
                <a:gd name="T57" fmla="*/ 0 h 692"/>
                <a:gd name="T58" fmla="*/ 0 w 691"/>
                <a:gd name="T59" fmla="*/ 0 h 692"/>
                <a:gd name="T60" fmla="*/ 0 w 691"/>
                <a:gd name="T61" fmla="*/ 0 h 692"/>
                <a:gd name="T62" fmla="*/ 0 w 691"/>
                <a:gd name="T63" fmla="*/ 0 h 692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691"/>
                <a:gd name="T97" fmla="*/ 0 h 692"/>
                <a:gd name="T98" fmla="*/ 691 w 691"/>
                <a:gd name="T99" fmla="*/ 692 h 692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691" h="692">
                  <a:moveTo>
                    <a:pt x="653" y="177"/>
                  </a:moveTo>
                  <a:cubicBezTo>
                    <a:pt x="615" y="151"/>
                    <a:pt x="615" y="101"/>
                    <a:pt x="615" y="89"/>
                  </a:cubicBezTo>
                  <a:cubicBezTo>
                    <a:pt x="615" y="63"/>
                    <a:pt x="563" y="26"/>
                    <a:pt x="563" y="26"/>
                  </a:cubicBezTo>
                  <a:cubicBezTo>
                    <a:pt x="551" y="0"/>
                    <a:pt x="551" y="0"/>
                    <a:pt x="551" y="0"/>
                  </a:cubicBezTo>
                  <a:cubicBezTo>
                    <a:pt x="499" y="63"/>
                    <a:pt x="499" y="63"/>
                    <a:pt x="499" y="63"/>
                  </a:cubicBezTo>
                  <a:cubicBezTo>
                    <a:pt x="499" y="63"/>
                    <a:pt x="435" y="51"/>
                    <a:pt x="435" y="51"/>
                  </a:cubicBezTo>
                  <a:cubicBezTo>
                    <a:pt x="422" y="51"/>
                    <a:pt x="358" y="63"/>
                    <a:pt x="358" y="63"/>
                  </a:cubicBezTo>
                  <a:cubicBezTo>
                    <a:pt x="358" y="63"/>
                    <a:pt x="346" y="101"/>
                    <a:pt x="320" y="89"/>
                  </a:cubicBezTo>
                  <a:cubicBezTo>
                    <a:pt x="307" y="89"/>
                    <a:pt x="282" y="63"/>
                    <a:pt x="269" y="63"/>
                  </a:cubicBezTo>
                  <a:cubicBezTo>
                    <a:pt x="256" y="63"/>
                    <a:pt x="243" y="76"/>
                    <a:pt x="218" y="63"/>
                  </a:cubicBezTo>
                  <a:cubicBezTo>
                    <a:pt x="205" y="63"/>
                    <a:pt x="154" y="89"/>
                    <a:pt x="154" y="89"/>
                  </a:cubicBezTo>
                  <a:cubicBezTo>
                    <a:pt x="154" y="89"/>
                    <a:pt x="166" y="114"/>
                    <a:pt x="154" y="139"/>
                  </a:cubicBezTo>
                  <a:cubicBezTo>
                    <a:pt x="141" y="151"/>
                    <a:pt x="154" y="151"/>
                    <a:pt x="154" y="177"/>
                  </a:cubicBezTo>
                  <a:cubicBezTo>
                    <a:pt x="154" y="202"/>
                    <a:pt x="154" y="214"/>
                    <a:pt x="179" y="227"/>
                  </a:cubicBezTo>
                  <a:cubicBezTo>
                    <a:pt x="205" y="239"/>
                    <a:pt x="230" y="252"/>
                    <a:pt x="205" y="277"/>
                  </a:cubicBezTo>
                  <a:cubicBezTo>
                    <a:pt x="179" y="315"/>
                    <a:pt x="115" y="353"/>
                    <a:pt x="102" y="365"/>
                  </a:cubicBezTo>
                  <a:cubicBezTo>
                    <a:pt x="89" y="378"/>
                    <a:pt x="51" y="403"/>
                    <a:pt x="51" y="428"/>
                  </a:cubicBezTo>
                  <a:cubicBezTo>
                    <a:pt x="38" y="453"/>
                    <a:pt x="13" y="529"/>
                    <a:pt x="0" y="541"/>
                  </a:cubicBezTo>
                  <a:cubicBezTo>
                    <a:pt x="0" y="566"/>
                    <a:pt x="0" y="680"/>
                    <a:pt x="0" y="680"/>
                  </a:cubicBezTo>
                  <a:cubicBezTo>
                    <a:pt x="51" y="692"/>
                    <a:pt x="51" y="692"/>
                    <a:pt x="51" y="692"/>
                  </a:cubicBezTo>
                  <a:cubicBezTo>
                    <a:pt x="51" y="692"/>
                    <a:pt x="89" y="667"/>
                    <a:pt x="102" y="654"/>
                  </a:cubicBezTo>
                  <a:cubicBezTo>
                    <a:pt x="115" y="654"/>
                    <a:pt x="192" y="654"/>
                    <a:pt x="294" y="654"/>
                  </a:cubicBezTo>
                  <a:cubicBezTo>
                    <a:pt x="294" y="617"/>
                    <a:pt x="256" y="566"/>
                    <a:pt x="307" y="541"/>
                  </a:cubicBezTo>
                  <a:cubicBezTo>
                    <a:pt x="371" y="504"/>
                    <a:pt x="435" y="478"/>
                    <a:pt x="499" y="491"/>
                  </a:cubicBezTo>
                  <a:cubicBezTo>
                    <a:pt x="512" y="504"/>
                    <a:pt x="525" y="504"/>
                    <a:pt x="538" y="504"/>
                  </a:cubicBezTo>
                  <a:cubicBezTo>
                    <a:pt x="551" y="478"/>
                    <a:pt x="589" y="428"/>
                    <a:pt x="602" y="403"/>
                  </a:cubicBezTo>
                  <a:cubicBezTo>
                    <a:pt x="627" y="390"/>
                    <a:pt x="691" y="378"/>
                    <a:pt x="679" y="315"/>
                  </a:cubicBezTo>
                  <a:cubicBezTo>
                    <a:pt x="666" y="252"/>
                    <a:pt x="691" y="214"/>
                    <a:pt x="653" y="177"/>
                  </a:cubicBezTo>
                  <a:close/>
                  <a:moveTo>
                    <a:pt x="551" y="654"/>
                  </a:moveTo>
                  <a:cubicBezTo>
                    <a:pt x="551" y="654"/>
                    <a:pt x="551" y="654"/>
                    <a:pt x="551" y="654"/>
                  </a:cubicBezTo>
                  <a:cubicBezTo>
                    <a:pt x="551" y="654"/>
                    <a:pt x="551" y="654"/>
                    <a:pt x="551" y="654"/>
                  </a:cubicBezTo>
                  <a:cubicBezTo>
                    <a:pt x="551" y="654"/>
                    <a:pt x="551" y="654"/>
                    <a:pt x="551" y="654"/>
                  </a:cubicBez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891045"/>
              <a:endParaRPr lang="en-US" sz="1700" dirty="0">
                <a:solidFill>
                  <a:srgbClr val="003149"/>
                </a:solidFill>
                <a:cs typeface="Arial" panose="020B0604020202020204" pitchFamily="34" charset="0"/>
              </a:endParaRPr>
            </a:p>
          </p:txBody>
        </p:sp>
      </p:grpSp>
      <p:grpSp>
        <p:nvGrpSpPr>
          <p:cNvPr id="597" name="Group 560"/>
          <p:cNvGrpSpPr>
            <a:grpSpLocks/>
          </p:cNvGrpSpPr>
          <p:nvPr/>
        </p:nvGrpSpPr>
        <p:grpSpPr bwMode="gray">
          <a:xfrm>
            <a:off x="2176118" y="1971710"/>
            <a:ext cx="7542" cy="13956"/>
            <a:chOff x="4923" y="2678"/>
            <a:chExt cx="5" cy="9"/>
          </a:xfrm>
          <a:solidFill>
            <a:schemeClr val="accent3"/>
          </a:solidFill>
        </p:grpSpPr>
        <p:sp>
          <p:nvSpPr>
            <p:cNvPr id="598" name="Freeform 561"/>
            <p:cNvSpPr>
              <a:spLocks/>
            </p:cNvSpPr>
            <p:nvPr/>
          </p:nvSpPr>
          <p:spPr bwMode="gray">
            <a:xfrm>
              <a:off x="4923" y="2678"/>
              <a:ext cx="5" cy="9"/>
            </a:xfrm>
            <a:custGeom>
              <a:avLst/>
              <a:gdLst>
                <a:gd name="T0" fmla="*/ 0 w 50"/>
                <a:gd name="T1" fmla="*/ 0 h 92"/>
                <a:gd name="T2" fmla="*/ 0 w 50"/>
                <a:gd name="T3" fmla="*/ 0 h 92"/>
                <a:gd name="T4" fmla="*/ 0 w 50"/>
                <a:gd name="T5" fmla="*/ 0 h 92"/>
                <a:gd name="T6" fmla="*/ 0 w 50"/>
                <a:gd name="T7" fmla="*/ 0 h 92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50"/>
                <a:gd name="T13" fmla="*/ 0 h 92"/>
                <a:gd name="T14" fmla="*/ 50 w 50"/>
                <a:gd name="T15" fmla="*/ 92 h 92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50" h="92">
                  <a:moveTo>
                    <a:pt x="13" y="92"/>
                  </a:moveTo>
                  <a:cubicBezTo>
                    <a:pt x="25" y="80"/>
                    <a:pt x="50" y="35"/>
                    <a:pt x="50" y="12"/>
                  </a:cubicBezTo>
                  <a:cubicBezTo>
                    <a:pt x="50" y="0"/>
                    <a:pt x="13" y="46"/>
                    <a:pt x="13" y="46"/>
                  </a:cubicBezTo>
                  <a:cubicBezTo>
                    <a:pt x="13" y="46"/>
                    <a:pt x="0" y="92"/>
                    <a:pt x="13" y="92"/>
                  </a:cubicBezTo>
                </a:path>
              </a:pathLst>
            </a:custGeom>
            <a:grpFill/>
            <a:ln w="9525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891045"/>
              <a:endParaRPr lang="en-US" sz="1700" dirty="0">
                <a:solidFill>
                  <a:srgbClr val="003149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599" name="Freeform 562"/>
            <p:cNvSpPr>
              <a:spLocks/>
            </p:cNvSpPr>
            <p:nvPr/>
          </p:nvSpPr>
          <p:spPr bwMode="gray">
            <a:xfrm>
              <a:off x="4923" y="2678"/>
              <a:ext cx="5" cy="9"/>
            </a:xfrm>
            <a:custGeom>
              <a:avLst/>
              <a:gdLst>
                <a:gd name="T0" fmla="*/ 2 w 5"/>
                <a:gd name="T1" fmla="*/ 9 h 9"/>
                <a:gd name="T2" fmla="*/ 5 w 5"/>
                <a:gd name="T3" fmla="*/ 1 h 9"/>
                <a:gd name="T4" fmla="*/ 2 w 5"/>
                <a:gd name="T5" fmla="*/ 5 h 9"/>
                <a:gd name="T6" fmla="*/ 2 w 5"/>
                <a:gd name="T7" fmla="*/ 9 h 9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5"/>
                <a:gd name="T13" fmla="*/ 0 h 9"/>
                <a:gd name="T14" fmla="*/ 5 w 5"/>
                <a:gd name="T15" fmla="*/ 9 h 9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5" h="9">
                  <a:moveTo>
                    <a:pt x="2" y="9"/>
                  </a:moveTo>
                  <a:cubicBezTo>
                    <a:pt x="3" y="8"/>
                    <a:pt x="5" y="3"/>
                    <a:pt x="5" y="1"/>
                  </a:cubicBezTo>
                  <a:cubicBezTo>
                    <a:pt x="5" y="0"/>
                    <a:pt x="2" y="5"/>
                    <a:pt x="2" y="5"/>
                  </a:cubicBezTo>
                  <a:cubicBezTo>
                    <a:pt x="2" y="5"/>
                    <a:pt x="0" y="9"/>
                    <a:pt x="2" y="9"/>
                  </a:cubicBezTo>
                </a:path>
              </a:pathLst>
            </a:custGeom>
            <a:grpFill/>
            <a:ln w="9525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891045"/>
              <a:endParaRPr lang="en-US" sz="1700" dirty="0">
                <a:solidFill>
                  <a:srgbClr val="003149"/>
                </a:solidFill>
                <a:cs typeface="Arial" panose="020B0604020202020204" pitchFamily="34" charset="0"/>
              </a:endParaRPr>
            </a:p>
          </p:txBody>
        </p:sp>
      </p:grpSp>
      <p:grpSp>
        <p:nvGrpSpPr>
          <p:cNvPr id="600" name="Group 563"/>
          <p:cNvGrpSpPr>
            <a:grpSpLocks/>
          </p:cNvGrpSpPr>
          <p:nvPr/>
        </p:nvGrpSpPr>
        <p:grpSpPr bwMode="gray">
          <a:xfrm>
            <a:off x="2070525" y="1978062"/>
            <a:ext cx="7542" cy="5075"/>
            <a:chOff x="4851" y="2682"/>
            <a:chExt cx="5" cy="3"/>
          </a:xfrm>
          <a:solidFill>
            <a:schemeClr val="accent3"/>
          </a:solidFill>
        </p:grpSpPr>
        <p:sp>
          <p:nvSpPr>
            <p:cNvPr id="601" name="Freeform 564"/>
            <p:cNvSpPr>
              <a:spLocks/>
            </p:cNvSpPr>
            <p:nvPr/>
          </p:nvSpPr>
          <p:spPr bwMode="gray">
            <a:xfrm>
              <a:off x="4851" y="2682"/>
              <a:ext cx="5" cy="3"/>
            </a:xfrm>
            <a:custGeom>
              <a:avLst/>
              <a:gdLst>
                <a:gd name="T0" fmla="*/ 0 w 50"/>
                <a:gd name="T1" fmla="*/ 0 h 25"/>
                <a:gd name="T2" fmla="*/ 0 w 50"/>
                <a:gd name="T3" fmla="*/ 0 h 25"/>
                <a:gd name="T4" fmla="*/ 0 w 50"/>
                <a:gd name="T5" fmla="*/ 0 h 25"/>
                <a:gd name="T6" fmla="*/ 0 w 50"/>
                <a:gd name="T7" fmla="*/ 0 h 25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50"/>
                <a:gd name="T13" fmla="*/ 0 h 25"/>
                <a:gd name="T14" fmla="*/ 50 w 50"/>
                <a:gd name="T15" fmla="*/ 25 h 25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50" h="25">
                  <a:moveTo>
                    <a:pt x="0" y="0"/>
                  </a:moveTo>
                  <a:cubicBezTo>
                    <a:pt x="50" y="0"/>
                    <a:pt x="50" y="0"/>
                    <a:pt x="50" y="0"/>
                  </a:cubicBezTo>
                  <a:cubicBezTo>
                    <a:pt x="17" y="25"/>
                    <a:pt x="17" y="25"/>
                    <a:pt x="17" y="25"/>
                  </a:cubicBezTo>
                  <a:cubicBezTo>
                    <a:pt x="17" y="25"/>
                    <a:pt x="0" y="16"/>
                    <a:pt x="0" y="0"/>
                  </a:cubicBezTo>
                </a:path>
              </a:pathLst>
            </a:custGeom>
            <a:grpFill/>
            <a:ln w="9525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891045"/>
              <a:endParaRPr lang="en-US" sz="1700" dirty="0">
                <a:solidFill>
                  <a:srgbClr val="003149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602" name="Freeform 565"/>
            <p:cNvSpPr>
              <a:spLocks/>
            </p:cNvSpPr>
            <p:nvPr/>
          </p:nvSpPr>
          <p:spPr bwMode="gray">
            <a:xfrm>
              <a:off x="4851" y="2682"/>
              <a:ext cx="5" cy="3"/>
            </a:xfrm>
            <a:custGeom>
              <a:avLst/>
              <a:gdLst>
                <a:gd name="T0" fmla="*/ 0 w 5"/>
                <a:gd name="T1" fmla="*/ 0 h 3"/>
                <a:gd name="T2" fmla="*/ 5 w 5"/>
                <a:gd name="T3" fmla="*/ 0 h 3"/>
                <a:gd name="T4" fmla="*/ 2 w 5"/>
                <a:gd name="T5" fmla="*/ 3 h 3"/>
                <a:gd name="T6" fmla="*/ 0 w 5"/>
                <a:gd name="T7" fmla="*/ 0 h 3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5"/>
                <a:gd name="T13" fmla="*/ 0 h 3"/>
                <a:gd name="T14" fmla="*/ 5 w 5"/>
                <a:gd name="T15" fmla="*/ 3 h 3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5" h="3">
                  <a:moveTo>
                    <a:pt x="0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2" y="3"/>
                    <a:pt x="2" y="3"/>
                    <a:pt x="2" y="3"/>
                  </a:cubicBezTo>
                  <a:cubicBezTo>
                    <a:pt x="2" y="3"/>
                    <a:pt x="0" y="2"/>
                    <a:pt x="0" y="0"/>
                  </a:cubicBezTo>
                </a:path>
              </a:pathLst>
            </a:custGeom>
            <a:grpFill/>
            <a:ln w="9525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891045"/>
              <a:endParaRPr lang="en-US" sz="1700" dirty="0">
                <a:solidFill>
                  <a:srgbClr val="003149"/>
                </a:solidFill>
                <a:cs typeface="Arial" panose="020B0604020202020204" pitchFamily="34" charset="0"/>
              </a:endParaRPr>
            </a:p>
          </p:txBody>
        </p:sp>
      </p:grpSp>
      <p:grpSp>
        <p:nvGrpSpPr>
          <p:cNvPr id="603" name="Group 236"/>
          <p:cNvGrpSpPr>
            <a:grpSpLocks/>
          </p:cNvGrpSpPr>
          <p:nvPr/>
        </p:nvGrpSpPr>
        <p:grpSpPr bwMode="gray">
          <a:xfrm>
            <a:off x="1315054" y="1818203"/>
            <a:ext cx="295407" cy="298134"/>
            <a:chOff x="4331" y="2579"/>
            <a:chExt cx="201" cy="192"/>
          </a:xfrm>
          <a:solidFill>
            <a:schemeClr val="accent3"/>
          </a:solidFill>
        </p:grpSpPr>
        <p:sp>
          <p:nvSpPr>
            <p:cNvPr id="604" name="Freeform 237"/>
            <p:cNvSpPr>
              <a:spLocks/>
            </p:cNvSpPr>
            <p:nvPr/>
          </p:nvSpPr>
          <p:spPr bwMode="gray">
            <a:xfrm>
              <a:off x="4331" y="2579"/>
              <a:ext cx="201" cy="192"/>
            </a:xfrm>
            <a:custGeom>
              <a:avLst/>
              <a:gdLst>
                <a:gd name="T0" fmla="*/ 0 w 1992"/>
                <a:gd name="T1" fmla="*/ 0 h 1900"/>
                <a:gd name="T2" fmla="*/ 0 w 1992"/>
                <a:gd name="T3" fmla="*/ 0 h 1900"/>
                <a:gd name="T4" fmla="*/ 0 w 1992"/>
                <a:gd name="T5" fmla="*/ 0 h 1900"/>
                <a:gd name="T6" fmla="*/ 0 w 1992"/>
                <a:gd name="T7" fmla="*/ 0 h 1900"/>
                <a:gd name="T8" fmla="*/ 0 w 1992"/>
                <a:gd name="T9" fmla="*/ 0 h 1900"/>
                <a:gd name="T10" fmla="*/ 0 w 1992"/>
                <a:gd name="T11" fmla="*/ 0 h 1900"/>
                <a:gd name="T12" fmla="*/ 0 w 1992"/>
                <a:gd name="T13" fmla="*/ 0 h 1900"/>
                <a:gd name="T14" fmla="*/ 0 w 1992"/>
                <a:gd name="T15" fmla="*/ 0 h 1900"/>
                <a:gd name="T16" fmla="*/ 0 w 1992"/>
                <a:gd name="T17" fmla="*/ 0 h 1900"/>
                <a:gd name="T18" fmla="*/ 0 w 1992"/>
                <a:gd name="T19" fmla="*/ 0 h 1900"/>
                <a:gd name="T20" fmla="*/ 0 w 1992"/>
                <a:gd name="T21" fmla="*/ 0 h 1900"/>
                <a:gd name="T22" fmla="*/ 0 w 1992"/>
                <a:gd name="T23" fmla="*/ 0 h 1900"/>
                <a:gd name="T24" fmla="*/ 0 w 1992"/>
                <a:gd name="T25" fmla="*/ 0 h 1900"/>
                <a:gd name="T26" fmla="*/ 0 w 1992"/>
                <a:gd name="T27" fmla="*/ 0 h 1900"/>
                <a:gd name="T28" fmla="*/ 0 w 1992"/>
                <a:gd name="T29" fmla="*/ 0 h 1900"/>
                <a:gd name="T30" fmla="*/ 0 w 1992"/>
                <a:gd name="T31" fmla="*/ 0 h 1900"/>
                <a:gd name="T32" fmla="*/ 0 w 1992"/>
                <a:gd name="T33" fmla="*/ 0 h 1900"/>
                <a:gd name="T34" fmla="*/ 0 w 1992"/>
                <a:gd name="T35" fmla="*/ 0 h 1900"/>
                <a:gd name="T36" fmla="*/ 0 w 1992"/>
                <a:gd name="T37" fmla="*/ 0 h 1900"/>
                <a:gd name="T38" fmla="*/ 0 w 1992"/>
                <a:gd name="T39" fmla="*/ 0 h 1900"/>
                <a:gd name="T40" fmla="*/ 0 w 1992"/>
                <a:gd name="T41" fmla="*/ 0 h 1900"/>
                <a:gd name="T42" fmla="*/ 0 w 1992"/>
                <a:gd name="T43" fmla="*/ 0 h 1900"/>
                <a:gd name="T44" fmla="*/ 0 w 1992"/>
                <a:gd name="T45" fmla="*/ 0 h 1900"/>
                <a:gd name="T46" fmla="*/ 0 w 1992"/>
                <a:gd name="T47" fmla="*/ 0 h 1900"/>
                <a:gd name="T48" fmla="*/ 0 w 1992"/>
                <a:gd name="T49" fmla="*/ 0 h 1900"/>
                <a:gd name="T50" fmla="*/ 0 w 1992"/>
                <a:gd name="T51" fmla="*/ 0 h 1900"/>
                <a:gd name="T52" fmla="*/ 0 w 1992"/>
                <a:gd name="T53" fmla="*/ 0 h 1900"/>
                <a:gd name="T54" fmla="*/ 0 w 1992"/>
                <a:gd name="T55" fmla="*/ 0 h 1900"/>
                <a:gd name="T56" fmla="*/ 0 w 1992"/>
                <a:gd name="T57" fmla="*/ 0 h 1900"/>
                <a:gd name="T58" fmla="*/ 0 w 1992"/>
                <a:gd name="T59" fmla="*/ 0 h 1900"/>
                <a:gd name="T60" fmla="*/ 0 w 1992"/>
                <a:gd name="T61" fmla="*/ 0 h 1900"/>
                <a:gd name="T62" fmla="*/ 0 w 1992"/>
                <a:gd name="T63" fmla="*/ 0 h 1900"/>
                <a:gd name="T64" fmla="*/ 0 w 1992"/>
                <a:gd name="T65" fmla="*/ 0 h 1900"/>
                <a:gd name="T66" fmla="*/ 0 w 1992"/>
                <a:gd name="T67" fmla="*/ 0 h 1900"/>
                <a:gd name="T68" fmla="*/ 0 w 1992"/>
                <a:gd name="T69" fmla="*/ 0 h 1900"/>
                <a:gd name="T70" fmla="*/ 0 w 1992"/>
                <a:gd name="T71" fmla="*/ 0 h 1900"/>
                <a:gd name="T72" fmla="*/ 0 w 1992"/>
                <a:gd name="T73" fmla="*/ 0 h 1900"/>
                <a:gd name="T74" fmla="*/ 0 w 1992"/>
                <a:gd name="T75" fmla="*/ 0 h 1900"/>
                <a:gd name="T76" fmla="*/ 0 w 1992"/>
                <a:gd name="T77" fmla="*/ 0 h 1900"/>
                <a:gd name="T78" fmla="*/ 0 w 1992"/>
                <a:gd name="T79" fmla="*/ 0 h 1900"/>
                <a:gd name="T80" fmla="*/ 0 w 1992"/>
                <a:gd name="T81" fmla="*/ 0 h 1900"/>
                <a:gd name="T82" fmla="*/ 0 w 1992"/>
                <a:gd name="T83" fmla="*/ 0 h 1900"/>
                <a:gd name="T84" fmla="*/ 0 w 1992"/>
                <a:gd name="T85" fmla="*/ 0 h 1900"/>
                <a:gd name="T86" fmla="*/ 0 w 1992"/>
                <a:gd name="T87" fmla="*/ 0 h 1900"/>
                <a:gd name="T88" fmla="*/ 0 w 1992"/>
                <a:gd name="T89" fmla="*/ 0 h 1900"/>
                <a:gd name="T90" fmla="*/ 0 w 1992"/>
                <a:gd name="T91" fmla="*/ 0 h 1900"/>
                <a:gd name="T92" fmla="*/ 0 w 1992"/>
                <a:gd name="T93" fmla="*/ 0 h 1900"/>
                <a:gd name="T94" fmla="*/ 0 w 1992"/>
                <a:gd name="T95" fmla="*/ 0 h 1900"/>
                <a:gd name="T96" fmla="*/ 0 w 1992"/>
                <a:gd name="T97" fmla="*/ 0 h 1900"/>
                <a:gd name="T98" fmla="*/ 0 w 1992"/>
                <a:gd name="T99" fmla="*/ 0 h 1900"/>
                <a:gd name="T100" fmla="*/ 0 w 1992"/>
                <a:gd name="T101" fmla="*/ 0 h 1900"/>
                <a:gd name="T102" fmla="*/ 0 w 1992"/>
                <a:gd name="T103" fmla="*/ 0 h 1900"/>
                <a:gd name="T104" fmla="*/ 0 w 1992"/>
                <a:gd name="T105" fmla="*/ 0 h 1900"/>
                <a:gd name="T106" fmla="*/ 0 w 1992"/>
                <a:gd name="T107" fmla="*/ 0 h 1900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1992"/>
                <a:gd name="T163" fmla="*/ 0 h 1900"/>
                <a:gd name="T164" fmla="*/ 1992 w 1992"/>
                <a:gd name="T165" fmla="*/ 1900 h 1900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1992" h="1900">
                  <a:moveTo>
                    <a:pt x="1954" y="532"/>
                  </a:moveTo>
                  <a:cubicBezTo>
                    <a:pt x="1941" y="481"/>
                    <a:pt x="1928" y="443"/>
                    <a:pt x="1928" y="443"/>
                  </a:cubicBezTo>
                  <a:cubicBezTo>
                    <a:pt x="1928" y="443"/>
                    <a:pt x="1967" y="354"/>
                    <a:pt x="1967" y="342"/>
                  </a:cubicBezTo>
                  <a:cubicBezTo>
                    <a:pt x="1967" y="329"/>
                    <a:pt x="1954" y="253"/>
                    <a:pt x="1954" y="253"/>
                  </a:cubicBezTo>
                  <a:cubicBezTo>
                    <a:pt x="1992" y="215"/>
                    <a:pt x="1992" y="215"/>
                    <a:pt x="1992" y="215"/>
                  </a:cubicBezTo>
                  <a:cubicBezTo>
                    <a:pt x="1992" y="215"/>
                    <a:pt x="1954" y="177"/>
                    <a:pt x="1928" y="177"/>
                  </a:cubicBezTo>
                  <a:cubicBezTo>
                    <a:pt x="1903" y="177"/>
                    <a:pt x="1877" y="177"/>
                    <a:pt x="1839" y="164"/>
                  </a:cubicBezTo>
                  <a:cubicBezTo>
                    <a:pt x="1801" y="152"/>
                    <a:pt x="1775" y="139"/>
                    <a:pt x="1750" y="139"/>
                  </a:cubicBezTo>
                  <a:cubicBezTo>
                    <a:pt x="1724" y="139"/>
                    <a:pt x="1737" y="76"/>
                    <a:pt x="1737" y="76"/>
                  </a:cubicBezTo>
                  <a:cubicBezTo>
                    <a:pt x="1737" y="76"/>
                    <a:pt x="1686" y="63"/>
                    <a:pt x="1635" y="38"/>
                  </a:cubicBezTo>
                  <a:cubicBezTo>
                    <a:pt x="1596" y="25"/>
                    <a:pt x="1584" y="38"/>
                    <a:pt x="1545" y="63"/>
                  </a:cubicBezTo>
                  <a:cubicBezTo>
                    <a:pt x="1494" y="76"/>
                    <a:pt x="1494" y="63"/>
                    <a:pt x="1405" y="76"/>
                  </a:cubicBezTo>
                  <a:cubicBezTo>
                    <a:pt x="1328" y="88"/>
                    <a:pt x="1354" y="164"/>
                    <a:pt x="1328" y="190"/>
                  </a:cubicBezTo>
                  <a:cubicBezTo>
                    <a:pt x="1290" y="215"/>
                    <a:pt x="1379" y="278"/>
                    <a:pt x="1354" y="329"/>
                  </a:cubicBezTo>
                  <a:cubicBezTo>
                    <a:pt x="1341" y="367"/>
                    <a:pt x="1252" y="430"/>
                    <a:pt x="1201" y="418"/>
                  </a:cubicBezTo>
                  <a:cubicBezTo>
                    <a:pt x="1150" y="405"/>
                    <a:pt x="1047" y="329"/>
                    <a:pt x="1009" y="304"/>
                  </a:cubicBezTo>
                  <a:cubicBezTo>
                    <a:pt x="958" y="291"/>
                    <a:pt x="856" y="291"/>
                    <a:pt x="818" y="278"/>
                  </a:cubicBezTo>
                  <a:cubicBezTo>
                    <a:pt x="779" y="266"/>
                    <a:pt x="754" y="164"/>
                    <a:pt x="766" y="126"/>
                  </a:cubicBezTo>
                  <a:cubicBezTo>
                    <a:pt x="766" y="88"/>
                    <a:pt x="728" y="101"/>
                    <a:pt x="677" y="101"/>
                  </a:cubicBezTo>
                  <a:cubicBezTo>
                    <a:pt x="626" y="88"/>
                    <a:pt x="626" y="76"/>
                    <a:pt x="575" y="63"/>
                  </a:cubicBezTo>
                  <a:cubicBezTo>
                    <a:pt x="537" y="50"/>
                    <a:pt x="511" y="25"/>
                    <a:pt x="486" y="38"/>
                  </a:cubicBezTo>
                  <a:cubicBezTo>
                    <a:pt x="473" y="50"/>
                    <a:pt x="422" y="63"/>
                    <a:pt x="383" y="50"/>
                  </a:cubicBezTo>
                  <a:cubicBezTo>
                    <a:pt x="345" y="38"/>
                    <a:pt x="281" y="0"/>
                    <a:pt x="281" y="0"/>
                  </a:cubicBezTo>
                  <a:cubicBezTo>
                    <a:pt x="281" y="0"/>
                    <a:pt x="269" y="50"/>
                    <a:pt x="269" y="63"/>
                  </a:cubicBezTo>
                  <a:cubicBezTo>
                    <a:pt x="269" y="76"/>
                    <a:pt x="307" y="101"/>
                    <a:pt x="269" y="114"/>
                  </a:cubicBezTo>
                  <a:cubicBezTo>
                    <a:pt x="230" y="139"/>
                    <a:pt x="179" y="164"/>
                    <a:pt x="166" y="177"/>
                  </a:cubicBezTo>
                  <a:cubicBezTo>
                    <a:pt x="154" y="190"/>
                    <a:pt x="154" y="202"/>
                    <a:pt x="141" y="215"/>
                  </a:cubicBezTo>
                  <a:cubicBezTo>
                    <a:pt x="128" y="215"/>
                    <a:pt x="103" y="266"/>
                    <a:pt x="103" y="266"/>
                  </a:cubicBezTo>
                  <a:cubicBezTo>
                    <a:pt x="103" y="266"/>
                    <a:pt x="115" y="329"/>
                    <a:pt x="115" y="342"/>
                  </a:cubicBezTo>
                  <a:cubicBezTo>
                    <a:pt x="128" y="354"/>
                    <a:pt x="90" y="392"/>
                    <a:pt x="77" y="405"/>
                  </a:cubicBezTo>
                  <a:cubicBezTo>
                    <a:pt x="64" y="418"/>
                    <a:pt x="39" y="430"/>
                    <a:pt x="39" y="430"/>
                  </a:cubicBezTo>
                  <a:cubicBezTo>
                    <a:pt x="13" y="443"/>
                    <a:pt x="13" y="443"/>
                    <a:pt x="13" y="443"/>
                  </a:cubicBezTo>
                  <a:cubicBezTo>
                    <a:pt x="13" y="443"/>
                    <a:pt x="39" y="481"/>
                    <a:pt x="52" y="544"/>
                  </a:cubicBezTo>
                  <a:cubicBezTo>
                    <a:pt x="64" y="595"/>
                    <a:pt x="77" y="671"/>
                    <a:pt x="64" y="696"/>
                  </a:cubicBezTo>
                  <a:cubicBezTo>
                    <a:pt x="64" y="722"/>
                    <a:pt x="90" y="760"/>
                    <a:pt x="90" y="760"/>
                  </a:cubicBezTo>
                  <a:cubicBezTo>
                    <a:pt x="90" y="760"/>
                    <a:pt x="64" y="798"/>
                    <a:pt x="64" y="823"/>
                  </a:cubicBezTo>
                  <a:cubicBezTo>
                    <a:pt x="64" y="861"/>
                    <a:pt x="77" y="912"/>
                    <a:pt x="77" y="937"/>
                  </a:cubicBezTo>
                  <a:cubicBezTo>
                    <a:pt x="64" y="962"/>
                    <a:pt x="13" y="1000"/>
                    <a:pt x="13" y="1000"/>
                  </a:cubicBezTo>
                  <a:cubicBezTo>
                    <a:pt x="0" y="1013"/>
                    <a:pt x="90" y="1127"/>
                    <a:pt x="90" y="1127"/>
                  </a:cubicBezTo>
                  <a:cubicBezTo>
                    <a:pt x="90" y="1190"/>
                    <a:pt x="90" y="1190"/>
                    <a:pt x="90" y="1190"/>
                  </a:cubicBezTo>
                  <a:cubicBezTo>
                    <a:pt x="90" y="1190"/>
                    <a:pt x="115" y="1178"/>
                    <a:pt x="115" y="1203"/>
                  </a:cubicBezTo>
                  <a:cubicBezTo>
                    <a:pt x="115" y="1216"/>
                    <a:pt x="128" y="1241"/>
                    <a:pt x="141" y="1228"/>
                  </a:cubicBezTo>
                  <a:cubicBezTo>
                    <a:pt x="166" y="1228"/>
                    <a:pt x="166" y="1216"/>
                    <a:pt x="179" y="1216"/>
                  </a:cubicBezTo>
                  <a:cubicBezTo>
                    <a:pt x="192" y="1228"/>
                    <a:pt x="269" y="1279"/>
                    <a:pt x="269" y="1279"/>
                  </a:cubicBezTo>
                  <a:cubicBezTo>
                    <a:pt x="294" y="1266"/>
                    <a:pt x="294" y="1266"/>
                    <a:pt x="294" y="1266"/>
                  </a:cubicBezTo>
                  <a:cubicBezTo>
                    <a:pt x="332" y="1368"/>
                    <a:pt x="332" y="1368"/>
                    <a:pt x="332" y="1368"/>
                  </a:cubicBezTo>
                  <a:cubicBezTo>
                    <a:pt x="537" y="1418"/>
                    <a:pt x="537" y="1418"/>
                    <a:pt x="537" y="1418"/>
                  </a:cubicBezTo>
                  <a:cubicBezTo>
                    <a:pt x="613" y="1494"/>
                    <a:pt x="613" y="1494"/>
                    <a:pt x="613" y="1494"/>
                  </a:cubicBezTo>
                  <a:cubicBezTo>
                    <a:pt x="843" y="1380"/>
                    <a:pt x="843" y="1380"/>
                    <a:pt x="843" y="1380"/>
                  </a:cubicBezTo>
                  <a:cubicBezTo>
                    <a:pt x="1839" y="1900"/>
                    <a:pt x="1839" y="1900"/>
                    <a:pt x="1839" y="1900"/>
                  </a:cubicBezTo>
                  <a:cubicBezTo>
                    <a:pt x="1839" y="1836"/>
                    <a:pt x="1839" y="1836"/>
                    <a:pt x="1839" y="1836"/>
                  </a:cubicBezTo>
                  <a:cubicBezTo>
                    <a:pt x="1967" y="1836"/>
                    <a:pt x="1967" y="1836"/>
                    <a:pt x="1967" y="1836"/>
                  </a:cubicBezTo>
                  <a:cubicBezTo>
                    <a:pt x="1967" y="608"/>
                    <a:pt x="1967" y="608"/>
                    <a:pt x="1967" y="608"/>
                  </a:cubicBezTo>
                  <a:cubicBezTo>
                    <a:pt x="1967" y="608"/>
                    <a:pt x="1967" y="570"/>
                    <a:pt x="1954" y="532"/>
                  </a:cubicBezTo>
                </a:path>
              </a:pathLst>
            </a:custGeom>
            <a:grpFill/>
            <a:ln w="9525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891045"/>
              <a:endParaRPr lang="en-US" sz="1700" dirty="0">
                <a:solidFill>
                  <a:srgbClr val="003149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605" name="Freeform 238"/>
            <p:cNvSpPr>
              <a:spLocks/>
            </p:cNvSpPr>
            <p:nvPr/>
          </p:nvSpPr>
          <p:spPr bwMode="gray">
            <a:xfrm>
              <a:off x="4331" y="2579"/>
              <a:ext cx="201" cy="192"/>
            </a:xfrm>
            <a:custGeom>
              <a:avLst/>
              <a:gdLst>
                <a:gd name="T0" fmla="*/ 197 w 201"/>
                <a:gd name="T1" fmla="*/ 53 h 192"/>
                <a:gd name="T2" fmla="*/ 195 w 201"/>
                <a:gd name="T3" fmla="*/ 44 h 192"/>
                <a:gd name="T4" fmla="*/ 199 w 201"/>
                <a:gd name="T5" fmla="*/ 34 h 192"/>
                <a:gd name="T6" fmla="*/ 197 w 201"/>
                <a:gd name="T7" fmla="*/ 25 h 192"/>
                <a:gd name="T8" fmla="*/ 201 w 201"/>
                <a:gd name="T9" fmla="*/ 21 h 192"/>
                <a:gd name="T10" fmla="*/ 195 w 201"/>
                <a:gd name="T11" fmla="*/ 17 h 192"/>
                <a:gd name="T12" fmla="*/ 186 w 201"/>
                <a:gd name="T13" fmla="*/ 16 h 192"/>
                <a:gd name="T14" fmla="*/ 177 w 201"/>
                <a:gd name="T15" fmla="*/ 14 h 192"/>
                <a:gd name="T16" fmla="*/ 175 w 201"/>
                <a:gd name="T17" fmla="*/ 7 h 192"/>
                <a:gd name="T18" fmla="*/ 165 w 201"/>
                <a:gd name="T19" fmla="*/ 3 h 192"/>
                <a:gd name="T20" fmla="*/ 156 w 201"/>
                <a:gd name="T21" fmla="*/ 6 h 192"/>
                <a:gd name="T22" fmla="*/ 142 w 201"/>
                <a:gd name="T23" fmla="*/ 7 h 192"/>
                <a:gd name="T24" fmla="*/ 134 w 201"/>
                <a:gd name="T25" fmla="*/ 19 h 192"/>
                <a:gd name="T26" fmla="*/ 137 w 201"/>
                <a:gd name="T27" fmla="*/ 33 h 192"/>
                <a:gd name="T28" fmla="*/ 121 w 201"/>
                <a:gd name="T29" fmla="*/ 42 h 192"/>
                <a:gd name="T30" fmla="*/ 102 w 201"/>
                <a:gd name="T31" fmla="*/ 30 h 192"/>
                <a:gd name="T32" fmla="*/ 83 w 201"/>
                <a:gd name="T33" fmla="*/ 28 h 192"/>
                <a:gd name="T34" fmla="*/ 77 w 201"/>
                <a:gd name="T35" fmla="*/ 12 h 192"/>
                <a:gd name="T36" fmla="*/ 68 w 201"/>
                <a:gd name="T37" fmla="*/ 10 h 192"/>
                <a:gd name="T38" fmla="*/ 58 w 201"/>
                <a:gd name="T39" fmla="*/ 6 h 192"/>
                <a:gd name="T40" fmla="*/ 49 w 201"/>
                <a:gd name="T41" fmla="*/ 3 h 192"/>
                <a:gd name="T42" fmla="*/ 39 w 201"/>
                <a:gd name="T43" fmla="*/ 5 h 192"/>
                <a:gd name="T44" fmla="*/ 28 w 201"/>
                <a:gd name="T45" fmla="*/ 0 h 192"/>
                <a:gd name="T46" fmla="*/ 27 w 201"/>
                <a:gd name="T47" fmla="*/ 6 h 192"/>
                <a:gd name="T48" fmla="*/ 27 w 201"/>
                <a:gd name="T49" fmla="*/ 11 h 192"/>
                <a:gd name="T50" fmla="*/ 17 w 201"/>
                <a:gd name="T51" fmla="*/ 17 h 192"/>
                <a:gd name="T52" fmla="*/ 14 w 201"/>
                <a:gd name="T53" fmla="*/ 21 h 192"/>
                <a:gd name="T54" fmla="*/ 10 w 201"/>
                <a:gd name="T55" fmla="*/ 26 h 192"/>
                <a:gd name="T56" fmla="*/ 12 w 201"/>
                <a:gd name="T57" fmla="*/ 34 h 192"/>
                <a:gd name="T58" fmla="*/ 8 w 201"/>
                <a:gd name="T59" fmla="*/ 40 h 192"/>
                <a:gd name="T60" fmla="*/ 4 w 201"/>
                <a:gd name="T61" fmla="*/ 43 h 192"/>
                <a:gd name="T62" fmla="*/ 1 w 201"/>
                <a:gd name="T63" fmla="*/ 44 h 192"/>
                <a:gd name="T64" fmla="*/ 5 w 201"/>
                <a:gd name="T65" fmla="*/ 55 h 192"/>
                <a:gd name="T66" fmla="*/ 6 w 201"/>
                <a:gd name="T67" fmla="*/ 70 h 192"/>
                <a:gd name="T68" fmla="*/ 9 w 201"/>
                <a:gd name="T69" fmla="*/ 76 h 192"/>
                <a:gd name="T70" fmla="*/ 6 w 201"/>
                <a:gd name="T71" fmla="*/ 83 h 192"/>
                <a:gd name="T72" fmla="*/ 8 w 201"/>
                <a:gd name="T73" fmla="*/ 94 h 192"/>
                <a:gd name="T74" fmla="*/ 1 w 201"/>
                <a:gd name="T75" fmla="*/ 101 h 192"/>
                <a:gd name="T76" fmla="*/ 9 w 201"/>
                <a:gd name="T77" fmla="*/ 113 h 192"/>
                <a:gd name="T78" fmla="*/ 9 w 201"/>
                <a:gd name="T79" fmla="*/ 120 h 192"/>
                <a:gd name="T80" fmla="*/ 12 w 201"/>
                <a:gd name="T81" fmla="*/ 121 h 192"/>
                <a:gd name="T82" fmla="*/ 14 w 201"/>
                <a:gd name="T83" fmla="*/ 124 h 192"/>
                <a:gd name="T84" fmla="*/ 18 w 201"/>
                <a:gd name="T85" fmla="*/ 122 h 192"/>
                <a:gd name="T86" fmla="*/ 27 w 201"/>
                <a:gd name="T87" fmla="*/ 129 h 192"/>
                <a:gd name="T88" fmla="*/ 30 w 201"/>
                <a:gd name="T89" fmla="*/ 127 h 192"/>
                <a:gd name="T90" fmla="*/ 34 w 201"/>
                <a:gd name="T91" fmla="*/ 138 h 192"/>
                <a:gd name="T92" fmla="*/ 54 w 201"/>
                <a:gd name="T93" fmla="*/ 143 h 192"/>
                <a:gd name="T94" fmla="*/ 62 w 201"/>
                <a:gd name="T95" fmla="*/ 150 h 192"/>
                <a:gd name="T96" fmla="*/ 85 w 201"/>
                <a:gd name="T97" fmla="*/ 139 h 192"/>
                <a:gd name="T98" fmla="*/ 186 w 201"/>
                <a:gd name="T99" fmla="*/ 192 h 192"/>
                <a:gd name="T100" fmla="*/ 186 w 201"/>
                <a:gd name="T101" fmla="*/ 185 h 192"/>
                <a:gd name="T102" fmla="*/ 199 w 201"/>
                <a:gd name="T103" fmla="*/ 185 h 192"/>
                <a:gd name="T104" fmla="*/ 199 w 201"/>
                <a:gd name="T105" fmla="*/ 61 h 192"/>
                <a:gd name="T106" fmla="*/ 197 w 201"/>
                <a:gd name="T107" fmla="*/ 53 h 192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201"/>
                <a:gd name="T163" fmla="*/ 0 h 192"/>
                <a:gd name="T164" fmla="*/ 201 w 201"/>
                <a:gd name="T165" fmla="*/ 192 h 192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201" h="192">
                  <a:moveTo>
                    <a:pt x="197" y="53"/>
                  </a:moveTo>
                  <a:cubicBezTo>
                    <a:pt x="196" y="48"/>
                    <a:pt x="195" y="44"/>
                    <a:pt x="195" y="44"/>
                  </a:cubicBezTo>
                  <a:cubicBezTo>
                    <a:pt x="195" y="44"/>
                    <a:pt x="199" y="35"/>
                    <a:pt x="199" y="34"/>
                  </a:cubicBezTo>
                  <a:cubicBezTo>
                    <a:pt x="199" y="33"/>
                    <a:pt x="197" y="25"/>
                    <a:pt x="197" y="25"/>
                  </a:cubicBezTo>
                  <a:cubicBezTo>
                    <a:pt x="201" y="21"/>
                    <a:pt x="201" y="21"/>
                    <a:pt x="201" y="21"/>
                  </a:cubicBezTo>
                  <a:cubicBezTo>
                    <a:pt x="201" y="21"/>
                    <a:pt x="197" y="17"/>
                    <a:pt x="195" y="17"/>
                  </a:cubicBezTo>
                  <a:cubicBezTo>
                    <a:pt x="192" y="17"/>
                    <a:pt x="189" y="17"/>
                    <a:pt x="186" y="16"/>
                  </a:cubicBezTo>
                  <a:cubicBezTo>
                    <a:pt x="182" y="15"/>
                    <a:pt x="179" y="14"/>
                    <a:pt x="177" y="14"/>
                  </a:cubicBezTo>
                  <a:cubicBezTo>
                    <a:pt x="174" y="14"/>
                    <a:pt x="175" y="7"/>
                    <a:pt x="175" y="7"/>
                  </a:cubicBezTo>
                  <a:cubicBezTo>
                    <a:pt x="175" y="7"/>
                    <a:pt x="170" y="6"/>
                    <a:pt x="165" y="3"/>
                  </a:cubicBezTo>
                  <a:cubicBezTo>
                    <a:pt x="161" y="2"/>
                    <a:pt x="160" y="3"/>
                    <a:pt x="156" y="6"/>
                  </a:cubicBezTo>
                  <a:cubicBezTo>
                    <a:pt x="151" y="7"/>
                    <a:pt x="151" y="6"/>
                    <a:pt x="142" y="7"/>
                  </a:cubicBezTo>
                  <a:cubicBezTo>
                    <a:pt x="134" y="8"/>
                    <a:pt x="137" y="16"/>
                    <a:pt x="134" y="19"/>
                  </a:cubicBezTo>
                  <a:cubicBezTo>
                    <a:pt x="130" y="21"/>
                    <a:pt x="139" y="28"/>
                    <a:pt x="137" y="33"/>
                  </a:cubicBezTo>
                  <a:cubicBezTo>
                    <a:pt x="135" y="37"/>
                    <a:pt x="126" y="43"/>
                    <a:pt x="121" y="42"/>
                  </a:cubicBezTo>
                  <a:cubicBezTo>
                    <a:pt x="116" y="40"/>
                    <a:pt x="106" y="33"/>
                    <a:pt x="102" y="30"/>
                  </a:cubicBezTo>
                  <a:cubicBezTo>
                    <a:pt x="97" y="29"/>
                    <a:pt x="86" y="29"/>
                    <a:pt x="83" y="28"/>
                  </a:cubicBezTo>
                  <a:cubicBezTo>
                    <a:pt x="79" y="26"/>
                    <a:pt x="76" y="16"/>
                    <a:pt x="77" y="12"/>
                  </a:cubicBezTo>
                  <a:cubicBezTo>
                    <a:pt x="77" y="8"/>
                    <a:pt x="73" y="10"/>
                    <a:pt x="68" y="10"/>
                  </a:cubicBezTo>
                  <a:cubicBezTo>
                    <a:pt x="63" y="8"/>
                    <a:pt x="63" y="7"/>
                    <a:pt x="58" y="6"/>
                  </a:cubicBezTo>
                  <a:cubicBezTo>
                    <a:pt x="54" y="5"/>
                    <a:pt x="52" y="2"/>
                    <a:pt x="49" y="3"/>
                  </a:cubicBezTo>
                  <a:cubicBezTo>
                    <a:pt x="48" y="5"/>
                    <a:pt x="43" y="6"/>
                    <a:pt x="39" y="5"/>
                  </a:cubicBezTo>
                  <a:cubicBezTo>
                    <a:pt x="35" y="3"/>
                    <a:pt x="28" y="0"/>
                    <a:pt x="28" y="0"/>
                  </a:cubicBezTo>
                  <a:cubicBezTo>
                    <a:pt x="28" y="0"/>
                    <a:pt x="27" y="5"/>
                    <a:pt x="27" y="6"/>
                  </a:cubicBezTo>
                  <a:cubicBezTo>
                    <a:pt x="27" y="7"/>
                    <a:pt x="31" y="10"/>
                    <a:pt x="27" y="11"/>
                  </a:cubicBezTo>
                  <a:cubicBezTo>
                    <a:pt x="23" y="14"/>
                    <a:pt x="18" y="16"/>
                    <a:pt x="17" y="17"/>
                  </a:cubicBezTo>
                  <a:cubicBezTo>
                    <a:pt x="16" y="19"/>
                    <a:pt x="16" y="20"/>
                    <a:pt x="14" y="21"/>
                  </a:cubicBezTo>
                  <a:cubicBezTo>
                    <a:pt x="13" y="21"/>
                    <a:pt x="10" y="26"/>
                    <a:pt x="10" y="26"/>
                  </a:cubicBezTo>
                  <a:cubicBezTo>
                    <a:pt x="10" y="26"/>
                    <a:pt x="12" y="33"/>
                    <a:pt x="12" y="34"/>
                  </a:cubicBezTo>
                  <a:cubicBezTo>
                    <a:pt x="13" y="35"/>
                    <a:pt x="9" y="39"/>
                    <a:pt x="8" y="40"/>
                  </a:cubicBezTo>
                  <a:cubicBezTo>
                    <a:pt x="6" y="42"/>
                    <a:pt x="4" y="43"/>
                    <a:pt x="4" y="43"/>
                  </a:cubicBezTo>
                  <a:cubicBezTo>
                    <a:pt x="1" y="44"/>
                    <a:pt x="1" y="44"/>
                    <a:pt x="1" y="44"/>
                  </a:cubicBezTo>
                  <a:cubicBezTo>
                    <a:pt x="1" y="44"/>
                    <a:pt x="4" y="48"/>
                    <a:pt x="5" y="55"/>
                  </a:cubicBezTo>
                  <a:cubicBezTo>
                    <a:pt x="6" y="60"/>
                    <a:pt x="8" y="67"/>
                    <a:pt x="6" y="70"/>
                  </a:cubicBezTo>
                  <a:cubicBezTo>
                    <a:pt x="6" y="73"/>
                    <a:pt x="9" y="76"/>
                    <a:pt x="9" y="76"/>
                  </a:cubicBezTo>
                  <a:cubicBezTo>
                    <a:pt x="9" y="76"/>
                    <a:pt x="6" y="80"/>
                    <a:pt x="6" y="83"/>
                  </a:cubicBezTo>
                  <a:cubicBezTo>
                    <a:pt x="6" y="87"/>
                    <a:pt x="8" y="92"/>
                    <a:pt x="8" y="94"/>
                  </a:cubicBezTo>
                  <a:cubicBezTo>
                    <a:pt x="6" y="97"/>
                    <a:pt x="1" y="101"/>
                    <a:pt x="1" y="101"/>
                  </a:cubicBezTo>
                  <a:cubicBezTo>
                    <a:pt x="0" y="102"/>
                    <a:pt x="9" y="113"/>
                    <a:pt x="9" y="113"/>
                  </a:cubicBezTo>
                  <a:cubicBezTo>
                    <a:pt x="9" y="120"/>
                    <a:pt x="9" y="120"/>
                    <a:pt x="9" y="120"/>
                  </a:cubicBezTo>
                  <a:cubicBezTo>
                    <a:pt x="9" y="120"/>
                    <a:pt x="12" y="119"/>
                    <a:pt x="12" y="121"/>
                  </a:cubicBezTo>
                  <a:cubicBezTo>
                    <a:pt x="12" y="122"/>
                    <a:pt x="13" y="125"/>
                    <a:pt x="14" y="124"/>
                  </a:cubicBezTo>
                  <a:cubicBezTo>
                    <a:pt x="17" y="124"/>
                    <a:pt x="17" y="122"/>
                    <a:pt x="18" y="122"/>
                  </a:cubicBezTo>
                  <a:cubicBezTo>
                    <a:pt x="19" y="124"/>
                    <a:pt x="27" y="129"/>
                    <a:pt x="27" y="129"/>
                  </a:cubicBezTo>
                  <a:cubicBezTo>
                    <a:pt x="30" y="127"/>
                    <a:pt x="30" y="127"/>
                    <a:pt x="30" y="127"/>
                  </a:cubicBezTo>
                  <a:cubicBezTo>
                    <a:pt x="34" y="138"/>
                    <a:pt x="34" y="138"/>
                    <a:pt x="34" y="138"/>
                  </a:cubicBezTo>
                  <a:cubicBezTo>
                    <a:pt x="54" y="143"/>
                    <a:pt x="54" y="143"/>
                    <a:pt x="54" y="143"/>
                  </a:cubicBezTo>
                  <a:cubicBezTo>
                    <a:pt x="62" y="150"/>
                    <a:pt x="62" y="150"/>
                    <a:pt x="62" y="150"/>
                  </a:cubicBezTo>
                  <a:cubicBezTo>
                    <a:pt x="85" y="139"/>
                    <a:pt x="85" y="139"/>
                    <a:pt x="85" y="139"/>
                  </a:cubicBezTo>
                  <a:cubicBezTo>
                    <a:pt x="186" y="192"/>
                    <a:pt x="186" y="192"/>
                    <a:pt x="186" y="192"/>
                  </a:cubicBezTo>
                  <a:cubicBezTo>
                    <a:pt x="186" y="185"/>
                    <a:pt x="186" y="185"/>
                    <a:pt x="186" y="185"/>
                  </a:cubicBezTo>
                  <a:cubicBezTo>
                    <a:pt x="199" y="185"/>
                    <a:pt x="199" y="185"/>
                    <a:pt x="199" y="185"/>
                  </a:cubicBezTo>
                  <a:cubicBezTo>
                    <a:pt x="199" y="61"/>
                    <a:pt x="199" y="61"/>
                    <a:pt x="199" y="61"/>
                  </a:cubicBezTo>
                  <a:cubicBezTo>
                    <a:pt x="199" y="61"/>
                    <a:pt x="199" y="57"/>
                    <a:pt x="197" y="53"/>
                  </a:cubicBezTo>
                </a:path>
              </a:pathLst>
            </a:custGeom>
            <a:grpFill/>
            <a:ln w="9525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891045"/>
              <a:endParaRPr lang="en-US" sz="1700" dirty="0">
                <a:solidFill>
                  <a:srgbClr val="003149"/>
                </a:solidFill>
                <a:cs typeface="Arial" panose="020B0604020202020204" pitchFamily="34" charset="0"/>
              </a:endParaRPr>
            </a:p>
          </p:txBody>
        </p:sp>
      </p:grpSp>
      <p:grpSp>
        <p:nvGrpSpPr>
          <p:cNvPr id="606" name="Group 290"/>
          <p:cNvGrpSpPr>
            <a:grpSpLocks/>
          </p:cNvGrpSpPr>
          <p:nvPr/>
        </p:nvGrpSpPr>
        <p:grpSpPr bwMode="gray">
          <a:xfrm>
            <a:off x="1367837" y="2403064"/>
            <a:ext cx="358259" cy="374253"/>
            <a:chOff x="4367" y="2956"/>
            <a:chExt cx="244" cy="242"/>
          </a:xfrm>
          <a:solidFill>
            <a:schemeClr val="accent3"/>
          </a:solidFill>
        </p:grpSpPr>
        <p:sp>
          <p:nvSpPr>
            <p:cNvPr id="607" name="Freeform 291"/>
            <p:cNvSpPr>
              <a:spLocks noEditPoints="1"/>
            </p:cNvSpPr>
            <p:nvPr/>
          </p:nvSpPr>
          <p:spPr bwMode="gray">
            <a:xfrm>
              <a:off x="4367" y="2956"/>
              <a:ext cx="244" cy="242"/>
            </a:xfrm>
            <a:custGeom>
              <a:avLst/>
              <a:gdLst>
                <a:gd name="T0" fmla="*/ 0 w 2416"/>
                <a:gd name="T1" fmla="*/ 0 h 2400"/>
                <a:gd name="T2" fmla="*/ 0 w 2416"/>
                <a:gd name="T3" fmla="*/ 0 h 2400"/>
                <a:gd name="T4" fmla="*/ 0 w 2416"/>
                <a:gd name="T5" fmla="*/ 0 h 2400"/>
                <a:gd name="T6" fmla="*/ 0 w 2416"/>
                <a:gd name="T7" fmla="*/ 0 h 2400"/>
                <a:gd name="T8" fmla="*/ 0 w 2416"/>
                <a:gd name="T9" fmla="*/ 0 h 2400"/>
                <a:gd name="T10" fmla="*/ 0 w 2416"/>
                <a:gd name="T11" fmla="*/ 0 h 2400"/>
                <a:gd name="T12" fmla="*/ 0 w 2416"/>
                <a:gd name="T13" fmla="*/ 0 h 2400"/>
                <a:gd name="T14" fmla="*/ 0 w 2416"/>
                <a:gd name="T15" fmla="*/ 0 h 2400"/>
                <a:gd name="T16" fmla="*/ 0 w 2416"/>
                <a:gd name="T17" fmla="*/ 0 h 2400"/>
                <a:gd name="T18" fmla="*/ 0 w 2416"/>
                <a:gd name="T19" fmla="*/ 0 h 2400"/>
                <a:gd name="T20" fmla="*/ 0 w 2416"/>
                <a:gd name="T21" fmla="*/ 0 h 2400"/>
                <a:gd name="T22" fmla="*/ 0 w 2416"/>
                <a:gd name="T23" fmla="*/ 0 h 2400"/>
                <a:gd name="T24" fmla="*/ 0 w 2416"/>
                <a:gd name="T25" fmla="*/ 0 h 2400"/>
                <a:gd name="T26" fmla="*/ 0 w 2416"/>
                <a:gd name="T27" fmla="*/ 0 h 2400"/>
                <a:gd name="T28" fmla="*/ 0 w 2416"/>
                <a:gd name="T29" fmla="*/ 0 h 2400"/>
                <a:gd name="T30" fmla="*/ 0 w 2416"/>
                <a:gd name="T31" fmla="*/ 0 h 2400"/>
                <a:gd name="T32" fmla="*/ 0 w 2416"/>
                <a:gd name="T33" fmla="*/ 0 h 2400"/>
                <a:gd name="T34" fmla="*/ 0 w 2416"/>
                <a:gd name="T35" fmla="*/ 0 h 2400"/>
                <a:gd name="T36" fmla="*/ 0 w 2416"/>
                <a:gd name="T37" fmla="*/ 0 h 2400"/>
                <a:gd name="T38" fmla="*/ 0 w 2416"/>
                <a:gd name="T39" fmla="*/ 0 h 2400"/>
                <a:gd name="T40" fmla="*/ 0 w 2416"/>
                <a:gd name="T41" fmla="*/ 0 h 2400"/>
                <a:gd name="T42" fmla="*/ 0 w 2416"/>
                <a:gd name="T43" fmla="*/ 0 h 2400"/>
                <a:gd name="T44" fmla="*/ 0 w 2416"/>
                <a:gd name="T45" fmla="*/ 0 h 2400"/>
                <a:gd name="T46" fmla="*/ 0 w 2416"/>
                <a:gd name="T47" fmla="*/ 0 h 2400"/>
                <a:gd name="T48" fmla="*/ 0 w 2416"/>
                <a:gd name="T49" fmla="*/ 0 h 2400"/>
                <a:gd name="T50" fmla="*/ 0 w 2416"/>
                <a:gd name="T51" fmla="*/ 0 h 2400"/>
                <a:gd name="T52" fmla="*/ 0 w 2416"/>
                <a:gd name="T53" fmla="*/ 0 h 2400"/>
                <a:gd name="T54" fmla="*/ 0 w 2416"/>
                <a:gd name="T55" fmla="*/ 0 h 2400"/>
                <a:gd name="T56" fmla="*/ 0 w 2416"/>
                <a:gd name="T57" fmla="*/ 0 h 2400"/>
                <a:gd name="T58" fmla="*/ 0 w 2416"/>
                <a:gd name="T59" fmla="*/ 0 h 2400"/>
                <a:gd name="T60" fmla="*/ 0 w 2416"/>
                <a:gd name="T61" fmla="*/ 0 h 2400"/>
                <a:gd name="T62" fmla="*/ 0 w 2416"/>
                <a:gd name="T63" fmla="*/ 0 h 2400"/>
                <a:gd name="T64" fmla="*/ 0 w 2416"/>
                <a:gd name="T65" fmla="*/ 0 h 2400"/>
                <a:gd name="T66" fmla="*/ 0 w 2416"/>
                <a:gd name="T67" fmla="*/ 0 h 2400"/>
                <a:gd name="T68" fmla="*/ 0 w 2416"/>
                <a:gd name="T69" fmla="*/ 0 h 2400"/>
                <a:gd name="T70" fmla="*/ 0 w 2416"/>
                <a:gd name="T71" fmla="*/ 0 h 2400"/>
                <a:gd name="T72" fmla="*/ 0 w 2416"/>
                <a:gd name="T73" fmla="*/ 0 h 2400"/>
                <a:gd name="T74" fmla="*/ 0 w 2416"/>
                <a:gd name="T75" fmla="*/ 0 h 2400"/>
                <a:gd name="T76" fmla="*/ 0 w 2416"/>
                <a:gd name="T77" fmla="*/ 0 h 2400"/>
                <a:gd name="T78" fmla="*/ 0 w 2416"/>
                <a:gd name="T79" fmla="*/ 0 h 2400"/>
                <a:gd name="T80" fmla="*/ 0 w 2416"/>
                <a:gd name="T81" fmla="*/ 0 h 2400"/>
                <a:gd name="T82" fmla="*/ 0 w 2416"/>
                <a:gd name="T83" fmla="*/ 0 h 2400"/>
                <a:gd name="T84" fmla="*/ 0 w 2416"/>
                <a:gd name="T85" fmla="*/ 0 h 2400"/>
                <a:gd name="T86" fmla="*/ 0 w 2416"/>
                <a:gd name="T87" fmla="*/ 0 h 2400"/>
                <a:gd name="T88" fmla="*/ 0 w 2416"/>
                <a:gd name="T89" fmla="*/ 0 h 2400"/>
                <a:gd name="T90" fmla="*/ 0 w 2416"/>
                <a:gd name="T91" fmla="*/ 0 h 2400"/>
                <a:gd name="T92" fmla="*/ 0 w 2416"/>
                <a:gd name="T93" fmla="*/ 0 h 2400"/>
                <a:gd name="T94" fmla="*/ 0 w 2416"/>
                <a:gd name="T95" fmla="*/ 0 h 2400"/>
                <a:gd name="T96" fmla="*/ 0 w 2416"/>
                <a:gd name="T97" fmla="*/ 0 h 2400"/>
                <a:gd name="T98" fmla="*/ 0 w 2416"/>
                <a:gd name="T99" fmla="*/ 0 h 2400"/>
                <a:gd name="T100" fmla="*/ 0 w 2416"/>
                <a:gd name="T101" fmla="*/ 0 h 2400"/>
                <a:gd name="T102" fmla="*/ 0 w 2416"/>
                <a:gd name="T103" fmla="*/ 0 h 2400"/>
                <a:gd name="T104" fmla="*/ 0 w 2416"/>
                <a:gd name="T105" fmla="*/ 0 h 2400"/>
                <a:gd name="T106" fmla="*/ 0 w 2416"/>
                <a:gd name="T107" fmla="*/ 0 h 2400"/>
                <a:gd name="T108" fmla="*/ 0 w 2416"/>
                <a:gd name="T109" fmla="*/ 0 h 2400"/>
                <a:gd name="T110" fmla="*/ 0 w 2416"/>
                <a:gd name="T111" fmla="*/ 0 h 2400"/>
                <a:gd name="T112" fmla="*/ 0 w 2416"/>
                <a:gd name="T113" fmla="*/ 0 h 2400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2416"/>
                <a:gd name="T172" fmla="*/ 0 h 2400"/>
                <a:gd name="T173" fmla="*/ 2416 w 2416"/>
                <a:gd name="T174" fmla="*/ 2400 h 2400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2416" h="2400">
                  <a:moveTo>
                    <a:pt x="2250" y="847"/>
                  </a:moveTo>
                  <a:cubicBezTo>
                    <a:pt x="2250" y="847"/>
                    <a:pt x="2237" y="847"/>
                    <a:pt x="2237" y="847"/>
                  </a:cubicBezTo>
                  <a:cubicBezTo>
                    <a:pt x="2237" y="847"/>
                    <a:pt x="2250" y="847"/>
                    <a:pt x="2250" y="847"/>
                  </a:cubicBezTo>
                  <a:close/>
                  <a:moveTo>
                    <a:pt x="2365" y="372"/>
                  </a:moveTo>
                  <a:cubicBezTo>
                    <a:pt x="2340" y="359"/>
                    <a:pt x="2340" y="347"/>
                    <a:pt x="2340" y="321"/>
                  </a:cubicBezTo>
                  <a:cubicBezTo>
                    <a:pt x="2340" y="295"/>
                    <a:pt x="2327" y="295"/>
                    <a:pt x="2340" y="282"/>
                  </a:cubicBezTo>
                  <a:cubicBezTo>
                    <a:pt x="2353" y="257"/>
                    <a:pt x="2340" y="231"/>
                    <a:pt x="2340" y="231"/>
                  </a:cubicBezTo>
                  <a:cubicBezTo>
                    <a:pt x="2340" y="231"/>
                    <a:pt x="2314" y="205"/>
                    <a:pt x="2314" y="205"/>
                  </a:cubicBezTo>
                  <a:cubicBezTo>
                    <a:pt x="2301" y="193"/>
                    <a:pt x="2250" y="167"/>
                    <a:pt x="2237" y="154"/>
                  </a:cubicBezTo>
                  <a:cubicBezTo>
                    <a:pt x="2237" y="141"/>
                    <a:pt x="2212" y="90"/>
                    <a:pt x="2186" y="90"/>
                  </a:cubicBezTo>
                  <a:cubicBezTo>
                    <a:pt x="2161" y="90"/>
                    <a:pt x="2148" y="128"/>
                    <a:pt x="2148" y="128"/>
                  </a:cubicBezTo>
                  <a:cubicBezTo>
                    <a:pt x="2071" y="103"/>
                    <a:pt x="2071" y="103"/>
                    <a:pt x="2071" y="103"/>
                  </a:cubicBezTo>
                  <a:cubicBezTo>
                    <a:pt x="2071" y="103"/>
                    <a:pt x="2058" y="141"/>
                    <a:pt x="2033" y="128"/>
                  </a:cubicBezTo>
                  <a:cubicBezTo>
                    <a:pt x="2007" y="128"/>
                    <a:pt x="1956" y="103"/>
                    <a:pt x="1956" y="77"/>
                  </a:cubicBezTo>
                  <a:cubicBezTo>
                    <a:pt x="1943" y="64"/>
                    <a:pt x="1931" y="51"/>
                    <a:pt x="1918" y="39"/>
                  </a:cubicBezTo>
                  <a:cubicBezTo>
                    <a:pt x="1918" y="39"/>
                    <a:pt x="1918" y="39"/>
                    <a:pt x="1918" y="39"/>
                  </a:cubicBezTo>
                  <a:cubicBezTo>
                    <a:pt x="1918" y="39"/>
                    <a:pt x="1867" y="13"/>
                    <a:pt x="1841" y="39"/>
                  </a:cubicBezTo>
                  <a:cubicBezTo>
                    <a:pt x="1828" y="51"/>
                    <a:pt x="1790" y="26"/>
                    <a:pt x="1752" y="26"/>
                  </a:cubicBezTo>
                  <a:cubicBezTo>
                    <a:pt x="1713" y="26"/>
                    <a:pt x="1675" y="0"/>
                    <a:pt x="1662" y="13"/>
                  </a:cubicBezTo>
                  <a:cubicBezTo>
                    <a:pt x="1649" y="26"/>
                    <a:pt x="1611" y="51"/>
                    <a:pt x="1598" y="64"/>
                  </a:cubicBezTo>
                  <a:cubicBezTo>
                    <a:pt x="1573" y="64"/>
                    <a:pt x="1547" y="26"/>
                    <a:pt x="1521" y="51"/>
                  </a:cubicBezTo>
                  <a:cubicBezTo>
                    <a:pt x="1496" y="64"/>
                    <a:pt x="1406" y="90"/>
                    <a:pt x="1406" y="90"/>
                  </a:cubicBezTo>
                  <a:cubicBezTo>
                    <a:pt x="1342" y="77"/>
                    <a:pt x="1342" y="77"/>
                    <a:pt x="1342" y="77"/>
                  </a:cubicBezTo>
                  <a:cubicBezTo>
                    <a:pt x="1342" y="77"/>
                    <a:pt x="1304" y="167"/>
                    <a:pt x="1291" y="167"/>
                  </a:cubicBezTo>
                  <a:cubicBezTo>
                    <a:pt x="1266" y="167"/>
                    <a:pt x="1189" y="141"/>
                    <a:pt x="1163" y="141"/>
                  </a:cubicBezTo>
                  <a:cubicBezTo>
                    <a:pt x="1151" y="141"/>
                    <a:pt x="1048" y="103"/>
                    <a:pt x="1048" y="103"/>
                  </a:cubicBezTo>
                  <a:cubicBezTo>
                    <a:pt x="1048" y="103"/>
                    <a:pt x="933" y="13"/>
                    <a:pt x="920" y="26"/>
                  </a:cubicBezTo>
                  <a:cubicBezTo>
                    <a:pt x="895" y="39"/>
                    <a:pt x="831" y="90"/>
                    <a:pt x="831" y="103"/>
                  </a:cubicBezTo>
                  <a:cubicBezTo>
                    <a:pt x="831" y="116"/>
                    <a:pt x="805" y="231"/>
                    <a:pt x="805" y="231"/>
                  </a:cubicBezTo>
                  <a:cubicBezTo>
                    <a:pt x="805" y="231"/>
                    <a:pt x="818" y="270"/>
                    <a:pt x="780" y="321"/>
                  </a:cubicBezTo>
                  <a:cubicBezTo>
                    <a:pt x="754" y="372"/>
                    <a:pt x="754" y="449"/>
                    <a:pt x="741" y="475"/>
                  </a:cubicBezTo>
                  <a:cubicBezTo>
                    <a:pt x="729" y="501"/>
                    <a:pt x="703" y="539"/>
                    <a:pt x="716" y="565"/>
                  </a:cubicBezTo>
                  <a:cubicBezTo>
                    <a:pt x="716" y="603"/>
                    <a:pt x="703" y="655"/>
                    <a:pt x="703" y="693"/>
                  </a:cubicBezTo>
                  <a:cubicBezTo>
                    <a:pt x="690" y="719"/>
                    <a:pt x="703" y="745"/>
                    <a:pt x="677" y="757"/>
                  </a:cubicBezTo>
                  <a:cubicBezTo>
                    <a:pt x="652" y="770"/>
                    <a:pt x="601" y="822"/>
                    <a:pt x="575" y="834"/>
                  </a:cubicBezTo>
                  <a:cubicBezTo>
                    <a:pt x="562" y="860"/>
                    <a:pt x="524" y="924"/>
                    <a:pt x="511" y="937"/>
                  </a:cubicBezTo>
                  <a:cubicBezTo>
                    <a:pt x="498" y="950"/>
                    <a:pt x="498" y="1027"/>
                    <a:pt x="498" y="1053"/>
                  </a:cubicBezTo>
                  <a:cubicBezTo>
                    <a:pt x="498" y="1078"/>
                    <a:pt x="498" y="1117"/>
                    <a:pt x="473" y="1142"/>
                  </a:cubicBezTo>
                  <a:cubicBezTo>
                    <a:pt x="447" y="1168"/>
                    <a:pt x="371" y="1219"/>
                    <a:pt x="358" y="1258"/>
                  </a:cubicBezTo>
                  <a:cubicBezTo>
                    <a:pt x="345" y="1284"/>
                    <a:pt x="307" y="1296"/>
                    <a:pt x="294" y="1296"/>
                  </a:cubicBezTo>
                  <a:cubicBezTo>
                    <a:pt x="281" y="1284"/>
                    <a:pt x="268" y="1219"/>
                    <a:pt x="268" y="1219"/>
                  </a:cubicBezTo>
                  <a:cubicBezTo>
                    <a:pt x="268" y="1219"/>
                    <a:pt x="230" y="1232"/>
                    <a:pt x="204" y="1232"/>
                  </a:cubicBezTo>
                  <a:cubicBezTo>
                    <a:pt x="192" y="1232"/>
                    <a:pt x="192" y="1271"/>
                    <a:pt x="192" y="1271"/>
                  </a:cubicBezTo>
                  <a:cubicBezTo>
                    <a:pt x="192" y="1271"/>
                    <a:pt x="166" y="1284"/>
                    <a:pt x="153" y="1284"/>
                  </a:cubicBezTo>
                  <a:cubicBezTo>
                    <a:pt x="140" y="1284"/>
                    <a:pt x="128" y="1271"/>
                    <a:pt x="115" y="1258"/>
                  </a:cubicBezTo>
                  <a:cubicBezTo>
                    <a:pt x="115" y="1258"/>
                    <a:pt x="115" y="1258"/>
                    <a:pt x="115" y="1258"/>
                  </a:cubicBezTo>
                  <a:cubicBezTo>
                    <a:pt x="115" y="1258"/>
                    <a:pt x="115" y="1258"/>
                    <a:pt x="115" y="1258"/>
                  </a:cubicBezTo>
                  <a:cubicBezTo>
                    <a:pt x="51" y="1309"/>
                    <a:pt x="51" y="1309"/>
                    <a:pt x="51" y="1309"/>
                  </a:cubicBezTo>
                  <a:cubicBezTo>
                    <a:pt x="38" y="1361"/>
                    <a:pt x="38" y="1361"/>
                    <a:pt x="38" y="1361"/>
                  </a:cubicBezTo>
                  <a:cubicBezTo>
                    <a:pt x="38" y="1399"/>
                    <a:pt x="38" y="1399"/>
                    <a:pt x="38" y="1399"/>
                  </a:cubicBezTo>
                  <a:cubicBezTo>
                    <a:pt x="0" y="1399"/>
                    <a:pt x="0" y="1399"/>
                    <a:pt x="0" y="1399"/>
                  </a:cubicBezTo>
                  <a:cubicBezTo>
                    <a:pt x="25" y="1438"/>
                    <a:pt x="25" y="1438"/>
                    <a:pt x="25" y="1438"/>
                  </a:cubicBezTo>
                  <a:cubicBezTo>
                    <a:pt x="115" y="1412"/>
                    <a:pt x="115" y="1412"/>
                    <a:pt x="115" y="1412"/>
                  </a:cubicBezTo>
                  <a:cubicBezTo>
                    <a:pt x="550" y="1425"/>
                    <a:pt x="550" y="1425"/>
                    <a:pt x="550" y="1425"/>
                  </a:cubicBezTo>
                  <a:cubicBezTo>
                    <a:pt x="550" y="1425"/>
                    <a:pt x="601" y="1540"/>
                    <a:pt x="601" y="1579"/>
                  </a:cubicBezTo>
                  <a:cubicBezTo>
                    <a:pt x="601" y="1604"/>
                    <a:pt x="677" y="1694"/>
                    <a:pt x="677" y="1694"/>
                  </a:cubicBezTo>
                  <a:cubicBezTo>
                    <a:pt x="677" y="1694"/>
                    <a:pt x="780" y="1694"/>
                    <a:pt x="793" y="1681"/>
                  </a:cubicBezTo>
                  <a:cubicBezTo>
                    <a:pt x="805" y="1681"/>
                    <a:pt x="895" y="1681"/>
                    <a:pt x="895" y="1681"/>
                  </a:cubicBezTo>
                  <a:cubicBezTo>
                    <a:pt x="908" y="1643"/>
                    <a:pt x="908" y="1643"/>
                    <a:pt x="908" y="1643"/>
                  </a:cubicBezTo>
                  <a:cubicBezTo>
                    <a:pt x="933" y="1566"/>
                    <a:pt x="933" y="1566"/>
                    <a:pt x="933" y="1566"/>
                  </a:cubicBezTo>
                  <a:cubicBezTo>
                    <a:pt x="1061" y="1540"/>
                    <a:pt x="1061" y="1540"/>
                    <a:pt x="1061" y="1540"/>
                  </a:cubicBezTo>
                  <a:cubicBezTo>
                    <a:pt x="1048" y="1592"/>
                    <a:pt x="1048" y="1592"/>
                    <a:pt x="1048" y="1592"/>
                  </a:cubicBezTo>
                  <a:cubicBezTo>
                    <a:pt x="1048" y="1592"/>
                    <a:pt x="1202" y="1579"/>
                    <a:pt x="1202" y="1604"/>
                  </a:cubicBezTo>
                  <a:cubicBezTo>
                    <a:pt x="1202" y="1617"/>
                    <a:pt x="1202" y="1669"/>
                    <a:pt x="1202" y="1694"/>
                  </a:cubicBezTo>
                  <a:cubicBezTo>
                    <a:pt x="1215" y="1707"/>
                    <a:pt x="1227" y="1758"/>
                    <a:pt x="1215" y="1771"/>
                  </a:cubicBezTo>
                  <a:cubicBezTo>
                    <a:pt x="1202" y="1797"/>
                    <a:pt x="1215" y="1900"/>
                    <a:pt x="1240" y="1912"/>
                  </a:cubicBezTo>
                  <a:cubicBezTo>
                    <a:pt x="1253" y="1925"/>
                    <a:pt x="1278" y="2015"/>
                    <a:pt x="1266" y="2028"/>
                  </a:cubicBezTo>
                  <a:cubicBezTo>
                    <a:pt x="1253" y="2041"/>
                    <a:pt x="1253" y="2092"/>
                    <a:pt x="1253" y="2092"/>
                  </a:cubicBezTo>
                  <a:cubicBezTo>
                    <a:pt x="1304" y="2079"/>
                    <a:pt x="1304" y="2079"/>
                    <a:pt x="1304" y="2079"/>
                  </a:cubicBezTo>
                  <a:cubicBezTo>
                    <a:pt x="1304" y="2079"/>
                    <a:pt x="1381" y="2066"/>
                    <a:pt x="1394" y="2066"/>
                  </a:cubicBezTo>
                  <a:cubicBezTo>
                    <a:pt x="1406" y="2066"/>
                    <a:pt x="1457" y="2066"/>
                    <a:pt x="1483" y="2054"/>
                  </a:cubicBezTo>
                  <a:cubicBezTo>
                    <a:pt x="1496" y="2054"/>
                    <a:pt x="1521" y="2092"/>
                    <a:pt x="1521" y="2118"/>
                  </a:cubicBezTo>
                  <a:cubicBezTo>
                    <a:pt x="1521" y="2143"/>
                    <a:pt x="1573" y="2105"/>
                    <a:pt x="1573" y="2105"/>
                  </a:cubicBezTo>
                  <a:cubicBezTo>
                    <a:pt x="1649" y="2092"/>
                    <a:pt x="1649" y="2092"/>
                    <a:pt x="1649" y="2092"/>
                  </a:cubicBezTo>
                  <a:cubicBezTo>
                    <a:pt x="1649" y="2092"/>
                    <a:pt x="1649" y="2131"/>
                    <a:pt x="1649" y="2143"/>
                  </a:cubicBezTo>
                  <a:cubicBezTo>
                    <a:pt x="1649" y="2156"/>
                    <a:pt x="1688" y="2169"/>
                    <a:pt x="1713" y="2182"/>
                  </a:cubicBezTo>
                  <a:cubicBezTo>
                    <a:pt x="1739" y="2195"/>
                    <a:pt x="1803" y="2195"/>
                    <a:pt x="1828" y="2195"/>
                  </a:cubicBezTo>
                  <a:cubicBezTo>
                    <a:pt x="1841" y="2208"/>
                    <a:pt x="1854" y="2169"/>
                    <a:pt x="1854" y="2156"/>
                  </a:cubicBezTo>
                  <a:cubicBezTo>
                    <a:pt x="1854" y="2131"/>
                    <a:pt x="1905" y="2169"/>
                    <a:pt x="1905" y="2169"/>
                  </a:cubicBezTo>
                  <a:cubicBezTo>
                    <a:pt x="1905" y="2169"/>
                    <a:pt x="1943" y="2246"/>
                    <a:pt x="1969" y="2259"/>
                  </a:cubicBezTo>
                  <a:cubicBezTo>
                    <a:pt x="1982" y="2259"/>
                    <a:pt x="2033" y="2297"/>
                    <a:pt x="2058" y="2297"/>
                  </a:cubicBezTo>
                  <a:cubicBezTo>
                    <a:pt x="2071" y="2310"/>
                    <a:pt x="2097" y="2349"/>
                    <a:pt x="2110" y="2374"/>
                  </a:cubicBezTo>
                  <a:cubicBezTo>
                    <a:pt x="2110" y="2400"/>
                    <a:pt x="2135" y="2374"/>
                    <a:pt x="2174" y="2362"/>
                  </a:cubicBezTo>
                  <a:cubicBezTo>
                    <a:pt x="2199" y="2349"/>
                    <a:pt x="2186" y="2387"/>
                    <a:pt x="2186" y="2387"/>
                  </a:cubicBezTo>
                  <a:cubicBezTo>
                    <a:pt x="2212" y="2387"/>
                    <a:pt x="2212" y="2387"/>
                    <a:pt x="2212" y="2387"/>
                  </a:cubicBezTo>
                  <a:cubicBezTo>
                    <a:pt x="2212" y="2220"/>
                    <a:pt x="2212" y="2220"/>
                    <a:pt x="2212" y="2220"/>
                  </a:cubicBezTo>
                  <a:cubicBezTo>
                    <a:pt x="2212" y="2220"/>
                    <a:pt x="2212" y="2220"/>
                    <a:pt x="2199" y="2220"/>
                  </a:cubicBezTo>
                  <a:cubicBezTo>
                    <a:pt x="2174" y="2220"/>
                    <a:pt x="2186" y="2259"/>
                    <a:pt x="2186" y="2259"/>
                  </a:cubicBezTo>
                  <a:cubicBezTo>
                    <a:pt x="2135" y="2246"/>
                    <a:pt x="2135" y="2246"/>
                    <a:pt x="2135" y="2246"/>
                  </a:cubicBezTo>
                  <a:cubicBezTo>
                    <a:pt x="2097" y="2220"/>
                    <a:pt x="2097" y="2220"/>
                    <a:pt x="2097" y="2220"/>
                  </a:cubicBezTo>
                  <a:cubicBezTo>
                    <a:pt x="2097" y="2220"/>
                    <a:pt x="2033" y="2169"/>
                    <a:pt x="2046" y="2131"/>
                  </a:cubicBezTo>
                  <a:cubicBezTo>
                    <a:pt x="2046" y="2105"/>
                    <a:pt x="2058" y="2041"/>
                    <a:pt x="2071" y="2028"/>
                  </a:cubicBezTo>
                  <a:cubicBezTo>
                    <a:pt x="2071" y="2015"/>
                    <a:pt x="2058" y="1938"/>
                    <a:pt x="2058" y="1900"/>
                  </a:cubicBezTo>
                  <a:cubicBezTo>
                    <a:pt x="2058" y="1861"/>
                    <a:pt x="2033" y="1848"/>
                    <a:pt x="2033" y="1848"/>
                  </a:cubicBezTo>
                  <a:cubicBezTo>
                    <a:pt x="2033" y="1848"/>
                    <a:pt x="2058" y="1810"/>
                    <a:pt x="2084" y="1810"/>
                  </a:cubicBezTo>
                  <a:cubicBezTo>
                    <a:pt x="2097" y="1810"/>
                    <a:pt x="2097" y="1758"/>
                    <a:pt x="2097" y="1758"/>
                  </a:cubicBezTo>
                  <a:cubicBezTo>
                    <a:pt x="2327" y="1707"/>
                    <a:pt x="2327" y="1707"/>
                    <a:pt x="2327" y="1707"/>
                  </a:cubicBezTo>
                  <a:cubicBezTo>
                    <a:pt x="2327" y="1707"/>
                    <a:pt x="2250" y="1566"/>
                    <a:pt x="2237" y="1527"/>
                  </a:cubicBezTo>
                  <a:cubicBezTo>
                    <a:pt x="2212" y="1489"/>
                    <a:pt x="2186" y="1463"/>
                    <a:pt x="2186" y="1438"/>
                  </a:cubicBezTo>
                  <a:cubicBezTo>
                    <a:pt x="2186" y="1399"/>
                    <a:pt x="2161" y="1335"/>
                    <a:pt x="2161" y="1309"/>
                  </a:cubicBezTo>
                  <a:cubicBezTo>
                    <a:pt x="2161" y="1296"/>
                    <a:pt x="2161" y="1271"/>
                    <a:pt x="2174" y="1245"/>
                  </a:cubicBezTo>
                  <a:cubicBezTo>
                    <a:pt x="2161" y="1245"/>
                    <a:pt x="2161" y="1245"/>
                    <a:pt x="2161" y="1232"/>
                  </a:cubicBezTo>
                  <a:cubicBezTo>
                    <a:pt x="2148" y="1219"/>
                    <a:pt x="2122" y="1168"/>
                    <a:pt x="2135" y="1130"/>
                  </a:cubicBezTo>
                  <a:cubicBezTo>
                    <a:pt x="2148" y="1091"/>
                    <a:pt x="2122" y="1040"/>
                    <a:pt x="2122" y="1040"/>
                  </a:cubicBezTo>
                  <a:cubicBezTo>
                    <a:pt x="2110" y="1001"/>
                    <a:pt x="2110" y="1001"/>
                    <a:pt x="2110" y="1001"/>
                  </a:cubicBezTo>
                  <a:cubicBezTo>
                    <a:pt x="2097" y="1001"/>
                    <a:pt x="2084" y="988"/>
                    <a:pt x="2097" y="976"/>
                  </a:cubicBezTo>
                  <a:cubicBezTo>
                    <a:pt x="2110" y="963"/>
                    <a:pt x="2135" y="899"/>
                    <a:pt x="2135" y="899"/>
                  </a:cubicBezTo>
                  <a:cubicBezTo>
                    <a:pt x="2135" y="899"/>
                    <a:pt x="2148" y="860"/>
                    <a:pt x="2186" y="847"/>
                  </a:cubicBezTo>
                  <a:cubicBezTo>
                    <a:pt x="2186" y="847"/>
                    <a:pt x="2199" y="847"/>
                    <a:pt x="2199" y="847"/>
                  </a:cubicBezTo>
                  <a:cubicBezTo>
                    <a:pt x="2186" y="834"/>
                    <a:pt x="2186" y="834"/>
                    <a:pt x="2186" y="834"/>
                  </a:cubicBezTo>
                  <a:cubicBezTo>
                    <a:pt x="2186" y="834"/>
                    <a:pt x="2186" y="719"/>
                    <a:pt x="2186" y="693"/>
                  </a:cubicBezTo>
                  <a:cubicBezTo>
                    <a:pt x="2199" y="680"/>
                    <a:pt x="2225" y="603"/>
                    <a:pt x="2237" y="578"/>
                  </a:cubicBezTo>
                  <a:cubicBezTo>
                    <a:pt x="2237" y="552"/>
                    <a:pt x="2276" y="526"/>
                    <a:pt x="2289" y="514"/>
                  </a:cubicBezTo>
                  <a:cubicBezTo>
                    <a:pt x="2301" y="501"/>
                    <a:pt x="2365" y="462"/>
                    <a:pt x="2391" y="424"/>
                  </a:cubicBezTo>
                  <a:cubicBezTo>
                    <a:pt x="2416" y="398"/>
                    <a:pt x="2391" y="385"/>
                    <a:pt x="2365" y="372"/>
                  </a:cubicBezTo>
                  <a:close/>
                </a:path>
              </a:pathLst>
            </a:custGeom>
            <a:grpFill/>
            <a:ln w="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891045"/>
              <a:endParaRPr lang="en-US" sz="1700" dirty="0">
                <a:solidFill>
                  <a:srgbClr val="003149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608" name="Freeform 292"/>
            <p:cNvSpPr>
              <a:spLocks noEditPoints="1"/>
            </p:cNvSpPr>
            <p:nvPr/>
          </p:nvSpPr>
          <p:spPr bwMode="gray">
            <a:xfrm>
              <a:off x="4367" y="2956"/>
              <a:ext cx="244" cy="242"/>
            </a:xfrm>
            <a:custGeom>
              <a:avLst/>
              <a:gdLst>
                <a:gd name="T0" fmla="*/ 0 w 2416"/>
                <a:gd name="T1" fmla="*/ 0 h 2400"/>
                <a:gd name="T2" fmla="*/ 0 w 2416"/>
                <a:gd name="T3" fmla="*/ 0 h 2400"/>
                <a:gd name="T4" fmla="*/ 0 w 2416"/>
                <a:gd name="T5" fmla="*/ 0 h 2400"/>
                <a:gd name="T6" fmla="*/ 0 w 2416"/>
                <a:gd name="T7" fmla="*/ 0 h 2400"/>
                <a:gd name="T8" fmla="*/ 0 w 2416"/>
                <a:gd name="T9" fmla="*/ 0 h 2400"/>
                <a:gd name="T10" fmla="*/ 0 w 2416"/>
                <a:gd name="T11" fmla="*/ 0 h 2400"/>
                <a:gd name="T12" fmla="*/ 0 w 2416"/>
                <a:gd name="T13" fmla="*/ 0 h 2400"/>
                <a:gd name="T14" fmla="*/ 0 w 2416"/>
                <a:gd name="T15" fmla="*/ 0 h 2400"/>
                <a:gd name="T16" fmla="*/ 0 w 2416"/>
                <a:gd name="T17" fmla="*/ 0 h 2400"/>
                <a:gd name="T18" fmla="*/ 0 w 2416"/>
                <a:gd name="T19" fmla="*/ 0 h 2400"/>
                <a:gd name="T20" fmla="*/ 0 w 2416"/>
                <a:gd name="T21" fmla="*/ 0 h 2400"/>
                <a:gd name="T22" fmla="*/ 0 w 2416"/>
                <a:gd name="T23" fmla="*/ 0 h 2400"/>
                <a:gd name="T24" fmla="*/ 0 w 2416"/>
                <a:gd name="T25" fmla="*/ 0 h 2400"/>
                <a:gd name="T26" fmla="*/ 0 w 2416"/>
                <a:gd name="T27" fmla="*/ 0 h 2400"/>
                <a:gd name="T28" fmla="*/ 0 w 2416"/>
                <a:gd name="T29" fmla="*/ 0 h 2400"/>
                <a:gd name="T30" fmla="*/ 0 w 2416"/>
                <a:gd name="T31" fmla="*/ 0 h 2400"/>
                <a:gd name="T32" fmla="*/ 0 w 2416"/>
                <a:gd name="T33" fmla="*/ 0 h 2400"/>
                <a:gd name="T34" fmla="*/ 0 w 2416"/>
                <a:gd name="T35" fmla="*/ 0 h 2400"/>
                <a:gd name="T36" fmla="*/ 0 w 2416"/>
                <a:gd name="T37" fmla="*/ 0 h 2400"/>
                <a:gd name="T38" fmla="*/ 0 w 2416"/>
                <a:gd name="T39" fmla="*/ 0 h 2400"/>
                <a:gd name="T40" fmla="*/ 0 w 2416"/>
                <a:gd name="T41" fmla="*/ 0 h 2400"/>
                <a:gd name="T42" fmla="*/ 0 w 2416"/>
                <a:gd name="T43" fmla="*/ 0 h 2400"/>
                <a:gd name="T44" fmla="*/ 0 w 2416"/>
                <a:gd name="T45" fmla="*/ 0 h 2400"/>
                <a:gd name="T46" fmla="*/ 0 w 2416"/>
                <a:gd name="T47" fmla="*/ 0 h 2400"/>
                <a:gd name="T48" fmla="*/ 0 w 2416"/>
                <a:gd name="T49" fmla="*/ 0 h 2400"/>
                <a:gd name="T50" fmla="*/ 0 w 2416"/>
                <a:gd name="T51" fmla="*/ 0 h 2400"/>
                <a:gd name="T52" fmla="*/ 0 w 2416"/>
                <a:gd name="T53" fmla="*/ 0 h 2400"/>
                <a:gd name="T54" fmla="*/ 0 w 2416"/>
                <a:gd name="T55" fmla="*/ 0 h 2400"/>
                <a:gd name="T56" fmla="*/ 0 w 2416"/>
                <a:gd name="T57" fmla="*/ 0 h 2400"/>
                <a:gd name="T58" fmla="*/ 0 w 2416"/>
                <a:gd name="T59" fmla="*/ 0 h 2400"/>
                <a:gd name="T60" fmla="*/ 0 w 2416"/>
                <a:gd name="T61" fmla="*/ 0 h 2400"/>
                <a:gd name="T62" fmla="*/ 0 w 2416"/>
                <a:gd name="T63" fmla="*/ 0 h 2400"/>
                <a:gd name="T64" fmla="*/ 0 w 2416"/>
                <a:gd name="T65" fmla="*/ 0 h 2400"/>
                <a:gd name="T66" fmla="*/ 0 w 2416"/>
                <a:gd name="T67" fmla="*/ 0 h 2400"/>
                <a:gd name="T68" fmla="*/ 0 w 2416"/>
                <a:gd name="T69" fmla="*/ 0 h 2400"/>
                <a:gd name="T70" fmla="*/ 0 w 2416"/>
                <a:gd name="T71" fmla="*/ 0 h 2400"/>
                <a:gd name="T72" fmla="*/ 0 w 2416"/>
                <a:gd name="T73" fmla="*/ 0 h 2400"/>
                <a:gd name="T74" fmla="*/ 0 w 2416"/>
                <a:gd name="T75" fmla="*/ 0 h 2400"/>
                <a:gd name="T76" fmla="*/ 0 w 2416"/>
                <a:gd name="T77" fmla="*/ 0 h 2400"/>
                <a:gd name="T78" fmla="*/ 0 w 2416"/>
                <a:gd name="T79" fmla="*/ 0 h 2400"/>
                <a:gd name="T80" fmla="*/ 0 w 2416"/>
                <a:gd name="T81" fmla="*/ 0 h 2400"/>
                <a:gd name="T82" fmla="*/ 0 w 2416"/>
                <a:gd name="T83" fmla="*/ 0 h 2400"/>
                <a:gd name="T84" fmla="*/ 0 w 2416"/>
                <a:gd name="T85" fmla="*/ 0 h 2400"/>
                <a:gd name="T86" fmla="*/ 0 w 2416"/>
                <a:gd name="T87" fmla="*/ 0 h 2400"/>
                <a:gd name="T88" fmla="*/ 0 w 2416"/>
                <a:gd name="T89" fmla="*/ 0 h 2400"/>
                <a:gd name="T90" fmla="*/ 0 w 2416"/>
                <a:gd name="T91" fmla="*/ 0 h 2400"/>
                <a:gd name="T92" fmla="*/ 0 w 2416"/>
                <a:gd name="T93" fmla="*/ 0 h 2400"/>
                <a:gd name="T94" fmla="*/ 0 w 2416"/>
                <a:gd name="T95" fmla="*/ 0 h 2400"/>
                <a:gd name="T96" fmla="*/ 0 w 2416"/>
                <a:gd name="T97" fmla="*/ 0 h 2400"/>
                <a:gd name="T98" fmla="*/ 0 w 2416"/>
                <a:gd name="T99" fmla="*/ 0 h 2400"/>
                <a:gd name="T100" fmla="*/ 0 w 2416"/>
                <a:gd name="T101" fmla="*/ 0 h 2400"/>
                <a:gd name="T102" fmla="*/ 0 w 2416"/>
                <a:gd name="T103" fmla="*/ 0 h 2400"/>
                <a:gd name="T104" fmla="*/ 0 w 2416"/>
                <a:gd name="T105" fmla="*/ 0 h 2400"/>
                <a:gd name="T106" fmla="*/ 0 w 2416"/>
                <a:gd name="T107" fmla="*/ 0 h 2400"/>
                <a:gd name="T108" fmla="*/ 0 w 2416"/>
                <a:gd name="T109" fmla="*/ 0 h 2400"/>
                <a:gd name="T110" fmla="*/ 0 w 2416"/>
                <a:gd name="T111" fmla="*/ 0 h 2400"/>
                <a:gd name="T112" fmla="*/ 0 w 2416"/>
                <a:gd name="T113" fmla="*/ 0 h 2400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2416"/>
                <a:gd name="T172" fmla="*/ 0 h 2400"/>
                <a:gd name="T173" fmla="*/ 2416 w 2416"/>
                <a:gd name="T174" fmla="*/ 2400 h 2400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2416" h="2400">
                  <a:moveTo>
                    <a:pt x="2250" y="847"/>
                  </a:moveTo>
                  <a:cubicBezTo>
                    <a:pt x="2250" y="847"/>
                    <a:pt x="2237" y="847"/>
                    <a:pt x="2237" y="847"/>
                  </a:cubicBezTo>
                  <a:cubicBezTo>
                    <a:pt x="2237" y="847"/>
                    <a:pt x="2250" y="847"/>
                    <a:pt x="2250" y="847"/>
                  </a:cubicBezTo>
                  <a:close/>
                  <a:moveTo>
                    <a:pt x="2365" y="372"/>
                  </a:moveTo>
                  <a:cubicBezTo>
                    <a:pt x="2340" y="359"/>
                    <a:pt x="2340" y="347"/>
                    <a:pt x="2340" y="321"/>
                  </a:cubicBezTo>
                  <a:cubicBezTo>
                    <a:pt x="2340" y="295"/>
                    <a:pt x="2327" y="295"/>
                    <a:pt x="2340" y="282"/>
                  </a:cubicBezTo>
                  <a:cubicBezTo>
                    <a:pt x="2353" y="257"/>
                    <a:pt x="2340" y="231"/>
                    <a:pt x="2340" y="231"/>
                  </a:cubicBezTo>
                  <a:cubicBezTo>
                    <a:pt x="2340" y="231"/>
                    <a:pt x="2314" y="205"/>
                    <a:pt x="2314" y="205"/>
                  </a:cubicBezTo>
                  <a:cubicBezTo>
                    <a:pt x="2301" y="193"/>
                    <a:pt x="2250" y="167"/>
                    <a:pt x="2237" y="154"/>
                  </a:cubicBezTo>
                  <a:cubicBezTo>
                    <a:pt x="2237" y="141"/>
                    <a:pt x="2212" y="90"/>
                    <a:pt x="2186" y="90"/>
                  </a:cubicBezTo>
                  <a:cubicBezTo>
                    <a:pt x="2161" y="90"/>
                    <a:pt x="2148" y="128"/>
                    <a:pt x="2148" y="128"/>
                  </a:cubicBezTo>
                  <a:cubicBezTo>
                    <a:pt x="2071" y="103"/>
                    <a:pt x="2071" y="103"/>
                    <a:pt x="2071" y="103"/>
                  </a:cubicBezTo>
                  <a:cubicBezTo>
                    <a:pt x="2071" y="103"/>
                    <a:pt x="2058" y="141"/>
                    <a:pt x="2033" y="128"/>
                  </a:cubicBezTo>
                  <a:cubicBezTo>
                    <a:pt x="2007" y="128"/>
                    <a:pt x="1956" y="103"/>
                    <a:pt x="1956" y="77"/>
                  </a:cubicBezTo>
                  <a:cubicBezTo>
                    <a:pt x="1943" y="64"/>
                    <a:pt x="1931" y="51"/>
                    <a:pt x="1918" y="39"/>
                  </a:cubicBezTo>
                  <a:cubicBezTo>
                    <a:pt x="1918" y="39"/>
                    <a:pt x="1918" y="39"/>
                    <a:pt x="1918" y="39"/>
                  </a:cubicBezTo>
                  <a:cubicBezTo>
                    <a:pt x="1918" y="39"/>
                    <a:pt x="1867" y="13"/>
                    <a:pt x="1841" y="39"/>
                  </a:cubicBezTo>
                  <a:cubicBezTo>
                    <a:pt x="1828" y="51"/>
                    <a:pt x="1790" y="26"/>
                    <a:pt x="1752" y="26"/>
                  </a:cubicBezTo>
                  <a:cubicBezTo>
                    <a:pt x="1713" y="26"/>
                    <a:pt x="1675" y="0"/>
                    <a:pt x="1662" y="13"/>
                  </a:cubicBezTo>
                  <a:cubicBezTo>
                    <a:pt x="1649" y="26"/>
                    <a:pt x="1611" y="51"/>
                    <a:pt x="1598" y="64"/>
                  </a:cubicBezTo>
                  <a:cubicBezTo>
                    <a:pt x="1573" y="64"/>
                    <a:pt x="1547" y="26"/>
                    <a:pt x="1521" y="51"/>
                  </a:cubicBezTo>
                  <a:cubicBezTo>
                    <a:pt x="1496" y="64"/>
                    <a:pt x="1406" y="90"/>
                    <a:pt x="1406" y="90"/>
                  </a:cubicBezTo>
                  <a:cubicBezTo>
                    <a:pt x="1342" y="77"/>
                    <a:pt x="1342" y="77"/>
                    <a:pt x="1342" y="77"/>
                  </a:cubicBezTo>
                  <a:cubicBezTo>
                    <a:pt x="1342" y="77"/>
                    <a:pt x="1304" y="167"/>
                    <a:pt x="1291" y="167"/>
                  </a:cubicBezTo>
                  <a:cubicBezTo>
                    <a:pt x="1266" y="167"/>
                    <a:pt x="1189" y="141"/>
                    <a:pt x="1163" y="141"/>
                  </a:cubicBezTo>
                  <a:cubicBezTo>
                    <a:pt x="1151" y="141"/>
                    <a:pt x="1048" y="103"/>
                    <a:pt x="1048" y="103"/>
                  </a:cubicBezTo>
                  <a:cubicBezTo>
                    <a:pt x="1048" y="103"/>
                    <a:pt x="933" y="13"/>
                    <a:pt x="920" y="26"/>
                  </a:cubicBezTo>
                  <a:cubicBezTo>
                    <a:pt x="895" y="39"/>
                    <a:pt x="831" y="90"/>
                    <a:pt x="831" y="103"/>
                  </a:cubicBezTo>
                  <a:cubicBezTo>
                    <a:pt x="831" y="116"/>
                    <a:pt x="805" y="231"/>
                    <a:pt x="805" y="231"/>
                  </a:cubicBezTo>
                  <a:cubicBezTo>
                    <a:pt x="805" y="231"/>
                    <a:pt x="818" y="270"/>
                    <a:pt x="780" y="321"/>
                  </a:cubicBezTo>
                  <a:cubicBezTo>
                    <a:pt x="754" y="372"/>
                    <a:pt x="754" y="449"/>
                    <a:pt x="741" y="475"/>
                  </a:cubicBezTo>
                  <a:cubicBezTo>
                    <a:pt x="729" y="501"/>
                    <a:pt x="703" y="539"/>
                    <a:pt x="716" y="565"/>
                  </a:cubicBezTo>
                  <a:cubicBezTo>
                    <a:pt x="716" y="603"/>
                    <a:pt x="703" y="655"/>
                    <a:pt x="703" y="693"/>
                  </a:cubicBezTo>
                  <a:cubicBezTo>
                    <a:pt x="690" y="719"/>
                    <a:pt x="703" y="745"/>
                    <a:pt x="677" y="757"/>
                  </a:cubicBezTo>
                  <a:cubicBezTo>
                    <a:pt x="652" y="770"/>
                    <a:pt x="601" y="822"/>
                    <a:pt x="575" y="834"/>
                  </a:cubicBezTo>
                  <a:cubicBezTo>
                    <a:pt x="562" y="860"/>
                    <a:pt x="524" y="924"/>
                    <a:pt x="511" y="937"/>
                  </a:cubicBezTo>
                  <a:cubicBezTo>
                    <a:pt x="498" y="950"/>
                    <a:pt x="498" y="1027"/>
                    <a:pt x="498" y="1053"/>
                  </a:cubicBezTo>
                  <a:cubicBezTo>
                    <a:pt x="498" y="1078"/>
                    <a:pt x="498" y="1117"/>
                    <a:pt x="473" y="1142"/>
                  </a:cubicBezTo>
                  <a:cubicBezTo>
                    <a:pt x="447" y="1168"/>
                    <a:pt x="371" y="1219"/>
                    <a:pt x="358" y="1258"/>
                  </a:cubicBezTo>
                  <a:cubicBezTo>
                    <a:pt x="345" y="1284"/>
                    <a:pt x="307" y="1296"/>
                    <a:pt x="294" y="1296"/>
                  </a:cubicBezTo>
                  <a:cubicBezTo>
                    <a:pt x="281" y="1284"/>
                    <a:pt x="268" y="1219"/>
                    <a:pt x="268" y="1219"/>
                  </a:cubicBezTo>
                  <a:cubicBezTo>
                    <a:pt x="268" y="1219"/>
                    <a:pt x="230" y="1232"/>
                    <a:pt x="204" y="1232"/>
                  </a:cubicBezTo>
                  <a:cubicBezTo>
                    <a:pt x="192" y="1232"/>
                    <a:pt x="192" y="1271"/>
                    <a:pt x="192" y="1271"/>
                  </a:cubicBezTo>
                  <a:cubicBezTo>
                    <a:pt x="192" y="1271"/>
                    <a:pt x="166" y="1284"/>
                    <a:pt x="153" y="1284"/>
                  </a:cubicBezTo>
                  <a:cubicBezTo>
                    <a:pt x="140" y="1284"/>
                    <a:pt x="128" y="1271"/>
                    <a:pt x="115" y="1258"/>
                  </a:cubicBezTo>
                  <a:cubicBezTo>
                    <a:pt x="115" y="1258"/>
                    <a:pt x="115" y="1258"/>
                    <a:pt x="115" y="1258"/>
                  </a:cubicBezTo>
                  <a:cubicBezTo>
                    <a:pt x="115" y="1258"/>
                    <a:pt x="115" y="1258"/>
                    <a:pt x="115" y="1258"/>
                  </a:cubicBezTo>
                  <a:cubicBezTo>
                    <a:pt x="51" y="1309"/>
                    <a:pt x="51" y="1309"/>
                    <a:pt x="51" y="1309"/>
                  </a:cubicBezTo>
                  <a:cubicBezTo>
                    <a:pt x="38" y="1361"/>
                    <a:pt x="38" y="1361"/>
                    <a:pt x="38" y="1361"/>
                  </a:cubicBezTo>
                  <a:cubicBezTo>
                    <a:pt x="38" y="1399"/>
                    <a:pt x="38" y="1399"/>
                    <a:pt x="38" y="1399"/>
                  </a:cubicBezTo>
                  <a:cubicBezTo>
                    <a:pt x="0" y="1399"/>
                    <a:pt x="0" y="1399"/>
                    <a:pt x="0" y="1399"/>
                  </a:cubicBezTo>
                  <a:cubicBezTo>
                    <a:pt x="25" y="1438"/>
                    <a:pt x="25" y="1438"/>
                    <a:pt x="25" y="1438"/>
                  </a:cubicBezTo>
                  <a:cubicBezTo>
                    <a:pt x="115" y="1412"/>
                    <a:pt x="115" y="1412"/>
                    <a:pt x="115" y="1412"/>
                  </a:cubicBezTo>
                  <a:cubicBezTo>
                    <a:pt x="550" y="1425"/>
                    <a:pt x="550" y="1425"/>
                    <a:pt x="550" y="1425"/>
                  </a:cubicBezTo>
                  <a:cubicBezTo>
                    <a:pt x="550" y="1425"/>
                    <a:pt x="601" y="1540"/>
                    <a:pt x="601" y="1579"/>
                  </a:cubicBezTo>
                  <a:cubicBezTo>
                    <a:pt x="601" y="1604"/>
                    <a:pt x="677" y="1694"/>
                    <a:pt x="677" y="1694"/>
                  </a:cubicBezTo>
                  <a:cubicBezTo>
                    <a:pt x="677" y="1694"/>
                    <a:pt x="780" y="1694"/>
                    <a:pt x="793" y="1681"/>
                  </a:cubicBezTo>
                  <a:cubicBezTo>
                    <a:pt x="805" y="1681"/>
                    <a:pt x="895" y="1681"/>
                    <a:pt x="895" y="1681"/>
                  </a:cubicBezTo>
                  <a:cubicBezTo>
                    <a:pt x="908" y="1643"/>
                    <a:pt x="908" y="1643"/>
                    <a:pt x="908" y="1643"/>
                  </a:cubicBezTo>
                  <a:cubicBezTo>
                    <a:pt x="933" y="1566"/>
                    <a:pt x="933" y="1566"/>
                    <a:pt x="933" y="1566"/>
                  </a:cubicBezTo>
                  <a:cubicBezTo>
                    <a:pt x="1061" y="1540"/>
                    <a:pt x="1061" y="1540"/>
                    <a:pt x="1061" y="1540"/>
                  </a:cubicBezTo>
                  <a:cubicBezTo>
                    <a:pt x="1048" y="1592"/>
                    <a:pt x="1048" y="1592"/>
                    <a:pt x="1048" y="1592"/>
                  </a:cubicBezTo>
                  <a:cubicBezTo>
                    <a:pt x="1048" y="1592"/>
                    <a:pt x="1202" y="1579"/>
                    <a:pt x="1202" y="1604"/>
                  </a:cubicBezTo>
                  <a:cubicBezTo>
                    <a:pt x="1202" y="1617"/>
                    <a:pt x="1202" y="1669"/>
                    <a:pt x="1202" y="1694"/>
                  </a:cubicBezTo>
                  <a:cubicBezTo>
                    <a:pt x="1215" y="1707"/>
                    <a:pt x="1227" y="1758"/>
                    <a:pt x="1215" y="1771"/>
                  </a:cubicBezTo>
                  <a:cubicBezTo>
                    <a:pt x="1202" y="1797"/>
                    <a:pt x="1215" y="1900"/>
                    <a:pt x="1240" y="1912"/>
                  </a:cubicBezTo>
                  <a:cubicBezTo>
                    <a:pt x="1253" y="1925"/>
                    <a:pt x="1278" y="2015"/>
                    <a:pt x="1266" y="2028"/>
                  </a:cubicBezTo>
                  <a:cubicBezTo>
                    <a:pt x="1253" y="2041"/>
                    <a:pt x="1253" y="2092"/>
                    <a:pt x="1253" y="2092"/>
                  </a:cubicBezTo>
                  <a:cubicBezTo>
                    <a:pt x="1304" y="2079"/>
                    <a:pt x="1304" y="2079"/>
                    <a:pt x="1304" y="2079"/>
                  </a:cubicBezTo>
                  <a:cubicBezTo>
                    <a:pt x="1304" y="2079"/>
                    <a:pt x="1381" y="2066"/>
                    <a:pt x="1394" y="2066"/>
                  </a:cubicBezTo>
                  <a:cubicBezTo>
                    <a:pt x="1406" y="2066"/>
                    <a:pt x="1457" y="2066"/>
                    <a:pt x="1483" y="2054"/>
                  </a:cubicBezTo>
                  <a:cubicBezTo>
                    <a:pt x="1496" y="2054"/>
                    <a:pt x="1521" y="2092"/>
                    <a:pt x="1521" y="2118"/>
                  </a:cubicBezTo>
                  <a:cubicBezTo>
                    <a:pt x="1521" y="2143"/>
                    <a:pt x="1573" y="2105"/>
                    <a:pt x="1573" y="2105"/>
                  </a:cubicBezTo>
                  <a:cubicBezTo>
                    <a:pt x="1649" y="2092"/>
                    <a:pt x="1649" y="2092"/>
                    <a:pt x="1649" y="2092"/>
                  </a:cubicBezTo>
                  <a:cubicBezTo>
                    <a:pt x="1649" y="2092"/>
                    <a:pt x="1649" y="2131"/>
                    <a:pt x="1649" y="2143"/>
                  </a:cubicBezTo>
                  <a:cubicBezTo>
                    <a:pt x="1649" y="2156"/>
                    <a:pt x="1688" y="2169"/>
                    <a:pt x="1713" y="2182"/>
                  </a:cubicBezTo>
                  <a:cubicBezTo>
                    <a:pt x="1739" y="2195"/>
                    <a:pt x="1803" y="2195"/>
                    <a:pt x="1828" y="2195"/>
                  </a:cubicBezTo>
                  <a:cubicBezTo>
                    <a:pt x="1841" y="2208"/>
                    <a:pt x="1854" y="2169"/>
                    <a:pt x="1854" y="2156"/>
                  </a:cubicBezTo>
                  <a:cubicBezTo>
                    <a:pt x="1854" y="2131"/>
                    <a:pt x="1905" y="2169"/>
                    <a:pt x="1905" y="2169"/>
                  </a:cubicBezTo>
                  <a:cubicBezTo>
                    <a:pt x="1905" y="2169"/>
                    <a:pt x="1943" y="2246"/>
                    <a:pt x="1969" y="2259"/>
                  </a:cubicBezTo>
                  <a:cubicBezTo>
                    <a:pt x="1982" y="2259"/>
                    <a:pt x="2033" y="2297"/>
                    <a:pt x="2058" y="2297"/>
                  </a:cubicBezTo>
                  <a:cubicBezTo>
                    <a:pt x="2071" y="2310"/>
                    <a:pt x="2097" y="2349"/>
                    <a:pt x="2110" y="2374"/>
                  </a:cubicBezTo>
                  <a:cubicBezTo>
                    <a:pt x="2110" y="2400"/>
                    <a:pt x="2135" y="2374"/>
                    <a:pt x="2174" y="2362"/>
                  </a:cubicBezTo>
                  <a:cubicBezTo>
                    <a:pt x="2199" y="2349"/>
                    <a:pt x="2186" y="2387"/>
                    <a:pt x="2186" y="2387"/>
                  </a:cubicBezTo>
                  <a:cubicBezTo>
                    <a:pt x="2212" y="2387"/>
                    <a:pt x="2212" y="2387"/>
                    <a:pt x="2212" y="2387"/>
                  </a:cubicBezTo>
                  <a:cubicBezTo>
                    <a:pt x="2212" y="2220"/>
                    <a:pt x="2212" y="2220"/>
                    <a:pt x="2212" y="2220"/>
                  </a:cubicBezTo>
                  <a:cubicBezTo>
                    <a:pt x="2212" y="2220"/>
                    <a:pt x="2212" y="2220"/>
                    <a:pt x="2199" y="2220"/>
                  </a:cubicBezTo>
                  <a:cubicBezTo>
                    <a:pt x="2174" y="2220"/>
                    <a:pt x="2186" y="2259"/>
                    <a:pt x="2186" y="2259"/>
                  </a:cubicBezTo>
                  <a:cubicBezTo>
                    <a:pt x="2135" y="2246"/>
                    <a:pt x="2135" y="2246"/>
                    <a:pt x="2135" y="2246"/>
                  </a:cubicBezTo>
                  <a:cubicBezTo>
                    <a:pt x="2097" y="2220"/>
                    <a:pt x="2097" y="2220"/>
                    <a:pt x="2097" y="2220"/>
                  </a:cubicBezTo>
                  <a:cubicBezTo>
                    <a:pt x="2097" y="2220"/>
                    <a:pt x="2033" y="2169"/>
                    <a:pt x="2046" y="2131"/>
                  </a:cubicBezTo>
                  <a:cubicBezTo>
                    <a:pt x="2046" y="2105"/>
                    <a:pt x="2058" y="2041"/>
                    <a:pt x="2071" y="2028"/>
                  </a:cubicBezTo>
                  <a:cubicBezTo>
                    <a:pt x="2071" y="2015"/>
                    <a:pt x="2058" y="1938"/>
                    <a:pt x="2058" y="1900"/>
                  </a:cubicBezTo>
                  <a:cubicBezTo>
                    <a:pt x="2058" y="1861"/>
                    <a:pt x="2033" y="1848"/>
                    <a:pt x="2033" y="1848"/>
                  </a:cubicBezTo>
                  <a:cubicBezTo>
                    <a:pt x="2033" y="1848"/>
                    <a:pt x="2058" y="1810"/>
                    <a:pt x="2084" y="1810"/>
                  </a:cubicBezTo>
                  <a:cubicBezTo>
                    <a:pt x="2097" y="1810"/>
                    <a:pt x="2097" y="1758"/>
                    <a:pt x="2097" y="1758"/>
                  </a:cubicBezTo>
                  <a:cubicBezTo>
                    <a:pt x="2327" y="1707"/>
                    <a:pt x="2327" y="1707"/>
                    <a:pt x="2327" y="1707"/>
                  </a:cubicBezTo>
                  <a:cubicBezTo>
                    <a:pt x="2327" y="1707"/>
                    <a:pt x="2250" y="1566"/>
                    <a:pt x="2237" y="1527"/>
                  </a:cubicBezTo>
                  <a:cubicBezTo>
                    <a:pt x="2212" y="1489"/>
                    <a:pt x="2186" y="1463"/>
                    <a:pt x="2186" y="1438"/>
                  </a:cubicBezTo>
                  <a:cubicBezTo>
                    <a:pt x="2186" y="1399"/>
                    <a:pt x="2161" y="1335"/>
                    <a:pt x="2161" y="1309"/>
                  </a:cubicBezTo>
                  <a:cubicBezTo>
                    <a:pt x="2161" y="1296"/>
                    <a:pt x="2161" y="1271"/>
                    <a:pt x="2174" y="1245"/>
                  </a:cubicBezTo>
                  <a:cubicBezTo>
                    <a:pt x="2161" y="1245"/>
                    <a:pt x="2161" y="1245"/>
                    <a:pt x="2161" y="1232"/>
                  </a:cubicBezTo>
                  <a:cubicBezTo>
                    <a:pt x="2148" y="1219"/>
                    <a:pt x="2122" y="1168"/>
                    <a:pt x="2135" y="1130"/>
                  </a:cubicBezTo>
                  <a:cubicBezTo>
                    <a:pt x="2148" y="1091"/>
                    <a:pt x="2122" y="1040"/>
                    <a:pt x="2122" y="1040"/>
                  </a:cubicBezTo>
                  <a:cubicBezTo>
                    <a:pt x="2110" y="1001"/>
                    <a:pt x="2110" y="1001"/>
                    <a:pt x="2110" y="1001"/>
                  </a:cubicBezTo>
                  <a:cubicBezTo>
                    <a:pt x="2097" y="1001"/>
                    <a:pt x="2084" y="988"/>
                    <a:pt x="2097" y="976"/>
                  </a:cubicBezTo>
                  <a:cubicBezTo>
                    <a:pt x="2110" y="963"/>
                    <a:pt x="2135" y="899"/>
                    <a:pt x="2135" y="899"/>
                  </a:cubicBezTo>
                  <a:cubicBezTo>
                    <a:pt x="2135" y="899"/>
                    <a:pt x="2148" y="860"/>
                    <a:pt x="2186" y="847"/>
                  </a:cubicBezTo>
                  <a:cubicBezTo>
                    <a:pt x="2186" y="847"/>
                    <a:pt x="2199" y="847"/>
                    <a:pt x="2199" y="847"/>
                  </a:cubicBezTo>
                  <a:cubicBezTo>
                    <a:pt x="2186" y="834"/>
                    <a:pt x="2186" y="834"/>
                    <a:pt x="2186" y="834"/>
                  </a:cubicBezTo>
                  <a:cubicBezTo>
                    <a:pt x="2186" y="834"/>
                    <a:pt x="2186" y="719"/>
                    <a:pt x="2186" y="693"/>
                  </a:cubicBezTo>
                  <a:cubicBezTo>
                    <a:pt x="2199" y="680"/>
                    <a:pt x="2225" y="603"/>
                    <a:pt x="2237" y="578"/>
                  </a:cubicBezTo>
                  <a:cubicBezTo>
                    <a:pt x="2237" y="552"/>
                    <a:pt x="2276" y="526"/>
                    <a:pt x="2289" y="514"/>
                  </a:cubicBezTo>
                  <a:cubicBezTo>
                    <a:pt x="2301" y="501"/>
                    <a:pt x="2365" y="462"/>
                    <a:pt x="2391" y="424"/>
                  </a:cubicBezTo>
                  <a:cubicBezTo>
                    <a:pt x="2416" y="398"/>
                    <a:pt x="2391" y="385"/>
                    <a:pt x="2365" y="372"/>
                  </a:cubicBez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891045"/>
              <a:endParaRPr lang="en-US" sz="1700" dirty="0">
                <a:solidFill>
                  <a:srgbClr val="003149"/>
                </a:solidFill>
                <a:cs typeface="Arial" panose="020B0604020202020204" pitchFamily="34" charset="0"/>
              </a:endParaRPr>
            </a:p>
          </p:txBody>
        </p:sp>
      </p:grpSp>
      <p:grpSp>
        <p:nvGrpSpPr>
          <p:cNvPr id="609" name="Group 293"/>
          <p:cNvGrpSpPr>
            <a:grpSpLocks/>
          </p:cNvGrpSpPr>
          <p:nvPr/>
        </p:nvGrpSpPr>
        <p:grpSpPr bwMode="gray">
          <a:xfrm>
            <a:off x="1690896" y="2528642"/>
            <a:ext cx="203642" cy="213134"/>
            <a:chOff x="4587" y="3037"/>
            <a:chExt cx="139" cy="138"/>
          </a:xfrm>
          <a:solidFill>
            <a:schemeClr val="accent3"/>
          </a:solidFill>
        </p:grpSpPr>
        <p:sp>
          <p:nvSpPr>
            <p:cNvPr id="610" name="Freeform 294"/>
            <p:cNvSpPr>
              <a:spLocks/>
            </p:cNvSpPr>
            <p:nvPr/>
          </p:nvSpPr>
          <p:spPr bwMode="gray">
            <a:xfrm>
              <a:off x="4587" y="3037"/>
              <a:ext cx="139" cy="138"/>
            </a:xfrm>
            <a:custGeom>
              <a:avLst/>
              <a:gdLst>
                <a:gd name="T0" fmla="*/ 0 w 1383"/>
                <a:gd name="T1" fmla="*/ 0 h 1367"/>
                <a:gd name="T2" fmla="*/ 0 w 1383"/>
                <a:gd name="T3" fmla="*/ 0 h 1367"/>
                <a:gd name="T4" fmla="*/ 0 w 1383"/>
                <a:gd name="T5" fmla="*/ 0 h 1367"/>
                <a:gd name="T6" fmla="*/ 0 w 1383"/>
                <a:gd name="T7" fmla="*/ 0 h 1367"/>
                <a:gd name="T8" fmla="*/ 0 w 1383"/>
                <a:gd name="T9" fmla="*/ 0 h 1367"/>
                <a:gd name="T10" fmla="*/ 0 w 1383"/>
                <a:gd name="T11" fmla="*/ 0 h 1367"/>
                <a:gd name="T12" fmla="*/ 0 w 1383"/>
                <a:gd name="T13" fmla="*/ 0 h 1367"/>
                <a:gd name="T14" fmla="*/ 0 w 1383"/>
                <a:gd name="T15" fmla="*/ 0 h 1367"/>
                <a:gd name="T16" fmla="*/ 0 w 1383"/>
                <a:gd name="T17" fmla="*/ 0 h 1367"/>
                <a:gd name="T18" fmla="*/ 0 w 1383"/>
                <a:gd name="T19" fmla="*/ 0 h 1367"/>
                <a:gd name="T20" fmla="*/ 0 w 1383"/>
                <a:gd name="T21" fmla="*/ 0 h 1367"/>
                <a:gd name="T22" fmla="*/ 0 w 1383"/>
                <a:gd name="T23" fmla="*/ 0 h 1367"/>
                <a:gd name="T24" fmla="*/ 0 w 1383"/>
                <a:gd name="T25" fmla="*/ 0 h 1367"/>
                <a:gd name="T26" fmla="*/ 0 w 1383"/>
                <a:gd name="T27" fmla="*/ 0 h 1367"/>
                <a:gd name="T28" fmla="*/ 0 w 1383"/>
                <a:gd name="T29" fmla="*/ 0 h 1367"/>
                <a:gd name="T30" fmla="*/ 0 w 1383"/>
                <a:gd name="T31" fmla="*/ 0 h 1367"/>
                <a:gd name="T32" fmla="*/ 0 w 1383"/>
                <a:gd name="T33" fmla="*/ 0 h 1367"/>
                <a:gd name="T34" fmla="*/ 0 w 1383"/>
                <a:gd name="T35" fmla="*/ 0 h 1367"/>
                <a:gd name="T36" fmla="*/ 0 w 1383"/>
                <a:gd name="T37" fmla="*/ 0 h 1367"/>
                <a:gd name="T38" fmla="*/ 0 w 1383"/>
                <a:gd name="T39" fmla="*/ 0 h 1367"/>
                <a:gd name="T40" fmla="*/ 0 w 1383"/>
                <a:gd name="T41" fmla="*/ 0 h 1367"/>
                <a:gd name="T42" fmla="*/ 0 w 1383"/>
                <a:gd name="T43" fmla="*/ 0 h 1367"/>
                <a:gd name="T44" fmla="*/ 0 w 1383"/>
                <a:gd name="T45" fmla="*/ 0 h 1367"/>
                <a:gd name="T46" fmla="*/ 0 w 1383"/>
                <a:gd name="T47" fmla="*/ 0 h 1367"/>
                <a:gd name="T48" fmla="*/ 0 w 1383"/>
                <a:gd name="T49" fmla="*/ 0 h 1367"/>
                <a:gd name="T50" fmla="*/ 0 w 1383"/>
                <a:gd name="T51" fmla="*/ 0 h 1367"/>
                <a:gd name="T52" fmla="*/ 0 w 1383"/>
                <a:gd name="T53" fmla="*/ 0 h 1367"/>
                <a:gd name="T54" fmla="*/ 0 w 1383"/>
                <a:gd name="T55" fmla="*/ 0 h 1367"/>
                <a:gd name="T56" fmla="*/ 0 w 1383"/>
                <a:gd name="T57" fmla="*/ 0 h 1367"/>
                <a:gd name="T58" fmla="*/ 0 w 1383"/>
                <a:gd name="T59" fmla="*/ 0 h 1367"/>
                <a:gd name="T60" fmla="*/ 0 w 1383"/>
                <a:gd name="T61" fmla="*/ 0 h 1367"/>
                <a:gd name="T62" fmla="*/ 0 w 1383"/>
                <a:gd name="T63" fmla="*/ 0 h 1367"/>
                <a:gd name="T64" fmla="*/ 0 w 1383"/>
                <a:gd name="T65" fmla="*/ 0 h 1367"/>
                <a:gd name="T66" fmla="*/ 0 w 1383"/>
                <a:gd name="T67" fmla="*/ 0 h 1367"/>
                <a:gd name="T68" fmla="*/ 0 w 1383"/>
                <a:gd name="T69" fmla="*/ 0 h 1367"/>
                <a:gd name="T70" fmla="*/ 0 w 1383"/>
                <a:gd name="T71" fmla="*/ 0 h 1367"/>
                <a:gd name="T72" fmla="*/ 0 w 1383"/>
                <a:gd name="T73" fmla="*/ 0 h 1367"/>
                <a:gd name="T74" fmla="*/ 0 w 1383"/>
                <a:gd name="T75" fmla="*/ 0 h 1367"/>
                <a:gd name="T76" fmla="*/ 0 w 1383"/>
                <a:gd name="T77" fmla="*/ 0 h 1367"/>
                <a:gd name="T78" fmla="*/ 0 w 1383"/>
                <a:gd name="T79" fmla="*/ 0 h 1367"/>
                <a:gd name="T80" fmla="*/ 0 w 1383"/>
                <a:gd name="T81" fmla="*/ 0 h 1367"/>
                <a:gd name="T82" fmla="*/ 0 w 1383"/>
                <a:gd name="T83" fmla="*/ 0 h 1367"/>
                <a:gd name="T84" fmla="*/ 0 w 1383"/>
                <a:gd name="T85" fmla="*/ 0 h 1367"/>
                <a:gd name="T86" fmla="*/ 0 w 1383"/>
                <a:gd name="T87" fmla="*/ 0 h 1367"/>
                <a:gd name="T88" fmla="*/ 0 w 1383"/>
                <a:gd name="T89" fmla="*/ 0 h 1367"/>
                <a:gd name="T90" fmla="*/ 0 w 1383"/>
                <a:gd name="T91" fmla="*/ 0 h 1367"/>
                <a:gd name="T92" fmla="*/ 0 w 1383"/>
                <a:gd name="T93" fmla="*/ 0 h 1367"/>
                <a:gd name="T94" fmla="*/ 0 w 1383"/>
                <a:gd name="T95" fmla="*/ 0 h 1367"/>
                <a:gd name="T96" fmla="*/ 0 w 1383"/>
                <a:gd name="T97" fmla="*/ 0 h 1367"/>
                <a:gd name="T98" fmla="*/ 0 w 1383"/>
                <a:gd name="T99" fmla="*/ 0 h 1367"/>
                <a:gd name="T100" fmla="*/ 0 w 1383"/>
                <a:gd name="T101" fmla="*/ 0 h 1367"/>
                <a:gd name="T102" fmla="*/ 0 w 1383"/>
                <a:gd name="T103" fmla="*/ 0 h 1367"/>
                <a:gd name="T104" fmla="*/ 0 w 1383"/>
                <a:gd name="T105" fmla="*/ 0 h 1367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1383"/>
                <a:gd name="T160" fmla="*/ 0 h 1367"/>
                <a:gd name="T161" fmla="*/ 1383 w 1383"/>
                <a:gd name="T162" fmla="*/ 1367 h 1367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1383" h="1367">
                  <a:moveTo>
                    <a:pt x="1307" y="1135"/>
                  </a:moveTo>
                  <a:cubicBezTo>
                    <a:pt x="1294" y="1135"/>
                    <a:pt x="1269" y="1096"/>
                    <a:pt x="1282" y="1071"/>
                  </a:cubicBezTo>
                  <a:cubicBezTo>
                    <a:pt x="1294" y="1032"/>
                    <a:pt x="1269" y="1006"/>
                    <a:pt x="1244" y="980"/>
                  </a:cubicBezTo>
                  <a:cubicBezTo>
                    <a:pt x="1231" y="955"/>
                    <a:pt x="1218" y="929"/>
                    <a:pt x="1244" y="903"/>
                  </a:cubicBezTo>
                  <a:cubicBezTo>
                    <a:pt x="1269" y="877"/>
                    <a:pt x="1231" y="851"/>
                    <a:pt x="1244" y="813"/>
                  </a:cubicBezTo>
                  <a:cubicBezTo>
                    <a:pt x="1244" y="774"/>
                    <a:pt x="1256" y="761"/>
                    <a:pt x="1256" y="748"/>
                  </a:cubicBezTo>
                  <a:cubicBezTo>
                    <a:pt x="1244" y="735"/>
                    <a:pt x="1218" y="697"/>
                    <a:pt x="1205" y="684"/>
                  </a:cubicBezTo>
                  <a:cubicBezTo>
                    <a:pt x="1193" y="671"/>
                    <a:pt x="1155" y="632"/>
                    <a:pt x="1167" y="594"/>
                  </a:cubicBezTo>
                  <a:cubicBezTo>
                    <a:pt x="1193" y="568"/>
                    <a:pt x="1205" y="516"/>
                    <a:pt x="1205" y="516"/>
                  </a:cubicBezTo>
                  <a:cubicBezTo>
                    <a:pt x="1218" y="478"/>
                    <a:pt x="1218" y="478"/>
                    <a:pt x="1218" y="478"/>
                  </a:cubicBezTo>
                  <a:cubicBezTo>
                    <a:pt x="1218" y="478"/>
                    <a:pt x="1167" y="426"/>
                    <a:pt x="1142" y="413"/>
                  </a:cubicBezTo>
                  <a:cubicBezTo>
                    <a:pt x="1129" y="400"/>
                    <a:pt x="1040" y="336"/>
                    <a:pt x="1040" y="323"/>
                  </a:cubicBezTo>
                  <a:cubicBezTo>
                    <a:pt x="1040" y="310"/>
                    <a:pt x="1028" y="245"/>
                    <a:pt x="1028" y="245"/>
                  </a:cubicBezTo>
                  <a:cubicBezTo>
                    <a:pt x="571" y="0"/>
                    <a:pt x="571" y="0"/>
                    <a:pt x="571" y="0"/>
                  </a:cubicBezTo>
                  <a:cubicBezTo>
                    <a:pt x="571" y="0"/>
                    <a:pt x="571" y="0"/>
                    <a:pt x="571" y="0"/>
                  </a:cubicBezTo>
                  <a:cubicBezTo>
                    <a:pt x="558" y="13"/>
                    <a:pt x="558" y="26"/>
                    <a:pt x="546" y="26"/>
                  </a:cubicBezTo>
                  <a:cubicBezTo>
                    <a:pt x="520" y="78"/>
                    <a:pt x="520" y="117"/>
                    <a:pt x="507" y="142"/>
                  </a:cubicBezTo>
                  <a:cubicBezTo>
                    <a:pt x="495" y="181"/>
                    <a:pt x="431" y="168"/>
                    <a:pt x="431" y="142"/>
                  </a:cubicBezTo>
                  <a:cubicBezTo>
                    <a:pt x="419" y="104"/>
                    <a:pt x="292" y="233"/>
                    <a:pt x="292" y="181"/>
                  </a:cubicBezTo>
                  <a:cubicBezTo>
                    <a:pt x="292" y="129"/>
                    <a:pt x="292" y="65"/>
                    <a:pt x="317" y="26"/>
                  </a:cubicBezTo>
                  <a:cubicBezTo>
                    <a:pt x="317" y="13"/>
                    <a:pt x="317" y="13"/>
                    <a:pt x="317" y="0"/>
                  </a:cubicBezTo>
                  <a:cubicBezTo>
                    <a:pt x="216" y="0"/>
                    <a:pt x="139" y="0"/>
                    <a:pt x="127" y="0"/>
                  </a:cubicBezTo>
                  <a:cubicBezTo>
                    <a:pt x="127" y="0"/>
                    <a:pt x="127" y="0"/>
                    <a:pt x="127" y="0"/>
                  </a:cubicBezTo>
                  <a:cubicBezTo>
                    <a:pt x="139" y="26"/>
                    <a:pt x="139" y="26"/>
                    <a:pt x="139" y="26"/>
                  </a:cubicBezTo>
                  <a:cubicBezTo>
                    <a:pt x="139" y="26"/>
                    <a:pt x="177" y="78"/>
                    <a:pt x="177" y="104"/>
                  </a:cubicBezTo>
                  <a:cubicBezTo>
                    <a:pt x="177" y="129"/>
                    <a:pt x="190" y="168"/>
                    <a:pt x="165" y="168"/>
                  </a:cubicBezTo>
                  <a:cubicBezTo>
                    <a:pt x="152" y="168"/>
                    <a:pt x="152" y="168"/>
                    <a:pt x="139" y="168"/>
                  </a:cubicBezTo>
                  <a:cubicBezTo>
                    <a:pt x="127" y="233"/>
                    <a:pt x="127" y="233"/>
                    <a:pt x="127" y="233"/>
                  </a:cubicBezTo>
                  <a:cubicBezTo>
                    <a:pt x="177" y="258"/>
                    <a:pt x="177" y="258"/>
                    <a:pt x="177" y="258"/>
                  </a:cubicBezTo>
                  <a:cubicBezTo>
                    <a:pt x="127" y="323"/>
                    <a:pt x="127" y="323"/>
                    <a:pt x="127" y="323"/>
                  </a:cubicBezTo>
                  <a:cubicBezTo>
                    <a:pt x="127" y="323"/>
                    <a:pt x="51" y="439"/>
                    <a:pt x="38" y="439"/>
                  </a:cubicBezTo>
                  <a:cubicBezTo>
                    <a:pt x="38" y="439"/>
                    <a:pt x="25" y="439"/>
                    <a:pt x="12" y="439"/>
                  </a:cubicBezTo>
                  <a:cubicBezTo>
                    <a:pt x="12" y="439"/>
                    <a:pt x="12" y="439"/>
                    <a:pt x="12" y="439"/>
                  </a:cubicBezTo>
                  <a:cubicBezTo>
                    <a:pt x="0" y="465"/>
                    <a:pt x="0" y="490"/>
                    <a:pt x="0" y="503"/>
                  </a:cubicBezTo>
                  <a:cubicBezTo>
                    <a:pt x="0" y="529"/>
                    <a:pt x="25" y="594"/>
                    <a:pt x="25" y="632"/>
                  </a:cubicBezTo>
                  <a:cubicBezTo>
                    <a:pt x="25" y="658"/>
                    <a:pt x="51" y="684"/>
                    <a:pt x="76" y="722"/>
                  </a:cubicBezTo>
                  <a:cubicBezTo>
                    <a:pt x="89" y="761"/>
                    <a:pt x="165" y="903"/>
                    <a:pt x="165" y="903"/>
                  </a:cubicBezTo>
                  <a:cubicBezTo>
                    <a:pt x="165" y="903"/>
                    <a:pt x="241" y="955"/>
                    <a:pt x="279" y="980"/>
                  </a:cubicBezTo>
                  <a:cubicBezTo>
                    <a:pt x="317" y="1006"/>
                    <a:pt x="419" y="1058"/>
                    <a:pt x="444" y="1071"/>
                  </a:cubicBezTo>
                  <a:cubicBezTo>
                    <a:pt x="469" y="1083"/>
                    <a:pt x="546" y="1096"/>
                    <a:pt x="558" y="1096"/>
                  </a:cubicBezTo>
                  <a:cubicBezTo>
                    <a:pt x="571" y="1083"/>
                    <a:pt x="596" y="1071"/>
                    <a:pt x="622" y="1109"/>
                  </a:cubicBezTo>
                  <a:cubicBezTo>
                    <a:pt x="647" y="1161"/>
                    <a:pt x="647" y="1251"/>
                    <a:pt x="660" y="1277"/>
                  </a:cubicBezTo>
                  <a:cubicBezTo>
                    <a:pt x="672" y="1303"/>
                    <a:pt x="685" y="1341"/>
                    <a:pt x="685" y="1341"/>
                  </a:cubicBezTo>
                  <a:cubicBezTo>
                    <a:pt x="685" y="1341"/>
                    <a:pt x="761" y="1341"/>
                    <a:pt x="774" y="1341"/>
                  </a:cubicBezTo>
                  <a:cubicBezTo>
                    <a:pt x="799" y="1341"/>
                    <a:pt x="837" y="1316"/>
                    <a:pt x="837" y="1341"/>
                  </a:cubicBezTo>
                  <a:cubicBezTo>
                    <a:pt x="850" y="1367"/>
                    <a:pt x="875" y="1367"/>
                    <a:pt x="914" y="1354"/>
                  </a:cubicBezTo>
                  <a:cubicBezTo>
                    <a:pt x="952" y="1341"/>
                    <a:pt x="964" y="1341"/>
                    <a:pt x="1002" y="1354"/>
                  </a:cubicBezTo>
                  <a:cubicBezTo>
                    <a:pt x="1040" y="1354"/>
                    <a:pt x="1028" y="1328"/>
                    <a:pt x="1066" y="1316"/>
                  </a:cubicBezTo>
                  <a:cubicBezTo>
                    <a:pt x="1104" y="1290"/>
                    <a:pt x="1117" y="1328"/>
                    <a:pt x="1142" y="1316"/>
                  </a:cubicBezTo>
                  <a:cubicBezTo>
                    <a:pt x="1167" y="1303"/>
                    <a:pt x="1218" y="1290"/>
                    <a:pt x="1244" y="1277"/>
                  </a:cubicBezTo>
                  <a:cubicBezTo>
                    <a:pt x="1269" y="1264"/>
                    <a:pt x="1332" y="1225"/>
                    <a:pt x="1345" y="1225"/>
                  </a:cubicBezTo>
                  <a:cubicBezTo>
                    <a:pt x="1370" y="1225"/>
                    <a:pt x="1383" y="1200"/>
                    <a:pt x="1383" y="1200"/>
                  </a:cubicBezTo>
                  <a:cubicBezTo>
                    <a:pt x="1383" y="1200"/>
                    <a:pt x="1320" y="1148"/>
                    <a:pt x="1307" y="1135"/>
                  </a:cubicBezTo>
                </a:path>
              </a:pathLst>
            </a:custGeom>
            <a:grpFill/>
            <a:ln w="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891045"/>
              <a:endParaRPr lang="en-US" sz="1700" dirty="0">
                <a:solidFill>
                  <a:srgbClr val="003149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611" name="Freeform 295"/>
            <p:cNvSpPr>
              <a:spLocks/>
            </p:cNvSpPr>
            <p:nvPr/>
          </p:nvSpPr>
          <p:spPr bwMode="gray">
            <a:xfrm>
              <a:off x="4587" y="3037"/>
              <a:ext cx="139" cy="138"/>
            </a:xfrm>
            <a:custGeom>
              <a:avLst/>
              <a:gdLst>
                <a:gd name="T0" fmla="*/ 132 w 139"/>
                <a:gd name="T1" fmla="*/ 115 h 138"/>
                <a:gd name="T2" fmla="*/ 129 w 139"/>
                <a:gd name="T3" fmla="*/ 108 h 138"/>
                <a:gd name="T4" fmla="*/ 125 w 139"/>
                <a:gd name="T5" fmla="*/ 99 h 138"/>
                <a:gd name="T6" fmla="*/ 125 w 139"/>
                <a:gd name="T7" fmla="*/ 92 h 138"/>
                <a:gd name="T8" fmla="*/ 125 w 139"/>
                <a:gd name="T9" fmla="*/ 82 h 138"/>
                <a:gd name="T10" fmla="*/ 127 w 139"/>
                <a:gd name="T11" fmla="*/ 76 h 138"/>
                <a:gd name="T12" fmla="*/ 121 w 139"/>
                <a:gd name="T13" fmla="*/ 69 h 138"/>
                <a:gd name="T14" fmla="*/ 118 w 139"/>
                <a:gd name="T15" fmla="*/ 60 h 138"/>
                <a:gd name="T16" fmla="*/ 121 w 139"/>
                <a:gd name="T17" fmla="*/ 52 h 138"/>
                <a:gd name="T18" fmla="*/ 123 w 139"/>
                <a:gd name="T19" fmla="*/ 49 h 138"/>
                <a:gd name="T20" fmla="*/ 115 w 139"/>
                <a:gd name="T21" fmla="*/ 42 h 138"/>
                <a:gd name="T22" fmla="*/ 105 w 139"/>
                <a:gd name="T23" fmla="*/ 33 h 138"/>
                <a:gd name="T24" fmla="*/ 104 w 139"/>
                <a:gd name="T25" fmla="*/ 25 h 138"/>
                <a:gd name="T26" fmla="*/ 57 w 139"/>
                <a:gd name="T27" fmla="*/ 0 h 138"/>
                <a:gd name="T28" fmla="*/ 57 w 139"/>
                <a:gd name="T29" fmla="*/ 0 h 138"/>
                <a:gd name="T30" fmla="*/ 55 w 139"/>
                <a:gd name="T31" fmla="*/ 3 h 138"/>
                <a:gd name="T32" fmla="*/ 51 w 139"/>
                <a:gd name="T33" fmla="*/ 15 h 138"/>
                <a:gd name="T34" fmla="*/ 43 w 139"/>
                <a:gd name="T35" fmla="*/ 15 h 138"/>
                <a:gd name="T36" fmla="*/ 29 w 139"/>
                <a:gd name="T37" fmla="*/ 19 h 138"/>
                <a:gd name="T38" fmla="*/ 32 w 139"/>
                <a:gd name="T39" fmla="*/ 3 h 138"/>
                <a:gd name="T40" fmla="*/ 32 w 139"/>
                <a:gd name="T41" fmla="*/ 0 h 138"/>
                <a:gd name="T42" fmla="*/ 13 w 139"/>
                <a:gd name="T43" fmla="*/ 0 h 138"/>
                <a:gd name="T44" fmla="*/ 13 w 139"/>
                <a:gd name="T45" fmla="*/ 0 h 138"/>
                <a:gd name="T46" fmla="*/ 14 w 139"/>
                <a:gd name="T47" fmla="*/ 3 h 138"/>
                <a:gd name="T48" fmla="*/ 18 w 139"/>
                <a:gd name="T49" fmla="*/ 11 h 138"/>
                <a:gd name="T50" fmla="*/ 16 w 139"/>
                <a:gd name="T51" fmla="*/ 17 h 138"/>
                <a:gd name="T52" fmla="*/ 14 w 139"/>
                <a:gd name="T53" fmla="*/ 17 h 138"/>
                <a:gd name="T54" fmla="*/ 13 w 139"/>
                <a:gd name="T55" fmla="*/ 24 h 138"/>
                <a:gd name="T56" fmla="*/ 18 w 139"/>
                <a:gd name="T57" fmla="*/ 26 h 138"/>
                <a:gd name="T58" fmla="*/ 13 w 139"/>
                <a:gd name="T59" fmla="*/ 33 h 138"/>
                <a:gd name="T60" fmla="*/ 4 w 139"/>
                <a:gd name="T61" fmla="*/ 45 h 138"/>
                <a:gd name="T62" fmla="*/ 1 w 139"/>
                <a:gd name="T63" fmla="*/ 45 h 138"/>
                <a:gd name="T64" fmla="*/ 1 w 139"/>
                <a:gd name="T65" fmla="*/ 45 h 138"/>
                <a:gd name="T66" fmla="*/ 0 w 139"/>
                <a:gd name="T67" fmla="*/ 51 h 138"/>
                <a:gd name="T68" fmla="*/ 2 w 139"/>
                <a:gd name="T69" fmla="*/ 64 h 138"/>
                <a:gd name="T70" fmla="*/ 7 w 139"/>
                <a:gd name="T71" fmla="*/ 73 h 138"/>
                <a:gd name="T72" fmla="*/ 16 w 139"/>
                <a:gd name="T73" fmla="*/ 92 h 138"/>
                <a:gd name="T74" fmla="*/ 28 w 139"/>
                <a:gd name="T75" fmla="*/ 99 h 138"/>
                <a:gd name="T76" fmla="*/ 45 w 139"/>
                <a:gd name="T77" fmla="*/ 108 h 138"/>
                <a:gd name="T78" fmla="*/ 56 w 139"/>
                <a:gd name="T79" fmla="*/ 111 h 138"/>
                <a:gd name="T80" fmla="*/ 63 w 139"/>
                <a:gd name="T81" fmla="*/ 112 h 138"/>
                <a:gd name="T82" fmla="*/ 66 w 139"/>
                <a:gd name="T83" fmla="*/ 129 h 138"/>
                <a:gd name="T84" fmla="*/ 69 w 139"/>
                <a:gd name="T85" fmla="*/ 136 h 138"/>
                <a:gd name="T86" fmla="*/ 78 w 139"/>
                <a:gd name="T87" fmla="*/ 136 h 138"/>
                <a:gd name="T88" fmla="*/ 84 w 139"/>
                <a:gd name="T89" fmla="*/ 136 h 138"/>
                <a:gd name="T90" fmla="*/ 92 w 139"/>
                <a:gd name="T91" fmla="*/ 137 h 138"/>
                <a:gd name="T92" fmla="*/ 101 w 139"/>
                <a:gd name="T93" fmla="*/ 137 h 138"/>
                <a:gd name="T94" fmla="*/ 107 w 139"/>
                <a:gd name="T95" fmla="*/ 133 h 138"/>
                <a:gd name="T96" fmla="*/ 115 w 139"/>
                <a:gd name="T97" fmla="*/ 133 h 138"/>
                <a:gd name="T98" fmla="*/ 125 w 139"/>
                <a:gd name="T99" fmla="*/ 129 h 138"/>
                <a:gd name="T100" fmla="*/ 136 w 139"/>
                <a:gd name="T101" fmla="*/ 124 h 138"/>
                <a:gd name="T102" fmla="*/ 139 w 139"/>
                <a:gd name="T103" fmla="*/ 122 h 138"/>
                <a:gd name="T104" fmla="*/ 132 w 139"/>
                <a:gd name="T105" fmla="*/ 115 h 138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139"/>
                <a:gd name="T160" fmla="*/ 0 h 138"/>
                <a:gd name="T161" fmla="*/ 139 w 139"/>
                <a:gd name="T162" fmla="*/ 138 h 138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139" h="138">
                  <a:moveTo>
                    <a:pt x="132" y="115"/>
                  </a:moveTo>
                  <a:cubicBezTo>
                    <a:pt x="130" y="115"/>
                    <a:pt x="128" y="111"/>
                    <a:pt x="129" y="108"/>
                  </a:cubicBezTo>
                  <a:cubicBezTo>
                    <a:pt x="130" y="105"/>
                    <a:pt x="128" y="102"/>
                    <a:pt x="125" y="99"/>
                  </a:cubicBezTo>
                  <a:cubicBezTo>
                    <a:pt x="124" y="97"/>
                    <a:pt x="123" y="94"/>
                    <a:pt x="125" y="92"/>
                  </a:cubicBezTo>
                  <a:cubicBezTo>
                    <a:pt x="128" y="89"/>
                    <a:pt x="124" y="86"/>
                    <a:pt x="125" y="82"/>
                  </a:cubicBezTo>
                  <a:cubicBezTo>
                    <a:pt x="125" y="78"/>
                    <a:pt x="127" y="77"/>
                    <a:pt x="127" y="76"/>
                  </a:cubicBezTo>
                  <a:cubicBezTo>
                    <a:pt x="125" y="75"/>
                    <a:pt x="123" y="71"/>
                    <a:pt x="121" y="69"/>
                  </a:cubicBezTo>
                  <a:cubicBezTo>
                    <a:pt x="120" y="68"/>
                    <a:pt x="116" y="64"/>
                    <a:pt x="118" y="60"/>
                  </a:cubicBezTo>
                  <a:cubicBezTo>
                    <a:pt x="120" y="58"/>
                    <a:pt x="121" y="52"/>
                    <a:pt x="121" y="52"/>
                  </a:cubicBezTo>
                  <a:cubicBezTo>
                    <a:pt x="123" y="49"/>
                    <a:pt x="123" y="49"/>
                    <a:pt x="123" y="49"/>
                  </a:cubicBezTo>
                  <a:cubicBezTo>
                    <a:pt x="123" y="49"/>
                    <a:pt x="118" y="43"/>
                    <a:pt x="115" y="42"/>
                  </a:cubicBezTo>
                  <a:cubicBezTo>
                    <a:pt x="114" y="41"/>
                    <a:pt x="105" y="34"/>
                    <a:pt x="105" y="33"/>
                  </a:cubicBezTo>
                  <a:cubicBezTo>
                    <a:pt x="105" y="32"/>
                    <a:pt x="104" y="25"/>
                    <a:pt x="104" y="25"/>
                  </a:cubicBezTo>
                  <a:cubicBezTo>
                    <a:pt x="57" y="0"/>
                    <a:pt x="57" y="0"/>
                    <a:pt x="57" y="0"/>
                  </a:cubicBezTo>
                  <a:cubicBezTo>
                    <a:pt x="57" y="0"/>
                    <a:pt x="57" y="0"/>
                    <a:pt x="57" y="0"/>
                  </a:cubicBezTo>
                  <a:cubicBezTo>
                    <a:pt x="56" y="2"/>
                    <a:pt x="56" y="3"/>
                    <a:pt x="55" y="3"/>
                  </a:cubicBezTo>
                  <a:cubicBezTo>
                    <a:pt x="52" y="8"/>
                    <a:pt x="52" y="12"/>
                    <a:pt x="51" y="15"/>
                  </a:cubicBezTo>
                  <a:cubicBezTo>
                    <a:pt x="50" y="19"/>
                    <a:pt x="43" y="17"/>
                    <a:pt x="43" y="15"/>
                  </a:cubicBezTo>
                  <a:cubicBezTo>
                    <a:pt x="42" y="11"/>
                    <a:pt x="29" y="24"/>
                    <a:pt x="29" y="19"/>
                  </a:cubicBezTo>
                  <a:cubicBezTo>
                    <a:pt x="29" y="13"/>
                    <a:pt x="29" y="7"/>
                    <a:pt x="32" y="3"/>
                  </a:cubicBezTo>
                  <a:cubicBezTo>
                    <a:pt x="32" y="2"/>
                    <a:pt x="32" y="2"/>
                    <a:pt x="32" y="0"/>
                  </a:cubicBezTo>
                  <a:cubicBezTo>
                    <a:pt x="22" y="0"/>
                    <a:pt x="14" y="0"/>
                    <a:pt x="13" y="0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4" y="3"/>
                    <a:pt x="14" y="3"/>
                    <a:pt x="14" y="3"/>
                  </a:cubicBezTo>
                  <a:cubicBezTo>
                    <a:pt x="14" y="3"/>
                    <a:pt x="18" y="8"/>
                    <a:pt x="18" y="11"/>
                  </a:cubicBezTo>
                  <a:cubicBezTo>
                    <a:pt x="18" y="13"/>
                    <a:pt x="19" y="17"/>
                    <a:pt x="16" y="17"/>
                  </a:cubicBezTo>
                  <a:cubicBezTo>
                    <a:pt x="15" y="17"/>
                    <a:pt x="15" y="17"/>
                    <a:pt x="14" y="17"/>
                  </a:cubicBezTo>
                  <a:cubicBezTo>
                    <a:pt x="13" y="24"/>
                    <a:pt x="13" y="24"/>
                    <a:pt x="13" y="24"/>
                  </a:cubicBezTo>
                  <a:cubicBezTo>
                    <a:pt x="18" y="26"/>
                    <a:pt x="18" y="26"/>
                    <a:pt x="18" y="26"/>
                  </a:cubicBezTo>
                  <a:cubicBezTo>
                    <a:pt x="13" y="33"/>
                    <a:pt x="13" y="33"/>
                    <a:pt x="13" y="33"/>
                  </a:cubicBezTo>
                  <a:cubicBezTo>
                    <a:pt x="13" y="33"/>
                    <a:pt x="5" y="45"/>
                    <a:pt x="4" y="45"/>
                  </a:cubicBezTo>
                  <a:cubicBezTo>
                    <a:pt x="4" y="45"/>
                    <a:pt x="2" y="45"/>
                    <a:pt x="1" y="45"/>
                  </a:cubicBezTo>
                  <a:cubicBezTo>
                    <a:pt x="1" y="45"/>
                    <a:pt x="1" y="45"/>
                    <a:pt x="1" y="45"/>
                  </a:cubicBezTo>
                  <a:cubicBezTo>
                    <a:pt x="0" y="47"/>
                    <a:pt x="0" y="50"/>
                    <a:pt x="0" y="51"/>
                  </a:cubicBezTo>
                  <a:cubicBezTo>
                    <a:pt x="0" y="54"/>
                    <a:pt x="2" y="60"/>
                    <a:pt x="2" y="64"/>
                  </a:cubicBezTo>
                  <a:cubicBezTo>
                    <a:pt x="2" y="67"/>
                    <a:pt x="5" y="69"/>
                    <a:pt x="7" y="73"/>
                  </a:cubicBezTo>
                  <a:cubicBezTo>
                    <a:pt x="9" y="77"/>
                    <a:pt x="16" y="92"/>
                    <a:pt x="16" y="92"/>
                  </a:cubicBezTo>
                  <a:cubicBezTo>
                    <a:pt x="16" y="92"/>
                    <a:pt x="24" y="97"/>
                    <a:pt x="28" y="99"/>
                  </a:cubicBezTo>
                  <a:cubicBezTo>
                    <a:pt x="32" y="102"/>
                    <a:pt x="42" y="107"/>
                    <a:pt x="45" y="108"/>
                  </a:cubicBezTo>
                  <a:cubicBezTo>
                    <a:pt x="47" y="110"/>
                    <a:pt x="55" y="111"/>
                    <a:pt x="56" y="111"/>
                  </a:cubicBezTo>
                  <a:cubicBezTo>
                    <a:pt x="57" y="110"/>
                    <a:pt x="60" y="108"/>
                    <a:pt x="63" y="112"/>
                  </a:cubicBezTo>
                  <a:cubicBezTo>
                    <a:pt x="65" y="118"/>
                    <a:pt x="65" y="127"/>
                    <a:pt x="66" y="129"/>
                  </a:cubicBezTo>
                  <a:cubicBezTo>
                    <a:pt x="68" y="132"/>
                    <a:pt x="69" y="136"/>
                    <a:pt x="69" y="136"/>
                  </a:cubicBezTo>
                  <a:cubicBezTo>
                    <a:pt x="69" y="136"/>
                    <a:pt x="77" y="136"/>
                    <a:pt x="78" y="136"/>
                  </a:cubicBezTo>
                  <a:cubicBezTo>
                    <a:pt x="80" y="136"/>
                    <a:pt x="84" y="133"/>
                    <a:pt x="84" y="136"/>
                  </a:cubicBezTo>
                  <a:cubicBezTo>
                    <a:pt x="86" y="138"/>
                    <a:pt x="88" y="138"/>
                    <a:pt x="92" y="137"/>
                  </a:cubicBezTo>
                  <a:cubicBezTo>
                    <a:pt x="96" y="136"/>
                    <a:pt x="97" y="136"/>
                    <a:pt x="101" y="137"/>
                  </a:cubicBezTo>
                  <a:cubicBezTo>
                    <a:pt x="105" y="137"/>
                    <a:pt x="104" y="134"/>
                    <a:pt x="107" y="133"/>
                  </a:cubicBezTo>
                  <a:cubicBezTo>
                    <a:pt x="111" y="131"/>
                    <a:pt x="113" y="134"/>
                    <a:pt x="115" y="133"/>
                  </a:cubicBezTo>
                  <a:cubicBezTo>
                    <a:pt x="118" y="132"/>
                    <a:pt x="123" y="131"/>
                    <a:pt x="125" y="129"/>
                  </a:cubicBezTo>
                  <a:cubicBezTo>
                    <a:pt x="128" y="128"/>
                    <a:pt x="134" y="124"/>
                    <a:pt x="136" y="124"/>
                  </a:cubicBezTo>
                  <a:cubicBezTo>
                    <a:pt x="138" y="124"/>
                    <a:pt x="139" y="122"/>
                    <a:pt x="139" y="122"/>
                  </a:cubicBezTo>
                  <a:cubicBezTo>
                    <a:pt x="139" y="122"/>
                    <a:pt x="133" y="116"/>
                    <a:pt x="132" y="115"/>
                  </a:cubicBezTo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891045"/>
              <a:endParaRPr lang="en-US" sz="1700" dirty="0">
                <a:solidFill>
                  <a:srgbClr val="003149"/>
                </a:solidFill>
                <a:cs typeface="Arial" panose="020B0604020202020204" pitchFamily="34" charset="0"/>
              </a:endParaRPr>
            </a:p>
          </p:txBody>
        </p:sp>
      </p:grpSp>
      <p:grpSp>
        <p:nvGrpSpPr>
          <p:cNvPr id="612" name="Group 323"/>
          <p:cNvGrpSpPr>
            <a:grpSpLocks/>
          </p:cNvGrpSpPr>
          <p:nvPr/>
        </p:nvGrpSpPr>
        <p:grpSpPr bwMode="gray">
          <a:xfrm>
            <a:off x="1448286" y="2952389"/>
            <a:ext cx="305464" cy="284179"/>
            <a:chOff x="4422" y="3311"/>
            <a:chExt cx="208" cy="183"/>
          </a:xfrm>
          <a:solidFill>
            <a:schemeClr val="accent3"/>
          </a:solidFill>
        </p:grpSpPr>
        <p:sp>
          <p:nvSpPr>
            <p:cNvPr id="613" name="Freeform 324"/>
            <p:cNvSpPr>
              <a:spLocks noEditPoints="1"/>
            </p:cNvSpPr>
            <p:nvPr/>
          </p:nvSpPr>
          <p:spPr bwMode="gray">
            <a:xfrm>
              <a:off x="4422" y="3311"/>
              <a:ext cx="208" cy="183"/>
            </a:xfrm>
            <a:custGeom>
              <a:avLst/>
              <a:gdLst>
                <a:gd name="T0" fmla="*/ 0 w 2059"/>
                <a:gd name="T1" fmla="*/ 0 h 1808"/>
                <a:gd name="T2" fmla="*/ 0 w 2059"/>
                <a:gd name="T3" fmla="*/ 0 h 1808"/>
                <a:gd name="T4" fmla="*/ 0 w 2059"/>
                <a:gd name="T5" fmla="*/ 0 h 1808"/>
                <a:gd name="T6" fmla="*/ 0 w 2059"/>
                <a:gd name="T7" fmla="*/ 0 h 1808"/>
                <a:gd name="T8" fmla="*/ 0 w 2059"/>
                <a:gd name="T9" fmla="*/ 0 h 1808"/>
                <a:gd name="T10" fmla="*/ 0 w 2059"/>
                <a:gd name="T11" fmla="*/ 0 h 1808"/>
                <a:gd name="T12" fmla="*/ 0 w 2059"/>
                <a:gd name="T13" fmla="*/ 0 h 1808"/>
                <a:gd name="T14" fmla="*/ 0 w 2059"/>
                <a:gd name="T15" fmla="*/ 0 h 1808"/>
                <a:gd name="T16" fmla="*/ 0 w 2059"/>
                <a:gd name="T17" fmla="*/ 0 h 1808"/>
                <a:gd name="T18" fmla="*/ 0 w 2059"/>
                <a:gd name="T19" fmla="*/ 0 h 1808"/>
                <a:gd name="T20" fmla="*/ 0 w 2059"/>
                <a:gd name="T21" fmla="*/ 0 h 1808"/>
                <a:gd name="T22" fmla="*/ 0 w 2059"/>
                <a:gd name="T23" fmla="*/ 0 h 1808"/>
                <a:gd name="T24" fmla="*/ 0 w 2059"/>
                <a:gd name="T25" fmla="*/ 0 h 1808"/>
                <a:gd name="T26" fmla="*/ 0 w 2059"/>
                <a:gd name="T27" fmla="*/ 0 h 1808"/>
                <a:gd name="T28" fmla="*/ 0 w 2059"/>
                <a:gd name="T29" fmla="*/ 0 h 1808"/>
                <a:gd name="T30" fmla="*/ 0 w 2059"/>
                <a:gd name="T31" fmla="*/ 0 h 1808"/>
                <a:gd name="T32" fmla="*/ 0 w 2059"/>
                <a:gd name="T33" fmla="*/ 0 h 1808"/>
                <a:gd name="T34" fmla="*/ 0 w 2059"/>
                <a:gd name="T35" fmla="*/ 0 h 1808"/>
                <a:gd name="T36" fmla="*/ 0 w 2059"/>
                <a:gd name="T37" fmla="*/ 0 h 1808"/>
                <a:gd name="T38" fmla="*/ 0 w 2059"/>
                <a:gd name="T39" fmla="*/ 0 h 1808"/>
                <a:gd name="T40" fmla="*/ 0 w 2059"/>
                <a:gd name="T41" fmla="*/ 0 h 1808"/>
                <a:gd name="T42" fmla="*/ 0 w 2059"/>
                <a:gd name="T43" fmla="*/ 0 h 1808"/>
                <a:gd name="T44" fmla="*/ 0 w 2059"/>
                <a:gd name="T45" fmla="*/ 0 h 1808"/>
                <a:gd name="T46" fmla="*/ 0 w 2059"/>
                <a:gd name="T47" fmla="*/ 0 h 1808"/>
                <a:gd name="T48" fmla="*/ 0 w 2059"/>
                <a:gd name="T49" fmla="*/ 0 h 1808"/>
                <a:gd name="T50" fmla="*/ 0 w 2059"/>
                <a:gd name="T51" fmla="*/ 0 h 1808"/>
                <a:gd name="T52" fmla="*/ 0 w 2059"/>
                <a:gd name="T53" fmla="*/ 0 h 1808"/>
                <a:gd name="T54" fmla="*/ 0 w 2059"/>
                <a:gd name="T55" fmla="*/ 0 h 1808"/>
                <a:gd name="T56" fmla="*/ 0 w 2059"/>
                <a:gd name="T57" fmla="*/ 0 h 1808"/>
                <a:gd name="T58" fmla="*/ 0 w 2059"/>
                <a:gd name="T59" fmla="*/ 0 h 1808"/>
                <a:gd name="T60" fmla="*/ 0 w 2059"/>
                <a:gd name="T61" fmla="*/ 0 h 1808"/>
                <a:gd name="T62" fmla="*/ 0 w 2059"/>
                <a:gd name="T63" fmla="*/ 0 h 1808"/>
                <a:gd name="T64" fmla="*/ 0 w 2059"/>
                <a:gd name="T65" fmla="*/ 0 h 1808"/>
                <a:gd name="T66" fmla="*/ 0 w 2059"/>
                <a:gd name="T67" fmla="*/ 0 h 1808"/>
                <a:gd name="T68" fmla="*/ 0 w 2059"/>
                <a:gd name="T69" fmla="*/ 0 h 1808"/>
                <a:gd name="T70" fmla="*/ 0 w 2059"/>
                <a:gd name="T71" fmla="*/ 0 h 1808"/>
                <a:gd name="T72" fmla="*/ 0 w 2059"/>
                <a:gd name="T73" fmla="*/ 0 h 1808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2059"/>
                <a:gd name="T112" fmla="*/ 0 h 1808"/>
                <a:gd name="T113" fmla="*/ 2059 w 2059"/>
                <a:gd name="T114" fmla="*/ 1808 h 1808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2059" h="1808">
                  <a:moveTo>
                    <a:pt x="1957" y="654"/>
                  </a:moveTo>
                  <a:cubicBezTo>
                    <a:pt x="1944" y="718"/>
                    <a:pt x="1944" y="718"/>
                    <a:pt x="1944" y="718"/>
                  </a:cubicBezTo>
                  <a:cubicBezTo>
                    <a:pt x="1944" y="718"/>
                    <a:pt x="1843" y="705"/>
                    <a:pt x="1830" y="680"/>
                  </a:cubicBezTo>
                  <a:cubicBezTo>
                    <a:pt x="1817" y="654"/>
                    <a:pt x="1779" y="615"/>
                    <a:pt x="1779" y="615"/>
                  </a:cubicBezTo>
                  <a:cubicBezTo>
                    <a:pt x="1856" y="500"/>
                    <a:pt x="1856" y="500"/>
                    <a:pt x="1856" y="500"/>
                  </a:cubicBezTo>
                  <a:cubicBezTo>
                    <a:pt x="1856" y="500"/>
                    <a:pt x="1894" y="513"/>
                    <a:pt x="1906" y="526"/>
                  </a:cubicBezTo>
                  <a:cubicBezTo>
                    <a:pt x="1906" y="538"/>
                    <a:pt x="1932" y="538"/>
                    <a:pt x="1957" y="538"/>
                  </a:cubicBezTo>
                  <a:cubicBezTo>
                    <a:pt x="1944" y="513"/>
                    <a:pt x="1957" y="462"/>
                    <a:pt x="1957" y="410"/>
                  </a:cubicBezTo>
                  <a:cubicBezTo>
                    <a:pt x="1957" y="372"/>
                    <a:pt x="1957" y="295"/>
                    <a:pt x="1932" y="256"/>
                  </a:cubicBezTo>
                  <a:cubicBezTo>
                    <a:pt x="1919" y="231"/>
                    <a:pt x="1881" y="128"/>
                    <a:pt x="1881" y="115"/>
                  </a:cubicBezTo>
                  <a:cubicBezTo>
                    <a:pt x="1894" y="102"/>
                    <a:pt x="1868" y="38"/>
                    <a:pt x="1868" y="38"/>
                  </a:cubicBezTo>
                  <a:cubicBezTo>
                    <a:pt x="1856" y="25"/>
                    <a:pt x="1754" y="38"/>
                    <a:pt x="1728" y="38"/>
                  </a:cubicBezTo>
                  <a:cubicBezTo>
                    <a:pt x="1703" y="25"/>
                    <a:pt x="1614" y="25"/>
                    <a:pt x="1614" y="0"/>
                  </a:cubicBezTo>
                  <a:cubicBezTo>
                    <a:pt x="1576" y="25"/>
                    <a:pt x="1576" y="25"/>
                    <a:pt x="1576" y="25"/>
                  </a:cubicBezTo>
                  <a:cubicBezTo>
                    <a:pt x="1576" y="25"/>
                    <a:pt x="1551" y="51"/>
                    <a:pt x="1512" y="64"/>
                  </a:cubicBezTo>
                  <a:cubicBezTo>
                    <a:pt x="1487" y="64"/>
                    <a:pt x="1474" y="77"/>
                    <a:pt x="1449" y="115"/>
                  </a:cubicBezTo>
                  <a:cubicBezTo>
                    <a:pt x="1424" y="154"/>
                    <a:pt x="1411" y="179"/>
                    <a:pt x="1373" y="192"/>
                  </a:cubicBezTo>
                  <a:cubicBezTo>
                    <a:pt x="1322" y="205"/>
                    <a:pt x="1335" y="218"/>
                    <a:pt x="1322" y="256"/>
                  </a:cubicBezTo>
                  <a:cubicBezTo>
                    <a:pt x="1309" y="308"/>
                    <a:pt x="1309" y="320"/>
                    <a:pt x="1271" y="320"/>
                  </a:cubicBezTo>
                  <a:cubicBezTo>
                    <a:pt x="1246" y="333"/>
                    <a:pt x="1208" y="359"/>
                    <a:pt x="1195" y="372"/>
                  </a:cubicBezTo>
                  <a:cubicBezTo>
                    <a:pt x="1182" y="385"/>
                    <a:pt x="1157" y="462"/>
                    <a:pt x="1131" y="487"/>
                  </a:cubicBezTo>
                  <a:cubicBezTo>
                    <a:pt x="1106" y="526"/>
                    <a:pt x="1068" y="513"/>
                    <a:pt x="1030" y="513"/>
                  </a:cubicBezTo>
                  <a:cubicBezTo>
                    <a:pt x="992" y="500"/>
                    <a:pt x="953" y="487"/>
                    <a:pt x="915" y="449"/>
                  </a:cubicBezTo>
                  <a:cubicBezTo>
                    <a:pt x="890" y="410"/>
                    <a:pt x="826" y="436"/>
                    <a:pt x="801" y="487"/>
                  </a:cubicBezTo>
                  <a:cubicBezTo>
                    <a:pt x="788" y="538"/>
                    <a:pt x="788" y="564"/>
                    <a:pt x="750" y="590"/>
                  </a:cubicBezTo>
                  <a:cubicBezTo>
                    <a:pt x="699" y="615"/>
                    <a:pt x="661" y="667"/>
                    <a:pt x="636" y="654"/>
                  </a:cubicBezTo>
                  <a:cubicBezTo>
                    <a:pt x="610" y="641"/>
                    <a:pt x="534" y="667"/>
                    <a:pt x="534" y="667"/>
                  </a:cubicBezTo>
                  <a:cubicBezTo>
                    <a:pt x="534" y="615"/>
                    <a:pt x="534" y="615"/>
                    <a:pt x="534" y="615"/>
                  </a:cubicBezTo>
                  <a:cubicBezTo>
                    <a:pt x="534" y="615"/>
                    <a:pt x="534" y="577"/>
                    <a:pt x="560" y="564"/>
                  </a:cubicBezTo>
                  <a:cubicBezTo>
                    <a:pt x="572" y="551"/>
                    <a:pt x="560" y="538"/>
                    <a:pt x="534" y="487"/>
                  </a:cubicBezTo>
                  <a:cubicBezTo>
                    <a:pt x="521" y="436"/>
                    <a:pt x="471" y="385"/>
                    <a:pt x="458" y="385"/>
                  </a:cubicBezTo>
                  <a:cubicBezTo>
                    <a:pt x="471" y="872"/>
                    <a:pt x="471" y="872"/>
                    <a:pt x="471" y="872"/>
                  </a:cubicBezTo>
                  <a:cubicBezTo>
                    <a:pt x="471" y="872"/>
                    <a:pt x="420" y="898"/>
                    <a:pt x="407" y="898"/>
                  </a:cubicBezTo>
                  <a:cubicBezTo>
                    <a:pt x="382" y="898"/>
                    <a:pt x="356" y="949"/>
                    <a:pt x="356" y="949"/>
                  </a:cubicBezTo>
                  <a:cubicBezTo>
                    <a:pt x="356" y="949"/>
                    <a:pt x="331" y="949"/>
                    <a:pt x="305" y="936"/>
                  </a:cubicBezTo>
                  <a:cubicBezTo>
                    <a:pt x="280" y="923"/>
                    <a:pt x="216" y="949"/>
                    <a:pt x="191" y="936"/>
                  </a:cubicBezTo>
                  <a:cubicBezTo>
                    <a:pt x="166" y="936"/>
                    <a:pt x="128" y="923"/>
                    <a:pt x="128" y="885"/>
                  </a:cubicBezTo>
                  <a:cubicBezTo>
                    <a:pt x="128" y="859"/>
                    <a:pt x="102" y="846"/>
                    <a:pt x="89" y="833"/>
                  </a:cubicBezTo>
                  <a:cubicBezTo>
                    <a:pt x="64" y="808"/>
                    <a:pt x="51" y="859"/>
                    <a:pt x="51" y="872"/>
                  </a:cubicBezTo>
                  <a:cubicBezTo>
                    <a:pt x="51" y="885"/>
                    <a:pt x="0" y="910"/>
                    <a:pt x="0" y="910"/>
                  </a:cubicBezTo>
                  <a:cubicBezTo>
                    <a:pt x="0" y="910"/>
                    <a:pt x="89" y="1051"/>
                    <a:pt x="89" y="1090"/>
                  </a:cubicBezTo>
                  <a:cubicBezTo>
                    <a:pt x="89" y="1128"/>
                    <a:pt x="153" y="1231"/>
                    <a:pt x="178" y="1269"/>
                  </a:cubicBezTo>
                  <a:cubicBezTo>
                    <a:pt x="191" y="1295"/>
                    <a:pt x="242" y="1385"/>
                    <a:pt x="242" y="1411"/>
                  </a:cubicBezTo>
                  <a:cubicBezTo>
                    <a:pt x="242" y="1436"/>
                    <a:pt x="255" y="1449"/>
                    <a:pt x="242" y="1488"/>
                  </a:cubicBezTo>
                  <a:cubicBezTo>
                    <a:pt x="229" y="1526"/>
                    <a:pt x="191" y="1513"/>
                    <a:pt x="191" y="1513"/>
                  </a:cubicBezTo>
                  <a:cubicBezTo>
                    <a:pt x="204" y="1552"/>
                    <a:pt x="204" y="1552"/>
                    <a:pt x="204" y="1552"/>
                  </a:cubicBezTo>
                  <a:cubicBezTo>
                    <a:pt x="204" y="1552"/>
                    <a:pt x="204" y="1616"/>
                    <a:pt x="216" y="1641"/>
                  </a:cubicBezTo>
                  <a:cubicBezTo>
                    <a:pt x="242" y="1654"/>
                    <a:pt x="242" y="1718"/>
                    <a:pt x="242" y="1731"/>
                  </a:cubicBezTo>
                  <a:cubicBezTo>
                    <a:pt x="242" y="1744"/>
                    <a:pt x="267" y="1718"/>
                    <a:pt x="293" y="1731"/>
                  </a:cubicBezTo>
                  <a:cubicBezTo>
                    <a:pt x="305" y="1731"/>
                    <a:pt x="331" y="1770"/>
                    <a:pt x="356" y="1782"/>
                  </a:cubicBezTo>
                  <a:cubicBezTo>
                    <a:pt x="369" y="1795"/>
                    <a:pt x="496" y="1808"/>
                    <a:pt x="547" y="1782"/>
                  </a:cubicBezTo>
                  <a:cubicBezTo>
                    <a:pt x="598" y="1770"/>
                    <a:pt x="674" y="1731"/>
                    <a:pt x="725" y="1718"/>
                  </a:cubicBezTo>
                  <a:cubicBezTo>
                    <a:pt x="763" y="1706"/>
                    <a:pt x="852" y="1731"/>
                    <a:pt x="915" y="1731"/>
                  </a:cubicBezTo>
                  <a:cubicBezTo>
                    <a:pt x="979" y="1731"/>
                    <a:pt x="1055" y="1757"/>
                    <a:pt x="1080" y="1731"/>
                  </a:cubicBezTo>
                  <a:cubicBezTo>
                    <a:pt x="1106" y="1706"/>
                    <a:pt x="1144" y="1731"/>
                    <a:pt x="1169" y="1706"/>
                  </a:cubicBezTo>
                  <a:cubicBezTo>
                    <a:pt x="1182" y="1680"/>
                    <a:pt x="1208" y="1654"/>
                    <a:pt x="1233" y="1667"/>
                  </a:cubicBezTo>
                  <a:cubicBezTo>
                    <a:pt x="1271" y="1680"/>
                    <a:pt x="1322" y="1629"/>
                    <a:pt x="1385" y="1603"/>
                  </a:cubicBezTo>
                  <a:cubicBezTo>
                    <a:pt x="1436" y="1590"/>
                    <a:pt x="1512" y="1488"/>
                    <a:pt x="1576" y="1423"/>
                  </a:cubicBezTo>
                  <a:cubicBezTo>
                    <a:pt x="1640" y="1346"/>
                    <a:pt x="1728" y="1295"/>
                    <a:pt x="1754" y="1244"/>
                  </a:cubicBezTo>
                  <a:cubicBezTo>
                    <a:pt x="1779" y="1193"/>
                    <a:pt x="1805" y="1103"/>
                    <a:pt x="1843" y="1064"/>
                  </a:cubicBezTo>
                  <a:cubicBezTo>
                    <a:pt x="1881" y="1026"/>
                    <a:pt x="1894" y="949"/>
                    <a:pt x="1944" y="949"/>
                  </a:cubicBezTo>
                  <a:cubicBezTo>
                    <a:pt x="2008" y="949"/>
                    <a:pt x="2008" y="872"/>
                    <a:pt x="2033" y="821"/>
                  </a:cubicBezTo>
                  <a:cubicBezTo>
                    <a:pt x="2059" y="756"/>
                    <a:pt x="2059" y="667"/>
                    <a:pt x="2059" y="667"/>
                  </a:cubicBezTo>
                  <a:lnTo>
                    <a:pt x="1957" y="654"/>
                  </a:lnTo>
                  <a:close/>
                  <a:moveTo>
                    <a:pt x="1627" y="1013"/>
                  </a:moveTo>
                  <a:cubicBezTo>
                    <a:pt x="1614" y="1026"/>
                    <a:pt x="1601" y="1051"/>
                    <a:pt x="1601" y="1064"/>
                  </a:cubicBezTo>
                  <a:cubicBezTo>
                    <a:pt x="1589" y="1090"/>
                    <a:pt x="1589" y="1116"/>
                    <a:pt x="1538" y="1128"/>
                  </a:cubicBezTo>
                  <a:cubicBezTo>
                    <a:pt x="1500" y="1128"/>
                    <a:pt x="1474" y="1141"/>
                    <a:pt x="1474" y="1167"/>
                  </a:cubicBezTo>
                  <a:cubicBezTo>
                    <a:pt x="1474" y="1180"/>
                    <a:pt x="1462" y="1218"/>
                    <a:pt x="1462" y="1218"/>
                  </a:cubicBezTo>
                  <a:cubicBezTo>
                    <a:pt x="1462" y="1218"/>
                    <a:pt x="1398" y="1167"/>
                    <a:pt x="1385" y="1141"/>
                  </a:cubicBezTo>
                  <a:cubicBezTo>
                    <a:pt x="1360" y="1116"/>
                    <a:pt x="1335" y="1051"/>
                    <a:pt x="1335" y="1051"/>
                  </a:cubicBezTo>
                  <a:cubicBezTo>
                    <a:pt x="1335" y="1051"/>
                    <a:pt x="1373" y="1013"/>
                    <a:pt x="1398" y="987"/>
                  </a:cubicBezTo>
                  <a:cubicBezTo>
                    <a:pt x="1436" y="949"/>
                    <a:pt x="1474" y="936"/>
                    <a:pt x="1487" y="923"/>
                  </a:cubicBezTo>
                  <a:cubicBezTo>
                    <a:pt x="1512" y="910"/>
                    <a:pt x="1525" y="898"/>
                    <a:pt x="1576" y="936"/>
                  </a:cubicBezTo>
                  <a:cubicBezTo>
                    <a:pt x="1614" y="987"/>
                    <a:pt x="1640" y="1000"/>
                    <a:pt x="1627" y="1013"/>
                  </a:cubicBezTo>
                  <a:close/>
                </a:path>
              </a:pathLst>
            </a:custGeom>
            <a:grpFill/>
            <a:ln w="9525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891045"/>
              <a:endParaRPr lang="en-US" sz="1700" dirty="0">
                <a:solidFill>
                  <a:srgbClr val="003149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614" name="Freeform 325"/>
            <p:cNvSpPr>
              <a:spLocks noEditPoints="1"/>
            </p:cNvSpPr>
            <p:nvPr/>
          </p:nvSpPr>
          <p:spPr bwMode="gray">
            <a:xfrm>
              <a:off x="4422" y="3311"/>
              <a:ext cx="208" cy="183"/>
            </a:xfrm>
            <a:custGeom>
              <a:avLst/>
              <a:gdLst>
                <a:gd name="T0" fmla="*/ 0 w 2059"/>
                <a:gd name="T1" fmla="*/ 0 h 1808"/>
                <a:gd name="T2" fmla="*/ 0 w 2059"/>
                <a:gd name="T3" fmla="*/ 0 h 1808"/>
                <a:gd name="T4" fmla="*/ 0 w 2059"/>
                <a:gd name="T5" fmla="*/ 0 h 1808"/>
                <a:gd name="T6" fmla="*/ 0 w 2059"/>
                <a:gd name="T7" fmla="*/ 0 h 1808"/>
                <a:gd name="T8" fmla="*/ 0 w 2059"/>
                <a:gd name="T9" fmla="*/ 0 h 1808"/>
                <a:gd name="T10" fmla="*/ 0 w 2059"/>
                <a:gd name="T11" fmla="*/ 0 h 1808"/>
                <a:gd name="T12" fmla="*/ 0 w 2059"/>
                <a:gd name="T13" fmla="*/ 0 h 1808"/>
                <a:gd name="T14" fmla="*/ 0 w 2059"/>
                <a:gd name="T15" fmla="*/ 0 h 1808"/>
                <a:gd name="T16" fmla="*/ 0 w 2059"/>
                <a:gd name="T17" fmla="*/ 0 h 1808"/>
                <a:gd name="T18" fmla="*/ 0 w 2059"/>
                <a:gd name="T19" fmla="*/ 0 h 1808"/>
                <a:gd name="T20" fmla="*/ 0 w 2059"/>
                <a:gd name="T21" fmla="*/ 0 h 1808"/>
                <a:gd name="T22" fmla="*/ 0 w 2059"/>
                <a:gd name="T23" fmla="*/ 0 h 1808"/>
                <a:gd name="T24" fmla="*/ 0 w 2059"/>
                <a:gd name="T25" fmla="*/ 0 h 1808"/>
                <a:gd name="T26" fmla="*/ 0 w 2059"/>
                <a:gd name="T27" fmla="*/ 0 h 1808"/>
                <a:gd name="T28" fmla="*/ 0 w 2059"/>
                <a:gd name="T29" fmla="*/ 0 h 1808"/>
                <a:gd name="T30" fmla="*/ 0 w 2059"/>
                <a:gd name="T31" fmla="*/ 0 h 1808"/>
                <a:gd name="T32" fmla="*/ 0 w 2059"/>
                <a:gd name="T33" fmla="*/ 0 h 1808"/>
                <a:gd name="T34" fmla="*/ 0 w 2059"/>
                <a:gd name="T35" fmla="*/ 0 h 1808"/>
                <a:gd name="T36" fmla="*/ 0 w 2059"/>
                <a:gd name="T37" fmla="*/ 0 h 1808"/>
                <a:gd name="T38" fmla="*/ 0 w 2059"/>
                <a:gd name="T39" fmla="*/ 0 h 1808"/>
                <a:gd name="T40" fmla="*/ 0 w 2059"/>
                <a:gd name="T41" fmla="*/ 0 h 1808"/>
                <a:gd name="T42" fmla="*/ 0 w 2059"/>
                <a:gd name="T43" fmla="*/ 0 h 1808"/>
                <a:gd name="T44" fmla="*/ 0 w 2059"/>
                <a:gd name="T45" fmla="*/ 0 h 1808"/>
                <a:gd name="T46" fmla="*/ 0 w 2059"/>
                <a:gd name="T47" fmla="*/ 0 h 1808"/>
                <a:gd name="T48" fmla="*/ 0 w 2059"/>
                <a:gd name="T49" fmla="*/ 0 h 1808"/>
                <a:gd name="T50" fmla="*/ 0 w 2059"/>
                <a:gd name="T51" fmla="*/ 0 h 1808"/>
                <a:gd name="T52" fmla="*/ 0 w 2059"/>
                <a:gd name="T53" fmla="*/ 0 h 1808"/>
                <a:gd name="T54" fmla="*/ 0 w 2059"/>
                <a:gd name="T55" fmla="*/ 0 h 1808"/>
                <a:gd name="T56" fmla="*/ 0 w 2059"/>
                <a:gd name="T57" fmla="*/ 0 h 1808"/>
                <a:gd name="T58" fmla="*/ 0 w 2059"/>
                <a:gd name="T59" fmla="*/ 0 h 1808"/>
                <a:gd name="T60" fmla="*/ 0 w 2059"/>
                <a:gd name="T61" fmla="*/ 0 h 1808"/>
                <a:gd name="T62" fmla="*/ 0 w 2059"/>
                <a:gd name="T63" fmla="*/ 0 h 1808"/>
                <a:gd name="T64" fmla="*/ 0 w 2059"/>
                <a:gd name="T65" fmla="*/ 0 h 1808"/>
                <a:gd name="T66" fmla="*/ 0 w 2059"/>
                <a:gd name="T67" fmla="*/ 0 h 1808"/>
                <a:gd name="T68" fmla="*/ 0 w 2059"/>
                <a:gd name="T69" fmla="*/ 0 h 1808"/>
                <a:gd name="T70" fmla="*/ 0 w 2059"/>
                <a:gd name="T71" fmla="*/ 0 h 1808"/>
                <a:gd name="T72" fmla="*/ 0 w 2059"/>
                <a:gd name="T73" fmla="*/ 0 h 1808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2059"/>
                <a:gd name="T112" fmla="*/ 0 h 1808"/>
                <a:gd name="T113" fmla="*/ 2059 w 2059"/>
                <a:gd name="T114" fmla="*/ 1808 h 1808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2059" h="1808">
                  <a:moveTo>
                    <a:pt x="1957" y="654"/>
                  </a:moveTo>
                  <a:cubicBezTo>
                    <a:pt x="1944" y="718"/>
                    <a:pt x="1944" y="718"/>
                    <a:pt x="1944" y="718"/>
                  </a:cubicBezTo>
                  <a:cubicBezTo>
                    <a:pt x="1944" y="718"/>
                    <a:pt x="1843" y="705"/>
                    <a:pt x="1830" y="680"/>
                  </a:cubicBezTo>
                  <a:cubicBezTo>
                    <a:pt x="1817" y="654"/>
                    <a:pt x="1779" y="615"/>
                    <a:pt x="1779" y="615"/>
                  </a:cubicBezTo>
                  <a:cubicBezTo>
                    <a:pt x="1856" y="500"/>
                    <a:pt x="1856" y="500"/>
                    <a:pt x="1856" y="500"/>
                  </a:cubicBezTo>
                  <a:cubicBezTo>
                    <a:pt x="1856" y="500"/>
                    <a:pt x="1894" y="513"/>
                    <a:pt x="1906" y="526"/>
                  </a:cubicBezTo>
                  <a:cubicBezTo>
                    <a:pt x="1906" y="538"/>
                    <a:pt x="1932" y="538"/>
                    <a:pt x="1957" y="538"/>
                  </a:cubicBezTo>
                  <a:cubicBezTo>
                    <a:pt x="1944" y="513"/>
                    <a:pt x="1957" y="462"/>
                    <a:pt x="1957" y="410"/>
                  </a:cubicBezTo>
                  <a:cubicBezTo>
                    <a:pt x="1957" y="372"/>
                    <a:pt x="1957" y="295"/>
                    <a:pt x="1932" y="256"/>
                  </a:cubicBezTo>
                  <a:cubicBezTo>
                    <a:pt x="1919" y="231"/>
                    <a:pt x="1881" y="128"/>
                    <a:pt x="1881" y="115"/>
                  </a:cubicBezTo>
                  <a:cubicBezTo>
                    <a:pt x="1894" y="102"/>
                    <a:pt x="1868" y="38"/>
                    <a:pt x="1868" y="38"/>
                  </a:cubicBezTo>
                  <a:cubicBezTo>
                    <a:pt x="1856" y="25"/>
                    <a:pt x="1754" y="38"/>
                    <a:pt x="1728" y="38"/>
                  </a:cubicBezTo>
                  <a:cubicBezTo>
                    <a:pt x="1703" y="25"/>
                    <a:pt x="1614" y="25"/>
                    <a:pt x="1614" y="0"/>
                  </a:cubicBezTo>
                  <a:cubicBezTo>
                    <a:pt x="1576" y="25"/>
                    <a:pt x="1576" y="25"/>
                    <a:pt x="1576" y="25"/>
                  </a:cubicBezTo>
                  <a:cubicBezTo>
                    <a:pt x="1576" y="25"/>
                    <a:pt x="1551" y="51"/>
                    <a:pt x="1512" y="64"/>
                  </a:cubicBezTo>
                  <a:cubicBezTo>
                    <a:pt x="1487" y="64"/>
                    <a:pt x="1474" y="77"/>
                    <a:pt x="1449" y="115"/>
                  </a:cubicBezTo>
                  <a:cubicBezTo>
                    <a:pt x="1424" y="154"/>
                    <a:pt x="1411" y="179"/>
                    <a:pt x="1373" y="192"/>
                  </a:cubicBezTo>
                  <a:cubicBezTo>
                    <a:pt x="1322" y="205"/>
                    <a:pt x="1335" y="218"/>
                    <a:pt x="1322" y="256"/>
                  </a:cubicBezTo>
                  <a:cubicBezTo>
                    <a:pt x="1309" y="308"/>
                    <a:pt x="1309" y="320"/>
                    <a:pt x="1271" y="320"/>
                  </a:cubicBezTo>
                  <a:cubicBezTo>
                    <a:pt x="1246" y="333"/>
                    <a:pt x="1208" y="359"/>
                    <a:pt x="1195" y="372"/>
                  </a:cubicBezTo>
                  <a:cubicBezTo>
                    <a:pt x="1182" y="385"/>
                    <a:pt x="1157" y="462"/>
                    <a:pt x="1131" y="487"/>
                  </a:cubicBezTo>
                  <a:cubicBezTo>
                    <a:pt x="1106" y="526"/>
                    <a:pt x="1068" y="513"/>
                    <a:pt x="1030" y="513"/>
                  </a:cubicBezTo>
                  <a:cubicBezTo>
                    <a:pt x="992" y="500"/>
                    <a:pt x="953" y="487"/>
                    <a:pt x="915" y="449"/>
                  </a:cubicBezTo>
                  <a:cubicBezTo>
                    <a:pt x="890" y="410"/>
                    <a:pt x="826" y="436"/>
                    <a:pt x="801" y="487"/>
                  </a:cubicBezTo>
                  <a:cubicBezTo>
                    <a:pt x="788" y="538"/>
                    <a:pt x="788" y="564"/>
                    <a:pt x="750" y="590"/>
                  </a:cubicBezTo>
                  <a:cubicBezTo>
                    <a:pt x="699" y="615"/>
                    <a:pt x="661" y="667"/>
                    <a:pt x="636" y="654"/>
                  </a:cubicBezTo>
                  <a:cubicBezTo>
                    <a:pt x="610" y="641"/>
                    <a:pt x="534" y="667"/>
                    <a:pt x="534" y="667"/>
                  </a:cubicBezTo>
                  <a:cubicBezTo>
                    <a:pt x="534" y="615"/>
                    <a:pt x="534" y="615"/>
                    <a:pt x="534" y="615"/>
                  </a:cubicBezTo>
                  <a:cubicBezTo>
                    <a:pt x="534" y="615"/>
                    <a:pt x="534" y="577"/>
                    <a:pt x="560" y="564"/>
                  </a:cubicBezTo>
                  <a:cubicBezTo>
                    <a:pt x="572" y="551"/>
                    <a:pt x="560" y="538"/>
                    <a:pt x="534" y="487"/>
                  </a:cubicBezTo>
                  <a:cubicBezTo>
                    <a:pt x="521" y="436"/>
                    <a:pt x="471" y="385"/>
                    <a:pt x="458" y="385"/>
                  </a:cubicBezTo>
                  <a:cubicBezTo>
                    <a:pt x="471" y="872"/>
                    <a:pt x="471" y="872"/>
                    <a:pt x="471" y="872"/>
                  </a:cubicBezTo>
                  <a:cubicBezTo>
                    <a:pt x="471" y="872"/>
                    <a:pt x="420" y="898"/>
                    <a:pt x="407" y="898"/>
                  </a:cubicBezTo>
                  <a:cubicBezTo>
                    <a:pt x="382" y="898"/>
                    <a:pt x="356" y="949"/>
                    <a:pt x="356" y="949"/>
                  </a:cubicBezTo>
                  <a:cubicBezTo>
                    <a:pt x="356" y="949"/>
                    <a:pt x="331" y="949"/>
                    <a:pt x="305" y="936"/>
                  </a:cubicBezTo>
                  <a:cubicBezTo>
                    <a:pt x="280" y="923"/>
                    <a:pt x="216" y="949"/>
                    <a:pt x="191" y="936"/>
                  </a:cubicBezTo>
                  <a:cubicBezTo>
                    <a:pt x="166" y="936"/>
                    <a:pt x="128" y="923"/>
                    <a:pt x="128" y="885"/>
                  </a:cubicBezTo>
                  <a:cubicBezTo>
                    <a:pt x="128" y="859"/>
                    <a:pt x="102" y="846"/>
                    <a:pt x="89" y="833"/>
                  </a:cubicBezTo>
                  <a:cubicBezTo>
                    <a:pt x="64" y="808"/>
                    <a:pt x="51" y="859"/>
                    <a:pt x="51" y="872"/>
                  </a:cubicBezTo>
                  <a:cubicBezTo>
                    <a:pt x="51" y="885"/>
                    <a:pt x="0" y="910"/>
                    <a:pt x="0" y="910"/>
                  </a:cubicBezTo>
                  <a:cubicBezTo>
                    <a:pt x="0" y="910"/>
                    <a:pt x="89" y="1051"/>
                    <a:pt x="89" y="1090"/>
                  </a:cubicBezTo>
                  <a:cubicBezTo>
                    <a:pt x="89" y="1128"/>
                    <a:pt x="153" y="1231"/>
                    <a:pt x="178" y="1269"/>
                  </a:cubicBezTo>
                  <a:cubicBezTo>
                    <a:pt x="191" y="1295"/>
                    <a:pt x="242" y="1385"/>
                    <a:pt x="242" y="1411"/>
                  </a:cubicBezTo>
                  <a:cubicBezTo>
                    <a:pt x="242" y="1436"/>
                    <a:pt x="255" y="1449"/>
                    <a:pt x="242" y="1488"/>
                  </a:cubicBezTo>
                  <a:cubicBezTo>
                    <a:pt x="229" y="1526"/>
                    <a:pt x="191" y="1513"/>
                    <a:pt x="191" y="1513"/>
                  </a:cubicBezTo>
                  <a:cubicBezTo>
                    <a:pt x="204" y="1552"/>
                    <a:pt x="204" y="1552"/>
                    <a:pt x="204" y="1552"/>
                  </a:cubicBezTo>
                  <a:cubicBezTo>
                    <a:pt x="204" y="1552"/>
                    <a:pt x="204" y="1616"/>
                    <a:pt x="216" y="1641"/>
                  </a:cubicBezTo>
                  <a:cubicBezTo>
                    <a:pt x="242" y="1654"/>
                    <a:pt x="242" y="1718"/>
                    <a:pt x="242" y="1731"/>
                  </a:cubicBezTo>
                  <a:cubicBezTo>
                    <a:pt x="242" y="1744"/>
                    <a:pt x="267" y="1718"/>
                    <a:pt x="293" y="1731"/>
                  </a:cubicBezTo>
                  <a:cubicBezTo>
                    <a:pt x="305" y="1731"/>
                    <a:pt x="331" y="1770"/>
                    <a:pt x="356" y="1782"/>
                  </a:cubicBezTo>
                  <a:cubicBezTo>
                    <a:pt x="369" y="1795"/>
                    <a:pt x="496" y="1808"/>
                    <a:pt x="547" y="1782"/>
                  </a:cubicBezTo>
                  <a:cubicBezTo>
                    <a:pt x="598" y="1770"/>
                    <a:pt x="674" y="1731"/>
                    <a:pt x="725" y="1718"/>
                  </a:cubicBezTo>
                  <a:cubicBezTo>
                    <a:pt x="763" y="1706"/>
                    <a:pt x="852" y="1731"/>
                    <a:pt x="915" y="1731"/>
                  </a:cubicBezTo>
                  <a:cubicBezTo>
                    <a:pt x="979" y="1731"/>
                    <a:pt x="1055" y="1757"/>
                    <a:pt x="1080" y="1731"/>
                  </a:cubicBezTo>
                  <a:cubicBezTo>
                    <a:pt x="1106" y="1706"/>
                    <a:pt x="1144" y="1731"/>
                    <a:pt x="1169" y="1706"/>
                  </a:cubicBezTo>
                  <a:cubicBezTo>
                    <a:pt x="1182" y="1680"/>
                    <a:pt x="1208" y="1654"/>
                    <a:pt x="1233" y="1667"/>
                  </a:cubicBezTo>
                  <a:cubicBezTo>
                    <a:pt x="1271" y="1680"/>
                    <a:pt x="1322" y="1629"/>
                    <a:pt x="1385" y="1603"/>
                  </a:cubicBezTo>
                  <a:cubicBezTo>
                    <a:pt x="1436" y="1590"/>
                    <a:pt x="1512" y="1488"/>
                    <a:pt x="1576" y="1423"/>
                  </a:cubicBezTo>
                  <a:cubicBezTo>
                    <a:pt x="1640" y="1346"/>
                    <a:pt x="1728" y="1295"/>
                    <a:pt x="1754" y="1244"/>
                  </a:cubicBezTo>
                  <a:cubicBezTo>
                    <a:pt x="1779" y="1193"/>
                    <a:pt x="1805" y="1103"/>
                    <a:pt x="1843" y="1064"/>
                  </a:cubicBezTo>
                  <a:cubicBezTo>
                    <a:pt x="1881" y="1026"/>
                    <a:pt x="1894" y="949"/>
                    <a:pt x="1944" y="949"/>
                  </a:cubicBezTo>
                  <a:cubicBezTo>
                    <a:pt x="2008" y="949"/>
                    <a:pt x="2008" y="872"/>
                    <a:pt x="2033" y="821"/>
                  </a:cubicBezTo>
                  <a:cubicBezTo>
                    <a:pt x="2059" y="756"/>
                    <a:pt x="2059" y="667"/>
                    <a:pt x="2059" y="667"/>
                  </a:cubicBezTo>
                  <a:lnTo>
                    <a:pt x="1957" y="654"/>
                  </a:lnTo>
                  <a:close/>
                  <a:moveTo>
                    <a:pt x="1627" y="1013"/>
                  </a:moveTo>
                  <a:cubicBezTo>
                    <a:pt x="1614" y="1026"/>
                    <a:pt x="1601" y="1051"/>
                    <a:pt x="1601" y="1064"/>
                  </a:cubicBezTo>
                  <a:cubicBezTo>
                    <a:pt x="1589" y="1090"/>
                    <a:pt x="1589" y="1116"/>
                    <a:pt x="1538" y="1128"/>
                  </a:cubicBezTo>
                  <a:cubicBezTo>
                    <a:pt x="1500" y="1128"/>
                    <a:pt x="1474" y="1141"/>
                    <a:pt x="1474" y="1167"/>
                  </a:cubicBezTo>
                  <a:cubicBezTo>
                    <a:pt x="1474" y="1180"/>
                    <a:pt x="1462" y="1218"/>
                    <a:pt x="1462" y="1218"/>
                  </a:cubicBezTo>
                  <a:cubicBezTo>
                    <a:pt x="1462" y="1218"/>
                    <a:pt x="1398" y="1167"/>
                    <a:pt x="1385" y="1141"/>
                  </a:cubicBezTo>
                  <a:cubicBezTo>
                    <a:pt x="1360" y="1116"/>
                    <a:pt x="1335" y="1051"/>
                    <a:pt x="1335" y="1051"/>
                  </a:cubicBezTo>
                  <a:cubicBezTo>
                    <a:pt x="1335" y="1051"/>
                    <a:pt x="1373" y="1013"/>
                    <a:pt x="1398" y="987"/>
                  </a:cubicBezTo>
                  <a:cubicBezTo>
                    <a:pt x="1436" y="949"/>
                    <a:pt x="1474" y="936"/>
                    <a:pt x="1487" y="923"/>
                  </a:cubicBezTo>
                  <a:cubicBezTo>
                    <a:pt x="1512" y="910"/>
                    <a:pt x="1525" y="898"/>
                    <a:pt x="1576" y="936"/>
                  </a:cubicBezTo>
                  <a:cubicBezTo>
                    <a:pt x="1614" y="987"/>
                    <a:pt x="1640" y="1000"/>
                    <a:pt x="1627" y="1013"/>
                  </a:cubicBezTo>
                  <a:close/>
                </a:path>
              </a:pathLst>
            </a:custGeom>
            <a:grpFill/>
            <a:ln w="9525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891045"/>
              <a:endParaRPr lang="en-US" sz="1700" dirty="0">
                <a:solidFill>
                  <a:srgbClr val="003149"/>
                </a:solidFill>
                <a:cs typeface="Arial" panose="020B0604020202020204" pitchFamily="34" charset="0"/>
              </a:endParaRPr>
            </a:p>
          </p:txBody>
        </p:sp>
      </p:grpSp>
      <p:grpSp>
        <p:nvGrpSpPr>
          <p:cNvPr id="615" name="Group 395"/>
          <p:cNvGrpSpPr>
            <a:grpSpLocks/>
          </p:cNvGrpSpPr>
          <p:nvPr/>
        </p:nvGrpSpPr>
        <p:grpSpPr bwMode="gray">
          <a:xfrm>
            <a:off x="898972" y="1752237"/>
            <a:ext cx="225012" cy="191567"/>
            <a:chOff x="4047" y="2536"/>
            <a:chExt cx="153" cy="124"/>
          </a:xfrm>
          <a:solidFill>
            <a:schemeClr val="accent3"/>
          </a:solidFill>
        </p:grpSpPr>
        <p:sp>
          <p:nvSpPr>
            <p:cNvPr id="616" name="Freeform 396"/>
            <p:cNvSpPr>
              <a:spLocks/>
            </p:cNvSpPr>
            <p:nvPr/>
          </p:nvSpPr>
          <p:spPr bwMode="gray">
            <a:xfrm>
              <a:off x="4047" y="2536"/>
              <a:ext cx="153" cy="124"/>
            </a:xfrm>
            <a:custGeom>
              <a:avLst/>
              <a:gdLst>
                <a:gd name="T0" fmla="*/ 0 w 1516"/>
                <a:gd name="T1" fmla="*/ 0 h 1233"/>
                <a:gd name="T2" fmla="*/ 0 w 1516"/>
                <a:gd name="T3" fmla="*/ 0 h 1233"/>
                <a:gd name="T4" fmla="*/ 0 w 1516"/>
                <a:gd name="T5" fmla="*/ 0 h 1233"/>
                <a:gd name="T6" fmla="*/ 0 w 1516"/>
                <a:gd name="T7" fmla="*/ 0 h 1233"/>
                <a:gd name="T8" fmla="*/ 0 w 1516"/>
                <a:gd name="T9" fmla="*/ 0 h 1233"/>
                <a:gd name="T10" fmla="*/ 0 w 1516"/>
                <a:gd name="T11" fmla="*/ 0 h 1233"/>
                <a:gd name="T12" fmla="*/ 0 w 1516"/>
                <a:gd name="T13" fmla="*/ 0 h 1233"/>
                <a:gd name="T14" fmla="*/ 0 w 1516"/>
                <a:gd name="T15" fmla="*/ 0 h 1233"/>
                <a:gd name="T16" fmla="*/ 0 w 1516"/>
                <a:gd name="T17" fmla="*/ 0 h 1233"/>
                <a:gd name="T18" fmla="*/ 0 w 1516"/>
                <a:gd name="T19" fmla="*/ 0 h 1233"/>
                <a:gd name="T20" fmla="*/ 0 w 1516"/>
                <a:gd name="T21" fmla="*/ 0 h 1233"/>
                <a:gd name="T22" fmla="*/ 0 w 1516"/>
                <a:gd name="T23" fmla="*/ 0 h 1233"/>
                <a:gd name="T24" fmla="*/ 0 w 1516"/>
                <a:gd name="T25" fmla="*/ 0 h 1233"/>
                <a:gd name="T26" fmla="*/ 0 w 1516"/>
                <a:gd name="T27" fmla="*/ 0 h 1233"/>
                <a:gd name="T28" fmla="*/ 0 w 1516"/>
                <a:gd name="T29" fmla="*/ 0 h 1233"/>
                <a:gd name="T30" fmla="*/ 0 w 1516"/>
                <a:gd name="T31" fmla="*/ 0 h 1233"/>
                <a:gd name="T32" fmla="*/ 0 w 1516"/>
                <a:gd name="T33" fmla="*/ 0 h 1233"/>
                <a:gd name="T34" fmla="*/ 0 w 1516"/>
                <a:gd name="T35" fmla="*/ 0 h 1233"/>
                <a:gd name="T36" fmla="*/ 0 w 1516"/>
                <a:gd name="T37" fmla="*/ 0 h 1233"/>
                <a:gd name="T38" fmla="*/ 0 w 1516"/>
                <a:gd name="T39" fmla="*/ 0 h 1233"/>
                <a:gd name="T40" fmla="*/ 0 w 1516"/>
                <a:gd name="T41" fmla="*/ 0 h 1233"/>
                <a:gd name="T42" fmla="*/ 0 w 1516"/>
                <a:gd name="T43" fmla="*/ 0 h 1233"/>
                <a:gd name="T44" fmla="*/ 0 w 1516"/>
                <a:gd name="T45" fmla="*/ 0 h 1233"/>
                <a:gd name="T46" fmla="*/ 0 w 1516"/>
                <a:gd name="T47" fmla="*/ 0 h 1233"/>
                <a:gd name="T48" fmla="*/ 0 w 1516"/>
                <a:gd name="T49" fmla="*/ 0 h 1233"/>
                <a:gd name="T50" fmla="*/ 0 w 1516"/>
                <a:gd name="T51" fmla="*/ 0 h 1233"/>
                <a:gd name="T52" fmla="*/ 0 w 1516"/>
                <a:gd name="T53" fmla="*/ 0 h 1233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w 1516"/>
                <a:gd name="T82" fmla="*/ 0 h 1233"/>
                <a:gd name="T83" fmla="*/ 1516 w 1516"/>
                <a:gd name="T84" fmla="*/ 1233 h 1233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T81" t="T82" r="T83" b="T84"/>
              <a:pathLst>
                <a:path w="1516" h="1233">
                  <a:moveTo>
                    <a:pt x="1478" y="475"/>
                  </a:moveTo>
                  <a:cubicBezTo>
                    <a:pt x="1440" y="437"/>
                    <a:pt x="1440" y="372"/>
                    <a:pt x="1440" y="334"/>
                  </a:cubicBezTo>
                  <a:cubicBezTo>
                    <a:pt x="1440" y="308"/>
                    <a:pt x="1440" y="270"/>
                    <a:pt x="1427" y="205"/>
                  </a:cubicBezTo>
                  <a:cubicBezTo>
                    <a:pt x="1415" y="141"/>
                    <a:pt x="1376" y="115"/>
                    <a:pt x="1376" y="115"/>
                  </a:cubicBezTo>
                  <a:cubicBezTo>
                    <a:pt x="1376" y="115"/>
                    <a:pt x="1300" y="103"/>
                    <a:pt x="1249" y="115"/>
                  </a:cubicBezTo>
                  <a:cubicBezTo>
                    <a:pt x="1211" y="128"/>
                    <a:pt x="1147" y="128"/>
                    <a:pt x="1070" y="103"/>
                  </a:cubicBezTo>
                  <a:cubicBezTo>
                    <a:pt x="994" y="77"/>
                    <a:pt x="981" y="0"/>
                    <a:pt x="981" y="0"/>
                  </a:cubicBezTo>
                  <a:cubicBezTo>
                    <a:pt x="981" y="0"/>
                    <a:pt x="930" y="13"/>
                    <a:pt x="905" y="51"/>
                  </a:cubicBezTo>
                  <a:cubicBezTo>
                    <a:pt x="866" y="103"/>
                    <a:pt x="828" y="193"/>
                    <a:pt x="803" y="270"/>
                  </a:cubicBezTo>
                  <a:cubicBezTo>
                    <a:pt x="765" y="334"/>
                    <a:pt x="637" y="372"/>
                    <a:pt x="599" y="398"/>
                  </a:cubicBezTo>
                  <a:cubicBezTo>
                    <a:pt x="561" y="424"/>
                    <a:pt x="497" y="514"/>
                    <a:pt x="484" y="565"/>
                  </a:cubicBezTo>
                  <a:cubicBezTo>
                    <a:pt x="471" y="616"/>
                    <a:pt x="420" y="629"/>
                    <a:pt x="408" y="694"/>
                  </a:cubicBezTo>
                  <a:cubicBezTo>
                    <a:pt x="408" y="745"/>
                    <a:pt x="446" y="822"/>
                    <a:pt x="433" y="873"/>
                  </a:cubicBezTo>
                  <a:cubicBezTo>
                    <a:pt x="408" y="925"/>
                    <a:pt x="357" y="1015"/>
                    <a:pt x="293" y="1040"/>
                  </a:cubicBezTo>
                  <a:cubicBezTo>
                    <a:pt x="242" y="1066"/>
                    <a:pt x="191" y="1169"/>
                    <a:pt x="127" y="1169"/>
                  </a:cubicBezTo>
                  <a:cubicBezTo>
                    <a:pt x="64" y="1182"/>
                    <a:pt x="0" y="1233"/>
                    <a:pt x="0" y="1233"/>
                  </a:cubicBezTo>
                  <a:cubicBezTo>
                    <a:pt x="561" y="1220"/>
                    <a:pt x="561" y="1220"/>
                    <a:pt x="561" y="1220"/>
                  </a:cubicBezTo>
                  <a:cubicBezTo>
                    <a:pt x="561" y="1079"/>
                    <a:pt x="561" y="1079"/>
                    <a:pt x="561" y="1079"/>
                  </a:cubicBezTo>
                  <a:cubicBezTo>
                    <a:pt x="561" y="1079"/>
                    <a:pt x="663" y="989"/>
                    <a:pt x="726" y="963"/>
                  </a:cubicBezTo>
                  <a:cubicBezTo>
                    <a:pt x="790" y="938"/>
                    <a:pt x="828" y="976"/>
                    <a:pt x="879" y="938"/>
                  </a:cubicBezTo>
                  <a:cubicBezTo>
                    <a:pt x="943" y="912"/>
                    <a:pt x="1019" y="899"/>
                    <a:pt x="1019" y="848"/>
                  </a:cubicBezTo>
                  <a:cubicBezTo>
                    <a:pt x="1032" y="783"/>
                    <a:pt x="1070" y="783"/>
                    <a:pt x="1147" y="771"/>
                  </a:cubicBezTo>
                  <a:cubicBezTo>
                    <a:pt x="1211" y="758"/>
                    <a:pt x="1185" y="732"/>
                    <a:pt x="1185" y="694"/>
                  </a:cubicBezTo>
                  <a:cubicBezTo>
                    <a:pt x="1185" y="655"/>
                    <a:pt x="1236" y="642"/>
                    <a:pt x="1262" y="629"/>
                  </a:cubicBezTo>
                  <a:cubicBezTo>
                    <a:pt x="1287" y="604"/>
                    <a:pt x="1274" y="604"/>
                    <a:pt x="1313" y="591"/>
                  </a:cubicBezTo>
                  <a:cubicBezTo>
                    <a:pt x="1351" y="565"/>
                    <a:pt x="1465" y="565"/>
                    <a:pt x="1491" y="578"/>
                  </a:cubicBezTo>
                  <a:cubicBezTo>
                    <a:pt x="1516" y="578"/>
                    <a:pt x="1516" y="514"/>
                    <a:pt x="1478" y="475"/>
                  </a:cubicBezTo>
                </a:path>
              </a:pathLst>
            </a:custGeom>
            <a:grpFill/>
            <a:ln w="9525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891045"/>
              <a:endParaRPr lang="en-US" sz="1700" dirty="0">
                <a:solidFill>
                  <a:srgbClr val="003149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617" name="Freeform 397"/>
            <p:cNvSpPr>
              <a:spLocks/>
            </p:cNvSpPr>
            <p:nvPr/>
          </p:nvSpPr>
          <p:spPr bwMode="gray">
            <a:xfrm>
              <a:off x="4047" y="2536"/>
              <a:ext cx="153" cy="124"/>
            </a:xfrm>
            <a:custGeom>
              <a:avLst/>
              <a:gdLst>
                <a:gd name="T0" fmla="*/ 149 w 153"/>
                <a:gd name="T1" fmla="*/ 48 h 124"/>
                <a:gd name="T2" fmla="*/ 145 w 153"/>
                <a:gd name="T3" fmla="*/ 33 h 124"/>
                <a:gd name="T4" fmla="*/ 144 w 153"/>
                <a:gd name="T5" fmla="*/ 20 h 124"/>
                <a:gd name="T6" fmla="*/ 139 w 153"/>
                <a:gd name="T7" fmla="*/ 11 h 124"/>
                <a:gd name="T8" fmla="*/ 126 w 153"/>
                <a:gd name="T9" fmla="*/ 11 h 124"/>
                <a:gd name="T10" fmla="*/ 108 w 153"/>
                <a:gd name="T11" fmla="*/ 10 h 124"/>
                <a:gd name="T12" fmla="*/ 99 w 153"/>
                <a:gd name="T13" fmla="*/ 0 h 124"/>
                <a:gd name="T14" fmla="*/ 91 w 153"/>
                <a:gd name="T15" fmla="*/ 5 h 124"/>
                <a:gd name="T16" fmla="*/ 81 w 153"/>
                <a:gd name="T17" fmla="*/ 27 h 124"/>
                <a:gd name="T18" fmla="*/ 60 w 153"/>
                <a:gd name="T19" fmla="*/ 40 h 124"/>
                <a:gd name="T20" fmla="*/ 49 w 153"/>
                <a:gd name="T21" fmla="*/ 57 h 124"/>
                <a:gd name="T22" fmla="*/ 41 w 153"/>
                <a:gd name="T23" fmla="*/ 70 h 124"/>
                <a:gd name="T24" fmla="*/ 43 w 153"/>
                <a:gd name="T25" fmla="*/ 88 h 124"/>
                <a:gd name="T26" fmla="*/ 29 w 153"/>
                <a:gd name="T27" fmla="*/ 105 h 124"/>
                <a:gd name="T28" fmla="*/ 13 w 153"/>
                <a:gd name="T29" fmla="*/ 118 h 124"/>
                <a:gd name="T30" fmla="*/ 0 w 153"/>
                <a:gd name="T31" fmla="*/ 124 h 124"/>
                <a:gd name="T32" fmla="*/ 56 w 153"/>
                <a:gd name="T33" fmla="*/ 123 h 124"/>
                <a:gd name="T34" fmla="*/ 56 w 153"/>
                <a:gd name="T35" fmla="*/ 109 h 124"/>
                <a:gd name="T36" fmla="*/ 73 w 153"/>
                <a:gd name="T37" fmla="*/ 97 h 124"/>
                <a:gd name="T38" fmla="*/ 88 w 153"/>
                <a:gd name="T39" fmla="*/ 94 h 124"/>
                <a:gd name="T40" fmla="*/ 103 w 153"/>
                <a:gd name="T41" fmla="*/ 85 h 124"/>
                <a:gd name="T42" fmla="*/ 116 w 153"/>
                <a:gd name="T43" fmla="*/ 78 h 124"/>
                <a:gd name="T44" fmla="*/ 119 w 153"/>
                <a:gd name="T45" fmla="*/ 70 h 124"/>
                <a:gd name="T46" fmla="*/ 127 w 153"/>
                <a:gd name="T47" fmla="*/ 63 h 124"/>
                <a:gd name="T48" fmla="*/ 132 w 153"/>
                <a:gd name="T49" fmla="*/ 59 h 124"/>
                <a:gd name="T50" fmla="*/ 150 w 153"/>
                <a:gd name="T51" fmla="*/ 58 h 124"/>
                <a:gd name="T52" fmla="*/ 149 w 153"/>
                <a:gd name="T53" fmla="*/ 48 h 124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w 153"/>
                <a:gd name="T82" fmla="*/ 0 h 124"/>
                <a:gd name="T83" fmla="*/ 153 w 153"/>
                <a:gd name="T84" fmla="*/ 124 h 124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T81" t="T82" r="T83" b="T84"/>
              <a:pathLst>
                <a:path w="153" h="124">
                  <a:moveTo>
                    <a:pt x="149" y="48"/>
                  </a:moveTo>
                  <a:cubicBezTo>
                    <a:pt x="145" y="44"/>
                    <a:pt x="145" y="37"/>
                    <a:pt x="145" y="33"/>
                  </a:cubicBezTo>
                  <a:cubicBezTo>
                    <a:pt x="145" y="31"/>
                    <a:pt x="145" y="27"/>
                    <a:pt x="144" y="20"/>
                  </a:cubicBezTo>
                  <a:cubicBezTo>
                    <a:pt x="143" y="14"/>
                    <a:pt x="139" y="11"/>
                    <a:pt x="139" y="11"/>
                  </a:cubicBezTo>
                  <a:cubicBezTo>
                    <a:pt x="139" y="11"/>
                    <a:pt x="131" y="10"/>
                    <a:pt x="126" y="11"/>
                  </a:cubicBezTo>
                  <a:cubicBezTo>
                    <a:pt x="122" y="13"/>
                    <a:pt x="116" y="13"/>
                    <a:pt x="108" y="10"/>
                  </a:cubicBezTo>
                  <a:cubicBezTo>
                    <a:pt x="100" y="7"/>
                    <a:pt x="99" y="0"/>
                    <a:pt x="99" y="0"/>
                  </a:cubicBezTo>
                  <a:cubicBezTo>
                    <a:pt x="99" y="0"/>
                    <a:pt x="94" y="1"/>
                    <a:pt x="91" y="5"/>
                  </a:cubicBezTo>
                  <a:cubicBezTo>
                    <a:pt x="87" y="10"/>
                    <a:pt x="83" y="19"/>
                    <a:pt x="81" y="27"/>
                  </a:cubicBezTo>
                  <a:cubicBezTo>
                    <a:pt x="77" y="33"/>
                    <a:pt x="64" y="37"/>
                    <a:pt x="60" y="40"/>
                  </a:cubicBezTo>
                  <a:cubicBezTo>
                    <a:pt x="56" y="42"/>
                    <a:pt x="50" y="52"/>
                    <a:pt x="49" y="57"/>
                  </a:cubicBezTo>
                  <a:cubicBezTo>
                    <a:pt x="47" y="62"/>
                    <a:pt x="42" y="63"/>
                    <a:pt x="41" y="70"/>
                  </a:cubicBezTo>
                  <a:cubicBezTo>
                    <a:pt x="41" y="75"/>
                    <a:pt x="45" y="83"/>
                    <a:pt x="43" y="88"/>
                  </a:cubicBezTo>
                  <a:cubicBezTo>
                    <a:pt x="41" y="93"/>
                    <a:pt x="36" y="102"/>
                    <a:pt x="29" y="105"/>
                  </a:cubicBezTo>
                  <a:cubicBezTo>
                    <a:pt x="24" y="107"/>
                    <a:pt x="19" y="118"/>
                    <a:pt x="13" y="118"/>
                  </a:cubicBezTo>
                  <a:cubicBezTo>
                    <a:pt x="6" y="119"/>
                    <a:pt x="0" y="124"/>
                    <a:pt x="0" y="124"/>
                  </a:cubicBezTo>
                  <a:cubicBezTo>
                    <a:pt x="56" y="123"/>
                    <a:pt x="56" y="123"/>
                    <a:pt x="56" y="123"/>
                  </a:cubicBezTo>
                  <a:cubicBezTo>
                    <a:pt x="56" y="109"/>
                    <a:pt x="56" y="109"/>
                    <a:pt x="56" y="109"/>
                  </a:cubicBezTo>
                  <a:cubicBezTo>
                    <a:pt x="56" y="109"/>
                    <a:pt x="67" y="100"/>
                    <a:pt x="73" y="97"/>
                  </a:cubicBezTo>
                  <a:cubicBezTo>
                    <a:pt x="80" y="94"/>
                    <a:pt x="83" y="98"/>
                    <a:pt x="88" y="94"/>
                  </a:cubicBezTo>
                  <a:cubicBezTo>
                    <a:pt x="95" y="92"/>
                    <a:pt x="103" y="90"/>
                    <a:pt x="103" y="85"/>
                  </a:cubicBezTo>
                  <a:cubicBezTo>
                    <a:pt x="104" y="79"/>
                    <a:pt x="108" y="79"/>
                    <a:pt x="116" y="78"/>
                  </a:cubicBezTo>
                  <a:cubicBezTo>
                    <a:pt x="122" y="76"/>
                    <a:pt x="119" y="74"/>
                    <a:pt x="119" y="70"/>
                  </a:cubicBezTo>
                  <a:cubicBezTo>
                    <a:pt x="119" y="66"/>
                    <a:pt x="125" y="64"/>
                    <a:pt x="127" y="63"/>
                  </a:cubicBezTo>
                  <a:cubicBezTo>
                    <a:pt x="130" y="61"/>
                    <a:pt x="128" y="61"/>
                    <a:pt x="132" y="59"/>
                  </a:cubicBezTo>
                  <a:cubicBezTo>
                    <a:pt x="136" y="57"/>
                    <a:pt x="148" y="57"/>
                    <a:pt x="150" y="58"/>
                  </a:cubicBezTo>
                  <a:cubicBezTo>
                    <a:pt x="153" y="58"/>
                    <a:pt x="153" y="52"/>
                    <a:pt x="149" y="48"/>
                  </a:cubicBezTo>
                </a:path>
              </a:pathLst>
            </a:custGeom>
            <a:grpFill/>
            <a:ln w="9525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891045"/>
              <a:endParaRPr lang="en-US" sz="1700" dirty="0">
                <a:solidFill>
                  <a:srgbClr val="003149"/>
                </a:solidFill>
                <a:cs typeface="Arial" panose="020B0604020202020204" pitchFamily="34" charset="0"/>
              </a:endParaRPr>
            </a:p>
          </p:txBody>
        </p:sp>
      </p:grpSp>
      <p:grpSp>
        <p:nvGrpSpPr>
          <p:cNvPr id="618" name="Group 398"/>
          <p:cNvGrpSpPr>
            <a:grpSpLocks/>
          </p:cNvGrpSpPr>
          <p:nvPr/>
        </p:nvGrpSpPr>
        <p:grpSpPr bwMode="gray">
          <a:xfrm>
            <a:off x="843648" y="1950128"/>
            <a:ext cx="228783" cy="263880"/>
            <a:chOff x="3997" y="2664"/>
            <a:chExt cx="156" cy="170"/>
          </a:xfrm>
          <a:solidFill>
            <a:schemeClr val="accent3"/>
          </a:solidFill>
        </p:grpSpPr>
        <p:sp>
          <p:nvSpPr>
            <p:cNvPr id="619" name="Freeform 399"/>
            <p:cNvSpPr>
              <a:spLocks/>
            </p:cNvSpPr>
            <p:nvPr/>
          </p:nvSpPr>
          <p:spPr bwMode="gray">
            <a:xfrm>
              <a:off x="3997" y="2664"/>
              <a:ext cx="156" cy="170"/>
            </a:xfrm>
            <a:custGeom>
              <a:avLst/>
              <a:gdLst>
                <a:gd name="T0" fmla="*/ 0 w 1542"/>
                <a:gd name="T1" fmla="*/ 0 h 1675"/>
                <a:gd name="T2" fmla="*/ 0 w 1542"/>
                <a:gd name="T3" fmla="*/ 0 h 1675"/>
                <a:gd name="T4" fmla="*/ 0 w 1542"/>
                <a:gd name="T5" fmla="*/ 0 h 1675"/>
                <a:gd name="T6" fmla="*/ 0 w 1542"/>
                <a:gd name="T7" fmla="*/ 0 h 1675"/>
                <a:gd name="T8" fmla="*/ 0 w 1542"/>
                <a:gd name="T9" fmla="*/ 0 h 1675"/>
                <a:gd name="T10" fmla="*/ 0 w 1542"/>
                <a:gd name="T11" fmla="*/ 0 h 1675"/>
                <a:gd name="T12" fmla="*/ 0 w 1542"/>
                <a:gd name="T13" fmla="*/ 0 h 1675"/>
                <a:gd name="T14" fmla="*/ 0 w 1542"/>
                <a:gd name="T15" fmla="*/ 0 h 1675"/>
                <a:gd name="T16" fmla="*/ 0 w 1542"/>
                <a:gd name="T17" fmla="*/ 0 h 1675"/>
                <a:gd name="T18" fmla="*/ 0 w 1542"/>
                <a:gd name="T19" fmla="*/ 0 h 1675"/>
                <a:gd name="T20" fmla="*/ 0 w 1542"/>
                <a:gd name="T21" fmla="*/ 0 h 1675"/>
                <a:gd name="T22" fmla="*/ 0 w 1542"/>
                <a:gd name="T23" fmla="*/ 0 h 1675"/>
                <a:gd name="T24" fmla="*/ 0 w 1542"/>
                <a:gd name="T25" fmla="*/ 0 h 1675"/>
                <a:gd name="T26" fmla="*/ 0 w 1542"/>
                <a:gd name="T27" fmla="*/ 0 h 1675"/>
                <a:gd name="T28" fmla="*/ 0 w 1542"/>
                <a:gd name="T29" fmla="*/ 0 h 1675"/>
                <a:gd name="T30" fmla="*/ 0 w 1542"/>
                <a:gd name="T31" fmla="*/ 0 h 1675"/>
                <a:gd name="T32" fmla="*/ 0 w 1542"/>
                <a:gd name="T33" fmla="*/ 0 h 1675"/>
                <a:gd name="T34" fmla="*/ 0 w 1542"/>
                <a:gd name="T35" fmla="*/ 0 h 1675"/>
                <a:gd name="T36" fmla="*/ 0 w 1542"/>
                <a:gd name="T37" fmla="*/ 0 h 1675"/>
                <a:gd name="T38" fmla="*/ 0 w 1542"/>
                <a:gd name="T39" fmla="*/ 0 h 1675"/>
                <a:gd name="T40" fmla="*/ 0 w 1542"/>
                <a:gd name="T41" fmla="*/ 0 h 1675"/>
                <a:gd name="T42" fmla="*/ 0 w 1542"/>
                <a:gd name="T43" fmla="*/ 0 h 1675"/>
                <a:gd name="T44" fmla="*/ 0 w 1542"/>
                <a:gd name="T45" fmla="*/ 0 h 1675"/>
                <a:gd name="T46" fmla="*/ 0 w 1542"/>
                <a:gd name="T47" fmla="*/ 0 h 1675"/>
                <a:gd name="T48" fmla="*/ 0 w 1542"/>
                <a:gd name="T49" fmla="*/ 0 h 1675"/>
                <a:gd name="T50" fmla="*/ 0 w 1542"/>
                <a:gd name="T51" fmla="*/ 0 h 1675"/>
                <a:gd name="T52" fmla="*/ 0 w 1542"/>
                <a:gd name="T53" fmla="*/ 0 h 1675"/>
                <a:gd name="T54" fmla="*/ 0 w 1542"/>
                <a:gd name="T55" fmla="*/ 0 h 1675"/>
                <a:gd name="T56" fmla="*/ 0 w 1542"/>
                <a:gd name="T57" fmla="*/ 0 h 1675"/>
                <a:gd name="T58" fmla="*/ 0 w 1542"/>
                <a:gd name="T59" fmla="*/ 0 h 1675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w 1542"/>
                <a:gd name="T91" fmla="*/ 0 h 1675"/>
                <a:gd name="T92" fmla="*/ 1542 w 1542"/>
                <a:gd name="T93" fmla="*/ 1675 h 1675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T90" t="T91" r="T92" b="T93"/>
              <a:pathLst>
                <a:path w="1542" h="1675">
                  <a:moveTo>
                    <a:pt x="1314" y="317"/>
                  </a:moveTo>
                  <a:cubicBezTo>
                    <a:pt x="1542" y="317"/>
                    <a:pt x="1542" y="317"/>
                    <a:pt x="1542" y="317"/>
                  </a:cubicBezTo>
                  <a:cubicBezTo>
                    <a:pt x="1049" y="0"/>
                    <a:pt x="1049" y="0"/>
                    <a:pt x="1049" y="0"/>
                  </a:cubicBezTo>
                  <a:cubicBezTo>
                    <a:pt x="1049" y="0"/>
                    <a:pt x="1049" y="0"/>
                    <a:pt x="1049" y="0"/>
                  </a:cubicBezTo>
                  <a:cubicBezTo>
                    <a:pt x="1049" y="165"/>
                    <a:pt x="1049" y="165"/>
                    <a:pt x="1049" y="165"/>
                  </a:cubicBezTo>
                  <a:cubicBezTo>
                    <a:pt x="632" y="177"/>
                    <a:pt x="632" y="177"/>
                    <a:pt x="632" y="177"/>
                  </a:cubicBezTo>
                  <a:cubicBezTo>
                    <a:pt x="632" y="520"/>
                    <a:pt x="632" y="520"/>
                    <a:pt x="632" y="520"/>
                  </a:cubicBezTo>
                  <a:cubicBezTo>
                    <a:pt x="632" y="520"/>
                    <a:pt x="531" y="533"/>
                    <a:pt x="518" y="571"/>
                  </a:cubicBezTo>
                  <a:cubicBezTo>
                    <a:pt x="506" y="622"/>
                    <a:pt x="518" y="812"/>
                    <a:pt x="518" y="812"/>
                  </a:cubicBezTo>
                  <a:cubicBezTo>
                    <a:pt x="0" y="825"/>
                    <a:pt x="0" y="825"/>
                    <a:pt x="0" y="825"/>
                  </a:cubicBezTo>
                  <a:cubicBezTo>
                    <a:pt x="0" y="825"/>
                    <a:pt x="25" y="863"/>
                    <a:pt x="76" y="888"/>
                  </a:cubicBezTo>
                  <a:cubicBezTo>
                    <a:pt x="114" y="901"/>
                    <a:pt x="89" y="1002"/>
                    <a:pt x="76" y="1028"/>
                  </a:cubicBezTo>
                  <a:cubicBezTo>
                    <a:pt x="63" y="1053"/>
                    <a:pt x="76" y="1104"/>
                    <a:pt x="114" y="1142"/>
                  </a:cubicBezTo>
                  <a:cubicBezTo>
                    <a:pt x="152" y="1180"/>
                    <a:pt x="139" y="1281"/>
                    <a:pt x="114" y="1332"/>
                  </a:cubicBezTo>
                  <a:cubicBezTo>
                    <a:pt x="89" y="1383"/>
                    <a:pt x="63" y="1497"/>
                    <a:pt x="76" y="1472"/>
                  </a:cubicBezTo>
                  <a:cubicBezTo>
                    <a:pt x="101" y="1459"/>
                    <a:pt x="164" y="1446"/>
                    <a:pt x="202" y="1434"/>
                  </a:cubicBezTo>
                  <a:cubicBezTo>
                    <a:pt x="240" y="1434"/>
                    <a:pt x="329" y="1421"/>
                    <a:pt x="329" y="1421"/>
                  </a:cubicBezTo>
                  <a:cubicBezTo>
                    <a:pt x="392" y="1484"/>
                    <a:pt x="392" y="1484"/>
                    <a:pt x="392" y="1484"/>
                  </a:cubicBezTo>
                  <a:cubicBezTo>
                    <a:pt x="455" y="1484"/>
                    <a:pt x="455" y="1484"/>
                    <a:pt x="455" y="1484"/>
                  </a:cubicBezTo>
                  <a:cubicBezTo>
                    <a:pt x="455" y="1484"/>
                    <a:pt x="493" y="1586"/>
                    <a:pt x="518" y="1611"/>
                  </a:cubicBezTo>
                  <a:cubicBezTo>
                    <a:pt x="544" y="1649"/>
                    <a:pt x="594" y="1675"/>
                    <a:pt x="619" y="1662"/>
                  </a:cubicBezTo>
                  <a:cubicBezTo>
                    <a:pt x="657" y="1662"/>
                    <a:pt x="657" y="1624"/>
                    <a:pt x="657" y="1611"/>
                  </a:cubicBezTo>
                  <a:cubicBezTo>
                    <a:pt x="670" y="1586"/>
                    <a:pt x="695" y="1561"/>
                    <a:pt x="695" y="1561"/>
                  </a:cubicBezTo>
                  <a:cubicBezTo>
                    <a:pt x="695" y="1561"/>
                    <a:pt x="771" y="1637"/>
                    <a:pt x="784" y="1611"/>
                  </a:cubicBezTo>
                  <a:cubicBezTo>
                    <a:pt x="796" y="1586"/>
                    <a:pt x="834" y="1586"/>
                    <a:pt x="859" y="1599"/>
                  </a:cubicBezTo>
                  <a:cubicBezTo>
                    <a:pt x="897" y="1599"/>
                    <a:pt x="961" y="1573"/>
                    <a:pt x="961" y="1573"/>
                  </a:cubicBezTo>
                  <a:cubicBezTo>
                    <a:pt x="1441" y="1573"/>
                    <a:pt x="1441" y="1573"/>
                    <a:pt x="1441" y="1573"/>
                  </a:cubicBezTo>
                  <a:cubicBezTo>
                    <a:pt x="1466" y="1472"/>
                    <a:pt x="1466" y="1472"/>
                    <a:pt x="1466" y="1472"/>
                  </a:cubicBezTo>
                  <a:cubicBezTo>
                    <a:pt x="1415" y="1446"/>
                    <a:pt x="1415" y="1446"/>
                    <a:pt x="1415" y="1446"/>
                  </a:cubicBezTo>
                  <a:lnTo>
                    <a:pt x="1314" y="317"/>
                  </a:lnTo>
                  <a:close/>
                </a:path>
              </a:pathLst>
            </a:custGeom>
            <a:grpFill/>
            <a:ln w="9525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891045"/>
              <a:endParaRPr lang="en-US" sz="1700" dirty="0">
                <a:solidFill>
                  <a:srgbClr val="003149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620" name="Freeform 400"/>
            <p:cNvSpPr>
              <a:spLocks/>
            </p:cNvSpPr>
            <p:nvPr/>
          </p:nvSpPr>
          <p:spPr bwMode="gray">
            <a:xfrm>
              <a:off x="3997" y="2664"/>
              <a:ext cx="156" cy="170"/>
            </a:xfrm>
            <a:custGeom>
              <a:avLst/>
              <a:gdLst>
                <a:gd name="T0" fmla="*/ 0 w 1542"/>
                <a:gd name="T1" fmla="*/ 0 h 1675"/>
                <a:gd name="T2" fmla="*/ 0 w 1542"/>
                <a:gd name="T3" fmla="*/ 0 h 1675"/>
                <a:gd name="T4" fmla="*/ 0 w 1542"/>
                <a:gd name="T5" fmla="*/ 0 h 1675"/>
                <a:gd name="T6" fmla="*/ 0 w 1542"/>
                <a:gd name="T7" fmla="*/ 0 h 1675"/>
                <a:gd name="T8" fmla="*/ 0 w 1542"/>
                <a:gd name="T9" fmla="*/ 0 h 1675"/>
                <a:gd name="T10" fmla="*/ 0 w 1542"/>
                <a:gd name="T11" fmla="*/ 0 h 1675"/>
                <a:gd name="T12" fmla="*/ 0 w 1542"/>
                <a:gd name="T13" fmla="*/ 0 h 1675"/>
                <a:gd name="T14" fmla="*/ 0 w 1542"/>
                <a:gd name="T15" fmla="*/ 0 h 1675"/>
                <a:gd name="T16" fmla="*/ 0 w 1542"/>
                <a:gd name="T17" fmla="*/ 0 h 1675"/>
                <a:gd name="T18" fmla="*/ 0 w 1542"/>
                <a:gd name="T19" fmla="*/ 0 h 1675"/>
                <a:gd name="T20" fmla="*/ 0 w 1542"/>
                <a:gd name="T21" fmla="*/ 0 h 1675"/>
                <a:gd name="T22" fmla="*/ 0 w 1542"/>
                <a:gd name="T23" fmla="*/ 0 h 1675"/>
                <a:gd name="T24" fmla="*/ 0 w 1542"/>
                <a:gd name="T25" fmla="*/ 0 h 1675"/>
                <a:gd name="T26" fmla="*/ 0 w 1542"/>
                <a:gd name="T27" fmla="*/ 0 h 1675"/>
                <a:gd name="T28" fmla="*/ 0 w 1542"/>
                <a:gd name="T29" fmla="*/ 0 h 1675"/>
                <a:gd name="T30" fmla="*/ 0 w 1542"/>
                <a:gd name="T31" fmla="*/ 0 h 1675"/>
                <a:gd name="T32" fmla="*/ 0 w 1542"/>
                <a:gd name="T33" fmla="*/ 0 h 1675"/>
                <a:gd name="T34" fmla="*/ 0 w 1542"/>
                <a:gd name="T35" fmla="*/ 0 h 1675"/>
                <a:gd name="T36" fmla="*/ 0 w 1542"/>
                <a:gd name="T37" fmla="*/ 0 h 1675"/>
                <a:gd name="T38" fmla="*/ 0 w 1542"/>
                <a:gd name="T39" fmla="*/ 0 h 1675"/>
                <a:gd name="T40" fmla="*/ 0 w 1542"/>
                <a:gd name="T41" fmla="*/ 0 h 1675"/>
                <a:gd name="T42" fmla="*/ 0 w 1542"/>
                <a:gd name="T43" fmla="*/ 0 h 1675"/>
                <a:gd name="T44" fmla="*/ 0 w 1542"/>
                <a:gd name="T45" fmla="*/ 0 h 1675"/>
                <a:gd name="T46" fmla="*/ 0 w 1542"/>
                <a:gd name="T47" fmla="*/ 0 h 1675"/>
                <a:gd name="T48" fmla="*/ 0 w 1542"/>
                <a:gd name="T49" fmla="*/ 0 h 1675"/>
                <a:gd name="T50" fmla="*/ 0 w 1542"/>
                <a:gd name="T51" fmla="*/ 0 h 1675"/>
                <a:gd name="T52" fmla="*/ 0 w 1542"/>
                <a:gd name="T53" fmla="*/ 0 h 1675"/>
                <a:gd name="T54" fmla="*/ 0 w 1542"/>
                <a:gd name="T55" fmla="*/ 0 h 1675"/>
                <a:gd name="T56" fmla="*/ 0 w 1542"/>
                <a:gd name="T57" fmla="*/ 0 h 1675"/>
                <a:gd name="T58" fmla="*/ 0 w 1542"/>
                <a:gd name="T59" fmla="*/ 0 h 1675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w 1542"/>
                <a:gd name="T91" fmla="*/ 0 h 1675"/>
                <a:gd name="T92" fmla="*/ 1542 w 1542"/>
                <a:gd name="T93" fmla="*/ 1675 h 1675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T90" t="T91" r="T92" b="T93"/>
              <a:pathLst>
                <a:path w="1542" h="1675">
                  <a:moveTo>
                    <a:pt x="1314" y="317"/>
                  </a:moveTo>
                  <a:cubicBezTo>
                    <a:pt x="1542" y="317"/>
                    <a:pt x="1542" y="317"/>
                    <a:pt x="1542" y="317"/>
                  </a:cubicBezTo>
                  <a:cubicBezTo>
                    <a:pt x="1049" y="0"/>
                    <a:pt x="1049" y="0"/>
                    <a:pt x="1049" y="0"/>
                  </a:cubicBezTo>
                  <a:cubicBezTo>
                    <a:pt x="1049" y="0"/>
                    <a:pt x="1049" y="0"/>
                    <a:pt x="1049" y="0"/>
                  </a:cubicBezTo>
                  <a:cubicBezTo>
                    <a:pt x="1049" y="165"/>
                    <a:pt x="1049" y="165"/>
                    <a:pt x="1049" y="165"/>
                  </a:cubicBezTo>
                  <a:cubicBezTo>
                    <a:pt x="632" y="177"/>
                    <a:pt x="632" y="177"/>
                    <a:pt x="632" y="177"/>
                  </a:cubicBezTo>
                  <a:cubicBezTo>
                    <a:pt x="632" y="520"/>
                    <a:pt x="632" y="520"/>
                    <a:pt x="632" y="520"/>
                  </a:cubicBezTo>
                  <a:cubicBezTo>
                    <a:pt x="632" y="520"/>
                    <a:pt x="531" y="533"/>
                    <a:pt x="518" y="571"/>
                  </a:cubicBezTo>
                  <a:cubicBezTo>
                    <a:pt x="506" y="622"/>
                    <a:pt x="518" y="812"/>
                    <a:pt x="518" y="812"/>
                  </a:cubicBezTo>
                  <a:cubicBezTo>
                    <a:pt x="0" y="825"/>
                    <a:pt x="0" y="825"/>
                    <a:pt x="0" y="825"/>
                  </a:cubicBezTo>
                  <a:cubicBezTo>
                    <a:pt x="0" y="825"/>
                    <a:pt x="25" y="863"/>
                    <a:pt x="76" y="888"/>
                  </a:cubicBezTo>
                  <a:cubicBezTo>
                    <a:pt x="114" y="901"/>
                    <a:pt x="89" y="1002"/>
                    <a:pt x="76" y="1028"/>
                  </a:cubicBezTo>
                  <a:cubicBezTo>
                    <a:pt x="63" y="1053"/>
                    <a:pt x="76" y="1104"/>
                    <a:pt x="114" y="1142"/>
                  </a:cubicBezTo>
                  <a:cubicBezTo>
                    <a:pt x="152" y="1180"/>
                    <a:pt x="139" y="1281"/>
                    <a:pt x="114" y="1332"/>
                  </a:cubicBezTo>
                  <a:cubicBezTo>
                    <a:pt x="89" y="1383"/>
                    <a:pt x="63" y="1497"/>
                    <a:pt x="76" y="1472"/>
                  </a:cubicBezTo>
                  <a:cubicBezTo>
                    <a:pt x="101" y="1459"/>
                    <a:pt x="164" y="1446"/>
                    <a:pt x="202" y="1434"/>
                  </a:cubicBezTo>
                  <a:cubicBezTo>
                    <a:pt x="240" y="1434"/>
                    <a:pt x="329" y="1421"/>
                    <a:pt x="329" y="1421"/>
                  </a:cubicBezTo>
                  <a:cubicBezTo>
                    <a:pt x="392" y="1484"/>
                    <a:pt x="392" y="1484"/>
                    <a:pt x="392" y="1484"/>
                  </a:cubicBezTo>
                  <a:cubicBezTo>
                    <a:pt x="455" y="1484"/>
                    <a:pt x="455" y="1484"/>
                    <a:pt x="455" y="1484"/>
                  </a:cubicBezTo>
                  <a:cubicBezTo>
                    <a:pt x="455" y="1484"/>
                    <a:pt x="493" y="1586"/>
                    <a:pt x="518" y="1611"/>
                  </a:cubicBezTo>
                  <a:cubicBezTo>
                    <a:pt x="544" y="1649"/>
                    <a:pt x="594" y="1675"/>
                    <a:pt x="619" y="1662"/>
                  </a:cubicBezTo>
                  <a:cubicBezTo>
                    <a:pt x="657" y="1662"/>
                    <a:pt x="657" y="1624"/>
                    <a:pt x="657" y="1611"/>
                  </a:cubicBezTo>
                  <a:cubicBezTo>
                    <a:pt x="670" y="1586"/>
                    <a:pt x="695" y="1561"/>
                    <a:pt x="695" y="1561"/>
                  </a:cubicBezTo>
                  <a:cubicBezTo>
                    <a:pt x="695" y="1561"/>
                    <a:pt x="771" y="1637"/>
                    <a:pt x="784" y="1611"/>
                  </a:cubicBezTo>
                  <a:cubicBezTo>
                    <a:pt x="796" y="1586"/>
                    <a:pt x="834" y="1586"/>
                    <a:pt x="859" y="1599"/>
                  </a:cubicBezTo>
                  <a:cubicBezTo>
                    <a:pt x="897" y="1599"/>
                    <a:pt x="961" y="1573"/>
                    <a:pt x="961" y="1573"/>
                  </a:cubicBezTo>
                  <a:cubicBezTo>
                    <a:pt x="1441" y="1573"/>
                    <a:pt x="1441" y="1573"/>
                    <a:pt x="1441" y="1573"/>
                  </a:cubicBezTo>
                  <a:cubicBezTo>
                    <a:pt x="1466" y="1472"/>
                    <a:pt x="1466" y="1472"/>
                    <a:pt x="1466" y="1472"/>
                  </a:cubicBezTo>
                  <a:cubicBezTo>
                    <a:pt x="1415" y="1446"/>
                    <a:pt x="1415" y="1446"/>
                    <a:pt x="1415" y="1446"/>
                  </a:cubicBezTo>
                  <a:lnTo>
                    <a:pt x="1314" y="317"/>
                  </a:lnTo>
                  <a:close/>
                </a:path>
              </a:pathLst>
            </a:custGeom>
            <a:grpFill/>
            <a:ln w="9525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891045"/>
              <a:endParaRPr lang="en-US" sz="1700" dirty="0">
                <a:solidFill>
                  <a:srgbClr val="003149"/>
                </a:solidFill>
                <a:cs typeface="Arial" panose="020B0604020202020204" pitchFamily="34" charset="0"/>
              </a:endParaRPr>
            </a:p>
          </p:txBody>
        </p:sp>
      </p:grpSp>
      <p:grpSp>
        <p:nvGrpSpPr>
          <p:cNvPr id="621" name="Group 413"/>
          <p:cNvGrpSpPr>
            <a:grpSpLocks/>
          </p:cNvGrpSpPr>
          <p:nvPr/>
        </p:nvGrpSpPr>
        <p:grpSpPr bwMode="gray">
          <a:xfrm>
            <a:off x="1194387" y="2230506"/>
            <a:ext cx="221241" cy="196642"/>
            <a:chOff x="4248" y="2845"/>
            <a:chExt cx="151" cy="127"/>
          </a:xfrm>
          <a:solidFill>
            <a:schemeClr val="accent3"/>
          </a:solidFill>
        </p:grpSpPr>
        <p:sp>
          <p:nvSpPr>
            <p:cNvPr id="622" name="Freeform 414"/>
            <p:cNvSpPr>
              <a:spLocks/>
            </p:cNvSpPr>
            <p:nvPr/>
          </p:nvSpPr>
          <p:spPr bwMode="gray">
            <a:xfrm>
              <a:off x="4248" y="2845"/>
              <a:ext cx="151" cy="127"/>
            </a:xfrm>
            <a:custGeom>
              <a:avLst/>
              <a:gdLst>
                <a:gd name="T0" fmla="*/ 0 w 1500"/>
                <a:gd name="T1" fmla="*/ 0 h 1250"/>
                <a:gd name="T2" fmla="*/ 0 w 1500"/>
                <a:gd name="T3" fmla="*/ 0 h 1250"/>
                <a:gd name="T4" fmla="*/ 0 w 1500"/>
                <a:gd name="T5" fmla="*/ 0 h 1250"/>
                <a:gd name="T6" fmla="*/ 0 w 1500"/>
                <a:gd name="T7" fmla="*/ 0 h 1250"/>
                <a:gd name="T8" fmla="*/ 0 w 1500"/>
                <a:gd name="T9" fmla="*/ 0 h 1250"/>
                <a:gd name="T10" fmla="*/ 0 w 1500"/>
                <a:gd name="T11" fmla="*/ 0 h 1250"/>
                <a:gd name="T12" fmla="*/ 0 w 1500"/>
                <a:gd name="T13" fmla="*/ 0 h 1250"/>
                <a:gd name="T14" fmla="*/ 0 w 1500"/>
                <a:gd name="T15" fmla="*/ 0 h 1250"/>
                <a:gd name="T16" fmla="*/ 0 w 1500"/>
                <a:gd name="T17" fmla="*/ 0 h 1250"/>
                <a:gd name="T18" fmla="*/ 0 w 1500"/>
                <a:gd name="T19" fmla="*/ 0 h 1250"/>
                <a:gd name="T20" fmla="*/ 0 w 1500"/>
                <a:gd name="T21" fmla="*/ 0 h 1250"/>
                <a:gd name="T22" fmla="*/ 0 w 1500"/>
                <a:gd name="T23" fmla="*/ 0 h 1250"/>
                <a:gd name="T24" fmla="*/ 0 w 1500"/>
                <a:gd name="T25" fmla="*/ 0 h 1250"/>
                <a:gd name="T26" fmla="*/ 0 w 1500"/>
                <a:gd name="T27" fmla="*/ 0 h 1250"/>
                <a:gd name="T28" fmla="*/ 0 w 1500"/>
                <a:gd name="T29" fmla="*/ 0 h 1250"/>
                <a:gd name="T30" fmla="*/ 0 w 1500"/>
                <a:gd name="T31" fmla="*/ 0 h 1250"/>
                <a:gd name="T32" fmla="*/ 0 w 1500"/>
                <a:gd name="T33" fmla="*/ 0 h 1250"/>
                <a:gd name="T34" fmla="*/ 0 w 1500"/>
                <a:gd name="T35" fmla="*/ 0 h 1250"/>
                <a:gd name="T36" fmla="*/ 0 w 1500"/>
                <a:gd name="T37" fmla="*/ 0 h 1250"/>
                <a:gd name="T38" fmla="*/ 0 w 1500"/>
                <a:gd name="T39" fmla="*/ 0 h 1250"/>
                <a:gd name="T40" fmla="*/ 0 w 1500"/>
                <a:gd name="T41" fmla="*/ 0 h 1250"/>
                <a:gd name="T42" fmla="*/ 0 w 1500"/>
                <a:gd name="T43" fmla="*/ 0 h 1250"/>
                <a:gd name="T44" fmla="*/ 0 w 1500"/>
                <a:gd name="T45" fmla="*/ 0 h 1250"/>
                <a:gd name="T46" fmla="*/ 0 w 1500"/>
                <a:gd name="T47" fmla="*/ 0 h 1250"/>
                <a:gd name="T48" fmla="*/ 0 w 1500"/>
                <a:gd name="T49" fmla="*/ 0 h 1250"/>
                <a:gd name="T50" fmla="*/ 0 w 1500"/>
                <a:gd name="T51" fmla="*/ 0 h 1250"/>
                <a:gd name="T52" fmla="*/ 0 w 1500"/>
                <a:gd name="T53" fmla="*/ 0 h 1250"/>
                <a:gd name="T54" fmla="*/ 0 w 1500"/>
                <a:gd name="T55" fmla="*/ 0 h 1250"/>
                <a:gd name="T56" fmla="*/ 0 w 1500"/>
                <a:gd name="T57" fmla="*/ 0 h 1250"/>
                <a:gd name="T58" fmla="*/ 0 w 1500"/>
                <a:gd name="T59" fmla="*/ 0 h 1250"/>
                <a:gd name="T60" fmla="*/ 0 w 1500"/>
                <a:gd name="T61" fmla="*/ 0 h 1250"/>
                <a:gd name="T62" fmla="*/ 0 w 1500"/>
                <a:gd name="T63" fmla="*/ 0 h 1250"/>
                <a:gd name="T64" fmla="*/ 0 w 1500"/>
                <a:gd name="T65" fmla="*/ 0 h 1250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1500"/>
                <a:gd name="T100" fmla="*/ 0 h 1250"/>
                <a:gd name="T101" fmla="*/ 1500 w 1500"/>
                <a:gd name="T102" fmla="*/ 1250 h 1250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1500" h="1250">
                  <a:moveTo>
                    <a:pt x="1488" y="271"/>
                  </a:moveTo>
                  <a:cubicBezTo>
                    <a:pt x="1488" y="232"/>
                    <a:pt x="1488" y="220"/>
                    <a:pt x="1475" y="194"/>
                  </a:cubicBezTo>
                  <a:cubicBezTo>
                    <a:pt x="1462" y="168"/>
                    <a:pt x="1424" y="181"/>
                    <a:pt x="1424" y="181"/>
                  </a:cubicBezTo>
                  <a:cubicBezTo>
                    <a:pt x="1424" y="116"/>
                    <a:pt x="1424" y="116"/>
                    <a:pt x="1424" y="116"/>
                  </a:cubicBezTo>
                  <a:cubicBezTo>
                    <a:pt x="1373" y="39"/>
                    <a:pt x="1373" y="39"/>
                    <a:pt x="1373" y="39"/>
                  </a:cubicBezTo>
                  <a:cubicBezTo>
                    <a:pt x="1373" y="39"/>
                    <a:pt x="1373" y="39"/>
                    <a:pt x="1335" y="26"/>
                  </a:cubicBezTo>
                  <a:cubicBezTo>
                    <a:pt x="1297" y="26"/>
                    <a:pt x="1323" y="52"/>
                    <a:pt x="1284" y="65"/>
                  </a:cubicBezTo>
                  <a:cubicBezTo>
                    <a:pt x="1259" y="65"/>
                    <a:pt x="1234" y="116"/>
                    <a:pt x="1221" y="116"/>
                  </a:cubicBezTo>
                  <a:cubicBezTo>
                    <a:pt x="1208" y="116"/>
                    <a:pt x="1157" y="104"/>
                    <a:pt x="1132" y="91"/>
                  </a:cubicBezTo>
                  <a:cubicBezTo>
                    <a:pt x="1106" y="91"/>
                    <a:pt x="1030" y="91"/>
                    <a:pt x="992" y="91"/>
                  </a:cubicBezTo>
                  <a:cubicBezTo>
                    <a:pt x="954" y="91"/>
                    <a:pt x="916" y="116"/>
                    <a:pt x="890" y="129"/>
                  </a:cubicBezTo>
                  <a:cubicBezTo>
                    <a:pt x="852" y="142"/>
                    <a:pt x="852" y="155"/>
                    <a:pt x="827" y="155"/>
                  </a:cubicBezTo>
                  <a:cubicBezTo>
                    <a:pt x="789" y="155"/>
                    <a:pt x="750" y="116"/>
                    <a:pt x="700" y="104"/>
                  </a:cubicBezTo>
                  <a:cubicBezTo>
                    <a:pt x="661" y="91"/>
                    <a:pt x="649" y="91"/>
                    <a:pt x="611" y="104"/>
                  </a:cubicBezTo>
                  <a:cubicBezTo>
                    <a:pt x="585" y="116"/>
                    <a:pt x="534" y="129"/>
                    <a:pt x="534" y="129"/>
                  </a:cubicBezTo>
                  <a:cubicBezTo>
                    <a:pt x="534" y="129"/>
                    <a:pt x="509" y="104"/>
                    <a:pt x="484" y="78"/>
                  </a:cubicBezTo>
                  <a:cubicBezTo>
                    <a:pt x="458" y="52"/>
                    <a:pt x="458" y="52"/>
                    <a:pt x="420" y="39"/>
                  </a:cubicBezTo>
                  <a:cubicBezTo>
                    <a:pt x="395" y="13"/>
                    <a:pt x="344" y="0"/>
                    <a:pt x="331" y="26"/>
                  </a:cubicBezTo>
                  <a:cubicBezTo>
                    <a:pt x="318" y="52"/>
                    <a:pt x="280" y="39"/>
                    <a:pt x="267" y="39"/>
                  </a:cubicBezTo>
                  <a:cubicBezTo>
                    <a:pt x="255" y="39"/>
                    <a:pt x="191" y="65"/>
                    <a:pt x="191" y="65"/>
                  </a:cubicBezTo>
                  <a:cubicBezTo>
                    <a:pt x="191" y="65"/>
                    <a:pt x="191" y="104"/>
                    <a:pt x="166" y="129"/>
                  </a:cubicBezTo>
                  <a:cubicBezTo>
                    <a:pt x="140" y="155"/>
                    <a:pt x="128" y="181"/>
                    <a:pt x="128" y="181"/>
                  </a:cubicBezTo>
                  <a:cubicBezTo>
                    <a:pt x="128" y="181"/>
                    <a:pt x="128" y="181"/>
                    <a:pt x="128" y="220"/>
                  </a:cubicBezTo>
                  <a:cubicBezTo>
                    <a:pt x="128" y="245"/>
                    <a:pt x="115" y="284"/>
                    <a:pt x="102" y="310"/>
                  </a:cubicBezTo>
                  <a:cubicBezTo>
                    <a:pt x="102" y="310"/>
                    <a:pt x="102" y="310"/>
                    <a:pt x="102" y="323"/>
                  </a:cubicBezTo>
                  <a:cubicBezTo>
                    <a:pt x="102" y="336"/>
                    <a:pt x="102" y="348"/>
                    <a:pt x="115" y="374"/>
                  </a:cubicBezTo>
                  <a:cubicBezTo>
                    <a:pt x="140" y="400"/>
                    <a:pt x="140" y="426"/>
                    <a:pt x="140" y="426"/>
                  </a:cubicBezTo>
                  <a:cubicBezTo>
                    <a:pt x="140" y="426"/>
                    <a:pt x="140" y="452"/>
                    <a:pt x="128" y="452"/>
                  </a:cubicBezTo>
                  <a:cubicBezTo>
                    <a:pt x="115" y="464"/>
                    <a:pt x="128" y="452"/>
                    <a:pt x="115" y="490"/>
                  </a:cubicBezTo>
                  <a:cubicBezTo>
                    <a:pt x="102" y="542"/>
                    <a:pt x="115" y="529"/>
                    <a:pt x="89" y="529"/>
                  </a:cubicBezTo>
                  <a:cubicBezTo>
                    <a:pt x="77" y="542"/>
                    <a:pt x="77" y="555"/>
                    <a:pt x="64" y="567"/>
                  </a:cubicBezTo>
                  <a:cubicBezTo>
                    <a:pt x="51" y="580"/>
                    <a:pt x="64" y="593"/>
                    <a:pt x="51" y="619"/>
                  </a:cubicBezTo>
                  <a:cubicBezTo>
                    <a:pt x="51" y="632"/>
                    <a:pt x="26" y="632"/>
                    <a:pt x="26" y="632"/>
                  </a:cubicBezTo>
                  <a:cubicBezTo>
                    <a:pt x="13" y="645"/>
                    <a:pt x="0" y="658"/>
                    <a:pt x="0" y="696"/>
                  </a:cubicBezTo>
                  <a:cubicBezTo>
                    <a:pt x="0" y="748"/>
                    <a:pt x="0" y="787"/>
                    <a:pt x="0" y="812"/>
                  </a:cubicBezTo>
                  <a:cubicBezTo>
                    <a:pt x="0" y="838"/>
                    <a:pt x="13" y="864"/>
                    <a:pt x="0" y="890"/>
                  </a:cubicBezTo>
                  <a:cubicBezTo>
                    <a:pt x="0" y="928"/>
                    <a:pt x="13" y="980"/>
                    <a:pt x="13" y="980"/>
                  </a:cubicBezTo>
                  <a:cubicBezTo>
                    <a:pt x="13" y="980"/>
                    <a:pt x="153" y="980"/>
                    <a:pt x="178" y="980"/>
                  </a:cubicBezTo>
                  <a:cubicBezTo>
                    <a:pt x="204" y="980"/>
                    <a:pt x="255" y="993"/>
                    <a:pt x="267" y="1031"/>
                  </a:cubicBezTo>
                  <a:cubicBezTo>
                    <a:pt x="293" y="1057"/>
                    <a:pt x="344" y="1160"/>
                    <a:pt x="356" y="1199"/>
                  </a:cubicBezTo>
                  <a:cubicBezTo>
                    <a:pt x="369" y="1238"/>
                    <a:pt x="407" y="1250"/>
                    <a:pt x="445" y="1238"/>
                  </a:cubicBezTo>
                  <a:cubicBezTo>
                    <a:pt x="484" y="1238"/>
                    <a:pt x="573" y="1225"/>
                    <a:pt x="598" y="1225"/>
                  </a:cubicBezTo>
                  <a:cubicBezTo>
                    <a:pt x="623" y="1225"/>
                    <a:pt x="700" y="1212"/>
                    <a:pt x="700" y="1212"/>
                  </a:cubicBezTo>
                  <a:cubicBezTo>
                    <a:pt x="700" y="1173"/>
                    <a:pt x="700" y="1173"/>
                    <a:pt x="700" y="1173"/>
                  </a:cubicBezTo>
                  <a:cubicBezTo>
                    <a:pt x="725" y="1186"/>
                    <a:pt x="725" y="1186"/>
                    <a:pt x="725" y="1186"/>
                  </a:cubicBezTo>
                  <a:cubicBezTo>
                    <a:pt x="725" y="1186"/>
                    <a:pt x="763" y="1134"/>
                    <a:pt x="763" y="1109"/>
                  </a:cubicBezTo>
                  <a:cubicBezTo>
                    <a:pt x="776" y="1083"/>
                    <a:pt x="763" y="1057"/>
                    <a:pt x="763" y="1057"/>
                  </a:cubicBezTo>
                  <a:cubicBezTo>
                    <a:pt x="763" y="1057"/>
                    <a:pt x="801" y="1006"/>
                    <a:pt x="827" y="993"/>
                  </a:cubicBezTo>
                  <a:cubicBezTo>
                    <a:pt x="852" y="980"/>
                    <a:pt x="865" y="941"/>
                    <a:pt x="878" y="941"/>
                  </a:cubicBezTo>
                  <a:cubicBezTo>
                    <a:pt x="878" y="928"/>
                    <a:pt x="928" y="890"/>
                    <a:pt x="928" y="890"/>
                  </a:cubicBezTo>
                  <a:cubicBezTo>
                    <a:pt x="928" y="890"/>
                    <a:pt x="928" y="915"/>
                    <a:pt x="967" y="915"/>
                  </a:cubicBezTo>
                  <a:cubicBezTo>
                    <a:pt x="1005" y="928"/>
                    <a:pt x="979" y="877"/>
                    <a:pt x="992" y="890"/>
                  </a:cubicBezTo>
                  <a:cubicBezTo>
                    <a:pt x="1017" y="903"/>
                    <a:pt x="1043" y="954"/>
                    <a:pt x="1043" y="954"/>
                  </a:cubicBezTo>
                  <a:cubicBezTo>
                    <a:pt x="1043" y="954"/>
                    <a:pt x="1081" y="967"/>
                    <a:pt x="1106" y="928"/>
                  </a:cubicBezTo>
                  <a:cubicBezTo>
                    <a:pt x="1132" y="903"/>
                    <a:pt x="1132" y="877"/>
                    <a:pt x="1132" y="877"/>
                  </a:cubicBezTo>
                  <a:cubicBezTo>
                    <a:pt x="1132" y="877"/>
                    <a:pt x="1170" y="851"/>
                    <a:pt x="1170" y="838"/>
                  </a:cubicBezTo>
                  <a:cubicBezTo>
                    <a:pt x="1170" y="825"/>
                    <a:pt x="1170" y="799"/>
                    <a:pt x="1183" y="761"/>
                  </a:cubicBezTo>
                  <a:cubicBezTo>
                    <a:pt x="1195" y="735"/>
                    <a:pt x="1208" y="696"/>
                    <a:pt x="1208" y="696"/>
                  </a:cubicBezTo>
                  <a:cubicBezTo>
                    <a:pt x="1208" y="696"/>
                    <a:pt x="1246" y="683"/>
                    <a:pt x="1272" y="645"/>
                  </a:cubicBezTo>
                  <a:cubicBezTo>
                    <a:pt x="1284" y="619"/>
                    <a:pt x="1272" y="593"/>
                    <a:pt x="1272" y="593"/>
                  </a:cubicBezTo>
                  <a:cubicBezTo>
                    <a:pt x="1272" y="593"/>
                    <a:pt x="1310" y="567"/>
                    <a:pt x="1310" y="567"/>
                  </a:cubicBezTo>
                  <a:cubicBezTo>
                    <a:pt x="1323" y="555"/>
                    <a:pt x="1310" y="529"/>
                    <a:pt x="1323" y="503"/>
                  </a:cubicBezTo>
                  <a:cubicBezTo>
                    <a:pt x="1335" y="477"/>
                    <a:pt x="1348" y="452"/>
                    <a:pt x="1361" y="439"/>
                  </a:cubicBezTo>
                  <a:cubicBezTo>
                    <a:pt x="1361" y="413"/>
                    <a:pt x="1399" y="361"/>
                    <a:pt x="1411" y="348"/>
                  </a:cubicBezTo>
                  <a:cubicBezTo>
                    <a:pt x="1411" y="348"/>
                    <a:pt x="1450" y="336"/>
                    <a:pt x="1475" y="323"/>
                  </a:cubicBezTo>
                  <a:cubicBezTo>
                    <a:pt x="1500" y="323"/>
                    <a:pt x="1488" y="297"/>
                    <a:pt x="1488" y="271"/>
                  </a:cubicBezTo>
                </a:path>
              </a:pathLst>
            </a:custGeom>
            <a:grpFill/>
            <a:ln w="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891045"/>
              <a:endParaRPr lang="en-US" sz="1700" dirty="0">
                <a:solidFill>
                  <a:srgbClr val="003149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623" name="Freeform 415"/>
            <p:cNvSpPr>
              <a:spLocks/>
            </p:cNvSpPr>
            <p:nvPr/>
          </p:nvSpPr>
          <p:spPr bwMode="gray">
            <a:xfrm>
              <a:off x="4248" y="2845"/>
              <a:ext cx="151" cy="127"/>
            </a:xfrm>
            <a:custGeom>
              <a:avLst/>
              <a:gdLst>
                <a:gd name="T0" fmla="*/ 149 w 151"/>
                <a:gd name="T1" fmla="*/ 20 h 127"/>
                <a:gd name="T2" fmla="*/ 143 w 151"/>
                <a:gd name="T3" fmla="*/ 12 h 127"/>
                <a:gd name="T4" fmla="*/ 134 w 151"/>
                <a:gd name="T5" fmla="*/ 3 h 127"/>
                <a:gd name="T6" fmla="*/ 123 w 151"/>
                <a:gd name="T7" fmla="*/ 12 h 127"/>
                <a:gd name="T8" fmla="*/ 100 w 151"/>
                <a:gd name="T9" fmla="*/ 10 h 127"/>
                <a:gd name="T10" fmla="*/ 83 w 151"/>
                <a:gd name="T11" fmla="*/ 16 h 127"/>
                <a:gd name="T12" fmla="*/ 61 w 151"/>
                <a:gd name="T13" fmla="*/ 11 h 127"/>
                <a:gd name="T14" fmla="*/ 49 w 151"/>
                <a:gd name="T15" fmla="*/ 8 h 127"/>
                <a:gd name="T16" fmla="*/ 33 w 151"/>
                <a:gd name="T17" fmla="*/ 3 h 127"/>
                <a:gd name="T18" fmla="*/ 19 w 151"/>
                <a:gd name="T19" fmla="*/ 7 h 127"/>
                <a:gd name="T20" fmla="*/ 13 w 151"/>
                <a:gd name="T21" fmla="*/ 19 h 127"/>
                <a:gd name="T22" fmla="*/ 10 w 151"/>
                <a:gd name="T23" fmla="*/ 32 h 127"/>
                <a:gd name="T24" fmla="*/ 11 w 151"/>
                <a:gd name="T25" fmla="*/ 38 h 127"/>
                <a:gd name="T26" fmla="*/ 13 w 151"/>
                <a:gd name="T27" fmla="*/ 46 h 127"/>
                <a:gd name="T28" fmla="*/ 9 w 151"/>
                <a:gd name="T29" fmla="*/ 54 h 127"/>
                <a:gd name="T30" fmla="*/ 5 w 151"/>
                <a:gd name="T31" fmla="*/ 63 h 127"/>
                <a:gd name="T32" fmla="*/ 0 w 151"/>
                <a:gd name="T33" fmla="*/ 71 h 127"/>
                <a:gd name="T34" fmla="*/ 0 w 151"/>
                <a:gd name="T35" fmla="*/ 90 h 127"/>
                <a:gd name="T36" fmla="*/ 18 w 151"/>
                <a:gd name="T37" fmla="*/ 99 h 127"/>
                <a:gd name="T38" fmla="*/ 36 w 151"/>
                <a:gd name="T39" fmla="*/ 121 h 127"/>
                <a:gd name="T40" fmla="*/ 60 w 151"/>
                <a:gd name="T41" fmla="*/ 124 h 127"/>
                <a:gd name="T42" fmla="*/ 70 w 151"/>
                <a:gd name="T43" fmla="*/ 119 h 127"/>
                <a:gd name="T44" fmla="*/ 77 w 151"/>
                <a:gd name="T45" fmla="*/ 112 h 127"/>
                <a:gd name="T46" fmla="*/ 83 w 151"/>
                <a:gd name="T47" fmla="*/ 101 h 127"/>
                <a:gd name="T48" fmla="*/ 93 w 151"/>
                <a:gd name="T49" fmla="*/ 90 h 127"/>
                <a:gd name="T50" fmla="*/ 100 w 151"/>
                <a:gd name="T51" fmla="*/ 90 h 127"/>
                <a:gd name="T52" fmla="*/ 111 w 151"/>
                <a:gd name="T53" fmla="*/ 94 h 127"/>
                <a:gd name="T54" fmla="*/ 118 w 151"/>
                <a:gd name="T55" fmla="*/ 85 h 127"/>
                <a:gd name="T56" fmla="*/ 122 w 151"/>
                <a:gd name="T57" fmla="*/ 71 h 127"/>
                <a:gd name="T58" fmla="*/ 128 w 151"/>
                <a:gd name="T59" fmla="*/ 60 h 127"/>
                <a:gd name="T60" fmla="*/ 133 w 151"/>
                <a:gd name="T61" fmla="*/ 51 h 127"/>
                <a:gd name="T62" fmla="*/ 142 w 151"/>
                <a:gd name="T63" fmla="*/ 36 h 127"/>
                <a:gd name="T64" fmla="*/ 150 w 151"/>
                <a:gd name="T65" fmla="*/ 28 h 127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151"/>
                <a:gd name="T100" fmla="*/ 0 h 127"/>
                <a:gd name="T101" fmla="*/ 151 w 151"/>
                <a:gd name="T102" fmla="*/ 127 h 127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151" h="127">
                  <a:moveTo>
                    <a:pt x="150" y="28"/>
                  </a:moveTo>
                  <a:cubicBezTo>
                    <a:pt x="150" y="24"/>
                    <a:pt x="150" y="23"/>
                    <a:pt x="149" y="20"/>
                  </a:cubicBezTo>
                  <a:cubicBezTo>
                    <a:pt x="147" y="17"/>
                    <a:pt x="143" y="19"/>
                    <a:pt x="143" y="19"/>
                  </a:cubicBezTo>
                  <a:cubicBezTo>
                    <a:pt x="143" y="12"/>
                    <a:pt x="143" y="12"/>
                    <a:pt x="143" y="12"/>
                  </a:cubicBezTo>
                  <a:cubicBezTo>
                    <a:pt x="138" y="4"/>
                    <a:pt x="138" y="4"/>
                    <a:pt x="138" y="4"/>
                  </a:cubicBezTo>
                  <a:cubicBezTo>
                    <a:pt x="138" y="4"/>
                    <a:pt x="138" y="4"/>
                    <a:pt x="134" y="3"/>
                  </a:cubicBezTo>
                  <a:cubicBezTo>
                    <a:pt x="131" y="3"/>
                    <a:pt x="133" y="6"/>
                    <a:pt x="129" y="7"/>
                  </a:cubicBezTo>
                  <a:cubicBezTo>
                    <a:pt x="127" y="7"/>
                    <a:pt x="124" y="12"/>
                    <a:pt x="123" y="12"/>
                  </a:cubicBezTo>
                  <a:cubicBezTo>
                    <a:pt x="122" y="12"/>
                    <a:pt x="117" y="11"/>
                    <a:pt x="114" y="10"/>
                  </a:cubicBezTo>
                  <a:cubicBezTo>
                    <a:pt x="111" y="10"/>
                    <a:pt x="104" y="10"/>
                    <a:pt x="100" y="10"/>
                  </a:cubicBezTo>
                  <a:cubicBezTo>
                    <a:pt x="96" y="10"/>
                    <a:pt x="92" y="12"/>
                    <a:pt x="90" y="13"/>
                  </a:cubicBezTo>
                  <a:cubicBezTo>
                    <a:pt x="86" y="15"/>
                    <a:pt x="86" y="16"/>
                    <a:pt x="83" y="16"/>
                  </a:cubicBezTo>
                  <a:cubicBezTo>
                    <a:pt x="79" y="16"/>
                    <a:pt x="75" y="12"/>
                    <a:pt x="70" y="11"/>
                  </a:cubicBezTo>
                  <a:cubicBezTo>
                    <a:pt x="66" y="10"/>
                    <a:pt x="65" y="10"/>
                    <a:pt x="61" y="11"/>
                  </a:cubicBezTo>
                  <a:cubicBezTo>
                    <a:pt x="59" y="12"/>
                    <a:pt x="54" y="13"/>
                    <a:pt x="54" y="13"/>
                  </a:cubicBezTo>
                  <a:cubicBezTo>
                    <a:pt x="54" y="13"/>
                    <a:pt x="51" y="11"/>
                    <a:pt x="49" y="8"/>
                  </a:cubicBezTo>
                  <a:cubicBezTo>
                    <a:pt x="46" y="6"/>
                    <a:pt x="46" y="6"/>
                    <a:pt x="42" y="4"/>
                  </a:cubicBezTo>
                  <a:cubicBezTo>
                    <a:pt x="40" y="2"/>
                    <a:pt x="34" y="0"/>
                    <a:pt x="33" y="3"/>
                  </a:cubicBezTo>
                  <a:cubicBezTo>
                    <a:pt x="32" y="6"/>
                    <a:pt x="28" y="4"/>
                    <a:pt x="27" y="4"/>
                  </a:cubicBezTo>
                  <a:cubicBezTo>
                    <a:pt x="25" y="4"/>
                    <a:pt x="19" y="7"/>
                    <a:pt x="19" y="7"/>
                  </a:cubicBezTo>
                  <a:cubicBezTo>
                    <a:pt x="19" y="7"/>
                    <a:pt x="19" y="11"/>
                    <a:pt x="16" y="13"/>
                  </a:cubicBezTo>
                  <a:cubicBezTo>
                    <a:pt x="14" y="16"/>
                    <a:pt x="13" y="19"/>
                    <a:pt x="13" y="19"/>
                  </a:cubicBezTo>
                  <a:cubicBezTo>
                    <a:pt x="13" y="19"/>
                    <a:pt x="13" y="19"/>
                    <a:pt x="13" y="23"/>
                  </a:cubicBezTo>
                  <a:cubicBezTo>
                    <a:pt x="13" y="25"/>
                    <a:pt x="11" y="29"/>
                    <a:pt x="10" y="32"/>
                  </a:cubicBezTo>
                  <a:cubicBezTo>
                    <a:pt x="10" y="32"/>
                    <a:pt x="10" y="32"/>
                    <a:pt x="10" y="33"/>
                  </a:cubicBezTo>
                  <a:cubicBezTo>
                    <a:pt x="10" y="34"/>
                    <a:pt x="10" y="36"/>
                    <a:pt x="11" y="38"/>
                  </a:cubicBezTo>
                  <a:cubicBezTo>
                    <a:pt x="14" y="41"/>
                    <a:pt x="14" y="43"/>
                    <a:pt x="14" y="43"/>
                  </a:cubicBezTo>
                  <a:cubicBezTo>
                    <a:pt x="14" y="43"/>
                    <a:pt x="14" y="46"/>
                    <a:pt x="13" y="46"/>
                  </a:cubicBezTo>
                  <a:cubicBezTo>
                    <a:pt x="11" y="47"/>
                    <a:pt x="13" y="46"/>
                    <a:pt x="11" y="50"/>
                  </a:cubicBezTo>
                  <a:cubicBezTo>
                    <a:pt x="10" y="55"/>
                    <a:pt x="11" y="54"/>
                    <a:pt x="9" y="54"/>
                  </a:cubicBezTo>
                  <a:cubicBezTo>
                    <a:pt x="8" y="55"/>
                    <a:pt x="8" y="56"/>
                    <a:pt x="6" y="58"/>
                  </a:cubicBezTo>
                  <a:cubicBezTo>
                    <a:pt x="5" y="59"/>
                    <a:pt x="6" y="60"/>
                    <a:pt x="5" y="63"/>
                  </a:cubicBezTo>
                  <a:cubicBezTo>
                    <a:pt x="5" y="64"/>
                    <a:pt x="2" y="64"/>
                    <a:pt x="2" y="64"/>
                  </a:cubicBezTo>
                  <a:cubicBezTo>
                    <a:pt x="1" y="66"/>
                    <a:pt x="0" y="67"/>
                    <a:pt x="0" y="71"/>
                  </a:cubicBezTo>
                  <a:cubicBezTo>
                    <a:pt x="0" y="76"/>
                    <a:pt x="0" y="80"/>
                    <a:pt x="0" y="82"/>
                  </a:cubicBezTo>
                  <a:cubicBezTo>
                    <a:pt x="0" y="85"/>
                    <a:pt x="1" y="88"/>
                    <a:pt x="0" y="90"/>
                  </a:cubicBezTo>
                  <a:cubicBezTo>
                    <a:pt x="0" y="94"/>
                    <a:pt x="1" y="99"/>
                    <a:pt x="1" y="99"/>
                  </a:cubicBezTo>
                  <a:cubicBezTo>
                    <a:pt x="1" y="99"/>
                    <a:pt x="15" y="99"/>
                    <a:pt x="18" y="99"/>
                  </a:cubicBezTo>
                  <a:cubicBezTo>
                    <a:pt x="20" y="99"/>
                    <a:pt x="25" y="101"/>
                    <a:pt x="27" y="105"/>
                  </a:cubicBezTo>
                  <a:cubicBezTo>
                    <a:pt x="29" y="107"/>
                    <a:pt x="34" y="118"/>
                    <a:pt x="36" y="121"/>
                  </a:cubicBezTo>
                  <a:cubicBezTo>
                    <a:pt x="37" y="125"/>
                    <a:pt x="41" y="127"/>
                    <a:pt x="45" y="125"/>
                  </a:cubicBezTo>
                  <a:cubicBezTo>
                    <a:pt x="49" y="125"/>
                    <a:pt x="58" y="124"/>
                    <a:pt x="60" y="124"/>
                  </a:cubicBezTo>
                  <a:cubicBezTo>
                    <a:pt x="63" y="124"/>
                    <a:pt x="70" y="123"/>
                    <a:pt x="70" y="123"/>
                  </a:cubicBezTo>
                  <a:cubicBezTo>
                    <a:pt x="70" y="119"/>
                    <a:pt x="70" y="119"/>
                    <a:pt x="70" y="119"/>
                  </a:cubicBezTo>
                  <a:cubicBezTo>
                    <a:pt x="73" y="120"/>
                    <a:pt x="73" y="120"/>
                    <a:pt x="73" y="120"/>
                  </a:cubicBezTo>
                  <a:cubicBezTo>
                    <a:pt x="73" y="120"/>
                    <a:pt x="77" y="115"/>
                    <a:pt x="77" y="112"/>
                  </a:cubicBezTo>
                  <a:cubicBezTo>
                    <a:pt x="78" y="110"/>
                    <a:pt x="77" y="107"/>
                    <a:pt x="77" y="107"/>
                  </a:cubicBezTo>
                  <a:cubicBezTo>
                    <a:pt x="77" y="107"/>
                    <a:pt x="81" y="102"/>
                    <a:pt x="83" y="101"/>
                  </a:cubicBezTo>
                  <a:cubicBezTo>
                    <a:pt x="86" y="99"/>
                    <a:pt x="87" y="95"/>
                    <a:pt x="88" y="95"/>
                  </a:cubicBezTo>
                  <a:cubicBezTo>
                    <a:pt x="88" y="94"/>
                    <a:pt x="93" y="90"/>
                    <a:pt x="93" y="90"/>
                  </a:cubicBezTo>
                  <a:cubicBezTo>
                    <a:pt x="93" y="90"/>
                    <a:pt x="93" y="93"/>
                    <a:pt x="97" y="93"/>
                  </a:cubicBezTo>
                  <a:cubicBezTo>
                    <a:pt x="101" y="94"/>
                    <a:pt x="99" y="89"/>
                    <a:pt x="100" y="90"/>
                  </a:cubicBezTo>
                  <a:cubicBezTo>
                    <a:pt x="102" y="92"/>
                    <a:pt x="105" y="97"/>
                    <a:pt x="105" y="97"/>
                  </a:cubicBezTo>
                  <a:cubicBezTo>
                    <a:pt x="105" y="97"/>
                    <a:pt x="109" y="98"/>
                    <a:pt x="111" y="94"/>
                  </a:cubicBezTo>
                  <a:cubicBezTo>
                    <a:pt x="114" y="92"/>
                    <a:pt x="114" y="89"/>
                    <a:pt x="114" y="89"/>
                  </a:cubicBezTo>
                  <a:cubicBezTo>
                    <a:pt x="114" y="89"/>
                    <a:pt x="118" y="86"/>
                    <a:pt x="118" y="85"/>
                  </a:cubicBezTo>
                  <a:cubicBezTo>
                    <a:pt x="118" y="84"/>
                    <a:pt x="118" y="81"/>
                    <a:pt x="119" y="77"/>
                  </a:cubicBezTo>
                  <a:cubicBezTo>
                    <a:pt x="120" y="75"/>
                    <a:pt x="122" y="71"/>
                    <a:pt x="122" y="71"/>
                  </a:cubicBezTo>
                  <a:cubicBezTo>
                    <a:pt x="122" y="71"/>
                    <a:pt x="126" y="69"/>
                    <a:pt x="128" y="66"/>
                  </a:cubicBezTo>
                  <a:cubicBezTo>
                    <a:pt x="129" y="63"/>
                    <a:pt x="128" y="60"/>
                    <a:pt x="128" y="60"/>
                  </a:cubicBezTo>
                  <a:cubicBezTo>
                    <a:pt x="128" y="60"/>
                    <a:pt x="132" y="58"/>
                    <a:pt x="132" y="58"/>
                  </a:cubicBezTo>
                  <a:cubicBezTo>
                    <a:pt x="133" y="56"/>
                    <a:pt x="132" y="54"/>
                    <a:pt x="133" y="51"/>
                  </a:cubicBezTo>
                  <a:cubicBezTo>
                    <a:pt x="134" y="49"/>
                    <a:pt x="136" y="46"/>
                    <a:pt x="137" y="45"/>
                  </a:cubicBezTo>
                  <a:cubicBezTo>
                    <a:pt x="137" y="42"/>
                    <a:pt x="141" y="37"/>
                    <a:pt x="142" y="36"/>
                  </a:cubicBezTo>
                  <a:cubicBezTo>
                    <a:pt x="142" y="36"/>
                    <a:pt x="146" y="34"/>
                    <a:pt x="149" y="33"/>
                  </a:cubicBezTo>
                  <a:cubicBezTo>
                    <a:pt x="151" y="33"/>
                    <a:pt x="150" y="30"/>
                    <a:pt x="150" y="28"/>
                  </a:cubicBezTo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891045"/>
              <a:endParaRPr lang="en-US" sz="1700" dirty="0">
                <a:solidFill>
                  <a:srgbClr val="003149"/>
                </a:solidFill>
                <a:cs typeface="Arial" panose="020B0604020202020204" pitchFamily="34" charset="0"/>
              </a:endParaRPr>
            </a:p>
          </p:txBody>
        </p:sp>
      </p:grpSp>
      <p:grpSp>
        <p:nvGrpSpPr>
          <p:cNvPr id="624" name="Group 416"/>
          <p:cNvGrpSpPr>
            <a:grpSpLocks/>
          </p:cNvGrpSpPr>
          <p:nvPr/>
        </p:nvGrpSpPr>
        <p:grpSpPr bwMode="gray">
          <a:xfrm>
            <a:off x="917813" y="1999620"/>
            <a:ext cx="305464" cy="308284"/>
            <a:chOff x="4060" y="2696"/>
            <a:chExt cx="208" cy="199"/>
          </a:xfrm>
          <a:solidFill>
            <a:schemeClr val="accent3"/>
          </a:solidFill>
        </p:grpSpPr>
        <p:sp>
          <p:nvSpPr>
            <p:cNvPr id="625" name="Freeform 417"/>
            <p:cNvSpPr>
              <a:spLocks noEditPoints="1"/>
            </p:cNvSpPr>
            <p:nvPr/>
          </p:nvSpPr>
          <p:spPr bwMode="gray">
            <a:xfrm>
              <a:off x="4060" y="2696"/>
              <a:ext cx="208" cy="199"/>
            </a:xfrm>
            <a:custGeom>
              <a:avLst/>
              <a:gdLst>
                <a:gd name="T0" fmla="*/ 0 w 2058"/>
                <a:gd name="T1" fmla="*/ 0 h 1967"/>
                <a:gd name="T2" fmla="*/ 0 w 2058"/>
                <a:gd name="T3" fmla="*/ 0 h 1967"/>
                <a:gd name="T4" fmla="*/ 0 w 2058"/>
                <a:gd name="T5" fmla="*/ 0 h 1967"/>
                <a:gd name="T6" fmla="*/ 0 w 2058"/>
                <a:gd name="T7" fmla="*/ 0 h 1967"/>
                <a:gd name="T8" fmla="*/ 0 w 2058"/>
                <a:gd name="T9" fmla="*/ 0 h 1967"/>
                <a:gd name="T10" fmla="*/ 0 w 2058"/>
                <a:gd name="T11" fmla="*/ 0 h 1967"/>
                <a:gd name="T12" fmla="*/ 0 w 2058"/>
                <a:gd name="T13" fmla="*/ 0 h 1967"/>
                <a:gd name="T14" fmla="*/ 0 w 2058"/>
                <a:gd name="T15" fmla="*/ 0 h 1967"/>
                <a:gd name="T16" fmla="*/ 0 w 2058"/>
                <a:gd name="T17" fmla="*/ 0 h 1967"/>
                <a:gd name="T18" fmla="*/ 0 w 2058"/>
                <a:gd name="T19" fmla="*/ 0 h 1967"/>
                <a:gd name="T20" fmla="*/ 0 w 2058"/>
                <a:gd name="T21" fmla="*/ 0 h 1967"/>
                <a:gd name="T22" fmla="*/ 0 w 2058"/>
                <a:gd name="T23" fmla="*/ 0 h 1967"/>
                <a:gd name="T24" fmla="*/ 0 w 2058"/>
                <a:gd name="T25" fmla="*/ 0 h 1967"/>
                <a:gd name="T26" fmla="*/ 0 w 2058"/>
                <a:gd name="T27" fmla="*/ 0 h 1967"/>
                <a:gd name="T28" fmla="*/ 0 w 2058"/>
                <a:gd name="T29" fmla="*/ 0 h 1967"/>
                <a:gd name="T30" fmla="*/ 0 w 2058"/>
                <a:gd name="T31" fmla="*/ 0 h 1967"/>
                <a:gd name="T32" fmla="*/ 0 w 2058"/>
                <a:gd name="T33" fmla="*/ 0 h 1967"/>
                <a:gd name="T34" fmla="*/ 0 w 2058"/>
                <a:gd name="T35" fmla="*/ 0 h 1967"/>
                <a:gd name="T36" fmla="*/ 0 w 2058"/>
                <a:gd name="T37" fmla="*/ 0 h 1967"/>
                <a:gd name="T38" fmla="*/ 0 w 2058"/>
                <a:gd name="T39" fmla="*/ 0 h 1967"/>
                <a:gd name="T40" fmla="*/ 0 w 2058"/>
                <a:gd name="T41" fmla="*/ 0 h 1967"/>
                <a:gd name="T42" fmla="*/ 0 w 2058"/>
                <a:gd name="T43" fmla="*/ 0 h 1967"/>
                <a:gd name="T44" fmla="*/ 0 w 2058"/>
                <a:gd name="T45" fmla="*/ 0 h 1967"/>
                <a:gd name="T46" fmla="*/ 0 w 2058"/>
                <a:gd name="T47" fmla="*/ 0 h 1967"/>
                <a:gd name="T48" fmla="*/ 0 w 2058"/>
                <a:gd name="T49" fmla="*/ 0 h 1967"/>
                <a:gd name="T50" fmla="*/ 0 w 2058"/>
                <a:gd name="T51" fmla="*/ 0 h 1967"/>
                <a:gd name="T52" fmla="*/ 0 w 2058"/>
                <a:gd name="T53" fmla="*/ 0 h 1967"/>
                <a:gd name="T54" fmla="*/ 0 w 2058"/>
                <a:gd name="T55" fmla="*/ 0 h 1967"/>
                <a:gd name="T56" fmla="*/ 0 w 2058"/>
                <a:gd name="T57" fmla="*/ 0 h 1967"/>
                <a:gd name="T58" fmla="*/ 0 w 2058"/>
                <a:gd name="T59" fmla="*/ 0 h 1967"/>
                <a:gd name="T60" fmla="*/ 0 w 2058"/>
                <a:gd name="T61" fmla="*/ 0 h 1967"/>
                <a:gd name="T62" fmla="*/ 0 w 2058"/>
                <a:gd name="T63" fmla="*/ 0 h 1967"/>
                <a:gd name="T64" fmla="*/ 0 w 2058"/>
                <a:gd name="T65" fmla="*/ 0 h 1967"/>
                <a:gd name="T66" fmla="*/ 0 w 2058"/>
                <a:gd name="T67" fmla="*/ 0 h 1967"/>
                <a:gd name="T68" fmla="*/ 0 w 2058"/>
                <a:gd name="T69" fmla="*/ 0 h 1967"/>
                <a:gd name="T70" fmla="*/ 0 w 2058"/>
                <a:gd name="T71" fmla="*/ 0 h 1967"/>
                <a:gd name="T72" fmla="*/ 0 w 2058"/>
                <a:gd name="T73" fmla="*/ 0 h 1967"/>
                <a:gd name="T74" fmla="*/ 0 w 2058"/>
                <a:gd name="T75" fmla="*/ 0 h 1967"/>
                <a:gd name="T76" fmla="*/ 0 w 2058"/>
                <a:gd name="T77" fmla="*/ 0 h 1967"/>
                <a:gd name="T78" fmla="*/ 0 w 2058"/>
                <a:gd name="T79" fmla="*/ 0 h 1967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w 2058"/>
                <a:gd name="T121" fmla="*/ 0 h 1967"/>
                <a:gd name="T122" fmla="*/ 2058 w 2058"/>
                <a:gd name="T123" fmla="*/ 1967 h 1967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T120" t="T121" r="T122" b="T123"/>
              <a:pathLst>
                <a:path w="2058" h="1967">
                  <a:moveTo>
                    <a:pt x="0" y="1697"/>
                  </a:moveTo>
                  <a:cubicBezTo>
                    <a:pt x="0" y="1697"/>
                    <a:pt x="0" y="1697"/>
                    <a:pt x="0" y="1697"/>
                  </a:cubicBezTo>
                  <a:cubicBezTo>
                    <a:pt x="0" y="1697"/>
                    <a:pt x="0" y="1697"/>
                    <a:pt x="0" y="1697"/>
                  </a:cubicBezTo>
                  <a:close/>
                  <a:moveTo>
                    <a:pt x="2046" y="797"/>
                  </a:moveTo>
                  <a:cubicBezTo>
                    <a:pt x="1931" y="823"/>
                    <a:pt x="1931" y="823"/>
                    <a:pt x="1931" y="823"/>
                  </a:cubicBezTo>
                  <a:cubicBezTo>
                    <a:pt x="1906" y="797"/>
                    <a:pt x="1906" y="797"/>
                    <a:pt x="1906" y="797"/>
                  </a:cubicBezTo>
                  <a:cubicBezTo>
                    <a:pt x="1906" y="797"/>
                    <a:pt x="1906" y="797"/>
                    <a:pt x="1919" y="772"/>
                  </a:cubicBezTo>
                  <a:cubicBezTo>
                    <a:pt x="1944" y="746"/>
                    <a:pt x="1931" y="720"/>
                    <a:pt x="1919" y="707"/>
                  </a:cubicBezTo>
                  <a:cubicBezTo>
                    <a:pt x="1906" y="695"/>
                    <a:pt x="1842" y="682"/>
                    <a:pt x="1830" y="682"/>
                  </a:cubicBezTo>
                  <a:cubicBezTo>
                    <a:pt x="1817" y="669"/>
                    <a:pt x="1804" y="643"/>
                    <a:pt x="1792" y="630"/>
                  </a:cubicBezTo>
                  <a:cubicBezTo>
                    <a:pt x="1779" y="630"/>
                    <a:pt x="1766" y="656"/>
                    <a:pt x="1754" y="656"/>
                  </a:cubicBezTo>
                  <a:cubicBezTo>
                    <a:pt x="1741" y="643"/>
                    <a:pt x="1728" y="605"/>
                    <a:pt x="1728" y="605"/>
                  </a:cubicBezTo>
                  <a:cubicBezTo>
                    <a:pt x="1665" y="579"/>
                    <a:pt x="1665" y="579"/>
                    <a:pt x="1665" y="579"/>
                  </a:cubicBezTo>
                  <a:cubicBezTo>
                    <a:pt x="1665" y="527"/>
                    <a:pt x="1665" y="527"/>
                    <a:pt x="1665" y="527"/>
                  </a:cubicBezTo>
                  <a:cubicBezTo>
                    <a:pt x="928" y="0"/>
                    <a:pt x="928" y="0"/>
                    <a:pt x="928" y="0"/>
                  </a:cubicBezTo>
                  <a:cubicBezTo>
                    <a:pt x="699" y="0"/>
                    <a:pt x="699" y="0"/>
                    <a:pt x="699" y="0"/>
                  </a:cubicBezTo>
                  <a:cubicBezTo>
                    <a:pt x="801" y="1144"/>
                    <a:pt x="801" y="1144"/>
                    <a:pt x="801" y="1144"/>
                  </a:cubicBezTo>
                  <a:cubicBezTo>
                    <a:pt x="851" y="1170"/>
                    <a:pt x="851" y="1170"/>
                    <a:pt x="851" y="1170"/>
                  </a:cubicBezTo>
                  <a:cubicBezTo>
                    <a:pt x="826" y="1273"/>
                    <a:pt x="826" y="1273"/>
                    <a:pt x="826" y="1273"/>
                  </a:cubicBezTo>
                  <a:cubicBezTo>
                    <a:pt x="343" y="1273"/>
                    <a:pt x="343" y="1273"/>
                    <a:pt x="343" y="1273"/>
                  </a:cubicBezTo>
                  <a:cubicBezTo>
                    <a:pt x="343" y="1273"/>
                    <a:pt x="280" y="1299"/>
                    <a:pt x="242" y="1299"/>
                  </a:cubicBezTo>
                  <a:cubicBezTo>
                    <a:pt x="216" y="1286"/>
                    <a:pt x="178" y="1286"/>
                    <a:pt x="165" y="1312"/>
                  </a:cubicBezTo>
                  <a:cubicBezTo>
                    <a:pt x="153" y="1337"/>
                    <a:pt x="76" y="1260"/>
                    <a:pt x="76" y="1260"/>
                  </a:cubicBezTo>
                  <a:cubicBezTo>
                    <a:pt x="76" y="1260"/>
                    <a:pt x="51" y="1286"/>
                    <a:pt x="38" y="1312"/>
                  </a:cubicBezTo>
                  <a:cubicBezTo>
                    <a:pt x="38" y="1324"/>
                    <a:pt x="38" y="1363"/>
                    <a:pt x="0" y="1363"/>
                  </a:cubicBezTo>
                  <a:cubicBezTo>
                    <a:pt x="13" y="1479"/>
                    <a:pt x="13" y="1479"/>
                    <a:pt x="13" y="1479"/>
                  </a:cubicBezTo>
                  <a:cubicBezTo>
                    <a:pt x="13" y="1479"/>
                    <a:pt x="51" y="1543"/>
                    <a:pt x="76" y="1556"/>
                  </a:cubicBezTo>
                  <a:cubicBezTo>
                    <a:pt x="114" y="1569"/>
                    <a:pt x="76" y="1607"/>
                    <a:pt x="89" y="1659"/>
                  </a:cubicBezTo>
                  <a:cubicBezTo>
                    <a:pt x="89" y="1684"/>
                    <a:pt x="89" y="1697"/>
                    <a:pt x="89" y="1697"/>
                  </a:cubicBezTo>
                  <a:cubicBezTo>
                    <a:pt x="89" y="1710"/>
                    <a:pt x="102" y="1736"/>
                    <a:pt x="114" y="1736"/>
                  </a:cubicBezTo>
                  <a:cubicBezTo>
                    <a:pt x="127" y="1723"/>
                    <a:pt x="165" y="1697"/>
                    <a:pt x="165" y="1723"/>
                  </a:cubicBezTo>
                  <a:cubicBezTo>
                    <a:pt x="178" y="1736"/>
                    <a:pt x="191" y="1749"/>
                    <a:pt x="216" y="1723"/>
                  </a:cubicBezTo>
                  <a:cubicBezTo>
                    <a:pt x="242" y="1697"/>
                    <a:pt x="267" y="1723"/>
                    <a:pt x="292" y="1723"/>
                  </a:cubicBezTo>
                  <a:cubicBezTo>
                    <a:pt x="318" y="1736"/>
                    <a:pt x="318" y="1710"/>
                    <a:pt x="330" y="1710"/>
                  </a:cubicBezTo>
                  <a:cubicBezTo>
                    <a:pt x="356" y="1697"/>
                    <a:pt x="343" y="1671"/>
                    <a:pt x="343" y="1671"/>
                  </a:cubicBezTo>
                  <a:cubicBezTo>
                    <a:pt x="343" y="1671"/>
                    <a:pt x="407" y="1684"/>
                    <a:pt x="407" y="1710"/>
                  </a:cubicBezTo>
                  <a:cubicBezTo>
                    <a:pt x="407" y="1723"/>
                    <a:pt x="394" y="1749"/>
                    <a:pt x="419" y="1774"/>
                  </a:cubicBezTo>
                  <a:cubicBezTo>
                    <a:pt x="445" y="1813"/>
                    <a:pt x="470" y="1813"/>
                    <a:pt x="470" y="1813"/>
                  </a:cubicBezTo>
                  <a:cubicBezTo>
                    <a:pt x="432" y="1851"/>
                    <a:pt x="432" y="1851"/>
                    <a:pt x="432" y="1851"/>
                  </a:cubicBezTo>
                  <a:cubicBezTo>
                    <a:pt x="445" y="1864"/>
                    <a:pt x="445" y="1864"/>
                    <a:pt x="445" y="1864"/>
                  </a:cubicBezTo>
                  <a:cubicBezTo>
                    <a:pt x="445" y="1864"/>
                    <a:pt x="470" y="1851"/>
                    <a:pt x="483" y="1877"/>
                  </a:cubicBezTo>
                  <a:cubicBezTo>
                    <a:pt x="483" y="1903"/>
                    <a:pt x="496" y="1929"/>
                    <a:pt x="496" y="1929"/>
                  </a:cubicBezTo>
                  <a:cubicBezTo>
                    <a:pt x="521" y="1967"/>
                    <a:pt x="521" y="1967"/>
                    <a:pt x="521" y="1967"/>
                  </a:cubicBezTo>
                  <a:cubicBezTo>
                    <a:pt x="521" y="1967"/>
                    <a:pt x="521" y="1967"/>
                    <a:pt x="521" y="1967"/>
                  </a:cubicBezTo>
                  <a:cubicBezTo>
                    <a:pt x="534" y="1954"/>
                    <a:pt x="546" y="1954"/>
                    <a:pt x="559" y="1941"/>
                  </a:cubicBezTo>
                  <a:cubicBezTo>
                    <a:pt x="585" y="1929"/>
                    <a:pt x="585" y="1929"/>
                    <a:pt x="610" y="1954"/>
                  </a:cubicBezTo>
                  <a:cubicBezTo>
                    <a:pt x="623" y="1967"/>
                    <a:pt x="648" y="1967"/>
                    <a:pt x="648" y="1967"/>
                  </a:cubicBezTo>
                  <a:cubicBezTo>
                    <a:pt x="648" y="1967"/>
                    <a:pt x="648" y="1941"/>
                    <a:pt x="674" y="1941"/>
                  </a:cubicBezTo>
                  <a:cubicBezTo>
                    <a:pt x="699" y="1954"/>
                    <a:pt x="661" y="1877"/>
                    <a:pt x="686" y="1903"/>
                  </a:cubicBezTo>
                  <a:cubicBezTo>
                    <a:pt x="712" y="1916"/>
                    <a:pt x="724" y="1929"/>
                    <a:pt x="724" y="1916"/>
                  </a:cubicBezTo>
                  <a:cubicBezTo>
                    <a:pt x="724" y="1916"/>
                    <a:pt x="737" y="1890"/>
                    <a:pt x="737" y="1890"/>
                  </a:cubicBezTo>
                  <a:cubicBezTo>
                    <a:pt x="750" y="1967"/>
                    <a:pt x="750" y="1967"/>
                    <a:pt x="750" y="1967"/>
                  </a:cubicBezTo>
                  <a:cubicBezTo>
                    <a:pt x="750" y="1967"/>
                    <a:pt x="775" y="1954"/>
                    <a:pt x="801" y="1941"/>
                  </a:cubicBezTo>
                  <a:cubicBezTo>
                    <a:pt x="826" y="1941"/>
                    <a:pt x="839" y="1929"/>
                    <a:pt x="839" y="1929"/>
                  </a:cubicBezTo>
                  <a:cubicBezTo>
                    <a:pt x="826" y="1851"/>
                    <a:pt x="826" y="1851"/>
                    <a:pt x="826" y="1851"/>
                  </a:cubicBezTo>
                  <a:cubicBezTo>
                    <a:pt x="864" y="1813"/>
                    <a:pt x="864" y="1813"/>
                    <a:pt x="864" y="1813"/>
                  </a:cubicBezTo>
                  <a:cubicBezTo>
                    <a:pt x="851" y="1749"/>
                    <a:pt x="851" y="1749"/>
                    <a:pt x="851" y="1749"/>
                  </a:cubicBezTo>
                  <a:cubicBezTo>
                    <a:pt x="928" y="1736"/>
                    <a:pt x="928" y="1736"/>
                    <a:pt x="928" y="1736"/>
                  </a:cubicBezTo>
                  <a:cubicBezTo>
                    <a:pt x="966" y="1684"/>
                    <a:pt x="966" y="1684"/>
                    <a:pt x="966" y="1684"/>
                  </a:cubicBezTo>
                  <a:cubicBezTo>
                    <a:pt x="966" y="1646"/>
                    <a:pt x="966" y="1646"/>
                    <a:pt x="966" y="1646"/>
                  </a:cubicBezTo>
                  <a:cubicBezTo>
                    <a:pt x="966" y="1646"/>
                    <a:pt x="991" y="1646"/>
                    <a:pt x="991" y="1620"/>
                  </a:cubicBezTo>
                  <a:cubicBezTo>
                    <a:pt x="991" y="1607"/>
                    <a:pt x="978" y="1594"/>
                    <a:pt x="978" y="1594"/>
                  </a:cubicBezTo>
                  <a:cubicBezTo>
                    <a:pt x="1017" y="1543"/>
                    <a:pt x="1017" y="1543"/>
                    <a:pt x="1017" y="1543"/>
                  </a:cubicBezTo>
                  <a:cubicBezTo>
                    <a:pt x="1093" y="1594"/>
                    <a:pt x="1093" y="1594"/>
                    <a:pt x="1093" y="1594"/>
                  </a:cubicBezTo>
                  <a:cubicBezTo>
                    <a:pt x="1106" y="1569"/>
                    <a:pt x="1106" y="1569"/>
                    <a:pt x="1106" y="1569"/>
                  </a:cubicBezTo>
                  <a:cubicBezTo>
                    <a:pt x="1106" y="1517"/>
                    <a:pt x="1106" y="1517"/>
                    <a:pt x="1106" y="1517"/>
                  </a:cubicBezTo>
                  <a:cubicBezTo>
                    <a:pt x="1144" y="1517"/>
                    <a:pt x="1144" y="1517"/>
                    <a:pt x="1144" y="1517"/>
                  </a:cubicBezTo>
                  <a:cubicBezTo>
                    <a:pt x="1156" y="1479"/>
                    <a:pt x="1156" y="1479"/>
                    <a:pt x="1156" y="1479"/>
                  </a:cubicBezTo>
                  <a:cubicBezTo>
                    <a:pt x="1245" y="1440"/>
                    <a:pt x="1245" y="1440"/>
                    <a:pt x="1245" y="1440"/>
                  </a:cubicBezTo>
                  <a:cubicBezTo>
                    <a:pt x="1271" y="1389"/>
                    <a:pt x="1271" y="1389"/>
                    <a:pt x="1271" y="1389"/>
                  </a:cubicBezTo>
                  <a:cubicBezTo>
                    <a:pt x="1398" y="1363"/>
                    <a:pt x="1398" y="1363"/>
                    <a:pt x="1398" y="1363"/>
                  </a:cubicBezTo>
                  <a:cubicBezTo>
                    <a:pt x="1449" y="1337"/>
                    <a:pt x="1449" y="1337"/>
                    <a:pt x="1449" y="1337"/>
                  </a:cubicBezTo>
                  <a:cubicBezTo>
                    <a:pt x="1525" y="1350"/>
                    <a:pt x="1525" y="1350"/>
                    <a:pt x="1525" y="1350"/>
                  </a:cubicBezTo>
                  <a:cubicBezTo>
                    <a:pt x="1639" y="1350"/>
                    <a:pt x="1639" y="1350"/>
                    <a:pt x="1639" y="1350"/>
                  </a:cubicBezTo>
                  <a:cubicBezTo>
                    <a:pt x="1677" y="1312"/>
                    <a:pt x="1677" y="1312"/>
                    <a:pt x="1677" y="1312"/>
                  </a:cubicBezTo>
                  <a:cubicBezTo>
                    <a:pt x="1957" y="1299"/>
                    <a:pt x="1957" y="1299"/>
                    <a:pt x="1957" y="1299"/>
                  </a:cubicBezTo>
                  <a:cubicBezTo>
                    <a:pt x="1957" y="1299"/>
                    <a:pt x="1995" y="1260"/>
                    <a:pt x="1995" y="1260"/>
                  </a:cubicBezTo>
                  <a:cubicBezTo>
                    <a:pt x="2008" y="1247"/>
                    <a:pt x="2033" y="1170"/>
                    <a:pt x="2033" y="1170"/>
                  </a:cubicBezTo>
                  <a:cubicBezTo>
                    <a:pt x="2033" y="1170"/>
                    <a:pt x="2020" y="1106"/>
                    <a:pt x="2033" y="1106"/>
                  </a:cubicBezTo>
                  <a:cubicBezTo>
                    <a:pt x="2046" y="1093"/>
                    <a:pt x="2058" y="1080"/>
                    <a:pt x="2058" y="1080"/>
                  </a:cubicBezTo>
                  <a:lnTo>
                    <a:pt x="2046" y="797"/>
                  </a:lnTo>
                  <a:close/>
                </a:path>
              </a:pathLst>
            </a:custGeom>
            <a:grpFill/>
            <a:ln w="9525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891045"/>
              <a:endParaRPr lang="en-US" sz="1700" dirty="0">
                <a:solidFill>
                  <a:srgbClr val="003149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626" name="Freeform 418"/>
            <p:cNvSpPr>
              <a:spLocks noEditPoints="1"/>
            </p:cNvSpPr>
            <p:nvPr/>
          </p:nvSpPr>
          <p:spPr bwMode="gray">
            <a:xfrm>
              <a:off x="4060" y="2696"/>
              <a:ext cx="208" cy="199"/>
            </a:xfrm>
            <a:custGeom>
              <a:avLst/>
              <a:gdLst>
                <a:gd name="T0" fmla="*/ 0 w 2058"/>
                <a:gd name="T1" fmla="*/ 0 h 1967"/>
                <a:gd name="T2" fmla="*/ 0 w 2058"/>
                <a:gd name="T3" fmla="*/ 0 h 1967"/>
                <a:gd name="T4" fmla="*/ 0 w 2058"/>
                <a:gd name="T5" fmla="*/ 0 h 1967"/>
                <a:gd name="T6" fmla="*/ 0 w 2058"/>
                <a:gd name="T7" fmla="*/ 0 h 1967"/>
                <a:gd name="T8" fmla="*/ 0 w 2058"/>
                <a:gd name="T9" fmla="*/ 0 h 1967"/>
                <a:gd name="T10" fmla="*/ 0 w 2058"/>
                <a:gd name="T11" fmla="*/ 0 h 1967"/>
                <a:gd name="T12" fmla="*/ 0 w 2058"/>
                <a:gd name="T13" fmla="*/ 0 h 1967"/>
                <a:gd name="T14" fmla="*/ 0 w 2058"/>
                <a:gd name="T15" fmla="*/ 0 h 1967"/>
                <a:gd name="T16" fmla="*/ 0 w 2058"/>
                <a:gd name="T17" fmla="*/ 0 h 1967"/>
                <a:gd name="T18" fmla="*/ 0 w 2058"/>
                <a:gd name="T19" fmla="*/ 0 h 1967"/>
                <a:gd name="T20" fmla="*/ 0 w 2058"/>
                <a:gd name="T21" fmla="*/ 0 h 1967"/>
                <a:gd name="T22" fmla="*/ 0 w 2058"/>
                <a:gd name="T23" fmla="*/ 0 h 1967"/>
                <a:gd name="T24" fmla="*/ 0 w 2058"/>
                <a:gd name="T25" fmla="*/ 0 h 1967"/>
                <a:gd name="T26" fmla="*/ 0 w 2058"/>
                <a:gd name="T27" fmla="*/ 0 h 1967"/>
                <a:gd name="T28" fmla="*/ 0 w 2058"/>
                <a:gd name="T29" fmla="*/ 0 h 1967"/>
                <a:gd name="T30" fmla="*/ 0 w 2058"/>
                <a:gd name="T31" fmla="*/ 0 h 1967"/>
                <a:gd name="T32" fmla="*/ 0 w 2058"/>
                <a:gd name="T33" fmla="*/ 0 h 1967"/>
                <a:gd name="T34" fmla="*/ 0 w 2058"/>
                <a:gd name="T35" fmla="*/ 0 h 1967"/>
                <a:gd name="T36" fmla="*/ 0 w 2058"/>
                <a:gd name="T37" fmla="*/ 0 h 1967"/>
                <a:gd name="T38" fmla="*/ 0 w 2058"/>
                <a:gd name="T39" fmla="*/ 0 h 1967"/>
                <a:gd name="T40" fmla="*/ 0 w 2058"/>
                <a:gd name="T41" fmla="*/ 0 h 1967"/>
                <a:gd name="T42" fmla="*/ 0 w 2058"/>
                <a:gd name="T43" fmla="*/ 0 h 1967"/>
                <a:gd name="T44" fmla="*/ 0 w 2058"/>
                <a:gd name="T45" fmla="*/ 0 h 1967"/>
                <a:gd name="T46" fmla="*/ 0 w 2058"/>
                <a:gd name="T47" fmla="*/ 0 h 1967"/>
                <a:gd name="T48" fmla="*/ 0 w 2058"/>
                <a:gd name="T49" fmla="*/ 0 h 1967"/>
                <a:gd name="T50" fmla="*/ 0 w 2058"/>
                <a:gd name="T51" fmla="*/ 0 h 1967"/>
                <a:gd name="T52" fmla="*/ 0 w 2058"/>
                <a:gd name="T53" fmla="*/ 0 h 1967"/>
                <a:gd name="T54" fmla="*/ 0 w 2058"/>
                <a:gd name="T55" fmla="*/ 0 h 1967"/>
                <a:gd name="T56" fmla="*/ 0 w 2058"/>
                <a:gd name="T57" fmla="*/ 0 h 1967"/>
                <a:gd name="T58" fmla="*/ 0 w 2058"/>
                <a:gd name="T59" fmla="*/ 0 h 1967"/>
                <a:gd name="T60" fmla="*/ 0 w 2058"/>
                <a:gd name="T61" fmla="*/ 0 h 1967"/>
                <a:gd name="T62" fmla="*/ 0 w 2058"/>
                <a:gd name="T63" fmla="*/ 0 h 1967"/>
                <a:gd name="T64" fmla="*/ 0 w 2058"/>
                <a:gd name="T65" fmla="*/ 0 h 1967"/>
                <a:gd name="T66" fmla="*/ 0 w 2058"/>
                <a:gd name="T67" fmla="*/ 0 h 1967"/>
                <a:gd name="T68" fmla="*/ 0 w 2058"/>
                <a:gd name="T69" fmla="*/ 0 h 1967"/>
                <a:gd name="T70" fmla="*/ 0 w 2058"/>
                <a:gd name="T71" fmla="*/ 0 h 1967"/>
                <a:gd name="T72" fmla="*/ 0 w 2058"/>
                <a:gd name="T73" fmla="*/ 0 h 1967"/>
                <a:gd name="T74" fmla="*/ 0 w 2058"/>
                <a:gd name="T75" fmla="*/ 0 h 1967"/>
                <a:gd name="T76" fmla="*/ 0 w 2058"/>
                <a:gd name="T77" fmla="*/ 0 h 1967"/>
                <a:gd name="T78" fmla="*/ 0 w 2058"/>
                <a:gd name="T79" fmla="*/ 0 h 1967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w 2058"/>
                <a:gd name="T121" fmla="*/ 0 h 1967"/>
                <a:gd name="T122" fmla="*/ 2058 w 2058"/>
                <a:gd name="T123" fmla="*/ 1967 h 1967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T120" t="T121" r="T122" b="T123"/>
              <a:pathLst>
                <a:path w="2058" h="1967">
                  <a:moveTo>
                    <a:pt x="0" y="1697"/>
                  </a:moveTo>
                  <a:cubicBezTo>
                    <a:pt x="0" y="1697"/>
                    <a:pt x="0" y="1697"/>
                    <a:pt x="0" y="1697"/>
                  </a:cubicBezTo>
                  <a:cubicBezTo>
                    <a:pt x="0" y="1697"/>
                    <a:pt x="0" y="1697"/>
                    <a:pt x="0" y="1697"/>
                  </a:cubicBezTo>
                  <a:close/>
                  <a:moveTo>
                    <a:pt x="2046" y="797"/>
                  </a:moveTo>
                  <a:cubicBezTo>
                    <a:pt x="1931" y="823"/>
                    <a:pt x="1931" y="823"/>
                    <a:pt x="1931" y="823"/>
                  </a:cubicBezTo>
                  <a:cubicBezTo>
                    <a:pt x="1906" y="797"/>
                    <a:pt x="1906" y="797"/>
                    <a:pt x="1906" y="797"/>
                  </a:cubicBezTo>
                  <a:cubicBezTo>
                    <a:pt x="1906" y="797"/>
                    <a:pt x="1906" y="797"/>
                    <a:pt x="1919" y="772"/>
                  </a:cubicBezTo>
                  <a:cubicBezTo>
                    <a:pt x="1944" y="746"/>
                    <a:pt x="1931" y="720"/>
                    <a:pt x="1919" y="707"/>
                  </a:cubicBezTo>
                  <a:cubicBezTo>
                    <a:pt x="1906" y="695"/>
                    <a:pt x="1842" y="682"/>
                    <a:pt x="1830" y="682"/>
                  </a:cubicBezTo>
                  <a:cubicBezTo>
                    <a:pt x="1817" y="669"/>
                    <a:pt x="1804" y="643"/>
                    <a:pt x="1792" y="630"/>
                  </a:cubicBezTo>
                  <a:cubicBezTo>
                    <a:pt x="1779" y="630"/>
                    <a:pt x="1766" y="656"/>
                    <a:pt x="1754" y="656"/>
                  </a:cubicBezTo>
                  <a:cubicBezTo>
                    <a:pt x="1741" y="643"/>
                    <a:pt x="1728" y="605"/>
                    <a:pt x="1728" y="605"/>
                  </a:cubicBezTo>
                  <a:cubicBezTo>
                    <a:pt x="1665" y="579"/>
                    <a:pt x="1665" y="579"/>
                    <a:pt x="1665" y="579"/>
                  </a:cubicBezTo>
                  <a:cubicBezTo>
                    <a:pt x="1665" y="527"/>
                    <a:pt x="1665" y="527"/>
                    <a:pt x="1665" y="527"/>
                  </a:cubicBezTo>
                  <a:cubicBezTo>
                    <a:pt x="928" y="0"/>
                    <a:pt x="928" y="0"/>
                    <a:pt x="928" y="0"/>
                  </a:cubicBezTo>
                  <a:cubicBezTo>
                    <a:pt x="699" y="0"/>
                    <a:pt x="699" y="0"/>
                    <a:pt x="699" y="0"/>
                  </a:cubicBezTo>
                  <a:cubicBezTo>
                    <a:pt x="801" y="1144"/>
                    <a:pt x="801" y="1144"/>
                    <a:pt x="801" y="1144"/>
                  </a:cubicBezTo>
                  <a:cubicBezTo>
                    <a:pt x="851" y="1170"/>
                    <a:pt x="851" y="1170"/>
                    <a:pt x="851" y="1170"/>
                  </a:cubicBezTo>
                  <a:cubicBezTo>
                    <a:pt x="826" y="1273"/>
                    <a:pt x="826" y="1273"/>
                    <a:pt x="826" y="1273"/>
                  </a:cubicBezTo>
                  <a:cubicBezTo>
                    <a:pt x="343" y="1273"/>
                    <a:pt x="343" y="1273"/>
                    <a:pt x="343" y="1273"/>
                  </a:cubicBezTo>
                  <a:cubicBezTo>
                    <a:pt x="343" y="1273"/>
                    <a:pt x="280" y="1299"/>
                    <a:pt x="242" y="1299"/>
                  </a:cubicBezTo>
                  <a:cubicBezTo>
                    <a:pt x="216" y="1286"/>
                    <a:pt x="178" y="1286"/>
                    <a:pt x="165" y="1312"/>
                  </a:cubicBezTo>
                  <a:cubicBezTo>
                    <a:pt x="153" y="1337"/>
                    <a:pt x="76" y="1260"/>
                    <a:pt x="76" y="1260"/>
                  </a:cubicBezTo>
                  <a:cubicBezTo>
                    <a:pt x="76" y="1260"/>
                    <a:pt x="51" y="1286"/>
                    <a:pt x="38" y="1312"/>
                  </a:cubicBezTo>
                  <a:cubicBezTo>
                    <a:pt x="38" y="1324"/>
                    <a:pt x="38" y="1363"/>
                    <a:pt x="0" y="1363"/>
                  </a:cubicBezTo>
                  <a:cubicBezTo>
                    <a:pt x="13" y="1479"/>
                    <a:pt x="13" y="1479"/>
                    <a:pt x="13" y="1479"/>
                  </a:cubicBezTo>
                  <a:cubicBezTo>
                    <a:pt x="13" y="1479"/>
                    <a:pt x="51" y="1543"/>
                    <a:pt x="76" y="1556"/>
                  </a:cubicBezTo>
                  <a:cubicBezTo>
                    <a:pt x="114" y="1569"/>
                    <a:pt x="76" y="1607"/>
                    <a:pt x="89" y="1659"/>
                  </a:cubicBezTo>
                  <a:cubicBezTo>
                    <a:pt x="89" y="1684"/>
                    <a:pt x="89" y="1697"/>
                    <a:pt x="89" y="1697"/>
                  </a:cubicBezTo>
                  <a:cubicBezTo>
                    <a:pt x="89" y="1710"/>
                    <a:pt x="102" y="1736"/>
                    <a:pt x="114" y="1736"/>
                  </a:cubicBezTo>
                  <a:cubicBezTo>
                    <a:pt x="127" y="1723"/>
                    <a:pt x="165" y="1697"/>
                    <a:pt x="165" y="1723"/>
                  </a:cubicBezTo>
                  <a:cubicBezTo>
                    <a:pt x="178" y="1736"/>
                    <a:pt x="191" y="1749"/>
                    <a:pt x="216" y="1723"/>
                  </a:cubicBezTo>
                  <a:cubicBezTo>
                    <a:pt x="242" y="1697"/>
                    <a:pt x="267" y="1723"/>
                    <a:pt x="292" y="1723"/>
                  </a:cubicBezTo>
                  <a:cubicBezTo>
                    <a:pt x="318" y="1736"/>
                    <a:pt x="318" y="1710"/>
                    <a:pt x="330" y="1710"/>
                  </a:cubicBezTo>
                  <a:cubicBezTo>
                    <a:pt x="356" y="1697"/>
                    <a:pt x="343" y="1671"/>
                    <a:pt x="343" y="1671"/>
                  </a:cubicBezTo>
                  <a:cubicBezTo>
                    <a:pt x="343" y="1671"/>
                    <a:pt x="407" y="1684"/>
                    <a:pt x="407" y="1710"/>
                  </a:cubicBezTo>
                  <a:cubicBezTo>
                    <a:pt x="407" y="1723"/>
                    <a:pt x="394" y="1749"/>
                    <a:pt x="419" y="1774"/>
                  </a:cubicBezTo>
                  <a:cubicBezTo>
                    <a:pt x="445" y="1813"/>
                    <a:pt x="470" y="1813"/>
                    <a:pt x="470" y="1813"/>
                  </a:cubicBezTo>
                  <a:cubicBezTo>
                    <a:pt x="432" y="1851"/>
                    <a:pt x="432" y="1851"/>
                    <a:pt x="432" y="1851"/>
                  </a:cubicBezTo>
                  <a:cubicBezTo>
                    <a:pt x="445" y="1864"/>
                    <a:pt x="445" y="1864"/>
                    <a:pt x="445" y="1864"/>
                  </a:cubicBezTo>
                  <a:cubicBezTo>
                    <a:pt x="445" y="1864"/>
                    <a:pt x="470" y="1851"/>
                    <a:pt x="483" y="1877"/>
                  </a:cubicBezTo>
                  <a:cubicBezTo>
                    <a:pt x="483" y="1903"/>
                    <a:pt x="496" y="1929"/>
                    <a:pt x="496" y="1929"/>
                  </a:cubicBezTo>
                  <a:cubicBezTo>
                    <a:pt x="521" y="1967"/>
                    <a:pt x="521" y="1967"/>
                    <a:pt x="521" y="1967"/>
                  </a:cubicBezTo>
                  <a:cubicBezTo>
                    <a:pt x="521" y="1967"/>
                    <a:pt x="521" y="1967"/>
                    <a:pt x="521" y="1967"/>
                  </a:cubicBezTo>
                  <a:cubicBezTo>
                    <a:pt x="534" y="1954"/>
                    <a:pt x="546" y="1954"/>
                    <a:pt x="559" y="1941"/>
                  </a:cubicBezTo>
                  <a:cubicBezTo>
                    <a:pt x="585" y="1929"/>
                    <a:pt x="585" y="1929"/>
                    <a:pt x="610" y="1954"/>
                  </a:cubicBezTo>
                  <a:cubicBezTo>
                    <a:pt x="623" y="1967"/>
                    <a:pt x="648" y="1967"/>
                    <a:pt x="648" y="1967"/>
                  </a:cubicBezTo>
                  <a:cubicBezTo>
                    <a:pt x="648" y="1967"/>
                    <a:pt x="648" y="1941"/>
                    <a:pt x="674" y="1941"/>
                  </a:cubicBezTo>
                  <a:cubicBezTo>
                    <a:pt x="699" y="1954"/>
                    <a:pt x="661" y="1877"/>
                    <a:pt x="686" y="1903"/>
                  </a:cubicBezTo>
                  <a:cubicBezTo>
                    <a:pt x="712" y="1916"/>
                    <a:pt x="724" y="1929"/>
                    <a:pt x="724" y="1916"/>
                  </a:cubicBezTo>
                  <a:cubicBezTo>
                    <a:pt x="724" y="1916"/>
                    <a:pt x="737" y="1890"/>
                    <a:pt x="737" y="1890"/>
                  </a:cubicBezTo>
                  <a:cubicBezTo>
                    <a:pt x="750" y="1967"/>
                    <a:pt x="750" y="1967"/>
                    <a:pt x="750" y="1967"/>
                  </a:cubicBezTo>
                  <a:cubicBezTo>
                    <a:pt x="750" y="1967"/>
                    <a:pt x="775" y="1954"/>
                    <a:pt x="801" y="1941"/>
                  </a:cubicBezTo>
                  <a:cubicBezTo>
                    <a:pt x="826" y="1941"/>
                    <a:pt x="839" y="1929"/>
                    <a:pt x="839" y="1929"/>
                  </a:cubicBezTo>
                  <a:cubicBezTo>
                    <a:pt x="826" y="1851"/>
                    <a:pt x="826" y="1851"/>
                    <a:pt x="826" y="1851"/>
                  </a:cubicBezTo>
                  <a:cubicBezTo>
                    <a:pt x="864" y="1813"/>
                    <a:pt x="864" y="1813"/>
                    <a:pt x="864" y="1813"/>
                  </a:cubicBezTo>
                  <a:cubicBezTo>
                    <a:pt x="851" y="1749"/>
                    <a:pt x="851" y="1749"/>
                    <a:pt x="851" y="1749"/>
                  </a:cubicBezTo>
                  <a:cubicBezTo>
                    <a:pt x="928" y="1736"/>
                    <a:pt x="928" y="1736"/>
                    <a:pt x="928" y="1736"/>
                  </a:cubicBezTo>
                  <a:cubicBezTo>
                    <a:pt x="966" y="1684"/>
                    <a:pt x="966" y="1684"/>
                    <a:pt x="966" y="1684"/>
                  </a:cubicBezTo>
                  <a:cubicBezTo>
                    <a:pt x="966" y="1646"/>
                    <a:pt x="966" y="1646"/>
                    <a:pt x="966" y="1646"/>
                  </a:cubicBezTo>
                  <a:cubicBezTo>
                    <a:pt x="966" y="1646"/>
                    <a:pt x="991" y="1646"/>
                    <a:pt x="991" y="1620"/>
                  </a:cubicBezTo>
                  <a:cubicBezTo>
                    <a:pt x="991" y="1607"/>
                    <a:pt x="978" y="1594"/>
                    <a:pt x="978" y="1594"/>
                  </a:cubicBezTo>
                  <a:cubicBezTo>
                    <a:pt x="1017" y="1543"/>
                    <a:pt x="1017" y="1543"/>
                    <a:pt x="1017" y="1543"/>
                  </a:cubicBezTo>
                  <a:cubicBezTo>
                    <a:pt x="1093" y="1594"/>
                    <a:pt x="1093" y="1594"/>
                    <a:pt x="1093" y="1594"/>
                  </a:cubicBezTo>
                  <a:cubicBezTo>
                    <a:pt x="1106" y="1569"/>
                    <a:pt x="1106" y="1569"/>
                    <a:pt x="1106" y="1569"/>
                  </a:cubicBezTo>
                  <a:cubicBezTo>
                    <a:pt x="1106" y="1517"/>
                    <a:pt x="1106" y="1517"/>
                    <a:pt x="1106" y="1517"/>
                  </a:cubicBezTo>
                  <a:cubicBezTo>
                    <a:pt x="1144" y="1517"/>
                    <a:pt x="1144" y="1517"/>
                    <a:pt x="1144" y="1517"/>
                  </a:cubicBezTo>
                  <a:cubicBezTo>
                    <a:pt x="1156" y="1479"/>
                    <a:pt x="1156" y="1479"/>
                    <a:pt x="1156" y="1479"/>
                  </a:cubicBezTo>
                  <a:cubicBezTo>
                    <a:pt x="1245" y="1440"/>
                    <a:pt x="1245" y="1440"/>
                    <a:pt x="1245" y="1440"/>
                  </a:cubicBezTo>
                  <a:cubicBezTo>
                    <a:pt x="1271" y="1389"/>
                    <a:pt x="1271" y="1389"/>
                    <a:pt x="1271" y="1389"/>
                  </a:cubicBezTo>
                  <a:cubicBezTo>
                    <a:pt x="1398" y="1363"/>
                    <a:pt x="1398" y="1363"/>
                    <a:pt x="1398" y="1363"/>
                  </a:cubicBezTo>
                  <a:cubicBezTo>
                    <a:pt x="1449" y="1337"/>
                    <a:pt x="1449" y="1337"/>
                    <a:pt x="1449" y="1337"/>
                  </a:cubicBezTo>
                  <a:cubicBezTo>
                    <a:pt x="1525" y="1350"/>
                    <a:pt x="1525" y="1350"/>
                    <a:pt x="1525" y="1350"/>
                  </a:cubicBezTo>
                  <a:cubicBezTo>
                    <a:pt x="1639" y="1350"/>
                    <a:pt x="1639" y="1350"/>
                    <a:pt x="1639" y="1350"/>
                  </a:cubicBezTo>
                  <a:cubicBezTo>
                    <a:pt x="1677" y="1312"/>
                    <a:pt x="1677" y="1312"/>
                    <a:pt x="1677" y="1312"/>
                  </a:cubicBezTo>
                  <a:cubicBezTo>
                    <a:pt x="1957" y="1299"/>
                    <a:pt x="1957" y="1299"/>
                    <a:pt x="1957" y="1299"/>
                  </a:cubicBezTo>
                  <a:cubicBezTo>
                    <a:pt x="1957" y="1299"/>
                    <a:pt x="1995" y="1260"/>
                    <a:pt x="1995" y="1260"/>
                  </a:cubicBezTo>
                  <a:cubicBezTo>
                    <a:pt x="2008" y="1247"/>
                    <a:pt x="2033" y="1170"/>
                    <a:pt x="2033" y="1170"/>
                  </a:cubicBezTo>
                  <a:cubicBezTo>
                    <a:pt x="2033" y="1170"/>
                    <a:pt x="2020" y="1106"/>
                    <a:pt x="2033" y="1106"/>
                  </a:cubicBezTo>
                  <a:cubicBezTo>
                    <a:pt x="2046" y="1093"/>
                    <a:pt x="2058" y="1080"/>
                    <a:pt x="2058" y="1080"/>
                  </a:cubicBezTo>
                  <a:lnTo>
                    <a:pt x="2046" y="797"/>
                  </a:lnTo>
                  <a:close/>
                </a:path>
              </a:pathLst>
            </a:custGeom>
            <a:grpFill/>
            <a:ln w="9525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891045"/>
              <a:endParaRPr lang="en-US" sz="1700" dirty="0">
                <a:solidFill>
                  <a:srgbClr val="003149"/>
                </a:solidFill>
                <a:cs typeface="Arial" panose="020B0604020202020204" pitchFamily="34" charset="0"/>
              </a:endParaRPr>
            </a:p>
          </p:txBody>
        </p:sp>
      </p:grpSp>
      <p:grpSp>
        <p:nvGrpSpPr>
          <p:cNvPr id="627" name="Group 431"/>
          <p:cNvGrpSpPr>
            <a:grpSpLocks/>
          </p:cNvGrpSpPr>
          <p:nvPr/>
        </p:nvGrpSpPr>
        <p:grpSpPr bwMode="gray">
          <a:xfrm>
            <a:off x="1599147" y="1849905"/>
            <a:ext cx="209928" cy="224553"/>
            <a:chOff x="4525" y="2599"/>
            <a:chExt cx="143" cy="145"/>
          </a:xfrm>
          <a:solidFill>
            <a:schemeClr val="accent3"/>
          </a:solidFill>
        </p:grpSpPr>
        <p:sp>
          <p:nvSpPr>
            <p:cNvPr id="628" name="Freeform 432"/>
            <p:cNvSpPr>
              <a:spLocks/>
            </p:cNvSpPr>
            <p:nvPr/>
          </p:nvSpPr>
          <p:spPr bwMode="gray">
            <a:xfrm>
              <a:off x="4525" y="2599"/>
              <a:ext cx="143" cy="145"/>
            </a:xfrm>
            <a:custGeom>
              <a:avLst/>
              <a:gdLst>
                <a:gd name="T0" fmla="*/ 0 w 1417"/>
                <a:gd name="T1" fmla="*/ 0 h 1433"/>
                <a:gd name="T2" fmla="*/ 0 w 1417"/>
                <a:gd name="T3" fmla="*/ 0 h 1433"/>
                <a:gd name="T4" fmla="*/ 0 w 1417"/>
                <a:gd name="T5" fmla="*/ 0 h 1433"/>
                <a:gd name="T6" fmla="*/ 0 w 1417"/>
                <a:gd name="T7" fmla="*/ 0 h 1433"/>
                <a:gd name="T8" fmla="*/ 0 w 1417"/>
                <a:gd name="T9" fmla="*/ 0 h 1433"/>
                <a:gd name="T10" fmla="*/ 0 w 1417"/>
                <a:gd name="T11" fmla="*/ 0 h 1433"/>
                <a:gd name="T12" fmla="*/ 0 w 1417"/>
                <a:gd name="T13" fmla="*/ 0 h 1433"/>
                <a:gd name="T14" fmla="*/ 0 w 1417"/>
                <a:gd name="T15" fmla="*/ 0 h 1433"/>
                <a:gd name="T16" fmla="*/ 0 w 1417"/>
                <a:gd name="T17" fmla="*/ 0 h 1433"/>
                <a:gd name="T18" fmla="*/ 0 w 1417"/>
                <a:gd name="T19" fmla="*/ 0 h 1433"/>
                <a:gd name="T20" fmla="*/ 0 w 1417"/>
                <a:gd name="T21" fmla="*/ 0 h 1433"/>
                <a:gd name="T22" fmla="*/ 0 w 1417"/>
                <a:gd name="T23" fmla="*/ 0 h 1433"/>
                <a:gd name="T24" fmla="*/ 0 w 1417"/>
                <a:gd name="T25" fmla="*/ 0 h 1433"/>
                <a:gd name="T26" fmla="*/ 0 w 1417"/>
                <a:gd name="T27" fmla="*/ 0 h 1433"/>
                <a:gd name="T28" fmla="*/ 0 w 1417"/>
                <a:gd name="T29" fmla="*/ 0 h 1433"/>
                <a:gd name="T30" fmla="*/ 0 w 1417"/>
                <a:gd name="T31" fmla="*/ 0 h 1433"/>
                <a:gd name="T32" fmla="*/ 0 w 1417"/>
                <a:gd name="T33" fmla="*/ 0 h 1433"/>
                <a:gd name="T34" fmla="*/ 0 w 1417"/>
                <a:gd name="T35" fmla="*/ 0 h 1433"/>
                <a:gd name="T36" fmla="*/ 0 w 1417"/>
                <a:gd name="T37" fmla="*/ 0 h 1433"/>
                <a:gd name="T38" fmla="*/ 0 w 1417"/>
                <a:gd name="T39" fmla="*/ 0 h 1433"/>
                <a:gd name="T40" fmla="*/ 0 w 1417"/>
                <a:gd name="T41" fmla="*/ 0 h 1433"/>
                <a:gd name="T42" fmla="*/ 0 w 1417"/>
                <a:gd name="T43" fmla="*/ 0 h 1433"/>
                <a:gd name="T44" fmla="*/ 0 w 1417"/>
                <a:gd name="T45" fmla="*/ 0 h 1433"/>
                <a:gd name="T46" fmla="*/ 0 w 1417"/>
                <a:gd name="T47" fmla="*/ 0 h 1433"/>
                <a:gd name="T48" fmla="*/ 0 w 1417"/>
                <a:gd name="T49" fmla="*/ 0 h 1433"/>
                <a:gd name="T50" fmla="*/ 0 w 1417"/>
                <a:gd name="T51" fmla="*/ 0 h 1433"/>
                <a:gd name="T52" fmla="*/ 0 w 1417"/>
                <a:gd name="T53" fmla="*/ 0 h 1433"/>
                <a:gd name="T54" fmla="*/ 0 w 1417"/>
                <a:gd name="T55" fmla="*/ 0 h 1433"/>
                <a:gd name="T56" fmla="*/ 0 w 1417"/>
                <a:gd name="T57" fmla="*/ 0 h 1433"/>
                <a:gd name="T58" fmla="*/ 0 w 1417"/>
                <a:gd name="T59" fmla="*/ 0 h 1433"/>
                <a:gd name="T60" fmla="*/ 0 w 1417"/>
                <a:gd name="T61" fmla="*/ 0 h 1433"/>
                <a:gd name="T62" fmla="*/ 0 w 1417"/>
                <a:gd name="T63" fmla="*/ 0 h 1433"/>
                <a:gd name="T64" fmla="*/ 0 w 1417"/>
                <a:gd name="T65" fmla="*/ 0 h 1433"/>
                <a:gd name="T66" fmla="*/ 0 w 1417"/>
                <a:gd name="T67" fmla="*/ 0 h 1433"/>
                <a:gd name="T68" fmla="*/ 0 w 1417"/>
                <a:gd name="T69" fmla="*/ 0 h 1433"/>
                <a:gd name="T70" fmla="*/ 0 w 1417"/>
                <a:gd name="T71" fmla="*/ 0 h 1433"/>
                <a:gd name="T72" fmla="*/ 0 w 1417"/>
                <a:gd name="T73" fmla="*/ 0 h 1433"/>
                <a:gd name="T74" fmla="*/ 0 w 1417"/>
                <a:gd name="T75" fmla="*/ 0 h 1433"/>
                <a:gd name="T76" fmla="*/ 0 w 1417"/>
                <a:gd name="T77" fmla="*/ 0 h 1433"/>
                <a:gd name="T78" fmla="*/ 0 w 1417"/>
                <a:gd name="T79" fmla="*/ 0 h 1433"/>
                <a:gd name="T80" fmla="*/ 0 w 1417"/>
                <a:gd name="T81" fmla="*/ 0 h 1433"/>
                <a:gd name="T82" fmla="*/ 0 w 1417"/>
                <a:gd name="T83" fmla="*/ 0 h 1433"/>
                <a:gd name="T84" fmla="*/ 0 w 1417"/>
                <a:gd name="T85" fmla="*/ 0 h 1433"/>
                <a:gd name="T86" fmla="*/ 0 w 1417"/>
                <a:gd name="T87" fmla="*/ 0 h 1433"/>
                <a:gd name="T88" fmla="*/ 0 w 1417"/>
                <a:gd name="T89" fmla="*/ 0 h 1433"/>
                <a:gd name="T90" fmla="*/ 0 w 1417"/>
                <a:gd name="T91" fmla="*/ 0 h 1433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w 1417"/>
                <a:gd name="T139" fmla="*/ 0 h 1433"/>
                <a:gd name="T140" fmla="*/ 1417 w 1417"/>
                <a:gd name="T141" fmla="*/ 1433 h 1433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T138" t="T139" r="T140" b="T141"/>
              <a:pathLst>
                <a:path w="1417" h="1433">
                  <a:moveTo>
                    <a:pt x="1327" y="1046"/>
                  </a:moveTo>
                  <a:cubicBezTo>
                    <a:pt x="1301" y="1020"/>
                    <a:pt x="1237" y="865"/>
                    <a:pt x="1224" y="839"/>
                  </a:cubicBezTo>
                  <a:cubicBezTo>
                    <a:pt x="1211" y="813"/>
                    <a:pt x="1147" y="671"/>
                    <a:pt x="1134" y="645"/>
                  </a:cubicBezTo>
                  <a:cubicBezTo>
                    <a:pt x="1108" y="607"/>
                    <a:pt x="1121" y="568"/>
                    <a:pt x="1121" y="555"/>
                  </a:cubicBezTo>
                  <a:cubicBezTo>
                    <a:pt x="1108" y="542"/>
                    <a:pt x="1031" y="452"/>
                    <a:pt x="1031" y="452"/>
                  </a:cubicBezTo>
                  <a:cubicBezTo>
                    <a:pt x="1031" y="452"/>
                    <a:pt x="1005" y="400"/>
                    <a:pt x="1005" y="374"/>
                  </a:cubicBezTo>
                  <a:cubicBezTo>
                    <a:pt x="1005" y="361"/>
                    <a:pt x="979" y="336"/>
                    <a:pt x="979" y="336"/>
                  </a:cubicBezTo>
                  <a:cubicBezTo>
                    <a:pt x="979" y="336"/>
                    <a:pt x="966" y="271"/>
                    <a:pt x="979" y="258"/>
                  </a:cubicBezTo>
                  <a:cubicBezTo>
                    <a:pt x="992" y="232"/>
                    <a:pt x="966" y="193"/>
                    <a:pt x="966" y="193"/>
                  </a:cubicBezTo>
                  <a:cubicBezTo>
                    <a:pt x="992" y="219"/>
                    <a:pt x="992" y="219"/>
                    <a:pt x="992" y="219"/>
                  </a:cubicBezTo>
                  <a:cubicBezTo>
                    <a:pt x="992" y="219"/>
                    <a:pt x="1018" y="323"/>
                    <a:pt x="1018" y="336"/>
                  </a:cubicBezTo>
                  <a:cubicBezTo>
                    <a:pt x="1031" y="348"/>
                    <a:pt x="1057" y="387"/>
                    <a:pt x="1069" y="413"/>
                  </a:cubicBezTo>
                  <a:cubicBezTo>
                    <a:pt x="1069" y="426"/>
                    <a:pt x="1069" y="465"/>
                    <a:pt x="1082" y="478"/>
                  </a:cubicBezTo>
                  <a:cubicBezTo>
                    <a:pt x="1082" y="503"/>
                    <a:pt x="1172" y="542"/>
                    <a:pt x="1198" y="568"/>
                  </a:cubicBezTo>
                  <a:cubicBezTo>
                    <a:pt x="1237" y="594"/>
                    <a:pt x="1224" y="529"/>
                    <a:pt x="1224" y="516"/>
                  </a:cubicBezTo>
                  <a:cubicBezTo>
                    <a:pt x="1224" y="503"/>
                    <a:pt x="1250" y="426"/>
                    <a:pt x="1250" y="413"/>
                  </a:cubicBezTo>
                  <a:cubicBezTo>
                    <a:pt x="1250" y="387"/>
                    <a:pt x="1288" y="323"/>
                    <a:pt x="1288" y="323"/>
                  </a:cubicBezTo>
                  <a:cubicBezTo>
                    <a:pt x="1198" y="51"/>
                    <a:pt x="1198" y="51"/>
                    <a:pt x="1198" y="51"/>
                  </a:cubicBezTo>
                  <a:cubicBezTo>
                    <a:pt x="1198" y="51"/>
                    <a:pt x="1121" y="90"/>
                    <a:pt x="1069" y="90"/>
                  </a:cubicBezTo>
                  <a:cubicBezTo>
                    <a:pt x="1031" y="103"/>
                    <a:pt x="966" y="90"/>
                    <a:pt x="928" y="77"/>
                  </a:cubicBezTo>
                  <a:cubicBezTo>
                    <a:pt x="902" y="51"/>
                    <a:pt x="889" y="51"/>
                    <a:pt x="838" y="39"/>
                  </a:cubicBezTo>
                  <a:cubicBezTo>
                    <a:pt x="799" y="26"/>
                    <a:pt x="735" y="51"/>
                    <a:pt x="709" y="64"/>
                  </a:cubicBezTo>
                  <a:cubicBezTo>
                    <a:pt x="683" y="64"/>
                    <a:pt x="644" y="51"/>
                    <a:pt x="606" y="116"/>
                  </a:cubicBezTo>
                  <a:cubicBezTo>
                    <a:pt x="554" y="181"/>
                    <a:pt x="529" y="129"/>
                    <a:pt x="503" y="116"/>
                  </a:cubicBezTo>
                  <a:cubicBezTo>
                    <a:pt x="477" y="90"/>
                    <a:pt x="387" y="77"/>
                    <a:pt x="387" y="77"/>
                  </a:cubicBezTo>
                  <a:cubicBezTo>
                    <a:pt x="387" y="77"/>
                    <a:pt x="232" y="39"/>
                    <a:pt x="207" y="26"/>
                  </a:cubicBezTo>
                  <a:cubicBezTo>
                    <a:pt x="194" y="13"/>
                    <a:pt x="142" y="26"/>
                    <a:pt x="91" y="39"/>
                  </a:cubicBezTo>
                  <a:cubicBezTo>
                    <a:pt x="52" y="51"/>
                    <a:pt x="65" y="0"/>
                    <a:pt x="65" y="0"/>
                  </a:cubicBezTo>
                  <a:cubicBezTo>
                    <a:pt x="26" y="39"/>
                    <a:pt x="26" y="39"/>
                    <a:pt x="26" y="39"/>
                  </a:cubicBezTo>
                  <a:cubicBezTo>
                    <a:pt x="26" y="39"/>
                    <a:pt x="39" y="116"/>
                    <a:pt x="39" y="129"/>
                  </a:cubicBezTo>
                  <a:cubicBezTo>
                    <a:pt x="39" y="142"/>
                    <a:pt x="0" y="232"/>
                    <a:pt x="0" y="232"/>
                  </a:cubicBezTo>
                  <a:cubicBezTo>
                    <a:pt x="0" y="232"/>
                    <a:pt x="13" y="271"/>
                    <a:pt x="26" y="323"/>
                  </a:cubicBezTo>
                  <a:cubicBezTo>
                    <a:pt x="39" y="361"/>
                    <a:pt x="39" y="400"/>
                    <a:pt x="39" y="400"/>
                  </a:cubicBezTo>
                  <a:cubicBezTo>
                    <a:pt x="39" y="1381"/>
                    <a:pt x="39" y="1381"/>
                    <a:pt x="39" y="1381"/>
                  </a:cubicBezTo>
                  <a:cubicBezTo>
                    <a:pt x="39" y="1381"/>
                    <a:pt x="39" y="1381"/>
                    <a:pt x="39" y="1381"/>
                  </a:cubicBezTo>
                  <a:cubicBezTo>
                    <a:pt x="1057" y="1381"/>
                    <a:pt x="1057" y="1381"/>
                    <a:pt x="1057" y="1381"/>
                  </a:cubicBezTo>
                  <a:cubicBezTo>
                    <a:pt x="1057" y="1381"/>
                    <a:pt x="1069" y="1381"/>
                    <a:pt x="1082" y="1394"/>
                  </a:cubicBezTo>
                  <a:cubicBezTo>
                    <a:pt x="1095" y="1407"/>
                    <a:pt x="1160" y="1433"/>
                    <a:pt x="1172" y="1407"/>
                  </a:cubicBezTo>
                  <a:cubicBezTo>
                    <a:pt x="1185" y="1381"/>
                    <a:pt x="1185" y="1369"/>
                    <a:pt x="1211" y="1356"/>
                  </a:cubicBezTo>
                  <a:cubicBezTo>
                    <a:pt x="1237" y="1343"/>
                    <a:pt x="1263" y="1343"/>
                    <a:pt x="1263" y="1330"/>
                  </a:cubicBezTo>
                  <a:cubicBezTo>
                    <a:pt x="1275" y="1304"/>
                    <a:pt x="1288" y="1278"/>
                    <a:pt x="1314" y="1278"/>
                  </a:cubicBezTo>
                  <a:cubicBezTo>
                    <a:pt x="1327" y="1265"/>
                    <a:pt x="1366" y="1252"/>
                    <a:pt x="1366" y="1239"/>
                  </a:cubicBezTo>
                  <a:cubicBezTo>
                    <a:pt x="1379" y="1227"/>
                    <a:pt x="1366" y="1201"/>
                    <a:pt x="1366" y="1201"/>
                  </a:cubicBezTo>
                  <a:cubicBezTo>
                    <a:pt x="1366" y="1123"/>
                    <a:pt x="1366" y="1123"/>
                    <a:pt x="1366" y="1123"/>
                  </a:cubicBezTo>
                  <a:cubicBezTo>
                    <a:pt x="1366" y="1123"/>
                    <a:pt x="1391" y="1123"/>
                    <a:pt x="1404" y="1123"/>
                  </a:cubicBezTo>
                  <a:cubicBezTo>
                    <a:pt x="1417" y="1110"/>
                    <a:pt x="1353" y="1072"/>
                    <a:pt x="1327" y="1046"/>
                  </a:cubicBezTo>
                </a:path>
              </a:pathLst>
            </a:custGeom>
            <a:grpFill/>
            <a:ln w="9525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891045"/>
              <a:endParaRPr lang="en-US" sz="1700" dirty="0">
                <a:solidFill>
                  <a:srgbClr val="003149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629" name="Freeform 433"/>
            <p:cNvSpPr>
              <a:spLocks/>
            </p:cNvSpPr>
            <p:nvPr/>
          </p:nvSpPr>
          <p:spPr bwMode="gray">
            <a:xfrm>
              <a:off x="4525" y="2599"/>
              <a:ext cx="143" cy="145"/>
            </a:xfrm>
            <a:custGeom>
              <a:avLst/>
              <a:gdLst>
                <a:gd name="T0" fmla="*/ 134 w 143"/>
                <a:gd name="T1" fmla="*/ 105 h 145"/>
                <a:gd name="T2" fmla="*/ 124 w 143"/>
                <a:gd name="T3" fmla="*/ 85 h 145"/>
                <a:gd name="T4" fmla="*/ 115 w 143"/>
                <a:gd name="T5" fmla="*/ 65 h 145"/>
                <a:gd name="T6" fmla="*/ 113 w 143"/>
                <a:gd name="T7" fmla="*/ 56 h 145"/>
                <a:gd name="T8" fmla="*/ 104 w 143"/>
                <a:gd name="T9" fmla="*/ 45 h 145"/>
                <a:gd name="T10" fmla="*/ 102 w 143"/>
                <a:gd name="T11" fmla="*/ 38 h 145"/>
                <a:gd name="T12" fmla="*/ 99 w 143"/>
                <a:gd name="T13" fmla="*/ 34 h 145"/>
                <a:gd name="T14" fmla="*/ 99 w 143"/>
                <a:gd name="T15" fmla="*/ 26 h 145"/>
                <a:gd name="T16" fmla="*/ 98 w 143"/>
                <a:gd name="T17" fmla="*/ 19 h 145"/>
                <a:gd name="T18" fmla="*/ 100 w 143"/>
                <a:gd name="T19" fmla="*/ 22 h 145"/>
                <a:gd name="T20" fmla="*/ 103 w 143"/>
                <a:gd name="T21" fmla="*/ 34 h 145"/>
                <a:gd name="T22" fmla="*/ 108 w 143"/>
                <a:gd name="T23" fmla="*/ 42 h 145"/>
                <a:gd name="T24" fmla="*/ 110 w 143"/>
                <a:gd name="T25" fmla="*/ 48 h 145"/>
                <a:gd name="T26" fmla="*/ 121 w 143"/>
                <a:gd name="T27" fmla="*/ 57 h 145"/>
                <a:gd name="T28" fmla="*/ 124 w 143"/>
                <a:gd name="T29" fmla="*/ 52 h 145"/>
                <a:gd name="T30" fmla="*/ 126 w 143"/>
                <a:gd name="T31" fmla="*/ 42 h 145"/>
                <a:gd name="T32" fmla="*/ 130 w 143"/>
                <a:gd name="T33" fmla="*/ 32 h 145"/>
                <a:gd name="T34" fmla="*/ 121 w 143"/>
                <a:gd name="T35" fmla="*/ 5 h 145"/>
                <a:gd name="T36" fmla="*/ 108 w 143"/>
                <a:gd name="T37" fmla="*/ 9 h 145"/>
                <a:gd name="T38" fmla="*/ 94 w 143"/>
                <a:gd name="T39" fmla="*/ 8 h 145"/>
                <a:gd name="T40" fmla="*/ 85 w 143"/>
                <a:gd name="T41" fmla="*/ 4 h 145"/>
                <a:gd name="T42" fmla="*/ 72 w 143"/>
                <a:gd name="T43" fmla="*/ 6 h 145"/>
                <a:gd name="T44" fmla="*/ 61 w 143"/>
                <a:gd name="T45" fmla="*/ 11 h 145"/>
                <a:gd name="T46" fmla="*/ 51 w 143"/>
                <a:gd name="T47" fmla="*/ 11 h 145"/>
                <a:gd name="T48" fmla="*/ 39 w 143"/>
                <a:gd name="T49" fmla="*/ 8 h 145"/>
                <a:gd name="T50" fmla="*/ 21 w 143"/>
                <a:gd name="T51" fmla="*/ 2 h 145"/>
                <a:gd name="T52" fmla="*/ 10 w 143"/>
                <a:gd name="T53" fmla="*/ 4 h 145"/>
                <a:gd name="T54" fmla="*/ 7 w 143"/>
                <a:gd name="T55" fmla="*/ 0 h 145"/>
                <a:gd name="T56" fmla="*/ 3 w 143"/>
                <a:gd name="T57" fmla="*/ 4 h 145"/>
                <a:gd name="T58" fmla="*/ 4 w 143"/>
                <a:gd name="T59" fmla="*/ 13 h 145"/>
                <a:gd name="T60" fmla="*/ 0 w 143"/>
                <a:gd name="T61" fmla="*/ 23 h 145"/>
                <a:gd name="T62" fmla="*/ 3 w 143"/>
                <a:gd name="T63" fmla="*/ 32 h 145"/>
                <a:gd name="T64" fmla="*/ 4 w 143"/>
                <a:gd name="T65" fmla="*/ 40 h 145"/>
                <a:gd name="T66" fmla="*/ 4 w 143"/>
                <a:gd name="T67" fmla="*/ 139 h 145"/>
                <a:gd name="T68" fmla="*/ 4 w 143"/>
                <a:gd name="T69" fmla="*/ 139 h 145"/>
                <a:gd name="T70" fmla="*/ 107 w 143"/>
                <a:gd name="T71" fmla="*/ 139 h 145"/>
                <a:gd name="T72" fmla="*/ 110 w 143"/>
                <a:gd name="T73" fmla="*/ 141 h 145"/>
                <a:gd name="T74" fmla="*/ 119 w 143"/>
                <a:gd name="T75" fmla="*/ 142 h 145"/>
                <a:gd name="T76" fmla="*/ 123 w 143"/>
                <a:gd name="T77" fmla="*/ 137 h 145"/>
                <a:gd name="T78" fmla="*/ 128 w 143"/>
                <a:gd name="T79" fmla="*/ 134 h 145"/>
                <a:gd name="T80" fmla="*/ 133 w 143"/>
                <a:gd name="T81" fmla="*/ 129 h 145"/>
                <a:gd name="T82" fmla="*/ 138 w 143"/>
                <a:gd name="T83" fmla="*/ 125 h 145"/>
                <a:gd name="T84" fmla="*/ 138 w 143"/>
                <a:gd name="T85" fmla="*/ 121 h 145"/>
                <a:gd name="T86" fmla="*/ 138 w 143"/>
                <a:gd name="T87" fmla="*/ 113 h 145"/>
                <a:gd name="T88" fmla="*/ 142 w 143"/>
                <a:gd name="T89" fmla="*/ 113 h 145"/>
                <a:gd name="T90" fmla="*/ 134 w 143"/>
                <a:gd name="T91" fmla="*/ 105 h 145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w 143"/>
                <a:gd name="T139" fmla="*/ 0 h 145"/>
                <a:gd name="T140" fmla="*/ 143 w 143"/>
                <a:gd name="T141" fmla="*/ 145 h 145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T138" t="T139" r="T140" b="T141"/>
              <a:pathLst>
                <a:path w="143" h="145">
                  <a:moveTo>
                    <a:pt x="134" y="105"/>
                  </a:moveTo>
                  <a:cubicBezTo>
                    <a:pt x="132" y="103"/>
                    <a:pt x="125" y="87"/>
                    <a:pt x="124" y="85"/>
                  </a:cubicBezTo>
                  <a:cubicBezTo>
                    <a:pt x="123" y="82"/>
                    <a:pt x="116" y="68"/>
                    <a:pt x="115" y="65"/>
                  </a:cubicBezTo>
                  <a:cubicBezTo>
                    <a:pt x="112" y="61"/>
                    <a:pt x="113" y="57"/>
                    <a:pt x="113" y="56"/>
                  </a:cubicBezTo>
                  <a:cubicBezTo>
                    <a:pt x="112" y="55"/>
                    <a:pt x="104" y="45"/>
                    <a:pt x="104" y="45"/>
                  </a:cubicBezTo>
                  <a:cubicBezTo>
                    <a:pt x="104" y="45"/>
                    <a:pt x="102" y="40"/>
                    <a:pt x="102" y="38"/>
                  </a:cubicBezTo>
                  <a:cubicBezTo>
                    <a:pt x="102" y="36"/>
                    <a:pt x="99" y="34"/>
                    <a:pt x="99" y="34"/>
                  </a:cubicBezTo>
                  <a:cubicBezTo>
                    <a:pt x="99" y="34"/>
                    <a:pt x="98" y="27"/>
                    <a:pt x="99" y="26"/>
                  </a:cubicBezTo>
                  <a:cubicBezTo>
                    <a:pt x="100" y="23"/>
                    <a:pt x="98" y="19"/>
                    <a:pt x="98" y="19"/>
                  </a:cubicBezTo>
                  <a:cubicBezTo>
                    <a:pt x="100" y="22"/>
                    <a:pt x="100" y="22"/>
                    <a:pt x="100" y="22"/>
                  </a:cubicBezTo>
                  <a:cubicBezTo>
                    <a:pt x="100" y="22"/>
                    <a:pt x="103" y="32"/>
                    <a:pt x="103" y="34"/>
                  </a:cubicBezTo>
                  <a:cubicBezTo>
                    <a:pt x="104" y="35"/>
                    <a:pt x="107" y="39"/>
                    <a:pt x="108" y="42"/>
                  </a:cubicBezTo>
                  <a:cubicBezTo>
                    <a:pt x="108" y="43"/>
                    <a:pt x="108" y="47"/>
                    <a:pt x="110" y="48"/>
                  </a:cubicBezTo>
                  <a:cubicBezTo>
                    <a:pt x="110" y="51"/>
                    <a:pt x="119" y="55"/>
                    <a:pt x="121" y="57"/>
                  </a:cubicBezTo>
                  <a:cubicBezTo>
                    <a:pt x="125" y="60"/>
                    <a:pt x="124" y="53"/>
                    <a:pt x="124" y="52"/>
                  </a:cubicBezTo>
                  <a:cubicBezTo>
                    <a:pt x="124" y="51"/>
                    <a:pt x="126" y="43"/>
                    <a:pt x="126" y="42"/>
                  </a:cubicBezTo>
                  <a:cubicBezTo>
                    <a:pt x="126" y="39"/>
                    <a:pt x="130" y="32"/>
                    <a:pt x="130" y="32"/>
                  </a:cubicBezTo>
                  <a:cubicBezTo>
                    <a:pt x="121" y="5"/>
                    <a:pt x="121" y="5"/>
                    <a:pt x="121" y="5"/>
                  </a:cubicBezTo>
                  <a:cubicBezTo>
                    <a:pt x="121" y="5"/>
                    <a:pt x="113" y="9"/>
                    <a:pt x="108" y="9"/>
                  </a:cubicBezTo>
                  <a:cubicBezTo>
                    <a:pt x="104" y="10"/>
                    <a:pt x="98" y="9"/>
                    <a:pt x="94" y="8"/>
                  </a:cubicBezTo>
                  <a:cubicBezTo>
                    <a:pt x="91" y="5"/>
                    <a:pt x="90" y="5"/>
                    <a:pt x="85" y="4"/>
                  </a:cubicBezTo>
                  <a:cubicBezTo>
                    <a:pt x="81" y="2"/>
                    <a:pt x="75" y="5"/>
                    <a:pt x="72" y="6"/>
                  </a:cubicBezTo>
                  <a:cubicBezTo>
                    <a:pt x="69" y="6"/>
                    <a:pt x="65" y="5"/>
                    <a:pt x="61" y="11"/>
                  </a:cubicBezTo>
                  <a:cubicBezTo>
                    <a:pt x="56" y="18"/>
                    <a:pt x="54" y="13"/>
                    <a:pt x="51" y="11"/>
                  </a:cubicBezTo>
                  <a:cubicBezTo>
                    <a:pt x="48" y="9"/>
                    <a:pt x="39" y="8"/>
                    <a:pt x="39" y="8"/>
                  </a:cubicBezTo>
                  <a:cubicBezTo>
                    <a:pt x="39" y="8"/>
                    <a:pt x="24" y="4"/>
                    <a:pt x="21" y="2"/>
                  </a:cubicBezTo>
                  <a:cubicBezTo>
                    <a:pt x="20" y="1"/>
                    <a:pt x="15" y="2"/>
                    <a:pt x="10" y="4"/>
                  </a:cubicBezTo>
                  <a:cubicBezTo>
                    <a:pt x="6" y="5"/>
                    <a:pt x="7" y="0"/>
                    <a:pt x="7" y="0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4"/>
                    <a:pt x="4" y="11"/>
                    <a:pt x="4" y="13"/>
                  </a:cubicBezTo>
                  <a:cubicBezTo>
                    <a:pt x="4" y="14"/>
                    <a:pt x="0" y="23"/>
                    <a:pt x="0" y="23"/>
                  </a:cubicBezTo>
                  <a:cubicBezTo>
                    <a:pt x="0" y="23"/>
                    <a:pt x="2" y="27"/>
                    <a:pt x="3" y="32"/>
                  </a:cubicBezTo>
                  <a:cubicBezTo>
                    <a:pt x="4" y="36"/>
                    <a:pt x="4" y="40"/>
                    <a:pt x="4" y="40"/>
                  </a:cubicBezTo>
                  <a:cubicBezTo>
                    <a:pt x="4" y="139"/>
                    <a:pt x="4" y="139"/>
                    <a:pt x="4" y="139"/>
                  </a:cubicBezTo>
                  <a:cubicBezTo>
                    <a:pt x="4" y="139"/>
                    <a:pt x="4" y="139"/>
                    <a:pt x="4" y="139"/>
                  </a:cubicBezTo>
                  <a:cubicBezTo>
                    <a:pt x="107" y="139"/>
                    <a:pt x="107" y="139"/>
                    <a:pt x="107" y="139"/>
                  </a:cubicBezTo>
                  <a:cubicBezTo>
                    <a:pt x="107" y="139"/>
                    <a:pt x="108" y="139"/>
                    <a:pt x="110" y="141"/>
                  </a:cubicBezTo>
                  <a:cubicBezTo>
                    <a:pt x="111" y="142"/>
                    <a:pt x="117" y="145"/>
                    <a:pt x="119" y="142"/>
                  </a:cubicBezTo>
                  <a:cubicBezTo>
                    <a:pt x="120" y="139"/>
                    <a:pt x="120" y="138"/>
                    <a:pt x="123" y="137"/>
                  </a:cubicBezTo>
                  <a:cubicBezTo>
                    <a:pt x="125" y="135"/>
                    <a:pt x="128" y="135"/>
                    <a:pt x="128" y="134"/>
                  </a:cubicBezTo>
                  <a:cubicBezTo>
                    <a:pt x="129" y="132"/>
                    <a:pt x="130" y="129"/>
                    <a:pt x="133" y="129"/>
                  </a:cubicBezTo>
                  <a:cubicBezTo>
                    <a:pt x="134" y="128"/>
                    <a:pt x="138" y="126"/>
                    <a:pt x="138" y="125"/>
                  </a:cubicBezTo>
                  <a:cubicBezTo>
                    <a:pt x="140" y="124"/>
                    <a:pt x="138" y="121"/>
                    <a:pt x="138" y="121"/>
                  </a:cubicBezTo>
                  <a:cubicBezTo>
                    <a:pt x="138" y="113"/>
                    <a:pt x="138" y="113"/>
                    <a:pt x="138" y="113"/>
                  </a:cubicBezTo>
                  <a:cubicBezTo>
                    <a:pt x="138" y="113"/>
                    <a:pt x="141" y="113"/>
                    <a:pt x="142" y="113"/>
                  </a:cubicBezTo>
                  <a:cubicBezTo>
                    <a:pt x="143" y="112"/>
                    <a:pt x="137" y="108"/>
                    <a:pt x="134" y="105"/>
                  </a:cubicBezTo>
                </a:path>
              </a:pathLst>
            </a:custGeom>
            <a:grpFill/>
            <a:ln w="9525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891045"/>
              <a:endParaRPr lang="en-US" sz="1700" dirty="0">
                <a:solidFill>
                  <a:srgbClr val="003149"/>
                </a:solidFill>
                <a:cs typeface="Arial" panose="020B0604020202020204" pitchFamily="34" charset="0"/>
              </a:endParaRPr>
            </a:p>
          </p:txBody>
        </p:sp>
      </p:grpSp>
      <p:grpSp>
        <p:nvGrpSpPr>
          <p:cNvPr id="630" name="Group 434"/>
          <p:cNvGrpSpPr>
            <a:grpSpLocks/>
          </p:cNvGrpSpPr>
          <p:nvPr/>
        </p:nvGrpSpPr>
        <p:grpSpPr bwMode="gray">
          <a:xfrm>
            <a:off x="1547595" y="2041510"/>
            <a:ext cx="311748" cy="399627"/>
            <a:chOff x="4489" y="2723"/>
            <a:chExt cx="213" cy="258"/>
          </a:xfrm>
          <a:solidFill>
            <a:schemeClr val="accent3"/>
          </a:solidFill>
        </p:grpSpPr>
        <p:sp>
          <p:nvSpPr>
            <p:cNvPr id="631" name="Freeform 435"/>
            <p:cNvSpPr>
              <a:spLocks/>
            </p:cNvSpPr>
            <p:nvPr/>
          </p:nvSpPr>
          <p:spPr bwMode="gray">
            <a:xfrm>
              <a:off x="4489" y="2723"/>
              <a:ext cx="213" cy="258"/>
            </a:xfrm>
            <a:custGeom>
              <a:avLst/>
              <a:gdLst>
                <a:gd name="T0" fmla="*/ 0 w 2108"/>
                <a:gd name="T1" fmla="*/ 0 h 2550"/>
                <a:gd name="T2" fmla="*/ 0 w 2108"/>
                <a:gd name="T3" fmla="*/ 0 h 2550"/>
                <a:gd name="T4" fmla="*/ 0 w 2108"/>
                <a:gd name="T5" fmla="*/ 0 h 2550"/>
                <a:gd name="T6" fmla="*/ 0 w 2108"/>
                <a:gd name="T7" fmla="*/ 0 h 2550"/>
                <a:gd name="T8" fmla="*/ 0 w 2108"/>
                <a:gd name="T9" fmla="*/ 0 h 2550"/>
                <a:gd name="T10" fmla="*/ 0 w 2108"/>
                <a:gd name="T11" fmla="*/ 0 h 2550"/>
                <a:gd name="T12" fmla="*/ 0 w 2108"/>
                <a:gd name="T13" fmla="*/ 0 h 2550"/>
                <a:gd name="T14" fmla="*/ 0 w 2108"/>
                <a:gd name="T15" fmla="*/ 0 h 2550"/>
                <a:gd name="T16" fmla="*/ 0 w 2108"/>
                <a:gd name="T17" fmla="*/ 0 h 2550"/>
                <a:gd name="T18" fmla="*/ 0 w 2108"/>
                <a:gd name="T19" fmla="*/ 0 h 2550"/>
                <a:gd name="T20" fmla="*/ 0 w 2108"/>
                <a:gd name="T21" fmla="*/ 0 h 2550"/>
                <a:gd name="T22" fmla="*/ 0 w 2108"/>
                <a:gd name="T23" fmla="*/ 0 h 2550"/>
                <a:gd name="T24" fmla="*/ 0 w 2108"/>
                <a:gd name="T25" fmla="*/ 0 h 2550"/>
                <a:gd name="T26" fmla="*/ 0 w 2108"/>
                <a:gd name="T27" fmla="*/ 0 h 2550"/>
                <a:gd name="T28" fmla="*/ 0 w 2108"/>
                <a:gd name="T29" fmla="*/ 0 h 2550"/>
                <a:gd name="T30" fmla="*/ 0 w 2108"/>
                <a:gd name="T31" fmla="*/ 0 h 2550"/>
                <a:gd name="T32" fmla="*/ 0 w 2108"/>
                <a:gd name="T33" fmla="*/ 0 h 2550"/>
                <a:gd name="T34" fmla="*/ 0 w 2108"/>
                <a:gd name="T35" fmla="*/ 0 h 2550"/>
                <a:gd name="T36" fmla="*/ 0 w 2108"/>
                <a:gd name="T37" fmla="*/ 0 h 2550"/>
                <a:gd name="T38" fmla="*/ 0 w 2108"/>
                <a:gd name="T39" fmla="*/ 0 h 2550"/>
                <a:gd name="T40" fmla="*/ 0 w 2108"/>
                <a:gd name="T41" fmla="*/ 0 h 2550"/>
                <a:gd name="T42" fmla="*/ 0 w 2108"/>
                <a:gd name="T43" fmla="*/ 0 h 2550"/>
                <a:gd name="T44" fmla="*/ 0 w 2108"/>
                <a:gd name="T45" fmla="*/ 0 h 2550"/>
                <a:gd name="T46" fmla="*/ 0 w 2108"/>
                <a:gd name="T47" fmla="*/ 0 h 2550"/>
                <a:gd name="T48" fmla="*/ 0 w 2108"/>
                <a:gd name="T49" fmla="*/ 0 h 2550"/>
                <a:gd name="T50" fmla="*/ 0 w 2108"/>
                <a:gd name="T51" fmla="*/ 0 h 2550"/>
                <a:gd name="T52" fmla="*/ 0 w 2108"/>
                <a:gd name="T53" fmla="*/ 0 h 2550"/>
                <a:gd name="T54" fmla="*/ 0 w 2108"/>
                <a:gd name="T55" fmla="*/ 0 h 2550"/>
                <a:gd name="T56" fmla="*/ 0 w 2108"/>
                <a:gd name="T57" fmla="*/ 0 h 2550"/>
                <a:gd name="T58" fmla="*/ 0 w 2108"/>
                <a:gd name="T59" fmla="*/ 0 h 2550"/>
                <a:gd name="T60" fmla="*/ 0 w 2108"/>
                <a:gd name="T61" fmla="*/ 0 h 2550"/>
                <a:gd name="T62" fmla="*/ 0 w 2108"/>
                <a:gd name="T63" fmla="*/ 0 h 2550"/>
                <a:gd name="T64" fmla="*/ 0 w 2108"/>
                <a:gd name="T65" fmla="*/ 0 h 2550"/>
                <a:gd name="T66" fmla="*/ 0 w 2108"/>
                <a:gd name="T67" fmla="*/ 0 h 2550"/>
                <a:gd name="T68" fmla="*/ 0 w 2108"/>
                <a:gd name="T69" fmla="*/ 0 h 2550"/>
                <a:gd name="T70" fmla="*/ 0 w 2108"/>
                <a:gd name="T71" fmla="*/ 0 h 2550"/>
                <a:gd name="T72" fmla="*/ 0 w 2108"/>
                <a:gd name="T73" fmla="*/ 0 h 2550"/>
                <a:gd name="T74" fmla="*/ 0 w 2108"/>
                <a:gd name="T75" fmla="*/ 0 h 2550"/>
                <a:gd name="T76" fmla="*/ 0 w 2108"/>
                <a:gd name="T77" fmla="*/ 0 h 2550"/>
                <a:gd name="T78" fmla="*/ 0 w 2108"/>
                <a:gd name="T79" fmla="*/ 0 h 2550"/>
                <a:gd name="T80" fmla="*/ 0 w 2108"/>
                <a:gd name="T81" fmla="*/ 0 h 2550"/>
                <a:gd name="T82" fmla="*/ 0 w 2108"/>
                <a:gd name="T83" fmla="*/ 0 h 2550"/>
                <a:gd name="T84" fmla="*/ 0 w 2108"/>
                <a:gd name="T85" fmla="*/ 0 h 2550"/>
                <a:gd name="T86" fmla="*/ 0 w 2108"/>
                <a:gd name="T87" fmla="*/ 0 h 2550"/>
                <a:gd name="T88" fmla="*/ 0 w 2108"/>
                <a:gd name="T89" fmla="*/ 0 h 2550"/>
                <a:gd name="T90" fmla="*/ 0 w 2108"/>
                <a:gd name="T91" fmla="*/ 0 h 2550"/>
                <a:gd name="T92" fmla="*/ 0 w 2108"/>
                <a:gd name="T93" fmla="*/ 0 h 2550"/>
                <a:gd name="T94" fmla="*/ 0 w 2108"/>
                <a:gd name="T95" fmla="*/ 0 h 2550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2108"/>
                <a:gd name="T145" fmla="*/ 0 h 2550"/>
                <a:gd name="T146" fmla="*/ 2108 w 2108"/>
                <a:gd name="T147" fmla="*/ 2550 h 2550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2108" h="2550">
                  <a:moveTo>
                    <a:pt x="2108" y="679"/>
                  </a:moveTo>
                  <a:cubicBezTo>
                    <a:pt x="2108" y="679"/>
                    <a:pt x="2070" y="641"/>
                    <a:pt x="2070" y="641"/>
                  </a:cubicBezTo>
                  <a:cubicBezTo>
                    <a:pt x="2057" y="628"/>
                    <a:pt x="2057" y="615"/>
                    <a:pt x="2019" y="590"/>
                  </a:cubicBezTo>
                  <a:cubicBezTo>
                    <a:pt x="1981" y="564"/>
                    <a:pt x="1968" y="577"/>
                    <a:pt x="1968" y="538"/>
                  </a:cubicBezTo>
                  <a:cubicBezTo>
                    <a:pt x="1955" y="500"/>
                    <a:pt x="1955" y="372"/>
                    <a:pt x="1955" y="372"/>
                  </a:cubicBezTo>
                  <a:cubicBezTo>
                    <a:pt x="1955" y="372"/>
                    <a:pt x="1942" y="256"/>
                    <a:pt x="1917" y="231"/>
                  </a:cubicBezTo>
                  <a:cubicBezTo>
                    <a:pt x="1904" y="192"/>
                    <a:pt x="1891" y="141"/>
                    <a:pt x="1866" y="115"/>
                  </a:cubicBezTo>
                  <a:cubicBezTo>
                    <a:pt x="1853" y="90"/>
                    <a:pt x="1815" y="51"/>
                    <a:pt x="1776" y="39"/>
                  </a:cubicBezTo>
                  <a:cubicBezTo>
                    <a:pt x="1751" y="39"/>
                    <a:pt x="1725" y="0"/>
                    <a:pt x="1725" y="0"/>
                  </a:cubicBezTo>
                  <a:cubicBezTo>
                    <a:pt x="1725" y="13"/>
                    <a:pt x="1687" y="26"/>
                    <a:pt x="1674" y="39"/>
                  </a:cubicBezTo>
                  <a:cubicBezTo>
                    <a:pt x="1648" y="39"/>
                    <a:pt x="1636" y="64"/>
                    <a:pt x="1623" y="90"/>
                  </a:cubicBezTo>
                  <a:cubicBezTo>
                    <a:pt x="1623" y="103"/>
                    <a:pt x="1597" y="103"/>
                    <a:pt x="1572" y="115"/>
                  </a:cubicBezTo>
                  <a:cubicBezTo>
                    <a:pt x="1546" y="128"/>
                    <a:pt x="1546" y="141"/>
                    <a:pt x="1533" y="167"/>
                  </a:cubicBezTo>
                  <a:cubicBezTo>
                    <a:pt x="1521" y="192"/>
                    <a:pt x="1457" y="167"/>
                    <a:pt x="1444" y="154"/>
                  </a:cubicBezTo>
                  <a:cubicBezTo>
                    <a:pt x="1431" y="141"/>
                    <a:pt x="1418" y="141"/>
                    <a:pt x="1418" y="141"/>
                  </a:cubicBezTo>
                  <a:cubicBezTo>
                    <a:pt x="409" y="141"/>
                    <a:pt x="409" y="141"/>
                    <a:pt x="409" y="141"/>
                  </a:cubicBezTo>
                  <a:cubicBezTo>
                    <a:pt x="409" y="141"/>
                    <a:pt x="409" y="141"/>
                    <a:pt x="409" y="141"/>
                  </a:cubicBezTo>
                  <a:cubicBezTo>
                    <a:pt x="409" y="410"/>
                    <a:pt x="409" y="410"/>
                    <a:pt x="409" y="410"/>
                  </a:cubicBezTo>
                  <a:cubicBezTo>
                    <a:pt x="281" y="410"/>
                    <a:pt x="281" y="410"/>
                    <a:pt x="281" y="410"/>
                  </a:cubicBezTo>
                  <a:cubicBezTo>
                    <a:pt x="281" y="474"/>
                    <a:pt x="281" y="474"/>
                    <a:pt x="281" y="474"/>
                  </a:cubicBezTo>
                  <a:cubicBezTo>
                    <a:pt x="281" y="474"/>
                    <a:pt x="281" y="474"/>
                    <a:pt x="281" y="474"/>
                  </a:cubicBezTo>
                  <a:cubicBezTo>
                    <a:pt x="281" y="974"/>
                    <a:pt x="281" y="974"/>
                    <a:pt x="281" y="974"/>
                  </a:cubicBezTo>
                  <a:cubicBezTo>
                    <a:pt x="281" y="974"/>
                    <a:pt x="230" y="974"/>
                    <a:pt x="205" y="974"/>
                  </a:cubicBezTo>
                  <a:cubicBezTo>
                    <a:pt x="192" y="974"/>
                    <a:pt x="153" y="1000"/>
                    <a:pt x="153" y="1000"/>
                  </a:cubicBezTo>
                  <a:cubicBezTo>
                    <a:pt x="153" y="1000"/>
                    <a:pt x="166" y="1038"/>
                    <a:pt x="153" y="1051"/>
                  </a:cubicBezTo>
                  <a:cubicBezTo>
                    <a:pt x="128" y="1064"/>
                    <a:pt x="128" y="1102"/>
                    <a:pt x="128" y="1102"/>
                  </a:cubicBezTo>
                  <a:cubicBezTo>
                    <a:pt x="115" y="1115"/>
                    <a:pt x="90" y="1128"/>
                    <a:pt x="90" y="1128"/>
                  </a:cubicBezTo>
                  <a:cubicBezTo>
                    <a:pt x="102" y="1192"/>
                    <a:pt x="102" y="1192"/>
                    <a:pt x="102" y="1192"/>
                  </a:cubicBezTo>
                  <a:cubicBezTo>
                    <a:pt x="51" y="1217"/>
                    <a:pt x="51" y="1217"/>
                    <a:pt x="51" y="1217"/>
                  </a:cubicBezTo>
                  <a:cubicBezTo>
                    <a:pt x="64" y="1282"/>
                    <a:pt x="64" y="1282"/>
                    <a:pt x="64" y="1282"/>
                  </a:cubicBezTo>
                  <a:cubicBezTo>
                    <a:pt x="64" y="1282"/>
                    <a:pt x="51" y="1282"/>
                    <a:pt x="26" y="1333"/>
                  </a:cubicBezTo>
                  <a:cubicBezTo>
                    <a:pt x="0" y="1384"/>
                    <a:pt x="51" y="1371"/>
                    <a:pt x="64" y="1358"/>
                  </a:cubicBezTo>
                  <a:cubicBezTo>
                    <a:pt x="77" y="1358"/>
                    <a:pt x="77" y="1384"/>
                    <a:pt x="90" y="1410"/>
                  </a:cubicBezTo>
                  <a:cubicBezTo>
                    <a:pt x="90" y="1435"/>
                    <a:pt x="115" y="1448"/>
                    <a:pt x="102" y="1474"/>
                  </a:cubicBezTo>
                  <a:cubicBezTo>
                    <a:pt x="90" y="1499"/>
                    <a:pt x="102" y="1512"/>
                    <a:pt x="128" y="1512"/>
                  </a:cubicBezTo>
                  <a:cubicBezTo>
                    <a:pt x="153" y="1525"/>
                    <a:pt x="141" y="1576"/>
                    <a:pt x="141" y="1576"/>
                  </a:cubicBezTo>
                  <a:cubicBezTo>
                    <a:pt x="141" y="1576"/>
                    <a:pt x="179" y="1640"/>
                    <a:pt x="205" y="1679"/>
                  </a:cubicBezTo>
                  <a:cubicBezTo>
                    <a:pt x="243" y="1704"/>
                    <a:pt x="243" y="1756"/>
                    <a:pt x="243" y="1794"/>
                  </a:cubicBezTo>
                  <a:cubicBezTo>
                    <a:pt x="243" y="1820"/>
                    <a:pt x="230" y="1833"/>
                    <a:pt x="217" y="1858"/>
                  </a:cubicBezTo>
                  <a:cubicBezTo>
                    <a:pt x="217" y="1884"/>
                    <a:pt x="268" y="1884"/>
                    <a:pt x="281" y="1884"/>
                  </a:cubicBezTo>
                  <a:cubicBezTo>
                    <a:pt x="307" y="1871"/>
                    <a:pt x="320" y="1897"/>
                    <a:pt x="307" y="1909"/>
                  </a:cubicBezTo>
                  <a:cubicBezTo>
                    <a:pt x="281" y="1922"/>
                    <a:pt x="358" y="1935"/>
                    <a:pt x="371" y="1935"/>
                  </a:cubicBezTo>
                  <a:cubicBezTo>
                    <a:pt x="383" y="1935"/>
                    <a:pt x="396" y="1961"/>
                    <a:pt x="435" y="1974"/>
                  </a:cubicBezTo>
                  <a:cubicBezTo>
                    <a:pt x="473" y="1999"/>
                    <a:pt x="435" y="2025"/>
                    <a:pt x="447" y="2038"/>
                  </a:cubicBezTo>
                  <a:cubicBezTo>
                    <a:pt x="447" y="2063"/>
                    <a:pt x="511" y="2102"/>
                    <a:pt x="550" y="2114"/>
                  </a:cubicBezTo>
                  <a:cubicBezTo>
                    <a:pt x="588" y="2140"/>
                    <a:pt x="575" y="2153"/>
                    <a:pt x="575" y="2153"/>
                  </a:cubicBezTo>
                  <a:cubicBezTo>
                    <a:pt x="588" y="2217"/>
                    <a:pt x="588" y="2217"/>
                    <a:pt x="588" y="2217"/>
                  </a:cubicBezTo>
                  <a:cubicBezTo>
                    <a:pt x="665" y="2243"/>
                    <a:pt x="665" y="2243"/>
                    <a:pt x="665" y="2243"/>
                  </a:cubicBezTo>
                  <a:cubicBezTo>
                    <a:pt x="665" y="2243"/>
                    <a:pt x="690" y="2307"/>
                    <a:pt x="690" y="2319"/>
                  </a:cubicBezTo>
                  <a:cubicBezTo>
                    <a:pt x="703" y="2332"/>
                    <a:pt x="741" y="2358"/>
                    <a:pt x="754" y="2384"/>
                  </a:cubicBezTo>
                  <a:cubicBezTo>
                    <a:pt x="754" y="2409"/>
                    <a:pt x="805" y="2435"/>
                    <a:pt x="831" y="2435"/>
                  </a:cubicBezTo>
                  <a:cubicBezTo>
                    <a:pt x="856" y="2448"/>
                    <a:pt x="869" y="2409"/>
                    <a:pt x="869" y="2409"/>
                  </a:cubicBezTo>
                  <a:cubicBezTo>
                    <a:pt x="946" y="2435"/>
                    <a:pt x="946" y="2435"/>
                    <a:pt x="946" y="2435"/>
                  </a:cubicBezTo>
                  <a:cubicBezTo>
                    <a:pt x="946" y="2435"/>
                    <a:pt x="958" y="2396"/>
                    <a:pt x="984" y="2396"/>
                  </a:cubicBezTo>
                  <a:cubicBezTo>
                    <a:pt x="1010" y="2396"/>
                    <a:pt x="1035" y="2448"/>
                    <a:pt x="1035" y="2460"/>
                  </a:cubicBezTo>
                  <a:cubicBezTo>
                    <a:pt x="1048" y="2473"/>
                    <a:pt x="1099" y="2499"/>
                    <a:pt x="1112" y="2512"/>
                  </a:cubicBezTo>
                  <a:cubicBezTo>
                    <a:pt x="1112" y="2512"/>
                    <a:pt x="1137" y="2537"/>
                    <a:pt x="1137" y="2537"/>
                  </a:cubicBezTo>
                  <a:cubicBezTo>
                    <a:pt x="1137" y="2537"/>
                    <a:pt x="1188" y="2512"/>
                    <a:pt x="1201" y="2512"/>
                  </a:cubicBezTo>
                  <a:cubicBezTo>
                    <a:pt x="1227" y="2525"/>
                    <a:pt x="1240" y="2512"/>
                    <a:pt x="1252" y="2512"/>
                  </a:cubicBezTo>
                  <a:cubicBezTo>
                    <a:pt x="1265" y="2512"/>
                    <a:pt x="1291" y="2537"/>
                    <a:pt x="1303" y="2537"/>
                  </a:cubicBezTo>
                  <a:cubicBezTo>
                    <a:pt x="1329" y="2550"/>
                    <a:pt x="1342" y="2512"/>
                    <a:pt x="1342" y="2512"/>
                  </a:cubicBezTo>
                  <a:cubicBezTo>
                    <a:pt x="1342" y="2512"/>
                    <a:pt x="1406" y="2499"/>
                    <a:pt x="1418" y="2499"/>
                  </a:cubicBezTo>
                  <a:cubicBezTo>
                    <a:pt x="1418" y="2499"/>
                    <a:pt x="1482" y="2512"/>
                    <a:pt x="1482" y="2512"/>
                  </a:cubicBezTo>
                  <a:cubicBezTo>
                    <a:pt x="1585" y="2396"/>
                    <a:pt x="1585" y="2396"/>
                    <a:pt x="1585" y="2396"/>
                  </a:cubicBezTo>
                  <a:cubicBezTo>
                    <a:pt x="1789" y="2396"/>
                    <a:pt x="1789" y="2396"/>
                    <a:pt x="1789" y="2396"/>
                  </a:cubicBezTo>
                  <a:cubicBezTo>
                    <a:pt x="1789" y="2396"/>
                    <a:pt x="1763" y="2371"/>
                    <a:pt x="1763" y="2358"/>
                  </a:cubicBezTo>
                  <a:cubicBezTo>
                    <a:pt x="1763" y="2345"/>
                    <a:pt x="1763" y="2307"/>
                    <a:pt x="1763" y="2307"/>
                  </a:cubicBezTo>
                  <a:cubicBezTo>
                    <a:pt x="1700" y="2294"/>
                    <a:pt x="1700" y="2294"/>
                    <a:pt x="1700" y="2294"/>
                  </a:cubicBezTo>
                  <a:cubicBezTo>
                    <a:pt x="1700" y="2294"/>
                    <a:pt x="1674" y="2255"/>
                    <a:pt x="1661" y="2230"/>
                  </a:cubicBezTo>
                  <a:cubicBezTo>
                    <a:pt x="1648" y="2191"/>
                    <a:pt x="1661" y="2179"/>
                    <a:pt x="1648" y="2153"/>
                  </a:cubicBezTo>
                  <a:cubicBezTo>
                    <a:pt x="1636" y="2140"/>
                    <a:pt x="1610" y="2127"/>
                    <a:pt x="1585" y="2114"/>
                  </a:cubicBezTo>
                  <a:cubicBezTo>
                    <a:pt x="1572" y="2114"/>
                    <a:pt x="1533" y="2038"/>
                    <a:pt x="1533" y="2038"/>
                  </a:cubicBezTo>
                  <a:cubicBezTo>
                    <a:pt x="1533" y="2038"/>
                    <a:pt x="1470" y="2012"/>
                    <a:pt x="1444" y="1999"/>
                  </a:cubicBezTo>
                  <a:cubicBezTo>
                    <a:pt x="1406" y="1986"/>
                    <a:pt x="1418" y="1986"/>
                    <a:pt x="1418" y="1974"/>
                  </a:cubicBezTo>
                  <a:cubicBezTo>
                    <a:pt x="1431" y="1961"/>
                    <a:pt x="1431" y="1935"/>
                    <a:pt x="1444" y="1922"/>
                  </a:cubicBezTo>
                  <a:cubicBezTo>
                    <a:pt x="1444" y="1909"/>
                    <a:pt x="1495" y="1935"/>
                    <a:pt x="1508" y="1935"/>
                  </a:cubicBezTo>
                  <a:cubicBezTo>
                    <a:pt x="1508" y="1935"/>
                    <a:pt x="1546" y="1897"/>
                    <a:pt x="1546" y="1897"/>
                  </a:cubicBezTo>
                  <a:cubicBezTo>
                    <a:pt x="1546" y="1897"/>
                    <a:pt x="1559" y="1768"/>
                    <a:pt x="1559" y="1743"/>
                  </a:cubicBezTo>
                  <a:cubicBezTo>
                    <a:pt x="1572" y="1704"/>
                    <a:pt x="1585" y="1704"/>
                    <a:pt x="1572" y="1679"/>
                  </a:cubicBezTo>
                  <a:cubicBezTo>
                    <a:pt x="1572" y="1666"/>
                    <a:pt x="1572" y="1640"/>
                    <a:pt x="1597" y="1615"/>
                  </a:cubicBezTo>
                  <a:cubicBezTo>
                    <a:pt x="1610" y="1589"/>
                    <a:pt x="1623" y="1602"/>
                    <a:pt x="1648" y="1628"/>
                  </a:cubicBezTo>
                  <a:cubicBezTo>
                    <a:pt x="1661" y="1640"/>
                    <a:pt x="1661" y="1589"/>
                    <a:pt x="1661" y="1563"/>
                  </a:cubicBezTo>
                  <a:cubicBezTo>
                    <a:pt x="1661" y="1525"/>
                    <a:pt x="1674" y="1499"/>
                    <a:pt x="1674" y="1487"/>
                  </a:cubicBezTo>
                  <a:cubicBezTo>
                    <a:pt x="1687" y="1474"/>
                    <a:pt x="1712" y="1410"/>
                    <a:pt x="1738" y="1397"/>
                  </a:cubicBezTo>
                  <a:cubicBezTo>
                    <a:pt x="1763" y="1371"/>
                    <a:pt x="1802" y="1371"/>
                    <a:pt x="1802" y="1371"/>
                  </a:cubicBezTo>
                  <a:cubicBezTo>
                    <a:pt x="1802" y="1371"/>
                    <a:pt x="1815" y="1320"/>
                    <a:pt x="1815" y="1320"/>
                  </a:cubicBezTo>
                  <a:cubicBezTo>
                    <a:pt x="1815" y="1307"/>
                    <a:pt x="1815" y="1294"/>
                    <a:pt x="1840" y="1269"/>
                  </a:cubicBezTo>
                  <a:cubicBezTo>
                    <a:pt x="1853" y="1243"/>
                    <a:pt x="1853" y="1153"/>
                    <a:pt x="1853" y="1153"/>
                  </a:cubicBezTo>
                  <a:cubicBezTo>
                    <a:pt x="1840" y="1051"/>
                    <a:pt x="1840" y="1051"/>
                    <a:pt x="1840" y="1051"/>
                  </a:cubicBezTo>
                  <a:cubicBezTo>
                    <a:pt x="1840" y="1051"/>
                    <a:pt x="1866" y="1012"/>
                    <a:pt x="1866" y="1000"/>
                  </a:cubicBezTo>
                  <a:cubicBezTo>
                    <a:pt x="1878" y="987"/>
                    <a:pt x="1904" y="910"/>
                    <a:pt x="1904" y="897"/>
                  </a:cubicBezTo>
                  <a:cubicBezTo>
                    <a:pt x="1904" y="871"/>
                    <a:pt x="1891" y="859"/>
                    <a:pt x="1904" y="846"/>
                  </a:cubicBezTo>
                  <a:cubicBezTo>
                    <a:pt x="1917" y="833"/>
                    <a:pt x="1917" y="807"/>
                    <a:pt x="1917" y="807"/>
                  </a:cubicBezTo>
                  <a:cubicBezTo>
                    <a:pt x="1917" y="807"/>
                    <a:pt x="1930" y="795"/>
                    <a:pt x="1955" y="795"/>
                  </a:cubicBezTo>
                  <a:cubicBezTo>
                    <a:pt x="1981" y="795"/>
                    <a:pt x="1968" y="782"/>
                    <a:pt x="1981" y="769"/>
                  </a:cubicBezTo>
                  <a:cubicBezTo>
                    <a:pt x="1993" y="743"/>
                    <a:pt x="2032" y="756"/>
                    <a:pt x="2070" y="731"/>
                  </a:cubicBezTo>
                  <a:cubicBezTo>
                    <a:pt x="2108" y="718"/>
                    <a:pt x="2108" y="679"/>
                    <a:pt x="2108" y="679"/>
                  </a:cubicBezTo>
                </a:path>
              </a:pathLst>
            </a:custGeom>
            <a:grpFill/>
            <a:ln w="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891045"/>
              <a:endParaRPr lang="en-US" sz="1700" dirty="0">
                <a:solidFill>
                  <a:srgbClr val="003149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632" name="Freeform 436"/>
            <p:cNvSpPr>
              <a:spLocks/>
            </p:cNvSpPr>
            <p:nvPr/>
          </p:nvSpPr>
          <p:spPr bwMode="gray">
            <a:xfrm>
              <a:off x="4489" y="2723"/>
              <a:ext cx="213" cy="258"/>
            </a:xfrm>
            <a:custGeom>
              <a:avLst/>
              <a:gdLst>
                <a:gd name="T0" fmla="*/ 209 w 213"/>
                <a:gd name="T1" fmla="*/ 65 h 258"/>
                <a:gd name="T2" fmla="*/ 199 w 213"/>
                <a:gd name="T3" fmla="*/ 55 h 258"/>
                <a:gd name="T4" fmla="*/ 194 w 213"/>
                <a:gd name="T5" fmla="*/ 24 h 258"/>
                <a:gd name="T6" fmla="*/ 179 w 213"/>
                <a:gd name="T7" fmla="*/ 4 h 258"/>
                <a:gd name="T8" fmla="*/ 169 w 213"/>
                <a:gd name="T9" fmla="*/ 4 h 258"/>
                <a:gd name="T10" fmla="*/ 159 w 213"/>
                <a:gd name="T11" fmla="*/ 12 h 258"/>
                <a:gd name="T12" fmla="*/ 146 w 213"/>
                <a:gd name="T13" fmla="*/ 16 h 258"/>
                <a:gd name="T14" fmla="*/ 41 w 213"/>
                <a:gd name="T15" fmla="*/ 15 h 258"/>
                <a:gd name="T16" fmla="*/ 41 w 213"/>
                <a:gd name="T17" fmla="*/ 42 h 258"/>
                <a:gd name="T18" fmla="*/ 29 w 213"/>
                <a:gd name="T19" fmla="*/ 48 h 258"/>
                <a:gd name="T20" fmla="*/ 29 w 213"/>
                <a:gd name="T21" fmla="*/ 99 h 258"/>
                <a:gd name="T22" fmla="*/ 16 w 213"/>
                <a:gd name="T23" fmla="*/ 101 h 258"/>
                <a:gd name="T24" fmla="*/ 13 w 213"/>
                <a:gd name="T25" fmla="*/ 112 h 258"/>
                <a:gd name="T26" fmla="*/ 10 w 213"/>
                <a:gd name="T27" fmla="*/ 121 h 258"/>
                <a:gd name="T28" fmla="*/ 7 w 213"/>
                <a:gd name="T29" fmla="*/ 130 h 258"/>
                <a:gd name="T30" fmla="*/ 7 w 213"/>
                <a:gd name="T31" fmla="*/ 138 h 258"/>
                <a:gd name="T32" fmla="*/ 10 w 213"/>
                <a:gd name="T33" fmla="*/ 149 h 258"/>
                <a:gd name="T34" fmla="*/ 14 w 213"/>
                <a:gd name="T35" fmla="*/ 160 h 258"/>
                <a:gd name="T36" fmla="*/ 25 w 213"/>
                <a:gd name="T37" fmla="*/ 182 h 258"/>
                <a:gd name="T38" fmla="*/ 29 w 213"/>
                <a:gd name="T39" fmla="*/ 191 h 258"/>
                <a:gd name="T40" fmla="*/ 38 w 213"/>
                <a:gd name="T41" fmla="*/ 196 h 258"/>
                <a:gd name="T42" fmla="*/ 45 w 213"/>
                <a:gd name="T43" fmla="*/ 206 h 258"/>
                <a:gd name="T44" fmla="*/ 58 w 213"/>
                <a:gd name="T45" fmla="*/ 218 h 258"/>
                <a:gd name="T46" fmla="*/ 67 w 213"/>
                <a:gd name="T47" fmla="*/ 227 h 258"/>
                <a:gd name="T48" fmla="*/ 76 w 213"/>
                <a:gd name="T49" fmla="*/ 241 h 258"/>
                <a:gd name="T50" fmla="*/ 88 w 213"/>
                <a:gd name="T51" fmla="*/ 244 h 258"/>
                <a:gd name="T52" fmla="*/ 100 w 213"/>
                <a:gd name="T53" fmla="*/ 242 h 258"/>
                <a:gd name="T54" fmla="*/ 112 w 213"/>
                <a:gd name="T55" fmla="*/ 254 h 258"/>
                <a:gd name="T56" fmla="*/ 121 w 213"/>
                <a:gd name="T57" fmla="*/ 254 h 258"/>
                <a:gd name="T58" fmla="*/ 132 w 213"/>
                <a:gd name="T59" fmla="*/ 257 h 258"/>
                <a:gd name="T60" fmla="*/ 143 w 213"/>
                <a:gd name="T61" fmla="*/ 253 h 258"/>
                <a:gd name="T62" fmla="*/ 160 w 213"/>
                <a:gd name="T63" fmla="*/ 242 h 258"/>
                <a:gd name="T64" fmla="*/ 178 w 213"/>
                <a:gd name="T65" fmla="*/ 239 h 258"/>
                <a:gd name="T66" fmla="*/ 172 w 213"/>
                <a:gd name="T67" fmla="*/ 232 h 258"/>
                <a:gd name="T68" fmla="*/ 167 w 213"/>
                <a:gd name="T69" fmla="*/ 218 h 258"/>
                <a:gd name="T70" fmla="*/ 155 w 213"/>
                <a:gd name="T71" fmla="*/ 206 h 258"/>
                <a:gd name="T72" fmla="*/ 143 w 213"/>
                <a:gd name="T73" fmla="*/ 200 h 258"/>
                <a:gd name="T74" fmla="*/ 152 w 213"/>
                <a:gd name="T75" fmla="*/ 196 h 258"/>
                <a:gd name="T76" fmla="*/ 158 w 213"/>
                <a:gd name="T77" fmla="*/ 176 h 258"/>
                <a:gd name="T78" fmla="*/ 161 w 213"/>
                <a:gd name="T79" fmla="*/ 163 h 258"/>
                <a:gd name="T80" fmla="*/ 168 w 213"/>
                <a:gd name="T81" fmla="*/ 158 h 258"/>
                <a:gd name="T82" fmla="*/ 176 w 213"/>
                <a:gd name="T83" fmla="*/ 141 h 258"/>
                <a:gd name="T84" fmla="*/ 183 w 213"/>
                <a:gd name="T85" fmla="*/ 134 h 258"/>
                <a:gd name="T86" fmla="*/ 187 w 213"/>
                <a:gd name="T87" fmla="*/ 117 h 258"/>
                <a:gd name="T88" fmla="*/ 189 w 213"/>
                <a:gd name="T89" fmla="*/ 101 h 258"/>
                <a:gd name="T90" fmla="*/ 192 w 213"/>
                <a:gd name="T91" fmla="*/ 86 h 258"/>
                <a:gd name="T92" fmla="*/ 198 w 213"/>
                <a:gd name="T93" fmla="*/ 81 h 258"/>
                <a:gd name="T94" fmla="*/ 209 w 213"/>
                <a:gd name="T95" fmla="*/ 74 h 258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213"/>
                <a:gd name="T145" fmla="*/ 0 h 258"/>
                <a:gd name="T146" fmla="*/ 213 w 213"/>
                <a:gd name="T147" fmla="*/ 258 h 258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213" h="258">
                  <a:moveTo>
                    <a:pt x="213" y="69"/>
                  </a:moveTo>
                  <a:cubicBezTo>
                    <a:pt x="213" y="69"/>
                    <a:pt x="209" y="65"/>
                    <a:pt x="209" y="65"/>
                  </a:cubicBezTo>
                  <a:cubicBezTo>
                    <a:pt x="208" y="64"/>
                    <a:pt x="208" y="62"/>
                    <a:pt x="204" y="60"/>
                  </a:cubicBezTo>
                  <a:cubicBezTo>
                    <a:pt x="200" y="57"/>
                    <a:pt x="199" y="59"/>
                    <a:pt x="199" y="55"/>
                  </a:cubicBezTo>
                  <a:cubicBezTo>
                    <a:pt x="198" y="51"/>
                    <a:pt x="198" y="38"/>
                    <a:pt x="198" y="38"/>
                  </a:cubicBezTo>
                  <a:cubicBezTo>
                    <a:pt x="198" y="38"/>
                    <a:pt x="196" y="26"/>
                    <a:pt x="194" y="24"/>
                  </a:cubicBezTo>
                  <a:cubicBezTo>
                    <a:pt x="192" y="20"/>
                    <a:pt x="191" y="15"/>
                    <a:pt x="189" y="12"/>
                  </a:cubicBezTo>
                  <a:cubicBezTo>
                    <a:pt x="187" y="9"/>
                    <a:pt x="183" y="5"/>
                    <a:pt x="179" y="4"/>
                  </a:cubicBezTo>
                  <a:cubicBezTo>
                    <a:pt x="177" y="4"/>
                    <a:pt x="174" y="0"/>
                    <a:pt x="174" y="0"/>
                  </a:cubicBezTo>
                  <a:cubicBezTo>
                    <a:pt x="174" y="2"/>
                    <a:pt x="170" y="3"/>
                    <a:pt x="169" y="4"/>
                  </a:cubicBezTo>
                  <a:cubicBezTo>
                    <a:pt x="167" y="4"/>
                    <a:pt x="165" y="7"/>
                    <a:pt x="164" y="9"/>
                  </a:cubicBezTo>
                  <a:cubicBezTo>
                    <a:pt x="164" y="11"/>
                    <a:pt x="161" y="11"/>
                    <a:pt x="159" y="12"/>
                  </a:cubicBezTo>
                  <a:cubicBezTo>
                    <a:pt x="156" y="13"/>
                    <a:pt x="156" y="15"/>
                    <a:pt x="155" y="17"/>
                  </a:cubicBezTo>
                  <a:cubicBezTo>
                    <a:pt x="154" y="20"/>
                    <a:pt x="147" y="17"/>
                    <a:pt x="146" y="16"/>
                  </a:cubicBezTo>
                  <a:cubicBezTo>
                    <a:pt x="145" y="15"/>
                    <a:pt x="143" y="15"/>
                    <a:pt x="143" y="15"/>
                  </a:cubicBezTo>
                  <a:cubicBezTo>
                    <a:pt x="41" y="15"/>
                    <a:pt x="41" y="15"/>
                    <a:pt x="41" y="15"/>
                  </a:cubicBezTo>
                  <a:cubicBezTo>
                    <a:pt x="41" y="15"/>
                    <a:pt x="41" y="15"/>
                    <a:pt x="41" y="15"/>
                  </a:cubicBezTo>
                  <a:cubicBezTo>
                    <a:pt x="41" y="42"/>
                    <a:pt x="41" y="42"/>
                    <a:pt x="41" y="42"/>
                  </a:cubicBezTo>
                  <a:cubicBezTo>
                    <a:pt x="29" y="42"/>
                    <a:pt x="29" y="42"/>
                    <a:pt x="29" y="42"/>
                  </a:cubicBezTo>
                  <a:cubicBezTo>
                    <a:pt x="29" y="48"/>
                    <a:pt x="29" y="48"/>
                    <a:pt x="29" y="48"/>
                  </a:cubicBezTo>
                  <a:cubicBezTo>
                    <a:pt x="29" y="48"/>
                    <a:pt x="29" y="48"/>
                    <a:pt x="29" y="48"/>
                  </a:cubicBezTo>
                  <a:cubicBezTo>
                    <a:pt x="29" y="99"/>
                    <a:pt x="29" y="99"/>
                    <a:pt x="29" y="99"/>
                  </a:cubicBezTo>
                  <a:cubicBezTo>
                    <a:pt x="29" y="99"/>
                    <a:pt x="23" y="99"/>
                    <a:pt x="21" y="99"/>
                  </a:cubicBezTo>
                  <a:cubicBezTo>
                    <a:pt x="20" y="99"/>
                    <a:pt x="16" y="101"/>
                    <a:pt x="16" y="101"/>
                  </a:cubicBezTo>
                  <a:cubicBezTo>
                    <a:pt x="16" y="101"/>
                    <a:pt x="17" y="105"/>
                    <a:pt x="16" y="107"/>
                  </a:cubicBezTo>
                  <a:cubicBezTo>
                    <a:pt x="13" y="108"/>
                    <a:pt x="13" y="112"/>
                    <a:pt x="13" y="112"/>
                  </a:cubicBezTo>
                  <a:cubicBezTo>
                    <a:pt x="12" y="113"/>
                    <a:pt x="9" y="114"/>
                    <a:pt x="9" y="114"/>
                  </a:cubicBezTo>
                  <a:cubicBezTo>
                    <a:pt x="10" y="121"/>
                    <a:pt x="10" y="121"/>
                    <a:pt x="10" y="121"/>
                  </a:cubicBezTo>
                  <a:cubicBezTo>
                    <a:pt x="5" y="123"/>
                    <a:pt x="5" y="123"/>
                    <a:pt x="5" y="123"/>
                  </a:cubicBezTo>
                  <a:cubicBezTo>
                    <a:pt x="7" y="130"/>
                    <a:pt x="7" y="130"/>
                    <a:pt x="7" y="130"/>
                  </a:cubicBezTo>
                  <a:cubicBezTo>
                    <a:pt x="7" y="130"/>
                    <a:pt x="5" y="130"/>
                    <a:pt x="3" y="135"/>
                  </a:cubicBezTo>
                  <a:cubicBezTo>
                    <a:pt x="0" y="140"/>
                    <a:pt x="5" y="139"/>
                    <a:pt x="7" y="138"/>
                  </a:cubicBezTo>
                  <a:cubicBezTo>
                    <a:pt x="8" y="138"/>
                    <a:pt x="8" y="140"/>
                    <a:pt x="9" y="143"/>
                  </a:cubicBezTo>
                  <a:cubicBezTo>
                    <a:pt x="9" y="145"/>
                    <a:pt x="12" y="147"/>
                    <a:pt x="10" y="149"/>
                  </a:cubicBezTo>
                  <a:cubicBezTo>
                    <a:pt x="9" y="152"/>
                    <a:pt x="10" y="153"/>
                    <a:pt x="13" y="153"/>
                  </a:cubicBezTo>
                  <a:cubicBezTo>
                    <a:pt x="16" y="154"/>
                    <a:pt x="14" y="160"/>
                    <a:pt x="14" y="160"/>
                  </a:cubicBezTo>
                  <a:cubicBezTo>
                    <a:pt x="14" y="160"/>
                    <a:pt x="18" y="166"/>
                    <a:pt x="21" y="170"/>
                  </a:cubicBezTo>
                  <a:cubicBezTo>
                    <a:pt x="25" y="172"/>
                    <a:pt x="25" y="178"/>
                    <a:pt x="25" y="182"/>
                  </a:cubicBezTo>
                  <a:cubicBezTo>
                    <a:pt x="25" y="184"/>
                    <a:pt x="23" y="185"/>
                    <a:pt x="22" y="188"/>
                  </a:cubicBezTo>
                  <a:cubicBezTo>
                    <a:pt x="22" y="191"/>
                    <a:pt x="27" y="191"/>
                    <a:pt x="29" y="191"/>
                  </a:cubicBezTo>
                  <a:cubicBezTo>
                    <a:pt x="31" y="189"/>
                    <a:pt x="32" y="192"/>
                    <a:pt x="31" y="193"/>
                  </a:cubicBezTo>
                  <a:cubicBezTo>
                    <a:pt x="29" y="194"/>
                    <a:pt x="36" y="196"/>
                    <a:pt x="38" y="196"/>
                  </a:cubicBezTo>
                  <a:cubicBezTo>
                    <a:pt x="39" y="196"/>
                    <a:pt x="40" y="198"/>
                    <a:pt x="44" y="200"/>
                  </a:cubicBezTo>
                  <a:cubicBezTo>
                    <a:pt x="48" y="202"/>
                    <a:pt x="44" y="205"/>
                    <a:pt x="45" y="206"/>
                  </a:cubicBezTo>
                  <a:cubicBezTo>
                    <a:pt x="45" y="209"/>
                    <a:pt x="52" y="213"/>
                    <a:pt x="56" y="214"/>
                  </a:cubicBezTo>
                  <a:cubicBezTo>
                    <a:pt x="60" y="217"/>
                    <a:pt x="58" y="218"/>
                    <a:pt x="58" y="218"/>
                  </a:cubicBezTo>
                  <a:cubicBezTo>
                    <a:pt x="60" y="224"/>
                    <a:pt x="60" y="224"/>
                    <a:pt x="60" y="224"/>
                  </a:cubicBezTo>
                  <a:cubicBezTo>
                    <a:pt x="67" y="227"/>
                    <a:pt x="67" y="227"/>
                    <a:pt x="67" y="227"/>
                  </a:cubicBezTo>
                  <a:cubicBezTo>
                    <a:pt x="67" y="227"/>
                    <a:pt x="70" y="233"/>
                    <a:pt x="70" y="235"/>
                  </a:cubicBezTo>
                  <a:cubicBezTo>
                    <a:pt x="71" y="236"/>
                    <a:pt x="75" y="239"/>
                    <a:pt x="76" y="241"/>
                  </a:cubicBezTo>
                  <a:cubicBezTo>
                    <a:pt x="76" y="244"/>
                    <a:pt x="81" y="246"/>
                    <a:pt x="84" y="246"/>
                  </a:cubicBezTo>
                  <a:cubicBezTo>
                    <a:pt x="87" y="248"/>
                    <a:pt x="88" y="244"/>
                    <a:pt x="88" y="244"/>
                  </a:cubicBezTo>
                  <a:cubicBezTo>
                    <a:pt x="96" y="246"/>
                    <a:pt x="96" y="246"/>
                    <a:pt x="96" y="246"/>
                  </a:cubicBezTo>
                  <a:cubicBezTo>
                    <a:pt x="96" y="246"/>
                    <a:pt x="97" y="242"/>
                    <a:pt x="100" y="242"/>
                  </a:cubicBezTo>
                  <a:cubicBezTo>
                    <a:pt x="102" y="242"/>
                    <a:pt x="105" y="248"/>
                    <a:pt x="105" y="249"/>
                  </a:cubicBezTo>
                  <a:cubicBezTo>
                    <a:pt x="106" y="250"/>
                    <a:pt x="111" y="253"/>
                    <a:pt x="112" y="254"/>
                  </a:cubicBezTo>
                  <a:cubicBezTo>
                    <a:pt x="112" y="254"/>
                    <a:pt x="115" y="257"/>
                    <a:pt x="115" y="257"/>
                  </a:cubicBezTo>
                  <a:cubicBezTo>
                    <a:pt x="115" y="257"/>
                    <a:pt x="120" y="254"/>
                    <a:pt x="121" y="254"/>
                  </a:cubicBezTo>
                  <a:cubicBezTo>
                    <a:pt x="124" y="255"/>
                    <a:pt x="125" y="254"/>
                    <a:pt x="127" y="254"/>
                  </a:cubicBezTo>
                  <a:cubicBezTo>
                    <a:pt x="128" y="254"/>
                    <a:pt x="130" y="257"/>
                    <a:pt x="132" y="257"/>
                  </a:cubicBezTo>
                  <a:cubicBezTo>
                    <a:pt x="134" y="258"/>
                    <a:pt x="136" y="254"/>
                    <a:pt x="136" y="254"/>
                  </a:cubicBezTo>
                  <a:cubicBezTo>
                    <a:pt x="136" y="254"/>
                    <a:pt x="142" y="253"/>
                    <a:pt x="143" y="253"/>
                  </a:cubicBezTo>
                  <a:cubicBezTo>
                    <a:pt x="143" y="253"/>
                    <a:pt x="150" y="254"/>
                    <a:pt x="150" y="254"/>
                  </a:cubicBezTo>
                  <a:cubicBezTo>
                    <a:pt x="160" y="242"/>
                    <a:pt x="160" y="242"/>
                    <a:pt x="160" y="242"/>
                  </a:cubicBezTo>
                  <a:cubicBezTo>
                    <a:pt x="181" y="242"/>
                    <a:pt x="181" y="242"/>
                    <a:pt x="181" y="242"/>
                  </a:cubicBezTo>
                  <a:cubicBezTo>
                    <a:pt x="181" y="242"/>
                    <a:pt x="178" y="240"/>
                    <a:pt x="178" y="239"/>
                  </a:cubicBezTo>
                  <a:cubicBezTo>
                    <a:pt x="178" y="237"/>
                    <a:pt x="178" y="233"/>
                    <a:pt x="178" y="233"/>
                  </a:cubicBezTo>
                  <a:cubicBezTo>
                    <a:pt x="172" y="232"/>
                    <a:pt x="172" y="232"/>
                    <a:pt x="172" y="232"/>
                  </a:cubicBezTo>
                  <a:cubicBezTo>
                    <a:pt x="172" y="232"/>
                    <a:pt x="169" y="228"/>
                    <a:pt x="168" y="226"/>
                  </a:cubicBezTo>
                  <a:cubicBezTo>
                    <a:pt x="167" y="222"/>
                    <a:pt x="168" y="220"/>
                    <a:pt x="167" y="218"/>
                  </a:cubicBezTo>
                  <a:cubicBezTo>
                    <a:pt x="165" y="217"/>
                    <a:pt x="163" y="215"/>
                    <a:pt x="160" y="214"/>
                  </a:cubicBezTo>
                  <a:cubicBezTo>
                    <a:pt x="159" y="214"/>
                    <a:pt x="155" y="206"/>
                    <a:pt x="155" y="206"/>
                  </a:cubicBezTo>
                  <a:cubicBezTo>
                    <a:pt x="155" y="206"/>
                    <a:pt x="149" y="204"/>
                    <a:pt x="146" y="202"/>
                  </a:cubicBezTo>
                  <a:cubicBezTo>
                    <a:pt x="142" y="201"/>
                    <a:pt x="143" y="201"/>
                    <a:pt x="143" y="200"/>
                  </a:cubicBezTo>
                  <a:cubicBezTo>
                    <a:pt x="145" y="198"/>
                    <a:pt x="145" y="196"/>
                    <a:pt x="146" y="194"/>
                  </a:cubicBezTo>
                  <a:cubicBezTo>
                    <a:pt x="146" y="193"/>
                    <a:pt x="151" y="196"/>
                    <a:pt x="152" y="196"/>
                  </a:cubicBezTo>
                  <a:cubicBezTo>
                    <a:pt x="152" y="196"/>
                    <a:pt x="156" y="192"/>
                    <a:pt x="156" y="192"/>
                  </a:cubicBezTo>
                  <a:cubicBezTo>
                    <a:pt x="156" y="192"/>
                    <a:pt x="158" y="179"/>
                    <a:pt x="158" y="176"/>
                  </a:cubicBezTo>
                  <a:cubicBezTo>
                    <a:pt x="159" y="172"/>
                    <a:pt x="160" y="172"/>
                    <a:pt x="159" y="170"/>
                  </a:cubicBezTo>
                  <a:cubicBezTo>
                    <a:pt x="159" y="169"/>
                    <a:pt x="159" y="166"/>
                    <a:pt x="161" y="163"/>
                  </a:cubicBezTo>
                  <a:cubicBezTo>
                    <a:pt x="163" y="161"/>
                    <a:pt x="164" y="162"/>
                    <a:pt x="167" y="165"/>
                  </a:cubicBezTo>
                  <a:cubicBezTo>
                    <a:pt x="168" y="166"/>
                    <a:pt x="168" y="161"/>
                    <a:pt x="168" y="158"/>
                  </a:cubicBezTo>
                  <a:cubicBezTo>
                    <a:pt x="168" y="154"/>
                    <a:pt x="169" y="152"/>
                    <a:pt x="169" y="151"/>
                  </a:cubicBezTo>
                  <a:cubicBezTo>
                    <a:pt x="170" y="149"/>
                    <a:pt x="173" y="143"/>
                    <a:pt x="176" y="141"/>
                  </a:cubicBezTo>
                  <a:cubicBezTo>
                    <a:pt x="178" y="139"/>
                    <a:pt x="182" y="139"/>
                    <a:pt x="182" y="139"/>
                  </a:cubicBezTo>
                  <a:cubicBezTo>
                    <a:pt x="182" y="139"/>
                    <a:pt x="183" y="134"/>
                    <a:pt x="183" y="134"/>
                  </a:cubicBezTo>
                  <a:cubicBezTo>
                    <a:pt x="183" y="132"/>
                    <a:pt x="183" y="131"/>
                    <a:pt x="186" y="129"/>
                  </a:cubicBezTo>
                  <a:cubicBezTo>
                    <a:pt x="187" y="126"/>
                    <a:pt x="187" y="117"/>
                    <a:pt x="187" y="117"/>
                  </a:cubicBezTo>
                  <a:cubicBezTo>
                    <a:pt x="186" y="107"/>
                    <a:pt x="186" y="107"/>
                    <a:pt x="186" y="107"/>
                  </a:cubicBezTo>
                  <a:cubicBezTo>
                    <a:pt x="186" y="107"/>
                    <a:pt x="189" y="103"/>
                    <a:pt x="189" y="101"/>
                  </a:cubicBezTo>
                  <a:cubicBezTo>
                    <a:pt x="190" y="100"/>
                    <a:pt x="192" y="92"/>
                    <a:pt x="192" y="91"/>
                  </a:cubicBezTo>
                  <a:cubicBezTo>
                    <a:pt x="192" y="88"/>
                    <a:pt x="191" y="87"/>
                    <a:pt x="192" y="86"/>
                  </a:cubicBezTo>
                  <a:cubicBezTo>
                    <a:pt x="194" y="84"/>
                    <a:pt x="194" y="82"/>
                    <a:pt x="194" y="82"/>
                  </a:cubicBezTo>
                  <a:cubicBezTo>
                    <a:pt x="194" y="82"/>
                    <a:pt x="195" y="81"/>
                    <a:pt x="198" y="81"/>
                  </a:cubicBezTo>
                  <a:cubicBezTo>
                    <a:pt x="200" y="81"/>
                    <a:pt x="199" y="79"/>
                    <a:pt x="200" y="78"/>
                  </a:cubicBezTo>
                  <a:cubicBezTo>
                    <a:pt x="201" y="75"/>
                    <a:pt x="205" y="77"/>
                    <a:pt x="209" y="74"/>
                  </a:cubicBezTo>
                  <a:cubicBezTo>
                    <a:pt x="213" y="73"/>
                    <a:pt x="213" y="69"/>
                    <a:pt x="213" y="69"/>
                  </a:cubicBezTo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891045"/>
              <a:endParaRPr lang="en-US" sz="1700" dirty="0">
                <a:solidFill>
                  <a:srgbClr val="003149"/>
                </a:solidFill>
                <a:cs typeface="Arial" panose="020B0604020202020204" pitchFamily="34" charset="0"/>
              </a:endParaRPr>
            </a:p>
          </p:txBody>
        </p:sp>
      </p:grpSp>
      <p:grpSp>
        <p:nvGrpSpPr>
          <p:cNvPr id="633" name="Group 446"/>
          <p:cNvGrpSpPr>
            <a:grpSpLocks/>
          </p:cNvGrpSpPr>
          <p:nvPr/>
        </p:nvGrpSpPr>
        <p:grpSpPr bwMode="gray">
          <a:xfrm>
            <a:off x="1904619" y="2269853"/>
            <a:ext cx="191071" cy="274029"/>
            <a:chOff x="4733" y="2870"/>
            <a:chExt cx="130" cy="177"/>
          </a:xfrm>
          <a:solidFill>
            <a:schemeClr val="accent3"/>
          </a:solidFill>
        </p:grpSpPr>
        <p:sp>
          <p:nvSpPr>
            <p:cNvPr id="634" name="Freeform 447"/>
            <p:cNvSpPr>
              <a:spLocks/>
            </p:cNvSpPr>
            <p:nvPr/>
          </p:nvSpPr>
          <p:spPr bwMode="gray">
            <a:xfrm>
              <a:off x="4733" y="2870"/>
              <a:ext cx="130" cy="177"/>
            </a:xfrm>
            <a:custGeom>
              <a:avLst/>
              <a:gdLst>
                <a:gd name="T0" fmla="*/ 0 w 1283"/>
                <a:gd name="T1" fmla="*/ 0 h 1750"/>
                <a:gd name="T2" fmla="*/ 0 w 1283"/>
                <a:gd name="T3" fmla="*/ 0 h 1750"/>
                <a:gd name="T4" fmla="*/ 0 w 1283"/>
                <a:gd name="T5" fmla="*/ 0 h 1750"/>
                <a:gd name="T6" fmla="*/ 0 w 1283"/>
                <a:gd name="T7" fmla="*/ 0 h 1750"/>
                <a:gd name="T8" fmla="*/ 0 w 1283"/>
                <a:gd name="T9" fmla="*/ 0 h 1750"/>
                <a:gd name="T10" fmla="*/ 0 w 1283"/>
                <a:gd name="T11" fmla="*/ 0 h 1750"/>
                <a:gd name="T12" fmla="*/ 0 w 1283"/>
                <a:gd name="T13" fmla="*/ 0 h 1750"/>
                <a:gd name="T14" fmla="*/ 0 w 1283"/>
                <a:gd name="T15" fmla="*/ 0 h 1750"/>
                <a:gd name="T16" fmla="*/ 0 w 1283"/>
                <a:gd name="T17" fmla="*/ 0 h 1750"/>
                <a:gd name="T18" fmla="*/ 0 w 1283"/>
                <a:gd name="T19" fmla="*/ 0 h 1750"/>
                <a:gd name="T20" fmla="*/ 0 w 1283"/>
                <a:gd name="T21" fmla="*/ 0 h 1750"/>
                <a:gd name="T22" fmla="*/ 0 w 1283"/>
                <a:gd name="T23" fmla="*/ 0 h 1750"/>
                <a:gd name="T24" fmla="*/ 0 w 1283"/>
                <a:gd name="T25" fmla="*/ 0 h 1750"/>
                <a:gd name="T26" fmla="*/ 0 w 1283"/>
                <a:gd name="T27" fmla="*/ 0 h 1750"/>
                <a:gd name="T28" fmla="*/ 0 w 1283"/>
                <a:gd name="T29" fmla="*/ 0 h 1750"/>
                <a:gd name="T30" fmla="*/ 0 w 1283"/>
                <a:gd name="T31" fmla="*/ 0 h 1750"/>
                <a:gd name="T32" fmla="*/ 0 w 1283"/>
                <a:gd name="T33" fmla="*/ 0 h 1750"/>
                <a:gd name="T34" fmla="*/ 0 w 1283"/>
                <a:gd name="T35" fmla="*/ 0 h 1750"/>
                <a:gd name="T36" fmla="*/ 0 w 1283"/>
                <a:gd name="T37" fmla="*/ 0 h 1750"/>
                <a:gd name="T38" fmla="*/ 0 w 1283"/>
                <a:gd name="T39" fmla="*/ 0 h 1750"/>
                <a:gd name="T40" fmla="*/ 0 w 1283"/>
                <a:gd name="T41" fmla="*/ 0 h 1750"/>
                <a:gd name="T42" fmla="*/ 0 w 1283"/>
                <a:gd name="T43" fmla="*/ 0 h 1750"/>
                <a:gd name="T44" fmla="*/ 0 w 1283"/>
                <a:gd name="T45" fmla="*/ 0 h 1750"/>
                <a:gd name="T46" fmla="*/ 0 w 1283"/>
                <a:gd name="T47" fmla="*/ 0 h 1750"/>
                <a:gd name="T48" fmla="*/ 0 w 1283"/>
                <a:gd name="T49" fmla="*/ 0 h 1750"/>
                <a:gd name="T50" fmla="*/ 0 w 1283"/>
                <a:gd name="T51" fmla="*/ 0 h 1750"/>
                <a:gd name="T52" fmla="*/ 0 w 1283"/>
                <a:gd name="T53" fmla="*/ 0 h 1750"/>
                <a:gd name="T54" fmla="*/ 0 w 1283"/>
                <a:gd name="T55" fmla="*/ 0 h 1750"/>
                <a:gd name="T56" fmla="*/ 0 w 1283"/>
                <a:gd name="T57" fmla="*/ 0 h 1750"/>
                <a:gd name="T58" fmla="*/ 0 w 1283"/>
                <a:gd name="T59" fmla="*/ 0 h 1750"/>
                <a:gd name="T60" fmla="*/ 0 w 1283"/>
                <a:gd name="T61" fmla="*/ 0 h 1750"/>
                <a:gd name="T62" fmla="*/ 0 w 1283"/>
                <a:gd name="T63" fmla="*/ 0 h 1750"/>
                <a:gd name="T64" fmla="*/ 0 w 1283"/>
                <a:gd name="T65" fmla="*/ 0 h 1750"/>
                <a:gd name="T66" fmla="*/ 0 w 1283"/>
                <a:gd name="T67" fmla="*/ 0 h 1750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1283"/>
                <a:gd name="T103" fmla="*/ 0 h 1750"/>
                <a:gd name="T104" fmla="*/ 1283 w 1283"/>
                <a:gd name="T105" fmla="*/ 1750 h 1750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1283" h="1750">
                  <a:moveTo>
                    <a:pt x="1258" y="104"/>
                  </a:moveTo>
                  <a:cubicBezTo>
                    <a:pt x="1232" y="78"/>
                    <a:pt x="1270" y="26"/>
                    <a:pt x="1270" y="26"/>
                  </a:cubicBezTo>
                  <a:cubicBezTo>
                    <a:pt x="1270" y="26"/>
                    <a:pt x="1258" y="13"/>
                    <a:pt x="1220" y="13"/>
                  </a:cubicBezTo>
                  <a:cubicBezTo>
                    <a:pt x="1194" y="0"/>
                    <a:pt x="1169" y="52"/>
                    <a:pt x="1169" y="52"/>
                  </a:cubicBezTo>
                  <a:cubicBezTo>
                    <a:pt x="1169" y="52"/>
                    <a:pt x="1093" y="65"/>
                    <a:pt x="1042" y="91"/>
                  </a:cubicBezTo>
                  <a:cubicBezTo>
                    <a:pt x="1004" y="117"/>
                    <a:pt x="965" y="78"/>
                    <a:pt x="927" y="91"/>
                  </a:cubicBezTo>
                  <a:cubicBezTo>
                    <a:pt x="902" y="104"/>
                    <a:pt x="851" y="117"/>
                    <a:pt x="826" y="117"/>
                  </a:cubicBezTo>
                  <a:cubicBezTo>
                    <a:pt x="813" y="104"/>
                    <a:pt x="737" y="143"/>
                    <a:pt x="737" y="143"/>
                  </a:cubicBezTo>
                  <a:cubicBezTo>
                    <a:pt x="737" y="143"/>
                    <a:pt x="699" y="195"/>
                    <a:pt x="635" y="156"/>
                  </a:cubicBezTo>
                  <a:cubicBezTo>
                    <a:pt x="584" y="130"/>
                    <a:pt x="584" y="169"/>
                    <a:pt x="533" y="195"/>
                  </a:cubicBezTo>
                  <a:cubicBezTo>
                    <a:pt x="483" y="221"/>
                    <a:pt x="445" y="208"/>
                    <a:pt x="394" y="195"/>
                  </a:cubicBezTo>
                  <a:cubicBezTo>
                    <a:pt x="343" y="182"/>
                    <a:pt x="292" y="78"/>
                    <a:pt x="292" y="78"/>
                  </a:cubicBezTo>
                  <a:cubicBezTo>
                    <a:pt x="241" y="130"/>
                    <a:pt x="241" y="130"/>
                    <a:pt x="241" y="130"/>
                  </a:cubicBezTo>
                  <a:cubicBezTo>
                    <a:pt x="216" y="169"/>
                    <a:pt x="216" y="169"/>
                    <a:pt x="216" y="169"/>
                  </a:cubicBezTo>
                  <a:cubicBezTo>
                    <a:pt x="216" y="169"/>
                    <a:pt x="254" y="259"/>
                    <a:pt x="279" y="298"/>
                  </a:cubicBezTo>
                  <a:cubicBezTo>
                    <a:pt x="305" y="324"/>
                    <a:pt x="368" y="376"/>
                    <a:pt x="368" y="376"/>
                  </a:cubicBezTo>
                  <a:cubicBezTo>
                    <a:pt x="749" y="506"/>
                    <a:pt x="749" y="506"/>
                    <a:pt x="749" y="506"/>
                  </a:cubicBezTo>
                  <a:cubicBezTo>
                    <a:pt x="864" y="519"/>
                    <a:pt x="864" y="519"/>
                    <a:pt x="864" y="519"/>
                  </a:cubicBezTo>
                  <a:cubicBezTo>
                    <a:pt x="495" y="908"/>
                    <a:pt x="495" y="908"/>
                    <a:pt x="495" y="908"/>
                  </a:cubicBezTo>
                  <a:cubicBezTo>
                    <a:pt x="495" y="908"/>
                    <a:pt x="368" y="908"/>
                    <a:pt x="343" y="908"/>
                  </a:cubicBezTo>
                  <a:cubicBezTo>
                    <a:pt x="317" y="921"/>
                    <a:pt x="267" y="946"/>
                    <a:pt x="241" y="972"/>
                  </a:cubicBezTo>
                  <a:cubicBezTo>
                    <a:pt x="216" y="985"/>
                    <a:pt x="203" y="1011"/>
                    <a:pt x="178" y="998"/>
                  </a:cubicBezTo>
                  <a:cubicBezTo>
                    <a:pt x="140" y="998"/>
                    <a:pt x="114" y="1037"/>
                    <a:pt x="101" y="1037"/>
                  </a:cubicBezTo>
                  <a:cubicBezTo>
                    <a:pt x="0" y="1180"/>
                    <a:pt x="0" y="1180"/>
                    <a:pt x="0" y="1180"/>
                  </a:cubicBezTo>
                  <a:cubicBezTo>
                    <a:pt x="0" y="1646"/>
                    <a:pt x="0" y="1646"/>
                    <a:pt x="0" y="1646"/>
                  </a:cubicBezTo>
                  <a:cubicBezTo>
                    <a:pt x="76" y="1750"/>
                    <a:pt x="76" y="1750"/>
                    <a:pt x="76" y="1750"/>
                  </a:cubicBezTo>
                  <a:cubicBezTo>
                    <a:pt x="76" y="1750"/>
                    <a:pt x="267" y="1504"/>
                    <a:pt x="343" y="1439"/>
                  </a:cubicBezTo>
                  <a:cubicBezTo>
                    <a:pt x="419" y="1387"/>
                    <a:pt x="610" y="1219"/>
                    <a:pt x="699" y="1154"/>
                  </a:cubicBezTo>
                  <a:cubicBezTo>
                    <a:pt x="788" y="1089"/>
                    <a:pt x="915" y="908"/>
                    <a:pt x="927" y="882"/>
                  </a:cubicBezTo>
                  <a:cubicBezTo>
                    <a:pt x="940" y="856"/>
                    <a:pt x="1016" y="713"/>
                    <a:pt x="1042" y="674"/>
                  </a:cubicBezTo>
                  <a:cubicBezTo>
                    <a:pt x="1067" y="622"/>
                    <a:pt x="1105" y="545"/>
                    <a:pt x="1131" y="493"/>
                  </a:cubicBezTo>
                  <a:cubicBezTo>
                    <a:pt x="1143" y="454"/>
                    <a:pt x="1207" y="363"/>
                    <a:pt x="1220" y="337"/>
                  </a:cubicBezTo>
                  <a:cubicBezTo>
                    <a:pt x="1220" y="324"/>
                    <a:pt x="1232" y="246"/>
                    <a:pt x="1258" y="221"/>
                  </a:cubicBezTo>
                  <a:cubicBezTo>
                    <a:pt x="1283" y="195"/>
                    <a:pt x="1283" y="130"/>
                    <a:pt x="1258" y="104"/>
                  </a:cubicBezTo>
                </a:path>
              </a:pathLst>
            </a:custGeom>
            <a:grpFill/>
            <a:ln w="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891045"/>
              <a:endParaRPr lang="en-US" sz="1700" dirty="0">
                <a:solidFill>
                  <a:srgbClr val="003149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635" name="Freeform 448"/>
            <p:cNvSpPr>
              <a:spLocks/>
            </p:cNvSpPr>
            <p:nvPr/>
          </p:nvSpPr>
          <p:spPr bwMode="gray">
            <a:xfrm>
              <a:off x="4733" y="2870"/>
              <a:ext cx="130" cy="177"/>
            </a:xfrm>
            <a:custGeom>
              <a:avLst/>
              <a:gdLst>
                <a:gd name="T0" fmla="*/ 127 w 130"/>
                <a:gd name="T1" fmla="*/ 10 h 177"/>
                <a:gd name="T2" fmla="*/ 128 w 130"/>
                <a:gd name="T3" fmla="*/ 2 h 177"/>
                <a:gd name="T4" fmla="*/ 123 w 130"/>
                <a:gd name="T5" fmla="*/ 1 h 177"/>
                <a:gd name="T6" fmla="*/ 118 w 130"/>
                <a:gd name="T7" fmla="*/ 5 h 177"/>
                <a:gd name="T8" fmla="*/ 105 w 130"/>
                <a:gd name="T9" fmla="*/ 9 h 177"/>
                <a:gd name="T10" fmla="*/ 94 w 130"/>
                <a:gd name="T11" fmla="*/ 9 h 177"/>
                <a:gd name="T12" fmla="*/ 84 w 130"/>
                <a:gd name="T13" fmla="*/ 12 h 177"/>
                <a:gd name="T14" fmla="*/ 75 w 130"/>
                <a:gd name="T15" fmla="*/ 14 h 177"/>
                <a:gd name="T16" fmla="*/ 64 w 130"/>
                <a:gd name="T17" fmla="*/ 16 h 177"/>
                <a:gd name="T18" fmla="*/ 54 w 130"/>
                <a:gd name="T19" fmla="*/ 20 h 177"/>
                <a:gd name="T20" fmla="*/ 40 w 130"/>
                <a:gd name="T21" fmla="*/ 20 h 177"/>
                <a:gd name="T22" fmla="*/ 30 w 130"/>
                <a:gd name="T23" fmla="*/ 8 h 177"/>
                <a:gd name="T24" fmla="*/ 24 w 130"/>
                <a:gd name="T25" fmla="*/ 13 h 177"/>
                <a:gd name="T26" fmla="*/ 22 w 130"/>
                <a:gd name="T27" fmla="*/ 17 h 177"/>
                <a:gd name="T28" fmla="*/ 28 w 130"/>
                <a:gd name="T29" fmla="*/ 30 h 177"/>
                <a:gd name="T30" fmla="*/ 37 w 130"/>
                <a:gd name="T31" fmla="*/ 38 h 177"/>
                <a:gd name="T32" fmla="*/ 76 w 130"/>
                <a:gd name="T33" fmla="*/ 51 h 177"/>
                <a:gd name="T34" fmla="*/ 87 w 130"/>
                <a:gd name="T35" fmla="*/ 52 h 177"/>
                <a:gd name="T36" fmla="*/ 50 w 130"/>
                <a:gd name="T37" fmla="*/ 92 h 177"/>
                <a:gd name="T38" fmla="*/ 35 w 130"/>
                <a:gd name="T39" fmla="*/ 92 h 177"/>
                <a:gd name="T40" fmla="*/ 24 w 130"/>
                <a:gd name="T41" fmla="*/ 98 h 177"/>
                <a:gd name="T42" fmla="*/ 18 w 130"/>
                <a:gd name="T43" fmla="*/ 101 h 177"/>
                <a:gd name="T44" fmla="*/ 10 w 130"/>
                <a:gd name="T45" fmla="*/ 105 h 177"/>
                <a:gd name="T46" fmla="*/ 0 w 130"/>
                <a:gd name="T47" fmla="*/ 119 h 177"/>
                <a:gd name="T48" fmla="*/ 0 w 130"/>
                <a:gd name="T49" fmla="*/ 166 h 177"/>
                <a:gd name="T50" fmla="*/ 8 w 130"/>
                <a:gd name="T51" fmla="*/ 177 h 177"/>
                <a:gd name="T52" fmla="*/ 35 w 130"/>
                <a:gd name="T53" fmla="*/ 145 h 177"/>
                <a:gd name="T54" fmla="*/ 71 w 130"/>
                <a:gd name="T55" fmla="*/ 116 h 177"/>
                <a:gd name="T56" fmla="*/ 94 w 130"/>
                <a:gd name="T57" fmla="*/ 89 h 177"/>
                <a:gd name="T58" fmla="*/ 105 w 130"/>
                <a:gd name="T59" fmla="*/ 68 h 177"/>
                <a:gd name="T60" fmla="*/ 114 w 130"/>
                <a:gd name="T61" fmla="*/ 50 h 177"/>
                <a:gd name="T62" fmla="*/ 123 w 130"/>
                <a:gd name="T63" fmla="*/ 34 h 177"/>
                <a:gd name="T64" fmla="*/ 127 w 130"/>
                <a:gd name="T65" fmla="*/ 22 h 177"/>
                <a:gd name="T66" fmla="*/ 127 w 130"/>
                <a:gd name="T67" fmla="*/ 10 h 177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130"/>
                <a:gd name="T103" fmla="*/ 0 h 177"/>
                <a:gd name="T104" fmla="*/ 130 w 130"/>
                <a:gd name="T105" fmla="*/ 177 h 177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130" h="177">
                  <a:moveTo>
                    <a:pt x="127" y="10"/>
                  </a:moveTo>
                  <a:cubicBezTo>
                    <a:pt x="125" y="8"/>
                    <a:pt x="128" y="2"/>
                    <a:pt x="128" y="2"/>
                  </a:cubicBezTo>
                  <a:cubicBezTo>
                    <a:pt x="128" y="2"/>
                    <a:pt x="127" y="1"/>
                    <a:pt x="123" y="1"/>
                  </a:cubicBezTo>
                  <a:cubicBezTo>
                    <a:pt x="121" y="0"/>
                    <a:pt x="118" y="5"/>
                    <a:pt x="118" y="5"/>
                  </a:cubicBezTo>
                  <a:cubicBezTo>
                    <a:pt x="118" y="5"/>
                    <a:pt x="110" y="6"/>
                    <a:pt x="105" y="9"/>
                  </a:cubicBezTo>
                  <a:cubicBezTo>
                    <a:pt x="101" y="12"/>
                    <a:pt x="98" y="8"/>
                    <a:pt x="94" y="9"/>
                  </a:cubicBezTo>
                  <a:cubicBezTo>
                    <a:pt x="91" y="10"/>
                    <a:pt x="86" y="12"/>
                    <a:pt x="84" y="12"/>
                  </a:cubicBezTo>
                  <a:cubicBezTo>
                    <a:pt x="82" y="10"/>
                    <a:pt x="75" y="14"/>
                    <a:pt x="75" y="14"/>
                  </a:cubicBezTo>
                  <a:cubicBezTo>
                    <a:pt x="75" y="14"/>
                    <a:pt x="71" y="20"/>
                    <a:pt x="64" y="16"/>
                  </a:cubicBezTo>
                  <a:cubicBezTo>
                    <a:pt x="59" y="13"/>
                    <a:pt x="59" y="17"/>
                    <a:pt x="54" y="20"/>
                  </a:cubicBezTo>
                  <a:cubicBezTo>
                    <a:pt x="49" y="22"/>
                    <a:pt x="45" y="21"/>
                    <a:pt x="40" y="20"/>
                  </a:cubicBezTo>
                  <a:cubicBezTo>
                    <a:pt x="35" y="18"/>
                    <a:pt x="30" y="8"/>
                    <a:pt x="30" y="8"/>
                  </a:cubicBezTo>
                  <a:cubicBezTo>
                    <a:pt x="24" y="13"/>
                    <a:pt x="24" y="13"/>
                    <a:pt x="24" y="13"/>
                  </a:cubicBezTo>
                  <a:cubicBezTo>
                    <a:pt x="22" y="17"/>
                    <a:pt x="22" y="17"/>
                    <a:pt x="22" y="17"/>
                  </a:cubicBezTo>
                  <a:cubicBezTo>
                    <a:pt x="22" y="17"/>
                    <a:pt x="26" y="26"/>
                    <a:pt x="28" y="30"/>
                  </a:cubicBezTo>
                  <a:cubicBezTo>
                    <a:pt x="31" y="33"/>
                    <a:pt x="37" y="38"/>
                    <a:pt x="37" y="38"/>
                  </a:cubicBezTo>
                  <a:cubicBezTo>
                    <a:pt x="76" y="51"/>
                    <a:pt x="76" y="51"/>
                    <a:pt x="76" y="51"/>
                  </a:cubicBezTo>
                  <a:cubicBezTo>
                    <a:pt x="87" y="52"/>
                    <a:pt x="87" y="52"/>
                    <a:pt x="87" y="52"/>
                  </a:cubicBezTo>
                  <a:cubicBezTo>
                    <a:pt x="50" y="92"/>
                    <a:pt x="50" y="92"/>
                    <a:pt x="50" y="92"/>
                  </a:cubicBezTo>
                  <a:cubicBezTo>
                    <a:pt x="50" y="92"/>
                    <a:pt x="37" y="92"/>
                    <a:pt x="35" y="92"/>
                  </a:cubicBezTo>
                  <a:cubicBezTo>
                    <a:pt x="32" y="93"/>
                    <a:pt x="27" y="95"/>
                    <a:pt x="24" y="98"/>
                  </a:cubicBezTo>
                  <a:cubicBezTo>
                    <a:pt x="22" y="99"/>
                    <a:pt x="21" y="102"/>
                    <a:pt x="18" y="101"/>
                  </a:cubicBezTo>
                  <a:cubicBezTo>
                    <a:pt x="14" y="101"/>
                    <a:pt x="12" y="105"/>
                    <a:pt x="10" y="105"/>
                  </a:cubicBezTo>
                  <a:cubicBezTo>
                    <a:pt x="0" y="119"/>
                    <a:pt x="0" y="119"/>
                    <a:pt x="0" y="119"/>
                  </a:cubicBezTo>
                  <a:cubicBezTo>
                    <a:pt x="0" y="166"/>
                    <a:pt x="0" y="166"/>
                    <a:pt x="0" y="166"/>
                  </a:cubicBezTo>
                  <a:cubicBezTo>
                    <a:pt x="8" y="177"/>
                    <a:pt x="8" y="177"/>
                    <a:pt x="8" y="177"/>
                  </a:cubicBezTo>
                  <a:cubicBezTo>
                    <a:pt x="8" y="177"/>
                    <a:pt x="27" y="152"/>
                    <a:pt x="35" y="145"/>
                  </a:cubicBezTo>
                  <a:cubicBezTo>
                    <a:pt x="42" y="140"/>
                    <a:pt x="62" y="123"/>
                    <a:pt x="71" y="116"/>
                  </a:cubicBezTo>
                  <a:cubicBezTo>
                    <a:pt x="80" y="110"/>
                    <a:pt x="93" y="92"/>
                    <a:pt x="94" y="89"/>
                  </a:cubicBezTo>
                  <a:cubicBezTo>
                    <a:pt x="95" y="86"/>
                    <a:pt x="103" y="72"/>
                    <a:pt x="105" y="68"/>
                  </a:cubicBezTo>
                  <a:cubicBezTo>
                    <a:pt x="108" y="63"/>
                    <a:pt x="112" y="55"/>
                    <a:pt x="114" y="50"/>
                  </a:cubicBezTo>
                  <a:cubicBezTo>
                    <a:pt x="116" y="46"/>
                    <a:pt x="122" y="36"/>
                    <a:pt x="123" y="34"/>
                  </a:cubicBezTo>
                  <a:cubicBezTo>
                    <a:pt x="123" y="33"/>
                    <a:pt x="125" y="25"/>
                    <a:pt x="127" y="22"/>
                  </a:cubicBezTo>
                  <a:cubicBezTo>
                    <a:pt x="130" y="20"/>
                    <a:pt x="130" y="13"/>
                    <a:pt x="127" y="10"/>
                  </a:cubicBezTo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891045"/>
              <a:endParaRPr lang="en-US" sz="1700" dirty="0">
                <a:solidFill>
                  <a:srgbClr val="003149"/>
                </a:solidFill>
                <a:cs typeface="Arial" panose="020B0604020202020204" pitchFamily="34" charset="0"/>
              </a:endParaRPr>
            </a:p>
          </p:txBody>
        </p:sp>
      </p:grpSp>
      <p:grpSp>
        <p:nvGrpSpPr>
          <p:cNvPr id="636" name="Group 476"/>
          <p:cNvGrpSpPr>
            <a:grpSpLocks/>
          </p:cNvGrpSpPr>
          <p:nvPr/>
        </p:nvGrpSpPr>
        <p:grpSpPr bwMode="gray">
          <a:xfrm>
            <a:off x="1351493" y="2437291"/>
            <a:ext cx="137018" cy="168732"/>
            <a:chOff x="4356" y="2978"/>
            <a:chExt cx="93" cy="109"/>
          </a:xfrm>
          <a:solidFill>
            <a:schemeClr val="accent3"/>
          </a:solidFill>
        </p:grpSpPr>
        <p:sp>
          <p:nvSpPr>
            <p:cNvPr id="637" name="Freeform 477"/>
            <p:cNvSpPr>
              <a:spLocks noEditPoints="1"/>
            </p:cNvSpPr>
            <p:nvPr/>
          </p:nvSpPr>
          <p:spPr bwMode="gray">
            <a:xfrm>
              <a:off x="4356" y="2978"/>
              <a:ext cx="93" cy="109"/>
            </a:xfrm>
            <a:custGeom>
              <a:avLst/>
              <a:gdLst>
                <a:gd name="T0" fmla="*/ 0 w 917"/>
                <a:gd name="T1" fmla="*/ 0 h 1075"/>
                <a:gd name="T2" fmla="*/ 0 w 917"/>
                <a:gd name="T3" fmla="*/ 0 h 1075"/>
                <a:gd name="T4" fmla="*/ 0 w 917"/>
                <a:gd name="T5" fmla="*/ 0 h 1075"/>
                <a:gd name="T6" fmla="*/ 0 w 917"/>
                <a:gd name="T7" fmla="*/ 0 h 1075"/>
                <a:gd name="T8" fmla="*/ 0 w 917"/>
                <a:gd name="T9" fmla="*/ 0 h 1075"/>
                <a:gd name="T10" fmla="*/ 0 w 917"/>
                <a:gd name="T11" fmla="*/ 0 h 1075"/>
                <a:gd name="T12" fmla="*/ 0 w 917"/>
                <a:gd name="T13" fmla="*/ 0 h 1075"/>
                <a:gd name="T14" fmla="*/ 0 w 917"/>
                <a:gd name="T15" fmla="*/ 0 h 1075"/>
                <a:gd name="T16" fmla="*/ 0 w 917"/>
                <a:gd name="T17" fmla="*/ 0 h 1075"/>
                <a:gd name="T18" fmla="*/ 0 w 917"/>
                <a:gd name="T19" fmla="*/ 0 h 1075"/>
                <a:gd name="T20" fmla="*/ 0 w 917"/>
                <a:gd name="T21" fmla="*/ 0 h 1075"/>
                <a:gd name="T22" fmla="*/ 0 w 917"/>
                <a:gd name="T23" fmla="*/ 0 h 1075"/>
                <a:gd name="T24" fmla="*/ 0 w 917"/>
                <a:gd name="T25" fmla="*/ 0 h 1075"/>
                <a:gd name="T26" fmla="*/ 0 w 917"/>
                <a:gd name="T27" fmla="*/ 0 h 1075"/>
                <a:gd name="T28" fmla="*/ 0 w 917"/>
                <a:gd name="T29" fmla="*/ 0 h 1075"/>
                <a:gd name="T30" fmla="*/ 0 w 917"/>
                <a:gd name="T31" fmla="*/ 0 h 1075"/>
                <a:gd name="T32" fmla="*/ 0 w 917"/>
                <a:gd name="T33" fmla="*/ 0 h 1075"/>
                <a:gd name="T34" fmla="*/ 0 w 917"/>
                <a:gd name="T35" fmla="*/ 0 h 1075"/>
                <a:gd name="T36" fmla="*/ 0 w 917"/>
                <a:gd name="T37" fmla="*/ 0 h 1075"/>
                <a:gd name="T38" fmla="*/ 0 w 917"/>
                <a:gd name="T39" fmla="*/ 0 h 1075"/>
                <a:gd name="T40" fmla="*/ 0 w 917"/>
                <a:gd name="T41" fmla="*/ 0 h 1075"/>
                <a:gd name="T42" fmla="*/ 0 w 917"/>
                <a:gd name="T43" fmla="*/ 0 h 1075"/>
                <a:gd name="T44" fmla="*/ 0 w 917"/>
                <a:gd name="T45" fmla="*/ 0 h 1075"/>
                <a:gd name="T46" fmla="*/ 0 w 917"/>
                <a:gd name="T47" fmla="*/ 0 h 1075"/>
                <a:gd name="T48" fmla="*/ 0 w 917"/>
                <a:gd name="T49" fmla="*/ 0 h 1075"/>
                <a:gd name="T50" fmla="*/ 0 w 917"/>
                <a:gd name="T51" fmla="*/ 0 h 1075"/>
                <a:gd name="T52" fmla="*/ 0 w 917"/>
                <a:gd name="T53" fmla="*/ 0 h 1075"/>
                <a:gd name="T54" fmla="*/ 0 w 917"/>
                <a:gd name="T55" fmla="*/ 0 h 1075"/>
                <a:gd name="T56" fmla="*/ 0 w 917"/>
                <a:gd name="T57" fmla="*/ 0 h 1075"/>
                <a:gd name="T58" fmla="*/ 0 w 917"/>
                <a:gd name="T59" fmla="*/ 0 h 1075"/>
                <a:gd name="T60" fmla="*/ 0 w 917"/>
                <a:gd name="T61" fmla="*/ 0 h 1075"/>
                <a:gd name="T62" fmla="*/ 0 w 917"/>
                <a:gd name="T63" fmla="*/ 0 h 1075"/>
                <a:gd name="T64" fmla="*/ 0 w 917"/>
                <a:gd name="T65" fmla="*/ 0 h 1075"/>
                <a:gd name="T66" fmla="*/ 0 w 917"/>
                <a:gd name="T67" fmla="*/ 0 h 1075"/>
                <a:gd name="T68" fmla="*/ 0 w 917"/>
                <a:gd name="T69" fmla="*/ 0 h 1075"/>
                <a:gd name="T70" fmla="*/ 0 w 917"/>
                <a:gd name="T71" fmla="*/ 0 h 1075"/>
                <a:gd name="T72" fmla="*/ 0 w 917"/>
                <a:gd name="T73" fmla="*/ 0 h 1075"/>
                <a:gd name="T74" fmla="*/ 0 w 917"/>
                <a:gd name="T75" fmla="*/ 0 h 1075"/>
                <a:gd name="T76" fmla="*/ 0 w 917"/>
                <a:gd name="T77" fmla="*/ 0 h 1075"/>
                <a:gd name="T78" fmla="*/ 0 w 917"/>
                <a:gd name="T79" fmla="*/ 0 h 1075"/>
                <a:gd name="T80" fmla="*/ 0 w 917"/>
                <a:gd name="T81" fmla="*/ 0 h 1075"/>
                <a:gd name="T82" fmla="*/ 0 w 917"/>
                <a:gd name="T83" fmla="*/ 0 h 1075"/>
                <a:gd name="T84" fmla="*/ 0 w 917"/>
                <a:gd name="T85" fmla="*/ 0 h 1075"/>
                <a:gd name="T86" fmla="*/ 0 w 917"/>
                <a:gd name="T87" fmla="*/ 0 h 1075"/>
                <a:gd name="T88" fmla="*/ 0 w 917"/>
                <a:gd name="T89" fmla="*/ 0 h 1075"/>
                <a:gd name="T90" fmla="*/ 0 w 917"/>
                <a:gd name="T91" fmla="*/ 0 h 1075"/>
                <a:gd name="T92" fmla="*/ 0 w 917"/>
                <a:gd name="T93" fmla="*/ 0 h 1075"/>
                <a:gd name="T94" fmla="*/ 0 w 917"/>
                <a:gd name="T95" fmla="*/ 0 h 1075"/>
                <a:gd name="T96" fmla="*/ 0 w 917"/>
                <a:gd name="T97" fmla="*/ 0 h 1075"/>
                <a:gd name="T98" fmla="*/ 0 w 917"/>
                <a:gd name="T99" fmla="*/ 0 h 1075"/>
                <a:gd name="T100" fmla="*/ 0 w 917"/>
                <a:gd name="T101" fmla="*/ 0 h 1075"/>
                <a:gd name="T102" fmla="*/ 0 w 917"/>
                <a:gd name="T103" fmla="*/ 0 h 1075"/>
                <a:gd name="T104" fmla="*/ 0 w 917"/>
                <a:gd name="T105" fmla="*/ 0 h 1075"/>
                <a:gd name="T106" fmla="*/ 0 w 917"/>
                <a:gd name="T107" fmla="*/ 0 h 1075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917"/>
                <a:gd name="T163" fmla="*/ 0 h 1075"/>
                <a:gd name="T164" fmla="*/ 917 w 917"/>
                <a:gd name="T165" fmla="*/ 1075 h 1075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917" h="1075">
                  <a:moveTo>
                    <a:pt x="201" y="165"/>
                  </a:moveTo>
                  <a:cubicBezTo>
                    <a:pt x="214" y="165"/>
                    <a:pt x="226" y="165"/>
                    <a:pt x="239" y="165"/>
                  </a:cubicBezTo>
                  <a:cubicBezTo>
                    <a:pt x="226" y="165"/>
                    <a:pt x="214" y="165"/>
                    <a:pt x="201" y="165"/>
                  </a:cubicBezTo>
                  <a:close/>
                  <a:moveTo>
                    <a:pt x="905" y="13"/>
                  </a:moveTo>
                  <a:cubicBezTo>
                    <a:pt x="905" y="13"/>
                    <a:pt x="829" y="0"/>
                    <a:pt x="804" y="0"/>
                  </a:cubicBezTo>
                  <a:cubicBezTo>
                    <a:pt x="792" y="0"/>
                    <a:pt x="716" y="13"/>
                    <a:pt x="716" y="13"/>
                  </a:cubicBezTo>
                  <a:cubicBezTo>
                    <a:pt x="716" y="13"/>
                    <a:pt x="653" y="13"/>
                    <a:pt x="653" y="51"/>
                  </a:cubicBezTo>
                  <a:cubicBezTo>
                    <a:pt x="641" y="76"/>
                    <a:pt x="603" y="190"/>
                    <a:pt x="603" y="190"/>
                  </a:cubicBezTo>
                  <a:cubicBezTo>
                    <a:pt x="603" y="240"/>
                    <a:pt x="603" y="240"/>
                    <a:pt x="603" y="240"/>
                  </a:cubicBezTo>
                  <a:cubicBezTo>
                    <a:pt x="540" y="215"/>
                    <a:pt x="540" y="215"/>
                    <a:pt x="540" y="215"/>
                  </a:cubicBezTo>
                  <a:cubicBezTo>
                    <a:pt x="540" y="215"/>
                    <a:pt x="465" y="202"/>
                    <a:pt x="427" y="190"/>
                  </a:cubicBezTo>
                  <a:cubicBezTo>
                    <a:pt x="402" y="177"/>
                    <a:pt x="264" y="177"/>
                    <a:pt x="252" y="165"/>
                  </a:cubicBezTo>
                  <a:cubicBezTo>
                    <a:pt x="239" y="202"/>
                    <a:pt x="226" y="240"/>
                    <a:pt x="239" y="266"/>
                  </a:cubicBezTo>
                  <a:cubicBezTo>
                    <a:pt x="239" y="278"/>
                    <a:pt x="226" y="304"/>
                    <a:pt x="277" y="291"/>
                  </a:cubicBezTo>
                  <a:cubicBezTo>
                    <a:pt x="327" y="278"/>
                    <a:pt x="365" y="278"/>
                    <a:pt x="365" y="278"/>
                  </a:cubicBezTo>
                  <a:cubicBezTo>
                    <a:pt x="390" y="329"/>
                    <a:pt x="390" y="329"/>
                    <a:pt x="390" y="329"/>
                  </a:cubicBezTo>
                  <a:cubicBezTo>
                    <a:pt x="390" y="329"/>
                    <a:pt x="377" y="367"/>
                    <a:pt x="352" y="380"/>
                  </a:cubicBezTo>
                  <a:cubicBezTo>
                    <a:pt x="340" y="392"/>
                    <a:pt x="327" y="468"/>
                    <a:pt x="327" y="468"/>
                  </a:cubicBezTo>
                  <a:cubicBezTo>
                    <a:pt x="402" y="531"/>
                    <a:pt x="402" y="531"/>
                    <a:pt x="402" y="531"/>
                  </a:cubicBezTo>
                  <a:cubicBezTo>
                    <a:pt x="402" y="531"/>
                    <a:pt x="390" y="620"/>
                    <a:pt x="390" y="632"/>
                  </a:cubicBezTo>
                  <a:cubicBezTo>
                    <a:pt x="402" y="658"/>
                    <a:pt x="365" y="708"/>
                    <a:pt x="365" y="721"/>
                  </a:cubicBezTo>
                  <a:cubicBezTo>
                    <a:pt x="352" y="734"/>
                    <a:pt x="340" y="759"/>
                    <a:pt x="340" y="759"/>
                  </a:cubicBezTo>
                  <a:cubicBezTo>
                    <a:pt x="302" y="708"/>
                    <a:pt x="302" y="708"/>
                    <a:pt x="302" y="708"/>
                  </a:cubicBezTo>
                  <a:cubicBezTo>
                    <a:pt x="302" y="708"/>
                    <a:pt x="264" y="759"/>
                    <a:pt x="239" y="746"/>
                  </a:cubicBezTo>
                  <a:cubicBezTo>
                    <a:pt x="214" y="734"/>
                    <a:pt x="189" y="658"/>
                    <a:pt x="176" y="670"/>
                  </a:cubicBezTo>
                  <a:cubicBezTo>
                    <a:pt x="164" y="683"/>
                    <a:pt x="139" y="683"/>
                    <a:pt x="139" y="683"/>
                  </a:cubicBezTo>
                  <a:cubicBezTo>
                    <a:pt x="151" y="759"/>
                    <a:pt x="151" y="759"/>
                    <a:pt x="151" y="759"/>
                  </a:cubicBezTo>
                  <a:cubicBezTo>
                    <a:pt x="151" y="759"/>
                    <a:pt x="76" y="746"/>
                    <a:pt x="63" y="746"/>
                  </a:cubicBezTo>
                  <a:cubicBezTo>
                    <a:pt x="51" y="746"/>
                    <a:pt x="38" y="797"/>
                    <a:pt x="38" y="797"/>
                  </a:cubicBezTo>
                  <a:cubicBezTo>
                    <a:pt x="88" y="822"/>
                    <a:pt x="88" y="822"/>
                    <a:pt x="88" y="822"/>
                  </a:cubicBezTo>
                  <a:cubicBezTo>
                    <a:pt x="88" y="873"/>
                    <a:pt x="88" y="873"/>
                    <a:pt x="88" y="873"/>
                  </a:cubicBezTo>
                  <a:cubicBezTo>
                    <a:pt x="63" y="923"/>
                    <a:pt x="63" y="923"/>
                    <a:pt x="63" y="923"/>
                  </a:cubicBezTo>
                  <a:cubicBezTo>
                    <a:pt x="63" y="923"/>
                    <a:pt x="38" y="898"/>
                    <a:pt x="26" y="898"/>
                  </a:cubicBezTo>
                  <a:cubicBezTo>
                    <a:pt x="13" y="898"/>
                    <a:pt x="0" y="936"/>
                    <a:pt x="0" y="949"/>
                  </a:cubicBezTo>
                  <a:cubicBezTo>
                    <a:pt x="0" y="961"/>
                    <a:pt x="13" y="987"/>
                    <a:pt x="26" y="987"/>
                  </a:cubicBezTo>
                  <a:cubicBezTo>
                    <a:pt x="51" y="999"/>
                    <a:pt x="88" y="1075"/>
                    <a:pt x="88" y="1075"/>
                  </a:cubicBezTo>
                  <a:cubicBezTo>
                    <a:pt x="88" y="1075"/>
                    <a:pt x="113" y="1037"/>
                    <a:pt x="126" y="1037"/>
                  </a:cubicBezTo>
                  <a:cubicBezTo>
                    <a:pt x="139" y="1037"/>
                    <a:pt x="189" y="999"/>
                    <a:pt x="189" y="999"/>
                  </a:cubicBezTo>
                  <a:cubicBezTo>
                    <a:pt x="189" y="999"/>
                    <a:pt x="252" y="1050"/>
                    <a:pt x="264" y="1050"/>
                  </a:cubicBezTo>
                  <a:cubicBezTo>
                    <a:pt x="277" y="1050"/>
                    <a:pt x="302" y="1037"/>
                    <a:pt x="302" y="1037"/>
                  </a:cubicBezTo>
                  <a:cubicBezTo>
                    <a:pt x="302" y="1037"/>
                    <a:pt x="302" y="999"/>
                    <a:pt x="314" y="999"/>
                  </a:cubicBezTo>
                  <a:cubicBezTo>
                    <a:pt x="340" y="999"/>
                    <a:pt x="377" y="987"/>
                    <a:pt x="377" y="987"/>
                  </a:cubicBezTo>
                  <a:cubicBezTo>
                    <a:pt x="377" y="987"/>
                    <a:pt x="390" y="1050"/>
                    <a:pt x="402" y="1062"/>
                  </a:cubicBezTo>
                  <a:cubicBezTo>
                    <a:pt x="415" y="1062"/>
                    <a:pt x="453" y="1050"/>
                    <a:pt x="465" y="1025"/>
                  </a:cubicBezTo>
                  <a:cubicBezTo>
                    <a:pt x="478" y="987"/>
                    <a:pt x="553" y="936"/>
                    <a:pt x="578" y="911"/>
                  </a:cubicBezTo>
                  <a:cubicBezTo>
                    <a:pt x="603" y="885"/>
                    <a:pt x="603" y="847"/>
                    <a:pt x="603" y="822"/>
                  </a:cubicBezTo>
                  <a:cubicBezTo>
                    <a:pt x="603" y="797"/>
                    <a:pt x="603" y="721"/>
                    <a:pt x="616" y="708"/>
                  </a:cubicBezTo>
                  <a:cubicBezTo>
                    <a:pt x="628" y="696"/>
                    <a:pt x="666" y="632"/>
                    <a:pt x="679" y="607"/>
                  </a:cubicBezTo>
                  <a:cubicBezTo>
                    <a:pt x="704" y="595"/>
                    <a:pt x="754" y="544"/>
                    <a:pt x="779" y="531"/>
                  </a:cubicBezTo>
                  <a:cubicBezTo>
                    <a:pt x="804" y="519"/>
                    <a:pt x="792" y="493"/>
                    <a:pt x="804" y="468"/>
                  </a:cubicBezTo>
                  <a:cubicBezTo>
                    <a:pt x="804" y="430"/>
                    <a:pt x="817" y="380"/>
                    <a:pt x="817" y="342"/>
                  </a:cubicBezTo>
                  <a:cubicBezTo>
                    <a:pt x="804" y="316"/>
                    <a:pt x="829" y="278"/>
                    <a:pt x="842" y="253"/>
                  </a:cubicBezTo>
                  <a:cubicBezTo>
                    <a:pt x="854" y="228"/>
                    <a:pt x="854" y="152"/>
                    <a:pt x="879" y="101"/>
                  </a:cubicBezTo>
                  <a:cubicBezTo>
                    <a:pt x="917" y="51"/>
                    <a:pt x="905" y="13"/>
                    <a:pt x="905" y="13"/>
                  </a:cubicBezTo>
                  <a:close/>
                </a:path>
              </a:pathLst>
            </a:custGeom>
            <a:grpFill/>
            <a:ln w="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891045"/>
              <a:endParaRPr lang="en-US" sz="1700" dirty="0">
                <a:solidFill>
                  <a:srgbClr val="003149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638" name="Freeform 478"/>
            <p:cNvSpPr>
              <a:spLocks noEditPoints="1"/>
            </p:cNvSpPr>
            <p:nvPr/>
          </p:nvSpPr>
          <p:spPr bwMode="gray">
            <a:xfrm>
              <a:off x="4356" y="2978"/>
              <a:ext cx="93" cy="109"/>
            </a:xfrm>
            <a:custGeom>
              <a:avLst/>
              <a:gdLst>
                <a:gd name="T0" fmla="*/ 0 w 917"/>
                <a:gd name="T1" fmla="*/ 0 h 1075"/>
                <a:gd name="T2" fmla="*/ 0 w 917"/>
                <a:gd name="T3" fmla="*/ 0 h 1075"/>
                <a:gd name="T4" fmla="*/ 0 w 917"/>
                <a:gd name="T5" fmla="*/ 0 h 1075"/>
                <a:gd name="T6" fmla="*/ 0 w 917"/>
                <a:gd name="T7" fmla="*/ 0 h 1075"/>
                <a:gd name="T8" fmla="*/ 0 w 917"/>
                <a:gd name="T9" fmla="*/ 0 h 1075"/>
                <a:gd name="T10" fmla="*/ 0 w 917"/>
                <a:gd name="T11" fmla="*/ 0 h 1075"/>
                <a:gd name="T12" fmla="*/ 0 w 917"/>
                <a:gd name="T13" fmla="*/ 0 h 1075"/>
                <a:gd name="T14" fmla="*/ 0 w 917"/>
                <a:gd name="T15" fmla="*/ 0 h 1075"/>
                <a:gd name="T16" fmla="*/ 0 w 917"/>
                <a:gd name="T17" fmla="*/ 0 h 1075"/>
                <a:gd name="T18" fmla="*/ 0 w 917"/>
                <a:gd name="T19" fmla="*/ 0 h 1075"/>
                <a:gd name="T20" fmla="*/ 0 w 917"/>
                <a:gd name="T21" fmla="*/ 0 h 1075"/>
                <a:gd name="T22" fmla="*/ 0 w 917"/>
                <a:gd name="T23" fmla="*/ 0 h 1075"/>
                <a:gd name="T24" fmla="*/ 0 w 917"/>
                <a:gd name="T25" fmla="*/ 0 h 1075"/>
                <a:gd name="T26" fmla="*/ 0 w 917"/>
                <a:gd name="T27" fmla="*/ 0 h 1075"/>
                <a:gd name="T28" fmla="*/ 0 w 917"/>
                <a:gd name="T29" fmla="*/ 0 h 1075"/>
                <a:gd name="T30" fmla="*/ 0 w 917"/>
                <a:gd name="T31" fmla="*/ 0 h 1075"/>
                <a:gd name="T32" fmla="*/ 0 w 917"/>
                <a:gd name="T33" fmla="*/ 0 h 1075"/>
                <a:gd name="T34" fmla="*/ 0 w 917"/>
                <a:gd name="T35" fmla="*/ 0 h 1075"/>
                <a:gd name="T36" fmla="*/ 0 w 917"/>
                <a:gd name="T37" fmla="*/ 0 h 1075"/>
                <a:gd name="T38" fmla="*/ 0 w 917"/>
                <a:gd name="T39" fmla="*/ 0 h 1075"/>
                <a:gd name="T40" fmla="*/ 0 w 917"/>
                <a:gd name="T41" fmla="*/ 0 h 1075"/>
                <a:gd name="T42" fmla="*/ 0 w 917"/>
                <a:gd name="T43" fmla="*/ 0 h 1075"/>
                <a:gd name="T44" fmla="*/ 0 w 917"/>
                <a:gd name="T45" fmla="*/ 0 h 1075"/>
                <a:gd name="T46" fmla="*/ 0 w 917"/>
                <a:gd name="T47" fmla="*/ 0 h 1075"/>
                <a:gd name="T48" fmla="*/ 0 w 917"/>
                <a:gd name="T49" fmla="*/ 0 h 1075"/>
                <a:gd name="T50" fmla="*/ 0 w 917"/>
                <a:gd name="T51" fmla="*/ 0 h 1075"/>
                <a:gd name="T52" fmla="*/ 0 w 917"/>
                <a:gd name="T53" fmla="*/ 0 h 1075"/>
                <a:gd name="T54" fmla="*/ 0 w 917"/>
                <a:gd name="T55" fmla="*/ 0 h 1075"/>
                <a:gd name="T56" fmla="*/ 0 w 917"/>
                <a:gd name="T57" fmla="*/ 0 h 1075"/>
                <a:gd name="T58" fmla="*/ 0 w 917"/>
                <a:gd name="T59" fmla="*/ 0 h 1075"/>
                <a:gd name="T60" fmla="*/ 0 w 917"/>
                <a:gd name="T61" fmla="*/ 0 h 1075"/>
                <a:gd name="T62" fmla="*/ 0 w 917"/>
                <a:gd name="T63" fmla="*/ 0 h 1075"/>
                <a:gd name="T64" fmla="*/ 0 w 917"/>
                <a:gd name="T65" fmla="*/ 0 h 1075"/>
                <a:gd name="T66" fmla="*/ 0 w 917"/>
                <a:gd name="T67" fmla="*/ 0 h 1075"/>
                <a:gd name="T68" fmla="*/ 0 w 917"/>
                <a:gd name="T69" fmla="*/ 0 h 1075"/>
                <a:gd name="T70" fmla="*/ 0 w 917"/>
                <a:gd name="T71" fmla="*/ 0 h 1075"/>
                <a:gd name="T72" fmla="*/ 0 w 917"/>
                <a:gd name="T73" fmla="*/ 0 h 1075"/>
                <a:gd name="T74" fmla="*/ 0 w 917"/>
                <a:gd name="T75" fmla="*/ 0 h 1075"/>
                <a:gd name="T76" fmla="*/ 0 w 917"/>
                <a:gd name="T77" fmla="*/ 0 h 1075"/>
                <a:gd name="T78" fmla="*/ 0 w 917"/>
                <a:gd name="T79" fmla="*/ 0 h 1075"/>
                <a:gd name="T80" fmla="*/ 0 w 917"/>
                <a:gd name="T81" fmla="*/ 0 h 1075"/>
                <a:gd name="T82" fmla="*/ 0 w 917"/>
                <a:gd name="T83" fmla="*/ 0 h 1075"/>
                <a:gd name="T84" fmla="*/ 0 w 917"/>
                <a:gd name="T85" fmla="*/ 0 h 1075"/>
                <a:gd name="T86" fmla="*/ 0 w 917"/>
                <a:gd name="T87" fmla="*/ 0 h 1075"/>
                <a:gd name="T88" fmla="*/ 0 w 917"/>
                <a:gd name="T89" fmla="*/ 0 h 1075"/>
                <a:gd name="T90" fmla="*/ 0 w 917"/>
                <a:gd name="T91" fmla="*/ 0 h 1075"/>
                <a:gd name="T92" fmla="*/ 0 w 917"/>
                <a:gd name="T93" fmla="*/ 0 h 1075"/>
                <a:gd name="T94" fmla="*/ 0 w 917"/>
                <a:gd name="T95" fmla="*/ 0 h 1075"/>
                <a:gd name="T96" fmla="*/ 0 w 917"/>
                <a:gd name="T97" fmla="*/ 0 h 1075"/>
                <a:gd name="T98" fmla="*/ 0 w 917"/>
                <a:gd name="T99" fmla="*/ 0 h 1075"/>
                <a:gd name="T100" fmla="*/ 0 w 917"/>
                <a:gd name="T101" fmla="*/ 0 h 1075"/>
                <a:gd name="T102" fmla="*/ 0 w 917"/>
                <a:gd name="T103" fmla="*/ 0 h 1075"/>
                <a:gd name="T104" fmla="*/ 0 w 917"/>
                <a:gd name="T105" fmla="*/ 0 h 1075"/>
                <a:gd name="T106" fmla="*/ 0 w 917"/>
                <a:gd name="T107" fmla="*/ 0 h 1075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917"/>
                <a:gd name="T163" fmla="*/ 0 h 1075"/>
                <a:gd name="T164" fmla="*/ 917 w 917"/>
                <a:gd name="T165" fmla="*/ 1075 h 1075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917" h="1075">
                  <a:moveTo>
                    <a:pt x="201" y="165"/>
                  </a:moveTo>
                  <a:cubicBezTo>
                    <a:pt x="214" y="165"/>
                    <a:pt x="226" y="165"/>
                    <a:pt x="239" y="165"/>
                  </a:cubicBezTo>
                  <a:cubicBezTo>
                    <a:pt x="226" y="165"/>
                    <a:pt x="214" y="165"/>
                    <a:pt x="201" y="165"/>
                  </a:cubicBezTo>
                  <a:close/>
                  <a:moveTo>
                    <a:pt x="905" y="13"/>
                  </a:moveTo>
                  <a:cubicBezTo>
                    <a:pt x="905" y="13"/>
                    <a:pt x="829" y="0"/>
                    <a:pt x="804" y="0"/>
                  </a:cubicBezTo>
                  <a:cubicBezTo>
                    <a:pt x="792" y="0"/>
                    <a:pt x="716" y="13"/>
                    <a:pt x="716" y="13"/>
                  </a:cubicBezTo>
                  <a:cubicBezTo>
                    <a:pt x="716" y="13"/>
                    <a:pt x="653" y="13"/>
                    <a:pt x="653" y="51"/>
                  </a:cubicBezTo>
                  <a:cubicBezTo>
                    <a:pt x="641" y="76"/>
                    <a:pt x="603" y="190"/>
                    <a:pt x="603" y="190"/>
                  </a:cubicBezTo>
                  <a:cubicBezTo>
                    <a:pt x="603" y="240"/>
                    <a:pt x="603" y="240"/>
                    <a:pt x="603" y="240"/>
                  </a:cubicBezTo>
                  <a:cubicBezTo>
                    <a:pt x="540" y="215"/>
                    <a:pt x="540" y="215"/>
                    <a:pt x="540" y="215"/>
                  </a:cubicBezTo>
                  <a:cubicBezTo>
                    <a:pt x="540" y="215"/>
                    <a:pt x="465" y="202"/>
                    <a:pt x="427" y="190"/>
                  </a:cubicBezTo>
                  <a:cubicBezTo>
                    <a:pt x="402" y="177"/>
                    <a:pt x="264" y="177"/>
                    <a:pt x="252" y="165"/>
                  </a:cubicBezTo>
                  <a:cubicBezTo>
                    <a:pt x="239" y="202"/>
                    <a:pt x="226" y="240"/>
                    <a:pt x="239" y="266"/>
                  </a:cubicBezTo>
                  <a:cubicBezTo>
                    <a:pt x="239" y="278"/>
                    <a:pt x="226" y="304"/>
                    <a:pt x="277" y="291"/>
                  </a:cubicBezTo>
                  <a:cubicBezTo>
                    <a:pt x="327" y="278"/>
                    <a:pt x="365" y="278"/>
                    <a:pt x="365" y="278"/>
                  </a:cubicBezTo>
                  <a:cubicBezTo>
                    <a:pt x="390" y="329"/>
                    <a:pt x="390" y="329"/>
                    <a:pt x="390" y="329"/>
                  </a:cubicBezTo>
                  <a:cubicBezTo>
                    <a:pt x="390" y="329"/>
                    <a:pt x="377" y="367"/>
                    <a:pt x="352" y="380"/>
                  </a:cubicBezTo>
                  <a:cubicBezTo>
                    <a:pt x="340" y="392"/>
                    <a:pt x="327" y="468"/>
                    <a:pt x="327" y="468"/>
                  </a:cubicBezTo>
                  <a:cubicBezTo>
                    <a:pt x="402" y="531"/>
                    <a:pt x="402" y="531"/>
                    <a:pt x="402" y="531"/>
                  </a:cubicBezTo>
                  <a:cubicBezTo>
                    <a:pt x="402" y="531"/>
                    <a:pt x="390" y="620"/>
                    <a:pt x="390" y="632"/>
                  </a:cubicBezTo>
                  <a:cubicBezTo>
                    <a:pt x="402" y="658"/>
                    <a:pt x="365" y="708"/>
                    <a:pt x="365" y="721"/>
                  </a:cubicBezTo>
                  <a:cubicBezTo>
                    <a:pt x="352" y="734"/>
                    <a:pt x="340" y="759"/>
                    <a:pt x="340" y="759"/>
                  </a:cubicBezTo>
                  <a:cubicBezTo>
                    <a:pt x="302" y="708"/>
                    <a:pt x="302" y="708"/>
                    <a:pt x="302" y="708"/>
                  </a:cubicBezTo>
                  <a:cubicBezTo>
                    <a:pt x="302" y="708"/>
                    <a:pt x="264" y="759"/>
                    <a:pt x="239" y="746"/>
                  </a:cubicBezTo>
                  <a:cubicBezTo>
                    <a:pt x="214" y="734"/>
                    <a:pt x="189" y="658"/>
                    <a:pt x="176" y="670"/>
                  </a:cubicBezTo>
                  <a:cubicBezTo>
                    <a:pt x="164" y="683"/>
                    <a:pt x="139" y="683"/>
                    <a:pt x="139" y="683"/>
                  </a:cubicBezTo>
                  <a:cubicBezTo>
                    <a:pt x="151" y="759"/>
                    <a:pt x="151" y="759"/>
                    <a:pt x="151" y="759"/>
                  </a:cubicBezTo>
                  <a:cubicBezTo>
                    <a:pt x="151" y="759"/>
                    <a:pt x="76" y="746"/>
                    <a:pt x="63" y="746"/>
                  </a:cubicBezTo>
                  <a:cubicBezTo>
                    <a:pt x="51" y="746"/>
                    <a:pt x="38" y="797"/>
                    <a:pt x="38" y="797"/>
                  </a:cubicBezTo>
                  <a:cubicBezTo>
                    <a:pt x="88" y="822"/>
                    <a:pt x="88" y="822"/>
                    <a:pt x="88" y="822"/>
                  </a:cubicBezTo>
                  <a:cubicBezTo>
                    <a:pt x="88" y="873"/>
                    <a:pt x="88" y="873"/>
                    <a:pt x="88" y="873"/>
                  </a:cubicBezTo>
                  <a:cubicBezTo>
                    <a:pt x="63" y="923"/>
                    <a:pt x="63" y="923"/>
                    <a:pt x="63" y="923"/>
                  </a:cubicBezTo>
                  <a:cubicBezTo>
                    <a:pt x="63" y="923"/>
                    <a:pt x="38" y="898"/>
                    <a:pt x="26" y="898"/>
                  </a:cubicBezTo>
                  <a:cubicBezTo>
                    <a:pt x="13" y="898"/>
                    <a:pt x="0" y="936"/>
                    <a:pt x="0" y="949"/>
                  </a:cubicBezTo>
                  <a:cubicBezTo>
                    <a:pt x="0" y="961"/>
                    <a:pt x="13" y="987"/>
                    <a:pt x="26" y="987"/>
                  </a:cubicBezTo>
                  <a:cubicBezTo>
                    <a:pt x="51" y="999"/>
                    <a:pt x="88" y="1075"/>
                    <a:pt x="88" y="1075"/>
                  </a:cubicBezTo>
                  <a:cubicBezTo>
                    <a:pt x="88" y="1075"/>
                    <a:pt x="113" y="1037"/>
                    <a:pt x="126" y="1037"/>
                  </a:cubicBezTo>
                  <a:cubicBezTo>
                    <a:pt x="139" y="1037"/>
                    <a:pt x="189" y="999"/>
                    <a:pt x="189" y="999"/>
                  </a:cubicBezTo>
                  <a:cubicBezTo>
                    <a:pt x="189" y="999"/>
                    <a:pt x="252" y="1050"/>
                    <a:pt x="264" y="1050"/>
                  </a:cubicBezTo>
                  <a:cubicBezTo>
                    <a:pt x="277" y="1050"/>
                    <a:pt x="302" y="1037"/>
                    <a:pt x="302" y="1037"/>
                  </a:cubicBezTo>
                  <a:cubicBezTo>
                    <a:pt x="302" y="1037"/>
                    <a:pt x="302" y="999"/>
                    <a:pt x="314" y="999"/>
                  </a:cubicBezTo>
                  <a:cubicBezTo>
                    <a:pt x="340" y="999"/>
                    <a:pt x="377" y="987"/>
                    <a:pt x="377" y="987"/>
                  </a:cubicBezTo>
                  <a:cubicBezTo>
                    <a:pt x="377" y="987"/>
                    <a:pt x="390" y="1050"/>
                    <a:pt x="402" y="1062"/>
                  </a:cubicBezTo>
                  <a:cubicBezTo>
                    <a:pt x="415" y="1062"/>
                    <a:pt x="453" y="1050"/>
                    <a:pt x="465" y="1025"/>
                  </a:cubicBezTo>
                  <a:cubicBezTo>
                    <a:pt x="478" y="987"/>
                    <a:pt x="553" y="936"/>
                    <a:pt x="578" y="911"/>
                  </a:cubicBezTo>
                  <a:cubicBezTo>
                    <a:pt x="603" y="885"/>
                    <a:pt x="603" y="847"/>
                    <a:pt x="603" y="822"/>
                  </a:cubicBezTo>
                  <a:cubicBezTo>
                    <a:pt x="603" y="797"/>
                    <a:pt x="603" y="721"/>
                    <a:pt x="616" y="708"/>
                  </a:cubicBezTo>
                  <a:cubicBezTo>
                    <a:pt x="628" y="696"/>
                    <a:pt x="666" y="632"/>
                    <a:pt x="679" y="607"/>
                  </a:cubicBezTo>
                  <a:cubicBezTo>
                    <a:pt x="704" y="595"/>
                    <a:pt x="754" y="544"/>
                    <a:pt x="779" y="531"/>
                  </a:cubicBezTo>
                  <a:cubicBezTo>
                    <a:pt x="804" y="519"/>
                    <a:pt x="792" y="493"/>
                    <a:pt x="804" y="468"/>
                  </a:cubicBezTo>
                  <a:cubicBezTo>
                    <a:pt x="804" y="430"/>
                    <a:pt x="817" y="380"/>
                    <a:pt x="817" y="342"/>
                  </a:cubicBezTo>
                  <a:cubicBezTo>
                    <a:pt x="804" y="316"/>
                    <a:pt x="829" y="278"/>
                    <a:pt x="842" y="253"/>
                  </a:cubicBezTo>
                  <a:cubicBezTo>
                    <a:pt x="854" y="228"/>
                    <a:pt x="854" y="152"/>
                    <a:pt x="879" y="101"/>
                  </a:cubicBezTo>
                  <a:cubicBezTo>
                    <a:pt x="917" y="51"/>
                    <a:pt x="905" y="13"/>
                    <a:pt x="905" y="13"/>
                  </a:cubicBez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891045"/>
              <a:endParaRPr lang="en-US" sz="1700" dirty="0">
                <a:solidFill>
                  <a:srgbClr val="003149"/>
                </a:solidFill>
                <a:cs typeface="Arial" panose="020B0604020202020204" pitchFamily="34" charset="0"/>
              </a:endParaRPr>
            </a:p>
          </p:txBody>
        </p:sp>
      </p:grpSp>
      <p:grpSp>
        <p:nvGrpSpPr>
          <p:cNvPr id="642" name="Group 509"/>
          <p:cNvGrpSpPr>
            <a:grpSpLocks/>
          </p:cNvGrpSpPr>
          <p:nvPr/>
        </p:nvGrpSpPr>
        <p:grpSpPr bwMode="gray">
          <a:xfrm>
            <a:off x="1357778" y="2847074"/>
            <a:ext cx="252667" cy="256268"/>
            <a:chOff x="4360" y="3243"/>
            <a:chExt cx="172" cy="165"/>
          </a:xfrm>
          <a:solidFill>
            <a:schemeClr val="accent3"/>
          </a:solidFill>
        </p:grpSpPr>
        <p:sp>
          <p:nvSpPr>
            <p:cNvPr id="643" name="Freeform 510"/>
            <p:cNvSpPr>
              <a:spLocks/>
            </p:cNvSpPr>
            <p:nvPr/>
          </p:nvSpPr>
          <p:spPr bwMode="gray">
            <a:xfrm>
              <a:off x="4360" y="3243"/>
              <a:ext cx="172" cy="165"/>
            </a:xfrm>
            <a:custGeom>
              <a:avLst/>
              <a:gdLst>
                <a:gd name="T0" fmla="*/ 0 w 1700"/>
                <a:gd name="T1" fmla="*/ 0 h 1633"/>
                <a:gd name="T2" fmla="*/ 0 w 1700"/>
                <a:gd name="T3" fmla="*/ 0 h 1633"/>
                <a:gd name="T4" fmla="*/ 0 w 1700"/>
                <a:gd name="T5" fmla="*/ 0 h 1633"/>
                <a:gd name="T6" fmla="*/ 0 w 1700"/>
                <a:gd name="T7" fmla="*/ 0 h 1633"/>
                <a:gd name="T8" fmla="*/ 0 w 1700"/>
                <a:gd name="T9" fmla="*/ 0 h 1633"/>
                <a:gd name="T10" fmla="*/ 0 w 1700"/>
                <a:gd name="T11" fmla="*/ 0 h 1633"/>
                <a:gd name="T12" fmla="*/ 0 w 1700"/>
                <a:gd name="T13" fmla="*/ 0 h 1633"/>
                <a:gd name="T14" fmla="*/ 0 w 1700"/>
                <a:gd name="T15" fmla="*/ 0 h 1633"/>
                <a:gd name="T16" fmla="*/ 0 w 1700"/>
                <a:gd name="T17" fmla="*/ 0 h 1633"/>
                <a:gd name="T18" fmla="*/ 0 w 1700"/>
                <a:gd name="T19" fmla="*/ 0 h 1633"/>
                <a:gd name="T20" fmla="*/ 0 w 1700"/>
                <a:gd name="T21" fmla="*/ 0 h 1633"/>
                <a:gd name="T22" fmla="*/ 0 w 1700"/>
                <a:gd name="T23" fmla="*/ 0 h 1633"/>
                <a:gd name="T24" fmla="*/ 0 w 1700"/>
                <a:gd name="T25" fmla="*/ 0 h 1633"/>
                <a:gd name="T26" fmla="*/ 0 w 1700"/>
                <a:gd name="T27" fmla="*/ 0 h 1633"/>
                <a:gd name="T28" fmla="*/ 0 w 1700"/>
                <a:gd name="T29" fmla="*/ 0 h 1633"/>
                <a:gd name="T30" fmla="*/ 0 w 1700"/>
                <a:gd name="T31" fmla="*/ 0 h 1633"/>
                <a:gd name="T32" fmla="*/ 0 w 1700"/>
                <a:gd name="T33" fmla="*/ 0 h 1633"/>
                <a:gd name="T34" fmla="*/ 0 w 1700"/>
                <a:gd name="T35" fmla="*/ 0 h 1633"/>
                <a:gd name="T36" fmla="*/ 0 w 1700"/>
                <a:gd name="T37" fmla="*/ 0 h 1633"/>
                <a:gd name="T38" fmla="*/ 0 w 1700"/>
                <a:gd name="T39" fmla="*/ 0 h 1633"/>
                <a:gd name="T40" fmla="*/ 0 w 1700"/>
                <a:gd name="T41" fmla="*/ 0 h 1633"/>
                <a:gd name="T42" fmla="*/ 0 w 1700"/>
                <a:gd name="T43" fmla="*/ 0 h 1633"/>
                <a:gd name="T44" fmla="*/ 0 w 1700"/>
                <a:gd name="T45" fmla="*/ 0 h 1633"/>
                <a:gd name="T46" fmla="*/ 0 w 1700"/>
                <a:gd name="T47" fmla="*/ 0 h 1633"/>
                <a:gd name="T48" fmla="*/ 0 w 1700"/>
                <a:gd name="T49" fmla="*/ 0 h 1633"/>
                <a:gd name="T50" fmla="*/ 0 w 1700"/>
                <a:gd name="T51" fmla="*/ 0 h 1633"/>
                <a:gd name="T52" fmla="*/ 0 w 1700"/>
                <a:gd name="T53" fmla="*/ 0 h 1633"/>
                <a:gd name="T54" fmla="*/ 0 w 1700"/>
                <a:gd name="T55" fmla="*/ 0 h 1633"/>
                <a:gd name="T56" fmla="*/ 0 w 1700"/>
                <a:gd name="T57" fmla="*/ 0 h 1633"/>
                <a:gd name="T58" fmla="*/ 0 w 1700"/>
                <a:gd name="T59" fmla="*/ 0 h 1633"/>
                <a:gd name="T60" fmla="*/ 0 w 1700"/>
                <a:gd name="T61" fmla="*/ 0 h 1633"/>
                <a:gd name="T62" fmla="*/ 0 w 1700"/>
                <a:gd name="T63" fmla="*/ 0 h 1633"/>
                <a:gd name="T64" fmla="*/ 0 w 1700"/>
                <a:gd name="T65" fmla="*/ 0 h 1633"/>
                <a:gd name="T66" fmla="*/ 0 w 1700"/>
                <a:gd name="T67" fmla="*/ 0 h 1633"/>
                <a:gd name="T68" fmla="*/ 0 w 1700"/>
                <a:gd name="T69" fmla="*/ 0 h 1633"/>
                <a:gd name="T70" fmla="*/ 0 w 1700"/>
                <a:gd name="T71" fmla="*/ 0 h 1633"/>
                <a:gd name="T72" fmla="*/ 0 w 1700"/>
                <a:gd name="T73" fmla="*/ 0 h 1633"/>
                <a:gd name="T74" fmla="*/ 0 w 1700"/>
                <a:gd name="T75" fmla="*/ 0 h 1633"/>
                <a:gd name="T76" fmla="*/ 0 w 1700"/>
                <a:gd name="T77" fmla="*/ 0 h 1633"/>
                <a:gd name="T78" fmla="*/ 0 w 1700"/>
                <a:gd name="T79" fmla="*/ 0 h 1633"/>
                <a:gd name="T80" fmla="*/ 0 w 1700"/>
                <a:gd name="T81" fmla="*/ 0 h 1633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1700"/>
                <a:gd name="T124" fmla="*/ 0 h 1633"/>
                <a:gd name="T125" fmla="*/ 1700 w 1700"/>
                <a:gd name="T126" fmla="*/ 1633 h 1633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1700" h="1633">
                  <a:moveTo>
                    <a:pt x="1611" y="89"/>
                  </a:moveTo>
                  <a:cubicBezTo>
                    <a:pt x="1599" y="89"/>
                    <a:pt x="1472" y="102"/>
                    <a:pt x="1472" y="102"/>
                  </a:cubicBezTo>
                  <a:cubicBezTo>
                    <a:pt x="1472" y="102"/>
                    <a:pt x="1472" y="102"/>
                    <a:pt x="1472" y="89"/>
                  </a:cubicBezTo>
                  <a:cubicBezTo>
                    <a:pt x="1459" y="102"/>
                    <a:pt x="1231" y="140"/>
                    <a:pt x="1231" y="140"/>
                  </a:cubicBezTo>
                  <a:cubicBezTo>
                    <a:pt x="1231" y="140"/>
                    <a:pt x="1180" y="127"/>
                    <a:pt x="1167" y="127"/>
                  </a:cubicBezTo>
                  <a:cubicBezTo>
                    <a:pt x="1155" y="140"/>
                    <a:pt x="1104" y="140"/>
                    <a:pt x="1091" y="127"/>
                  </a:cubicBezTo>
                  <a:cubicBezTo>
                    <a:pt x="1078" y="127"/>
                    <a:pt x="914" y="127"/>
                    <a:pt x="914" y="127"/>
                  </a:cubicBezTo>
                  <a:cubicBezTo>
                    <a:pt x="850" y="64"/>
                    <a:pt x="850" y="64"/>
                    <a:pt x="850" y="64"/>
                  </a:cubicBezTo>
                  <a:cubicBezTo>
                    <a:pt x="330" y="64"/>
                    <a:pt x="330" y="64"/>
                    <a:pt x="330" y="64"/>
                  </a:cubicBezTo>
                  <a:cubicBezTo>
                    <a:pt x="330" y="64"/>
                    <a:pt x="292" y="64"/>
                    <a:pt x="267" y="51"/>
                  </a:cubicBezTo>
                  <a:cubicBezTo>
                    <a:pt x="254" y="38"/>
                    <a:pt x="203" y="0"/>
                    <a:pt x="178" y="13"/>
                  </a:cubicBezTo>
                  <a:cubicBezTo>
                    <a:pt x="165" y="13"/>
                    <a:pt x="140" y="51"/>
                    <a:pt x="114" y="51"/>
                  </a:cubicBezTo>
                  <a:cubicBezTo>
                    <a:pt x="89" y="38"/>
                    <a:pt x="51" y="38"/>
                    <a:pt x="51" y="38"/>
                  </a:cubicBezTo>
                  <a:cubicBezTo>
                    <a:pt x="13" y="51"/>
                    <a:pt x="13" y="51"/>
                    <a:pt x="13" y="51"/>
                  </a:cubicBezTo>
                  <a:cubicBezTo>
                    <a:pt x="13" y="51"/>
                    <a:pt x="0" y="127"/>
                    <a:pt x="38" y="166"/>
                  </a:cubicBezTo>
                  <a:cubicBezTo>
                    <a:pt x="76" y="204"/>
                    <a:pt x="178" y="408"/>
                    <a:pt x="203" y="472"/>
                  </a:cubicBezTo>
                  <a:cubicBezTo>
                    <a:pt x="241" y="536"/>
                    <a:pt x="343" y="689"/>
                    <a:pt x="355" y="727"/>
                  </a:cubicBezTo>
                  <a:cubicBezTo>
                    <a:pt x="368" y="778"/>
                    <a:pt x="330" y="906"/>
                    <a:pt x="368" y="970"/>
                  </a:cubicBezTo>
                  <a:cubicBezTo>
                    <a:pt x="393" y="1033"/>
                    <a:pt x="406" y="1072"/>
                    <a:pt x="406" y="1135"/>
                  </a:cubicBezTo>
                  <a:cubicBezTo>
                    <a:pt x="406" y="1212"/>
                    <a:pt x="431" y="1352"/>
                    <a:pt x="457" y="1403"/>
                  </a:cubicBezTo>
                  <a:cubicBezTo>
                    <a:pt x="495" y="1467"/>
                    <a:pt x="520" y="1518"/>
                    <a:pt x="546" y="1531"/>
                  </a:cubicBezTo>
                  <a:cubicBezTo>
                    <a:pt x="571" y="1557"/>
                    <a:pt x="596" y="1595"/>
                    <a:pt x="596" y="1595"/>
                  </a:cubicBezTo>
                  <a:cubicBezTo>
                    <a:pt x="596" y="1595"/>
                    <a:pt x="647" y="1569"/>
                    <a:pt x="647" y="1557"/>
                  </a:cubicBezTo>
                  <a:cubicBezTo>
                    <a:pt x="647" y="1544"/>
                    <a:pt x="660" y="1493"/>
                    <a:pt x="685" y="1518"/>
                  </a:cubicBezTo>
                  <a:cubicBezTo>
                    <a:pt x="698" y="1531"/>
                    <a:pt x="723" y="1544"/>
                    <a:pt x="723" y="1569"/>
                  </a:cubicBezTo>
                  <a:cubicBezTo>
                    <a:pt x="723" y="1608"/>
                    <a:pt x="761" y="1620"/>
                    <a:pt x="787" y="1620"/>
                  </a:cubicBezTo>
                  <a:cubicBezTo>
                    <a:pt x="812" y="1633"/>
                    <a:pt x="876" y="1608"/>
                    <a:pt x="901" y="1620"/>
                  </a:cubicBezTo>
                  <a:cubicBezTo>
                    <a:pt x="926" y="1633"/>
                    <a:pt x="952" y="1633"/>
                    <a:pt x="952" y="1633"/>
                  </a:cubicBezTo>
                  <a:cubicBezTo>
                    <a:pt x="952" y="1633"/>
                    <a:pt x="977" y="1582"/>
                    <a:pt x="1002" y="1582"/>
                  </a:cubicBezTo>
                  <a:cubicBezTo>
                    <a:pt x="1015" y="1582"/>
                    <a:pt x="1066" y="1557"/>
                    <a:pt x="1066" y="1557"/>
                  </a:cubicBezTo>
                  <a:cubicBezTo>
                    <a:pt x="1053" y="676"/>
                    <a:pt x="1053" y="676"/>
                    <a:pt x="1053" y="676"/>
                  </a:cubicBezTo>
                  <a:cubicBezTo>
                    <a:pt x="1167" y="676"/>
                    <a:pt x="1167" y="676"/>
                    <a:pt x="1167" y="676"/>
                  </a:cubicBezTo>
                  <a:cubicBezTo>
                    <a:pt x="1180" y="191"/>
                    <a:pt x="1180" y="191"/>
                    <a:pt x="1180" y="191"/>
                  </a:cubicBezTo>
                  <a:cubicBezTo>
                    <a:pt x="1180" y="191"/>
                    <a:pt x="1231" y="191"/>
                    <a:pt x="1243" y="191"/>
                  </a:cubicBezTo>
                  <a:cubicBezTo>
                    <a:pt x="1256" y="178"/>
                    <a:pt x="1459" y="140"/>
                    <a:pt x="1459" y="140"/>
                  </a:cubicBezTo>
                  <a:cubicBezTo>
                    <a:pt x="1497" y="191"/>
                    <a:pt x="1497" y="191"/>
                    <a:pt x="1497" y="191"/>
                  </a:cubicBezTo>
                  <a:cubicBezTo>
                    <a:pt x="1497" y="191"/>
                    <a:pt x="1561" y="153"/>
                    <a:pt x="1573" y="153"/>
                  </a:cubicBezTo>
                  <a:cubicBezTo>
                    <a:pt x="1586" y="153"/>
                    <a:pt x="1624" y="153"/>
                    <a:pt x="1624" y="153"/>
                  </a:cubicBezTo>
                  <a:cubicBezTo>
                    <a:pt x="1624" y="153"/>
                    <a:pt x="1662" y="115"/>
                    <a:pt x="1687" y="115"/>
                  </a:cubicBezTo>
                  <a:cubicBezTo>
                    <a:pt x="1687" y="115"/>
                    <a:pt x="1700" y="115"/>
                    <a:pt x="1700" y="115"/>
                  </a:cubicBezTo>
                  <a:cubicBezTo>
                    <a:pt x="1687" y="115"/>
                    <a:pt x="1624" y="89"/>
                    <a:pt x="1611" y="89"/>
                  </a:cubicBezTo>
                </a:path>
              </a:pathLst>
            </a:custGeom>
            <a:grpFill/>
            <a:ln w="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891045"/>
              <a:endParaRPr lang="en-US" sz="1700" dirty="0">
                <a:solidFill>
                  <a:srgbClr val="003149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644" name="Freeform 511"/>
            <p:cNvSpPr>
              <a:spLocks/>
            </p:cNvSpPr>
            <p:nvPr/>
          </p:nvSpPr>
          <p:spPr bwMode="gray">
            <a:xfrm>
              <a:off x="4360" y="3243"/>
              <a:ext cx="172" cy="165"/>
            </a:xfrm>
            <a:custGeom>
              <a:avLst/>
              <a:gdLst>
                <a:gd name="T0" fmla="*/ 163 w 172"/>
                <a:gd name="T1" fmla="*/ 9 h 165"/>
                <a:gd name="T2" fmla="*/ 149 w 172"/>
                <a:gd name="T3" fmla="*/ 10 h 165"/>
                <a:gd name="T4" fmla="*/ 149 w 172"/>
                <a:gd name="T5" fmla="*/ 9 h 165"/>
                <a:gd name="T6" fmla="*/ 125 w 172"/>
                <a:gd name="T7" fmla="*/ 14 h 165"/>
                <a:gd name="T8" fmla="*/ 118 w 172"/>
                <a:gd name="T9" fmla="*/ 13 h 165"/>
                <a:gd name="T10" fmla="*/ 111 w 172"/>
                <a:gd name="T11" fmla="*/ 13 h 165"/>
                <a:gd name="T12" fmla="*/ 93 w 172"/>
                <a:gd name="T13" fmla="*/ 13 h 165"/>
                <a:gd name="T14" fmla="*/ 86 w 172"/>
                <a:gd name="T15" fmla="*/ 6 h 165"/>
                <a:gd name="T16" fmla="*/ 34 w 172"/>
                <a:gd name="T17" fmla="*/ 6 h 165"/>
                <a:gd name="T18" fmla="*/ 27 w 172"/>
                <a:gd name="T19" fmla="*/ 5 h 165"/>
                <a:gd name="T20" fmla="*/ 18 w 172"/>
                <a:gd name="T21" fmla="*/ 1 h 165"/>
                <a:gd name="T22" fmla="*/ 12 w 172"/>
                <a:gd name="T23" fmla="*/ 5 h 165"/>
                <a:gd name="T24" fmla="*/ 6 w 172"/>
                <a:gd name="T25" fmla="*/ 4 h 165"/>
                <a:gd name="T26" fmla="*/ 2 w 172"/>
                <a:gd name="T27" fmla="*/ 5 h 165"/>
                <a:gd name="T28" fmla="*/ 4 w 172"/>
                <a:gd name="T29" fmla="*/ 17 h 165"/>
                <a:gd name="T30" fmla="*/ 21 w 172"/>
                <a:gd name="T31" fmla="*/ 47 h 165"/>
                <a:gd name="T32" fmla="*/ 36 w 172"/>
                <a:gd name="T33" fmla="*/ 73 h 165"/>
                <a:gd name="T34" fmla="*/ 38 w 172"/>
                <a:gd name="T35" fmla="*/ 98 h 165"/>
                <a:gd name="T36" fmla="*/ 41 w 172"/>
                <a:gd name="T37" fmla="*/ 114 h 165"/>
                <a:gd name="T38" fmla="*/ 47 w 172"/>
                <a:gd name="T39" fmla="*/ 141 h 165"/>
                <a:gd name="T40" fmla="*/ 56 w 172"/>
                <a:gd name="T41" fmla="*/ 154 h 165"/>
                <a:gd name="T42" fmla="*/ 61 w 172"/>
                <a:gd name="T43" fmla="*/ 161 h 165"/>
                <a:gd name="T44" fmla="*/ 66 w 172"/>
                <a:gd name="T45" fmla="*/ 157 h 165"/>
                <a:gd name="T46" fmla="*/ 70 w 172"/>
                <a:gd name="T47" fmla="*/ 153 h 165"/>
                <a:gd name="T48" fmla="*/ 73 w 172"/>
                <a:gd name="T49" fmla="*/ 158 h 165"/>
                <a:gd name="T50" fmla="*/ 80 w 172"/>
                <a:gd name="T51" fmla="*/ 163 h 165"/>
                <a:gd name="T52" fmla="*/ 91 w 172"/>
                <a:gd name="T53" fmla="*/ 163 h 165"/>
                <a:gd name="T54" fmla="*/ 97 w 172"/>
                <a:gd name="T55" fmla="*/ 165 h 165"/>
                <a:gd name="T56" fmla="*/ 102 w 172"/>
                <a:gd name="T57" fmla="*/ 160 h 165"/>
                <a:gd name="T58" fmla="*/ 108 w 172"/>
                <a:gd name="T59" fmla="*/ 157 h 165"/>
                <a:gd name="T60" fmla="*/ 107 w 172"/>
                <a:gd name="T61" fmla="*/ 68 h 165"/>
                <a:gd name="T62" fmla="*/ 118 w 172"/>
                <a:gd name="T63" fmla="*/ 68 h 165"/>
                <a:gd name="T64" fmla="*/ 120 w 172"/>
                <a:gd name="T65" fmla="*/ 19 h 165"/>
                <a:gd name="T66" fmla="*/ 126 w 172"/>
                <a:gd name="T67" fmla="*/ 19 h 165"/>
                <a:gd name="T68" fmla="*/ 148 w 172"/>
                <a:gd name="T69" fmla="*/ 14 h 165"/>
                <a:gd name="T70" fmla="*/ 152 w 172"/>
                <a:gd name="T71" fmla="*/ 19 h 165"/>
                <a:gd name="T72" fmla="*/ 159 w 172"/>
                <a:gd name="T73" fmla="*/ 15 h 165"/>
                <a:gd name="T74" fmla="*/ 164 w 172"/>
                <a:gd name="T75" fmla="*/ 15 h 165"/>
                <a:gd name="T76" fmla="*/ 171 w 172"/>
                <a:gd name="T77" fmla="*/ 11 h 165"/>
                <a:gd name="T78" fmla="*/ 172 w 172"/>
                <a:gd name="T79" fmla="*/ 11 h 165"/>
                <a:gd name="T80" fmla="*/ 163 w 172"/>
                <a:gd name="T81" fmla="*/ 9 h 165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172"/>
                <a:gd name="T124" fmla="*/ 0 h 165"/>
                <a:gd name="T125" fmla="*/ 172 w 172"/>
                <a:gd name="T126" fmla="*/ 165 h 165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172" h="165">
                  <a:moveTo>
                    <a:pt x="163" y="9"/>
                  </a:moveTo>
                  <a:cubicBezTo>
                    <a:pt x="162" y="9"/>
                    <a:pt x="149" y="10"/>
                    <a:pt x="149" y="10"/>
                  </a:cubicBezTo>
                  <a:cubicBezTo>
                    <a:pt x="149" y="10"/>
                    <a:pt x="149" y="10"/>
                    <a:pt x="149" y="9"/>
                  </a:cubicBezTo>
                  <a:cubicBezTo>
                    <a:pt x="148" y="10"/>
                    <a:pt x="125" y="14"/>
                    <a:pt x="125" y="14"/>
                  </a:cubicBezTo>
                  <a:cubicBezTo>
                    <a:pt x="125" y="14"/>
                    <a:pt x="120" y="13"/>
                    <a:pt x="118" y="13"/>
                  </a:cubicBezTo>
                  <a:cubicBezTo>
                    <a:pt x="117" y="14"/>
                    <a:pt x="112" y="14"/>
                    <a:pt x="111" y="13"/>
                  </a:cubicBezTo>
                  <a:cubicBezTo>
                    <a:pt x="109" y="13"/>
                    <a:pt x="93" y="13"/>
                    <a:pt x="93" y="13"/>
                  </a:cubicBezTo>
                  <a:cubicBezTo>
                    <a:pt x="86" y="6"/>
                    <a:pt x="86" y="6"/>
                    <a:pt x="86" y="6"/>
                  </a:cubicBezTo>
                  <a:cubicBezTo>
                    <a:pt x="34" y="6"/>
                    <a:pt x="34" y="6"/>
                    <a:pt x="34" y="6"/>
                  </a:cubicBezTo>
                  <a:cubicBezTo>
                    <a:pt x="34" y="6"/>
                    <a:pt x="30" y="6"/>
                    <a:pt x="27" y="5"/>
                  </a:cubicBezTo>
                  <a:cubicBezTo>
                    <a:pt x="26" y="4"/>
                    <a:pt x="21" y="0"/>
                    <a:pt x="18" y="1"/>
                  </a:cubicBezTo>
                  <a:cubicBezTo>
                    <a:pt x="17" y="1"/>
                    <a:pt x="15" y="5"/>
                    <a:pt x="12" y="5"/>
                  </a:cubicBezTo>
                  <a:cubicBezTo>
                    <a:pt x="9" y="4"/>
                    <a:pt x="6" y="4"/>
                    <a:pt x="6" y="4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5"/>
                    <a:pt x="0" y="13"/>
                    <a:pt x="4" y="17"/>
                  </a:cubicBezTo>
                  <a:cubicBezTo>
                    <a:pt x="8" y="20"/>
                    <a:pt x="18" y="41"/>
                    <a:pt x="21" y="47"/>
                  </a:cubicBezTo>
                  <a:cubicBezTo>
                    <a:pt x="25" y="54"/>
                    <a:pt x="35" y="69"/>
                    <a:pt x="36" y="73"/>
                  </a:cubicBezTo>
                  <a:cubicBezTo>
                    <a:pt x="38" y="78"/>
                    <a:pt x="34" y="91"/>
                    <a:pt x="38" y="98"/>
                  </a:cubicBezTo>
                  <a:cubicBezTo>
                    <a:pt x="40" y="104"/>
                    <a:pt x="41" y="108"/>
                    <a:pt x="41" y="114"/>
                  </a:cubicBezTo>
                  <a:cubicBezTo>
                    <a:pt x="41" y="122"/>
                    <a:pt x="44" y="136"/>
                    <a:pt x="47" y="141"/>
                  </a:cubicBezTo>
                  <a:cubicBezTo>
                    <a:pt x="50" y="148"/>
                    <a:pt x="53" y="153"/>
                    <a:pt x="56" y="154"/>
                  </a:cubicBezTo>
                  <a:cubicBezTo>
                    <a:pt x="58" y="157"/>
                    <a:pt x="61" y="161"/>
                    <a:pt x="61" y="161"/>
                  </a:cubicBezTo>
                  <a:cubicBezTo>
                    <a:pt x="61" y="161"/>
                    <a:pt x="66" y="158"/>
                    <a:pt x="66" y="157"/>
                  </a:cubicBezTo>
                  <a:cubicBezTo>
                    <a:pt x="66" y="156"/>
                    <a:pt x="67" y="151"/>
                    <a:pt x="70" y="153"/>
                  </a:cubicBezTo>
                  <a:cubicBezTo>
                    <a:pt x="71" y="154"/>
                    <a:pt x="73" y="156"/>
                    <a:pt x="73" y="158"/>
                  </a:cubicBezTo>
                  <a:cubicBezTo>
                    <a:pt x="73" y="162"/>
                    <a:pt x="77" y="163"/>
                    <a:pt x="80" y="163"/>
                  </a:cubicBezTo>
                  <a:cubicBezTo>
                    <a:pt x="82" y="165"/>
                    <a:pt x="89" y="162"/>
                    <a:pt x="91" y="163"/>
                  </a:cubicBezTo>
                  <a:cubicBezTo>
                    <a:pt x="94" y="165"/>
                    <a:pt x="97" y="165"/>
                    <a:pt x="97" y="165"/>
                  </a:cubicBezTo>
                  <a:cubicBezTo>
                    <a:pt x="97" y="165"/>
                    <a:pt x="99" y="160"/>
                    <a:pt x="102" y="160"/>
                  </a:cubicBezTo>
                  <a:cubicBezTo>
                    <a:pt x="103" y="160"/>
                    <a:pt x="108" y="157"/>
                    <a:pt x="108" y="157"/>
                  </a:cubicBezTo>
                  <a:cubicBezTo>
                    <a:pt x="107" y="68"/>
                    <a:pt x="107" y="68"/>
                    <a:pt x="107" y="68"/>
                  </a:cubicBezTo>
                  <a:cubicBezTo>
                    <a:pt x="118" y="68"/>
                    <a:pt x="118" y="68"/>
                    <a:pt x="118" y="68"/>
                  </a:cubicBezTo>
                  <a:cubicBezTo>
                    <a:pt x="120" y="19"/>
                    <a:pt x="120" y="19"/>
                    <a:pt x="120" y="19"/>
                  </a:cubicBezTo>
                  <a:cubicBezTo>
                    <a:pt x="120" y="19"/>
                    <a:pt x="125" y="19"/>
                    <a:pt x="126" y="19"/>
                  </a:cubicBezTo>
                  <a:cubicBezTo>
                    <a:pt x="127" y="18"/>
                    <a:pt x="148" y="14"/>
                    <a:pt x="148" y="14"/>
                  </a:cubicBezTo>
                  <a:cubicBezTo>
                    <a:pt x="152" y="19"/>
                    <a:pt x="152" y="19"/>
                    <a:pt x="152" y="19"/>
                  </a:cubicBezTo>
                  <a:cubicBezTo>
                    <a:pt x="152" y="19"/>
                    <a:pt x="158" y="15"/>
                    <a:pt x="159" y="15"/>
                  </a:cubicBezTo>
                  <a:cubicBezTo>
                    <a:pt x="161" y="15"/>
                    <a:pt x="164" y="15"/>
                    <a:pt x="164" y="15"/>
                  </a:cubicBezTo>
                  <a:cubicBezTo>
                    <a:pt x="164" y="15"/>
                    <a:pt x="168" y="11"/>
                    <a:pt x="171" y="11"/>
                  </a:cubicBezTo>
                  <a:cubicBezTo>
                    <a:pt x="171" y="11"/>
                    <a:pt x="172" y="11"/>
                    <a:pt x="172" y="11"/>
                  </a:cubicBezTo>
                  <a:cubicBezTo>
                    <a:pt x="171" y="11"/>
                    <a:pt x="164" y="9"/>
                    <a:pt x="163" y="9"/>
                  </a:cubicBezTo>
                </a:path>
              </a:pathLst>
            </a:custGeom>
            <a:grpFill/>
            <a:ln w="317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891045"/>
              <a:endParaRPr lang="en-US" sz="1700" dirty="0">
                <a:solidFill>
                  <a:srgbClr val="003149"/>
                </a:solidFill>
                <a:cs typeface="Arial" panose="020B0604020202020204" pitchFamily="34" charset="0"/>
              </a:endParaRPr>
            </a:p>
          </p:txBody>
        </p:sp>
      </p:grpSp>
      <p:grpSp>
        <p:nvGrpSpPr>
          <p:cNvPr id="645" name="Group 518"/>
          <p:cNvGrpSpPr>
            <a:grpSpLocks/>
          </p:cNvGrpSpPr>
          <p:nvPr/>
        </p:nvGrpSpPr>
        <p:grpSpPr bwMode="gray">
          <a:xfrm>
            <a:off x="1946078" y="2741793"/>
            <a:ext cx="134505" cy="289253"/>
            <a:chOff x="4761" y="3175"/>
            <a:chExt cx="92" cy="186"/>
          </a:xfrm>
          <a:solidFill>
            <a:schemeClr val="accent3"/>
          </a:solidFill>
        </p:grpSpPr>
        <p:sp>
          <p:nvSpPr>
            <p:cNvPr id="646" name="Freeform 519"/>
            <p:cNvSpPr>
              <a:spLocks/>
            </p:cNvSpPr>
            <p:nvPr/>
          </p:nvSpPr>
          <p:spPr bwMode="gray">
            <a:xfrm>
              <a:off x="4761" y="3175"/>
              <a:ext cx="92" cy="186"/>
            </a:xfrm>
            <a:custGeom>
              <a:avLst/>
              <a:gdLst>
                <a:gd name="T0" fmla="*/ 0 w 916"/>
                <a:gd name="T1" fmla="*/ 0 h 1833"/>
                <a:gd name="T2" fmla="*/ 0 w 916"/>
                <a:gd name="T3" fmla="*/ 0 h 1833"/>
                <a:gd name="T4" fmla="*/ 0 w 916"/>
                <a:gd name="T5" fmla="*/ 0 h 1833"/>
                <a:gd name="T6" fmla="*/ 0 w 916"/>
                <a:gd name="T7" fmla="*/ 0 h 1833"/>
                <a:gd name="T8" fmla="*/ 0 w 916"/>
                <a:gd name="T9" fmla="*/ 0 h 1833"/>
                <a:gd name="T10" fmla="*/ 0 w 916"/>
                <a:gd name="T11" fmla="*/ 0 h 1833"/>
                <a:gd name="T12" fmla="*/ 0 w 916"/>
                <a:gd name="T13" fmla="*/ 0 h 1833"/>
                <a:gd name="T14" fmla="*/ 0 w 916"/>
                <a:gd name="T15" fmla="*/ 0 h 1833"/>
                <a:gd name="T16" fmla="*/ 0 w 916"/>
                <a:gd name="T17" fmla="*/ 0 h 1833"/>
                <a:gd name="T18" fmla="*/ 0 w 916"/>
                <a:gd name="T19" fmla="*/ 0 h 1833"/>
                <a:gd name="T20" fmla="*/ 0 w 916"/>
                <a:gd name="T21" fmla="*/ 0 h 1833"/>
                <a:gd name="T22" fmla="*/ 0 w 916"/>
                <a:gd name="T23" fmla="*/ 0 h 1833"/>
                <a:gd name="T24" fmla="*/ 0 w 916"/>
                <a:gd name="T25" fmla="*/ 0 h 1833"/>
                <a:gd name="T26" fmla="*/ 0 w 916"/>
                <a:gd name="T27" fmla="*/ 0 h 1833"/>
                <a:gd name="T28" fmla="*/ 0 w 916"/>
                <a:gd name="T29" fmla="*/ 0 h 1833"/>
                <a:gd name="T30" fmla="*/ 0 w 916"/>
                <a:gd name="T31" fmla="*/ 0 h 1833"/>
                <a:gd name="T32" fmla="*/ 0 w 916"/>
                <a:gd name="T33" fmla="*/ 0 h 1833"/>
                <a:gd name="T34" fmla="*/ 0 w 916"/>
                <a:gd name="T35" fmla="*/ 0 h 1833"/>
                <a:gd name="T36" fmla="*/ 0 w 916"/>
                <a:gd name="T37" fmla="*/ 0 h 1833"/>
                <a:gd name="T38" fmla="*/ 0 w 916"/>
                <a:gd name="T39" fmla="*/ 0 h 1833"/>
                <a:gd name="T40" fmla="*/ 0 w 916"/>
                <a:gd name="T41" fmla="*/ 0 h 1833"/>
                <a:gd name="T42" fmla="*/ 0 w 916"/>
                <a:gd name="T43" fmla="*/ 0 h 1833"/>
                <a:gd name="T44" fmla="*/ 0 w 916"/>
                <a:gd name="T45" fmla="*/ 0 h 1833"/>
                <a:gd name="T46" fmla="*/ 0 w 916"/>
                <a:gd name="T47" fmla="*/ 0 h 1833"/>
                <a:gd name="T48" fmla="*/ 0 w 916"/>
                <a:gd name="T49" fmla="*/ 0 h 1833"/>
                <a:gd name="T50" fmla="*/ 0 w 916"/>
                <a:gd name="T51" fmla="*/ 0 h 1833"/>
                <a:gd name="T52" fmla="*/ 0 w 916"/>
                <a:gd name="T53" fmla="*/ 0 h 1833"/>
                <a:gd name="T54" fmla="*/ 0 w 916"/>
                <a:gd name="T55" fmla="*/ 0 h 1833"/>
                <a:gd name="T56" fmla="*/ 0 w 916"/>
                <a:gd name="T57" fmla="*/ 0 h 1833"/>
                <a:gd name="T58" fmla="*/ 0 w 916"/>
                <a:gd name="T59" fmla="*/ 0 h 1833"/>
                <a:gd name="T60" fmla="*/ 0 w 916"/>
                <a:gd name="T61" fmla="*/ 0 h 1833"/>
                <a:gd name="T62" fmla="*/ 0 w 916"/>
                <a:gd name="T63" fmla="*/ 0 h 1833"/>
                <a:gd name="T64" fmla="*/ 0 w 916"/>
                <a:gd name="T65" fmla="*/ 0 h 1833"/>
                <a:gd name="T66" fmla="*/ 0 w 916"/>
                <a:gd name="T67" fmla="*/ 0 h 1833"/>
                <a:gd name="T68" fmla="*/ 0 w 916"/>
                <a:gd name="T69" fmla="*/ 0 h 1833"/>
                <a:gd name="T70" fmla="*/ 0 w 916"/>
                <a:gd name="T71" fmla="*/ 0 h 1833"/>
                <a:gd name="T72" fmla="*/ 0 w 916"/>
                <a:gd name="T73" fmla="*/ 0 h 1833"/>
                <a:gd name="T74" fmla="*/ 0 w 916"/>
                <a:gd name="T75" fmla="*/ 0 h 1833"/>
                <a:gd name="T76" fmla="*/ 0 w 916"/>
                <a:gd name="T77" fmla="*/ 0 h 1833"/>
                <a:gd name="T78" fmla="*/ 0 w 916"/>
                <a:gd name="T79" fmla="*/ 0 h 1833"/>
                <a:gd name="T80" fmla="*/ 0 w 916"/>
                <a:gd name="T81" fmla="*/ 0 h 1833"/>
                <a:gd name="T82" fmla="*/ 0 w 916"/>
                <a:gd name="T83" fmla="*/ 0 h 1833"/>
                <a:gd name="T84" fmla="*/ 0 w 916"/>
                <a:gd name="T85" fmla="*/ 0 h 1833"/>
                <a:gd name="T86" fmla="*/ 0 w 916"/>
                <a:gd name="T87" fmla="*/ 0 h 1833"/>
                <a:gd name="T88" fmla="*/ 0 w 916"/>
                <a:gd name="T89" fmla="*/ 0 h 1833"/>
                <a:gd name="T90" fmla="*/ 0 w 916"/>
                <a:gd name="T91" fmla="*/ 0 h 1833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w 916"/>
                <a:gd name="T139" fmla="*/ 0 h 1833"/>
                <a:gd name="T140" fmla="*/ 916 w 916"/>
                <a:gd name="T141" fmla="*/ 1833 h 1833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T138" t="T139" r="T140" b="T141"/>
              <a:pathLst>
                <a:path w="916" h="1833">
                  <a:moveTo>
                    <a:pt x="12" y="1359"/>
                  </a:moveTo>
                  <a:cubicBezTo>
                    <a:pt x="12" y="1321"/>
                    <a:pt x="25" y="1257"/>
                    <a:pt x="63" y="1231"/>
                  </a:cubicBezTo>
                  <a:cubicBezTo>
                    <a:pt x="100" y="1205"/>
                    <a:pt x="100" y="1154"/>
                    <a:pt x="125" y="1128"/>
                  </a:cubicBezTo>
                  <a:cubicBezTo>
                    <a:pt x="150" y="1116"/>
                    <a:pt x="150" y="1090"/>
                    <a:pt x="163" y="1039"/>
                  </a:cubicBezTo>
                  <a:cubicBezTo>
                    <a:pt x="163" y="987"/>
                    <a:pt x="138" y="949"/>
                    <a:pt x="138" y="898"/>
                  </a:cubicBezTo>
                  <a:cubicBezTo>
                    <a:pt x="138" y="846"/>
                    <a:pt x="88" y="757"/>
                    <a:pt x="88" y="731"/>
                  </a:cubicBezTo>
                  <a:cubicBezTo>
                    <a:pt x="100" y="705"/>
                    <a:pt x="138" y="667"/>
                    <a:pt x="150" y="641"/>
                  </a:cubicBezTo>
                  <a:cubicBezTo>
                    <a:pt x="163" y="616"/>
                    <a:pt x="125" y="564"/>
                    <a:pt x="163" y="564"/>
                  </a:cubicBezTo>
                  <a:cubicBezTo>
                    <a:pt x="201" y="551"/>
                    <a:pt x="213" y="590"/>
                    <a:pt x="226" y="564"/>
                  </a:cubicBezTo>
                  <a:cubicBezTo>
                    <a:pt x="251" y="539"/>
                    <a:pt x="264" y="513"/>
                    <a:pt x="264" y="526"/>
                  </a:cubicBezTo>
                  <a:cubicBezTo>
                    <a:pt x="264" y="539"/>
                    <a:pt x="276" y="539"/>
                    <a:pt x="301" y="539"/>
                  </a:cubicBezTo>
                  <a:cubicBezTo>
                    <a:pt x="326" y="526"/>
                    <a:pt x="326" y="513"/>
                    <a:pt x="364" y="500"/>
                  </a:cubicBezTo>
                  <a:cubicBezTo>
                    <a:pt x="402" y="500"/>
                    <a:pt x="402" y="487"/>
                    <a:pt x="439" y="462"/>
                  </a:cubicBezTo>
                  <a:cubicBezTo>
                    <a:pt x="477" y="449"/>
                    <a:pt x="502" y="410"/>
                    <a:pt x="515" y="385"/>
                  </a:cubicBezTo>
                  <a:cubicBezTo>
                    <a:pt x="527" y="359"/>
                    <a:pt x="527" y="359"/>
                    <a:pt x="527" y="359"/>
                  </a:cubicBezTo>
                  <a:cubicBezTo>
                    <a:pt x="527" y="359"/>
                    <a:pt x="527" y="423"/>
                    <a:pt x="540" y="398"/>
                  </a:cubicBezTo>
                  <a:cubicBezTo>
                    <a:pt x="565" y="385"/>
                    <a:pt x="552" y="333"/>
                    <a:pt x="565" y="321"/>
                  </a:cubicBezTo>
                  <a:cubicBezTo>
                    <a:pt x="577" y="308"/>
                    <a:pt x="603" y="321"/>
                    <a:pt x="603" y="295"/>
                  </a:cubicBezTo>
                  <a:cubicBezTo>
                    <a:pt x="603" y="269"/>
                    <a:pt x="565" y="244"/>
                    <a:pt x="590" y="231"/>
                  </a:cubicBezTo>
                  <a:cubicBezTo>
                    <a:pt x="603" y="205"/>
                    <a:pt x="615" y="218"/>
                    <a:pt x="628" y="231"/>
                  </a:cubicBezTo>
                  <a:cubicBezTo>
                    <a:pt x="640" y="244"/>
                    <a:pt x="678" y="205"/>
                    <a:pt x="690" y="205"/>
                  </a:cubicBezTo>
                  <a:cubicBezTo>
                    <a:pt x="703" y="205"/>
                    <a:pt x="703" y="167"/>
                    <a:pt x="716" y="141"/>
                  </a:cubicBezTo>
                  <a:cubicBezTo>
                    <a:pt x="716" y="116"/>
                    <a:pt x="703" y="64"/>
                    <a:pt x="703" y="64"/>
                  </a:cubicBezTo>
                  <a:cubicBezTo>
                    <a:pt x="703" y="64"/>
                    <a:pt x="753" y="39"/>
                    <a:pt x="766" y="13"/>
                  </a:cubicBezTo>
                  <a:cubicBezTo>
                    <a:pt x="778" y="0"/>
                    <a:pt x="778" y="39"/>
                    <a:pt x="791" y="64"/>
                  </a:cubicBezTo>
                  <a:cubicBezTo>
                    <a:pt x="791" y="77"/>
                    <a:pt x="816" y="116"/>
                    <a:pt x="841" y="154"/>
                  </a:cubicBezTo>
                  <a:cubicBezTo>
                    <a:pt x="854" y="192"/>
                    <a:pt x="879" y="205"/>
                    <a:pt x="879" y="257"/>
                  </a:cubicBezTo>
                  <a:cubicBezTo>
                    <a:pt x="879" y="321"/>
                    <a:pt x="891" y="333"/>
                    <a:pt x="904" y="385"/>
                  </a:cubicBezTo>
                  <a:cubicBezTo>
                    <a:pt x="904" y="449"/>
                    <a:pt x="916" y="449"/>
                    <a:pt x="891" y="487"/>
                  </a:cubicBezTo>
                  <a:cubicBezTo>
                    <a:pt x="879" y="513"/>
                    <a:pt x="879" y="551"/>
                    <a:pt x="866" y="539"/>
                  </a:cubicBezTo>
                  <a:cubicBezTo>
                    <a:pt x="841" y="526"/>
                    <a:pt x="841" y="474"/>
                    <a:pt x="829" y="462"/>
                  </a:cubicBezTo>
                  <a:cubicBezTo>
                    <a:pt x="816" y="462"/>
                    <a:pt x="803" y="487"/>
                    <a:pt x="803" y="500"/>
                  </a:cubicBezTo>
                  <a:cubicBezTo>
                    <a:pt x="816" y="526"/>
                    <a:pt x="816" y="526"/>
                    <a:pt x="816" y="577"/>
                  </a:cubicBezTo>
                  <a:cubicBezTo>
                    <a:pt x="829" y="616"/>
                    <a:pt x="829" y="603"/>
                    <a:pt x="803" y="654"/>
                  </a:cubicBezTo>
                  <a:cubicBezTo>
                    <a:pt x="778" y="705"/>
                    <a:pt x="791" y="718"/>
                    <a:pt x="791" y="744"/>
                  </a:cubicBezTo>
                  <a:cubicBezTo>
                    <a:pt x="791" y="782"/>
                    <a:pt x="791" y="821"/>
                    <a:pt x="753" y="898"/>
                  </a:cubicBezTo>
                  <a:cubicBezTo>
                    <a:pt x="716" y="962"/>
                    <a:pt x="678" y="1192"/>
                    <a:pt x="640" y="1282"/>
                  </a:cubicBezTo>
                  <a:cubicBezTo>
                    <a:pt x="590" y="1372"/>
                    <a:pt x="565" y="1564"/>
                    <a:pt x="527" y="1628"/>
                  </a:cubicBezTo>
                  <a:cubicBezTo>
                    <a:pt x="502" y="1692"/>
                    <a:pt x="515" y="1731"/>
                    <a:pt x="477" y="1757"/>
                  </a:cubicBezTo>
                  <a:cubicBezTo>
                    <a:pt x="439" y="1782"/>
                    <a:pt x="402" y="1769"/>
                    <a:pt x="364" y="1782"/>
                  </a:cubicBezTo>
                  <a:cubicBezTo>
                    <a:pt x="326" y="1808"/>
                    <a:pt x="301" y="1821"/>
                    <a:pt x="276" y="1833"/>
                  </a:cubicBezTo>
                  <a:cubicBezTo>
                    <a:pt x="238" y="1833"/>
                    <a:pt x="213" y="1795"/>
                    <a:pt x="188" y="1795"/>
                  </a:cubicBezTo>
                  <a:cubicBezTo>
                    <a:pt x="150" y="1782"/>
                    <a:pt x="125" y="1757"/>
                    <a:pt x="113" y="1744"/>
                  </a:cubicBezTo>
                  <a:cubicBezTo>
                    <a:pt x="100" y="1718"/>
                    <a:pt x="63" y="1667"/>
                    <a:pt x="63" y="1628"/>
                  </a:cubicBezTo>
                  <a:cubicBezTo>
                    <a:pt x="63" y="1577"/>
                    <a:pt x="50" y="1500"/>
                    <a:pt x="37" y="1462"/>
                  </a:cubicBezTo>
                  <a:cubicBezTo>
                    <a:pt x="12" y="1423"/>
                    <a:pt x="0" y="1398"/>
                    <a:pt x="12" y="1359"/>
                  </a:cubicBezTo>
                </a:path>
              </a:pathLst>
            </a:custGeom>
            <a:grpFill/>
            <a:ln w="9525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891045"/>
              <a:endParaRPr lang="en-US" sz="1700" dirty="0">
                <a:solidFill>
                  <a:srgbClr val="003149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647" name="Freeform 520"/>
            <p:cNvSpPr>
              <a:spLocks/>
            </p:cNvSpPr>
            <p:nvPr/>
          </p:nvSpPr>
          <p:spPr bwMode="gray">
            <a:xfrm>
              <a:off x="4761" y="3175"/>
              <a:ext cx="92" cy="186"/>
            </a:xfrm>
            <a:custGeom>
              <a:avLst/>
              <a:gdLst>
                <a:gd name="T0" fmla="*/ 1 w 92"/>
                <a:gd name="T1" fmla="*/ 138 h 186"/>
                <a:gd name="T2" fmla="*/ 6 w 92"/>
                <a:gd name="T3" fmla="*/ 125 h 186"/>
                <a:gd name="T4" fmla="*/ 13 w 92"/>
                <a:gd name="T5" fmla="*/ 114 h 186"/>
                <a:gd name="T6" fmla="*/ 16 w 92"/>
                <a:gd name="T7" fmla="*/ 105 h 186"/>
                <a:gd name="T8" fmla="*/ 14 w 92"/>
                <a:gd name="T9" fmla="*/ 91 h 186"/>
                <a:gd name="T10" fmla="*/ 9 w 92"/>
                <a:gd name="T11" fmla="*/ 74 h 186"/>
                <a:gd name="T12" fmla="*/ 15 w 92"/>
                <a:gd name="T13" fmla="*/ 65 h 186"/>
                <a:gd name="T14" fmla="*/ 16 w 92"/>
                <a:gd name="T15" fmla="*/ 57 h 186"/>
                <a:gd name="T16" fmla="*/ 23 w 92"/>
                <a:gd name="T17" fmla="*/ 57 h 186"/>
                <a:gd name="T18" fmla="*/ 27 w 92"/>
                <a:gd name="T19" fmla="*/ 54 h 186"/>
                <a:gd name="T20" fmla="*/ 30 w 92"/>
                <a:gd name="T21" fmla="*/ 55 h 186"/>
                <a:gd name="T22" fmla="*/ 37 w 92"/>
                <a:gd name="T23" fmla="*/ 51 h 186"/>
                <a:gd name="T24" fmla="*/ 44 w 92"/>
                <a:gd name="T25" fmla="*/ 47 h 186"/>
                <a:gd name="T26" fmla="*/ 52 w 92"/>
                <a:gd name="T27" fmla="*/ 39 h 186"/>
                <a:gd name="T28" fmla="*/ 53 w 92"/>
                <a:gd name="T29" fmla="*/ 37 h 186"/>
                <a:gd name="T30" fmla="*/ 54 w 92"/>
                <a:gd name="T31" fmla="*/ 41 h 186"/>
                <a:gd name="T32" fmla="*/ 57 w 92"/>
                <a:gd name="T33" fmla="*/ 33 h 186"/>
                <a:gd name="T34" fmla="*/ 61 w 92"/>
                <a:gd name="T35" fmla="*/ 30 h 186"/>
                <a:gd name="T36" fmla="*/ 59 w 92"/>
                <a:gd name="T37" fmla="*/ 24 h 186"/>
                <a:gd name="T38" fmla="*/ 63 w 92"/>
                <a:gd name="T39" fmla="*/ 24 h 186"/>
                <a:gd name="T40" fmla="*/ 70 w 92"/>
                <a:gd name="T41" fmla="*/ 21 h 186"/>
                <a:gd name="T42" fmla="*/ 72 w 92"/>
                <a:gd name="T43" fmla="*/ 15 h 186"/>
                <a:gd name="T44" fmla="*/ 71 w 92"/>
                <a:gd name="T45" fmla="*/ 7 h 186"/>
                <a:gd name="T46" fmla="*/ 77 w 92"/>
                <a:gd name="T47" fmla="*/ 2 h 186"/>
                <a:gd name="T48" fmla="*/ 80 w 92"/>
                <a:gd name="T49" fmla="*/ 7 h 186"/>
                <a:gd name="T50" fmla="*/ 85 w 92"/>
                <a:gd name="T51" fmla="*/ 16 h 186"/>
                <a:gd name="T52" fmla="*/ 89 w 92"/>
                <a:gd name="T53" fmla="*/ 26 h 186"/>
                <a:gd name="T54" fmla="*/ 91 w 92"/>
                <a:gd name="T55" fmla="*/ 39 h 186"/>
                <a:gd name="T56" fmla="*/ 90 w 92"/>
                <a:gd name="T57" fmla="*/ 50 h 186"/>
                <a:gd name="T58" fmla="*/ 87 w 92"/>
                <a:gd name="T59" fmla="*/ 55 h 186"/>
                <a:gd name="T60" fmla="*/ 84 w 92"/>
                <a:gd name="T61" fmla="*/ 47 h 186"/>
                <a:gd name="T62" fmla="*/ 81 w 92"/>
                <a:gd name="T63" fmla="*/ 51 h 186"/>
                <a:gd name="T64" fmla="*/ 82 w 92"/>
                <a:gd name="T65" fmla="*/ 59 h 186"/>
                <a:gd name="T66" fmla="*/ 81 w 92"/>
                <a:gd name="T67" fmla="*/ 66 h 186"/>
                <a:gd name="T68" fmla="*/ 80 w 92"/>
                <a:gd name="T69" fmla="*/ 76 h 186"/>
                <a:gd name="T70" fmla="*/ 76 w 92"/>
                <a:gd name="T71" fmla="*/ 91 h 186"/>
                <a:gd name="T72" fmla="*/ 65 w 92"/>
                <a:gd name="T73" fmla="*/ 130 h 186"/>
                <a:gd name="T74" fmla="*/ 53 w 92"/>
                <a:gd name="T75" fmla="*/ 165 h 186"/>
                <a:gd name="T76" fmla="*/ 48 w 92"/>
                <a:gd name="T77" fmla="*/ 178 h 186"/>
                <a:gd name="T78" fmla="*/ 37 w 92"/>
                <a:gd name="T79" fmla="*/ 180 h 186"/>
                <a:gd name="T80" fmla="*/ 28 w 92"/>
                <a:gd name="T81" fmla="*/ 186 h 186"/>
                <a:gd name="T82" fmla="*/ 19 w 92"/>
                <a:gd name="T83" fmla="*/ 182 h 186"/>
                <a:gd name="T84" fmla="*/ 11 w 92"/>
                <a:gd name="T85" fmla="*/ 177 h 186"/>
                <a:gd name="T86" fmla="*/ 6 w 92"/>
                <a:gd name="T87" fmla="*/ 165 h 186"/>
                <a:gd name="T88" fmla="*/ 4 w 92"/>
                <a:gd name="T89" fmla="*/ 148 h 186"/>
                <a:gd name="T90" fmla="*/ 1 w 92"/>
                <a:gd name="T91" fmla="*/ 138 h 18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w 92"/>
                <a:gd name="T139" fmla="*/ 0 h 186"/>
                <a:gd name="T140" fmla="*/ 92 w 92"/>
                <a:gd name="T141" fmla="*/ 186 h 186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T138" t="T139" r="T140" b="T141"/>
              <a:pathLst>
                <a:path w="92" h="186">
                  <a:moveTo>
                    <a:pt x="1" y="138"/>
                  </a:moveTo>
                  <a:cubicBezTo>
                    <a:pt x="1" y="134"/>
                    <a:pt x="2" y="127"/>
                    <a:pt x="6" y="125"/>
                  </a:cubicBezTo>
                  <a:cubicBezTo>
                    <a:pt x="10" y="122"/>
                    <a:pt x="10" y="117"/>
                    <a:pt x="13" y="114"/>
                  </a:cubicBezTo>
                  <a:cubicBezTo>
                    <a:pt x="15" y="113"/>
                    <a:pt x="15" y="110"/>
                    <a:pt x="16" y="105"/>
                  </a:cubicBezTo>
                  <a:cubicBezTo>
                    <a:pt x="16" y="100"/>
                    <a:pt x="14" y="96"/>
                    <a:pt x="14" y="91"/>
                  </a:cubicBezTo>
                  <a:cubicBezTo>
                    <a:pt x="14" y="86"/>
                    <a:pt x="9" y="77"/>
                    <a:pt x="9" y="74"/>
                  </a:cubicBezTo>
                  <a:cubicBezTo>
                    <a:pt x="10" y="72"/>
                    <a:pt x="14" y="68"/>
                    <a:pt x="15" y="65"/>
                  </a:cubicBezTo>
                  <a:cubicBezTo>
                    <a:pt x="16" y="63"/>
                    <a:pt x="13" y="57"/>
                    <a:pt x="16" y="57"/>
                  </a:cubicBezTo>
                  <a:cubicBezTo>
                    <a:pt x="20" y="56"/>
                    <a:pt x="21" y="60"/>
                    <a:pt x="23" y="57"/>
                  </a:cubicBezTo>
                  <a:cubicBezTo>
                    <a:pt x="25" y="55"/>
                    <a:pt x="27" y="52"/>
                    <a:pt x="27" y="54"/>
                  </a:cubicBezTo>
                  <a:cubicBezTo>
                    <a:pt x="27" y="55"/>
                    <a:pt x="28" y="55"/>
                    <a:pt x="30" y="55"/>
                  </a:cubicBezTo>
                  <a:cubicBezTo>
                    <a:pt x="33" y="54"/>
                    <a:pt x="33" y="52"/>
                    <a:pt x="37" y="51"/>
                  </a:cubicBezTo>
                  <a:cubicBezTo>
                    <a:pt x="40" y="51"/>
                    <a:pt x="40" y="50"/>
                    <a:pt x="44" y="47"/>
                  </a:cubicBezTo>
                  <a:cubicBezTo>
                    <a:pt x="48" y="46"/>
                    <a:pt x="51" y="42"/>
                    <a:pt x="52" y="39"/>
                  </a:cubicBezTo>
                  <a:cubicBezTo>
                    <a:pt x="53" y="37"/>
                    <a:pt x="53" y="37"/>
                    <a:pt x="53" y="37"/>
                  </a:cubicBezTo>
                  <a:cubicBezTo>
                    <a:pt x="53" y="37"/>
                    <a:pt x="53" y="43"/>
                    <a:pt x="54" y="41"/>
                  </a:cubicBezTo>
                  <a:cubicBezTo>
                    <a:pt x="57" y="39"/>
                    <a:pt x="56" y="34"/>
                    <a:pt x="57" y="33"/>
                  </a:cubicBezTo>
                  <a:cubicBezTo>
                    <a:pt x="58" y="31"/>
                    <a:pt x="61" y="33"/>
                    <a:pt x="61" y="30"/>
                  </a:cubicBezTo>
                  <a:cubicBezTo>
                    <a:pt x="61" y="28"/>
                    <a:pt x="57" y="25"/>
                    <a:pt x="59" y="24"/>
                  </a:cubicBezTo>
                  <a:cubicBezTo>
                    <a:pt x="61" y="21"/>
                    <a:pt x="62" y="22"/>
                    <a:pt x="63" y="24"/>
                  </a:cubicBezTo>
                  <a:cubicBezTo>
                    <a:pt x="65" y="25"/>
                    <a:pt x="68" y="21"/>
                    <a:pt x="70" y="21"/>
                  </a:cubicBezTo>
                  <a:cubicBezTo>
                    <a:pt x="71" y="21"/>
                    <a:pt x="71" y="17"/>
                    <a:pt x="72" y="15"/>
                  </a:cubicBezTo>
                  <a:cubicBezTo>
                    <a:pt x="72" y="12"/>
                    <a:pt x="71" y="7"/>
                    <a:pt x="71" y="7"/>
                  </a:cubicBezTo>
                  <a:cubicBezTo>
                    <a:pt x="71" y="7"/>
                    <a:pt x="76" y="4"/>
                    <a:pt x="77" y="2"/>
                  </a:cubicBezTo>
                  <a:cubicBezTo>
                    <a:pt x="78" y="0"/>
                    <a:pt x="78" y="4"/>
                    <a:pt x="80" y="7"/>
                  </a:cubicBezTo>
                  <a:cubicBezTo>
                    <a:pt x="80" y="8"/>
                    <a:pt x="82" y="12"/>
                    <a:pt x="85" y="16"/>
                  </a:cubicBezTo>
                  <a:cubicBezTo>
                    <a:pt x="86" y="20"/>
                    <a:pt x="89" y="21"/>
                    <a:pt x="89" y="26"/>
                  </a:cubicBezTo>
                  <a:cubicBezTo>
                    <a:pt x="89" y="33"/>
                    <a:pt x="90" y="34"/>
                    <a:pt x="91" y="39"/>
                  </a:cubicBezTo>
                  <a:cubicBezTo>
                    <a:pt x="91" y="46"/>
                    <a:pt x="92" y="46"/>
                    <a:pt x="90" y="50"/>
                  </a:cubicBezTo>
                  <a:cubicBezTo>
                    <a:pt x="89" y="52"/>
                    <a:pt x="89" y="56"/>
                    <a:pt x="87" y="55"/>
                  </a:cubicBezTo>
                  <a:cubicBezTo>
                    <a:pt x="85" y="54"/>
                    <a:pt x="85" y="48"/>
                    <a:pt x="84" y="47"/>
                  </a:cubicBezTo>
                  <a:cubicBezTo>
                    <a:pt x="82" y="47"/>
                    <a:pt x="81" y="50"/>
                    <a:pt x="81" y="51"/>
                  </a:cubicBezTo>
                  <a:cubicBezTo>
                    <a:pt x="82" y="54"/>
                    <a:pt x="82" y="54"/>
                    <a:pt x="82" y="59"/>
                  </a:cubicBezTo>
                  <a:cubicBezTo>
                    <a:pt x="84" y="63"/>
                    <a:pt x="84" y="61"/>
                    <a:pt x="81" y="66"/>
                  </a:cubicBezTo>
                  <a:cubicBezTo>
                    <a:pt x="78" y="72"/>
                    <a:pt x="80" y="73"/>
                    <a:pt x="80" y="76"/>
                  </a:cubicBezTo>
                  <a:cubicBezTo>
                    <a:pt x="80" y="79"/>
                    <a:pt x="80" y="83"/>
                    <a:pt x="76" y="91"/>
                  </a:cubicBezTo>
                  <a:cubicBezTo>
                    <a:pt x="72" y="98"/>
                    <a:pt x="68" y="121"/>
                    <a:pt x="65" y="130"/>
                  </a:cubicBezTo>
                  <a:cubicBezTo>
                    <a:pt x="59" y="139"/>
                    <a:pt x="57" y="158"/>
                    <a:pt x="53" y="165"/>
                  </a:cubicBezTo>
                  <a:cubicBezTo>
                    <a:pt x="51" y="171"/>
                    <a:pt x="52" y="175"/>
                    <a:pt x="48" y="178"/>
                  </a:cubicBezTo>
                  <a:cubicBezTo>
                    <a:pt x="44" y="180"/>
                    <a:pt x="40" y="179"/>
                    <a:pt x="37" y="180"/>
                  </a:cubicBezTo>
                  <a:cubicBezTo>
                    <a:pt x="33" y="183"/>
                    <a:pt x="30" y="184"/>
                    <a:pt x="28" y="186"/>
                  </a:cubicBezTo>
                  <a:cubicBezTo>
                    <a:pt x="24" y="186"/>
                    <a:pt x="21" y="182"/>
                    <a:pt x="19" y="182"/>
                  </a:cubicBezTo>
                  <a:cubicBezTo>
                    <a:pt x="15" y="180"/>
                    <a:pt x="13" y="178"/>
                    <a:pt x="11" y="177"/>
                  </a:cubicBezTo>
                  <a:cubicBezTo>
                    <a:pt x="10" y="174"/>
                    <a:pt x="6" y="169"/>
                    <a:pt x="6" y="165"/>
                  </a:cubicBezTo>
                  <a:cubicBezTo>
                    <a:pt x="6" y="160"/>
                    <a:pt x="5" y="152"/>
                    <a:pt x="4" y="148"/>
                  </a:cubicBezTo>
                  <a:cubicBezTo>
                    <a:pt x="1" y="144"/>
                    <a:pt x="0" y="142"/>
                    <a:pt x="1" y="138"/>
                  </a:cubicBezTo>
                </a:path>
              </a:pathLst>
            </a:custGeom>
            <a:grpFill/>
            <a:ln w="9525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891045"/>
              <a:endParaRPr lang="en-US" sz="1700" dirty="0">
                <a:solidFill>
                  <a:srgbClr val="003149"/>
                </a:solidFill>
                <a:cs typeface="Arial" panose="020B0604020202020204" pitchFamily="34" charset="0"/>
              </a:endParaRPr>
            </a:p>
          </p:txBody>
        </p:sp>
      </p:grpSp>
      <p:sp>
        <p:nvSpPr>
          <p:cNvPr id="648" name="Freeform 420"/>
          <p:cNvSpPr>
            <a:spLocks/>
          </p:cNvSpPr>
          <p:nvPr/>
        </p:nvSpPr>
        <p:spPr bwMode="gray">
          <a:xfrm>
            <a:off x="1039744" y="2210209"/>
            <a:ext cx="147075" cy="109104"/>
          </a:xfrm>
          <a:custGeom>
            <a:avLst/>
            <a:gdLst>
              <a:gd name="T0" fmla="*/ 255600676 w 983"/>
              <a:gd name="T1" fmla="*/ 0 h 692"/>
              <a:gd name="T2" fmla="*/ 255600676 w 983"/>
              <a:gd name="T3" fmla="*/ 0 h 692"/>
              <a:gd name="T4" fmla="*/ 255600676 w 983"/>
              <a:gd name="T5" fmla="*/ 0 h 692"/>
              <a:gd name="T6" fmla="*/ 255600676 w 983"/>
              <a:gd name="T7" fmla="*/ 0 h 692"/>
              <a:gd name="T8" fmla="*/ 255600676 w 983"/>
              <a:gd name="T9" fmla="*/ 0 h 692"/>
              <a:gd name="T10" fmla="*/ 255600676 w 983"/>
              <a:gd name="T11" fmla="*/ 0 h 692"/>
              <a:gd name="T12" fmla="*/ 255600676 w 983"/>
              <a:gd name="T13" fmla="*/ 0 h 692"/>
              <a:gd name="T14" fmla="*/ 255600676 w 983"/>
              <a:gd name="T15" fmla="*/ 0 h 692"/>
              <a:gd name="T16" fmla="*/ 255600676 w 983"/>
              <a:gd name="T17" fmla="*/ 0 h 692"/>
              <a:gd name="T18" fmla="*/ 255600676 w 983"/>
              <a:gd name="T19" fmla="*/ 0 h 692"/>
              <a:gd name="T20" fmla="*/ 255600676 w 983"/>
              <a:gd name="T21" fmla="*/ 0 h 692"/>
              <a:gd name="T22" fmla="*/ 255600676 w 983"/>
              <a:gd name="T23" fmla="*/ 0 h 692"/>
              <a:gd name="T24" fmla="*/ 255600676 w 983"/>
              <a:gd name="T25" fmla="*/ 0 h 692"/>
              <a:gd name="T26" fmla="*/ 255600676 w 983"/>
              <a:gd name="T27" fmla="*/ 0 h 692"/>
              <a:gd name="T28" fmla="*/ 0 w 983"/>
              <a:gd name="T29" fmla="*/ 0 h 692"/>
              <a:gd name="T30" fmla="*/ 0 w 983"/>
              <a:gd name="T31" fmla="*/ 0 h 692"/>
              <a:gd name="T32" fmla="*/ 0 w 983"/>
              <a:gd name="T33" fmla="*/ 0 h 692"/>
              <a:gd name="T34" fmla="*/ 0 w 983"/>
              <a:gd name="T35" fmla="*/ 0 h 692"/>
              <a:gd name="T36" fmla="*/ 0 w 983"/>
              <a:gd name="T37" fmla="*/ 0 h 692"/>
              <a:gd name="T38" fmla="*/ 0 w 983"/>
              <a:gd name="T39" fmla="*/ 0 h 692"/>
              <a:gd name="T40" fmla="*/ 0 w 983"/>
              <a:gd name="T41" fmla="*/ 0 h 692"/>
              <a:gd name="T42" fmla="*/ 0 w 983"/>
              <a:gd name="T43" fmla="*/ 0 h 692"/>
              <a:gd name="T44" fmla="*/ 0 w 983"/>
              <a:gd name="T45" fmla="*/ 0 h 692"/>
              <a:gd name="T46" fmla="*/ 0 w 983"/>
              <a:gd name="T47" fmla="*/ 0 h 692"/>
              <a:gd name="T48" fmla="*/ 0 w 983"/>
              <a:gd name="T49" fmla="*/ 0 h 692"/>
              <a:gd name="T50" fmla="*/ 0 w 983"/>
              <a:gd name="T51" fmla="*/ 0 h 692"/>
              <a:gd name="T52" fmla="*/ 0 w 983"/>
              <a:gd name="T53" fmla="*/ 0 h 692"/>
              <a:gd name="T54" fmla="*/ 0 w 983"/>
              <a:gd name="T55" fmla="*/ 266883648 h 692"/>
              <a:gd name="T56" fmla="*/ 0 w 983"/>
              <a:gd name="T57" fmla="*/ 266883648 h 692"/>
              <a:gd name="T58" fmla="*/ 0 w 983"/>
              <a:gd name="T59" fmla="*/ 266883648 h 692"/>
              <a:gd name="T60" fmla="*/ 0 w 983"/>
              <a:gd name="T61" fmla="*/ 266883648 h 692"/>
              <a:gd name="T62" fmla="*/ 0 w 983"/>
              <a:gd name="T63" fmla="*/ 266883648 h 692"/>
              <a:gd name="T64" fmla="*/ 0 w 983"/>
              <a:gd name="T65" fmla="*/ 266883648 h 692"/>
              <a:gd name="T66" fmla="*/ 0 w 983"/>
              <a:gd name="T67" fmla="*/ 266883648 h 692"/>
              <a:gd name="T68" fmla="*/ 0 w 983"/>
              <a:gd name="T69" fmla="*/ 266883648 h 692"/>
              <a:gd name="T70" fmla="*/ 0 w 983"/>
              <a:gd name="T71" fmla="*/ 266883648 h 692"/>
              <a:gd name="T72" fmla="*/ 0 w 983"/>
              <a:gd name="T73" fmla="*/ 266883648 h 692"/>
              <a:gd name="T74" fmla="*/ 0 w 983"/>
              <a:gd name="T75" fmla="*/ 266883648 h 692"/>
              <a:gd name="T76" fmla="*/ 0 w 983"/>
              <a:gd name="T77" fmla="*/ 266883648 h 692"/>
              <a:gd name="T78" fmla="*/ 255600676 w 983"/>
              <a:gd name="T79" fmla="*/ 266883648 h 692"/>
              <a:gd name="T80" fmla="*/ 255600676 w 983"/>
              <a:gd name="T81" fmla="*/ 266883648 h 692"/>
              <a:gd name="T82" fmla="*/ 255600676 w 983"/>
              <a:gd name="T83" fmla="*/ 266883648 h 692"/>
              <a:gd name="T84" fmla="*/ 255600676 w 983"/>
              <a:gd name="T85" fmla="*/ 266883648 h 692"/>
              <a:gd name="T86" fmla="*/ 255600676 w 983"/>
              <a:gd name="T87" fmla="*/ 266883648 h 692"/>
              <a:gd name="T88" fmla="*/ 255600676 w 983"/>
              <a:gd name="T89" fmla="*/ 266883648 h 692"/>
              <a:gd name="T90" fmla="*/ 255600676 w 983"/>
              <a:gd name="T91" fmla="*/ 266883648 h 692"/>
              <a:gd name="T92" fmla="*/ 255600676 w 983"/>
              <a:gd name="T93" fmla="*/ 266883648 h 692"/>
              <a:gd name="T94" fmla="*/ 255600676 w 983"/>
              <a:gd name="T95" fmla="*/ 266883648 h 692"/>
              <a:gd name="T96" fmla="*/ 255600676 w 983"/>
              <a:gd name="T97" fmla="*/ 0 h 692"/>
              <a:gd name="T98" fmla="*/ 255600676 w 983"/>
              <a:gd name="T99" fmla="*/ 0 h 692"/>
              <a:gd name="T100" fmla="*/ 255600676 w 983"/>
              <a:gd name="T101" fmla="*/ 0 h 692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w 983"/>
              <a:gd name="T154" fmla="*/ 0 h 692"/>
              <a:gd name="T155" fmla="*/ 983 w 983"/>
              <a:gd name="T156" fmla="*/ 692 h 692"/>
            </a:gdLst>
            <a:ahLst/>
            <a:cxnLst>
              <a:cxn ang="T102">
                <a:pos x="T0" y="T1"/>
              </a:cxn>
              <a:cxn ang="T103">
                <a:pos x="T2" y="T3"/>
              </a:cxn>
              <a:cxn ang="T104">
                <a:pos x="T4" y="T5"/>
              </a:cxn>
              <a:cxn ang="T105">
                <a:pos x="T6" y="T7"/>
              </a:cxn>
              <a:cxn ang="T106">
                <a:pos x="T8" y="T9"/>
              </a:cxn>
              <a:cxn ang="T107">
                <a:pos x="T10" y="T11"/>
              </a:cxn>
              <a:cxn ang="T108">
                <a:pos x="T12" y="T13"/>
              </a:cxn>
              <a:cxn ang="T109">
                <a:pos x="T14" y="T15"/>
              </a:cxn>
              <a:cxn ang="T110">
                <a:pos x="T16" y="T17"/>
              </a:cxn>
              <a:cxn ang="T111">
                <a:pos x="T18" y="T19"/>
              </a:cxn>
              <a:cxn ang="T112">
                <a:pos x="T20" y="T21"/>
              </a:cxn>
              <a:cxn ang="T113">
                <a:pos x="T22" y="T23"/>
              </a:cxn>
              <a:cxn ang="T114">
                <a:pos x="T24" y="T25"/>
              </a:cxn>
              <a:cxn ang="T115">
                <a:pos x="T26" y="T27"/>
              </a:cxn>
              <a:cxn ang="T116">
                <a:pos x="T28" y="T29"/>
              </a:cxn>
              <a:cxn ang="T117">
                <a:pos x="T30" y="T31"/>
              </a:cxn>
              <a:cxn ang="T118">
                <a:pos x="T32" y="T33"/>
              </a:cxn>
              <a:cxn ang="T119">
                <a:pos x="T34" y="T35"/>
              </a:cxn>
              <a:cxn ang="T120">
                <a:pos x="T36" y="T37"/>
              </a:cxn>
              <a:cxn ang="T121">
                <a:pos x="T38" y="T39"/>
              </a:cxn>
              <a:cxn ang="T122">
                <a:pos x="T40" y="T41"/>
              </a:cxn>
              <a:cxn ang="T123">
                <a:pos x="T42" y="T43"/>
              </a:cxn>
              <a:cxn ang="T124">
                <a:pos x="T44" y="T45"/>
              </a:cxn>
              <a:cxn ang="T125">
                <a:pos x="T46" y="T47"/>
              </a:cxn>
              <a:cxn ang="T126">
                <a:pos x="T48" y="T49"/>
              </a:cxn>
              <a:cxn ang="T127">
                <a:pos x="T50" y="T51"/>
              </a:cxn>
              <a:cxn ang="T128">
                <a:pos x="T52" y="T53"/>
              </a:cxn>
              <a:cxn ang="T129">
                <a:pos x="T54" y="T55"/>
              </a:cxn>
              <a:cxn ang="T130">
                <a:pos x="T56" y="T57"/>
              </a:cxn>
              <a:cxn ang="T131">
                <a:pos x="T58" y="T59"/>
              </a:cxn>
              <a:cxn ang="T132">
                <a:pos x="T60" y="T61"/>
              </a:cxn>
              <a:cxn ang="T133">
                <a:pos x="T62" y="T63"/>
              </a:cxn>
              <a:cxn ang="T134">
                <a:pos x="T64" y="T65"/>
              </a:cxn>
              <a:cxn ang="T135">
                <a:pos x="T66" y="T67"/>
              </a:cxn>
              <a:cxn ang="T136">
                <a:pos x="T68" y="T69"/>
              </a:cxn>
              <a:cxn ang="T137">
                <a:pos x="T70" y="T71"/>
              </a:cxn>
              <a:cxn ang="T138">
                <a:pos x="T72" y="T73"/>
              </a:cxn>
              <a:cxn ang="T139">
                <a:pos x="T74" y="T75"/>
              </a:cxn>
              <a:cxn ang="T140">
                <a:pos x="T76" y="T77"/>
              </a:cxn>
              <a:cxn ang="T141">
                <a:pos x="T78" y="T79"/>
              </a:cxn>
              <a:cxn ang="T142">
                <a:pos x="T80" y="T81"/>
              </a:cxn>
              <a:cxn ang="T143">
                <a:pos x="T82" y="T83"/>
              </a:cxn>
              <a:cxn ang="T144">
                <a:pos x="T84" y="T85"/>
              </a:cxn>
              <a:cxn ang="T145">
                <a:pos x="T86" y="T87"/>
              </a:cxn>
              <a:cxn ang="T146">
                <a:pos x="T88" y="T89"/>
              </a:cxn>
              <a:cxn ang="T147">
                <a:pos x="T90" y="T91"/>
              </a:cxn>
              <a:cxn ang="T148">
                <a:pos x="T92" y="T93"/>
              </a:cxn>
              <a:cxn ang="T149">
                <a:pos x="T94" y="T95"/>
              </a:cxn>
              <a:cxn ang="T150">
                <a:pos x="T96" y="T97"/>
              </a:cxn>
              <a:cxn ang="T151">
                <a:pos x="T98" y="T99"/>
              </a:cxn>
              <a:cxn ang="T152">
                <a:pos x="T100" y="T101"/>
              </a:cxn>
            </a:cxnLst>
            <a:rect l="T153" t="T154" r="T155" b="T156"/>
            <a:pathLst>
              <a:path w="983" h="692">
                <a:moveTo>
                  <a:pt x="946" y="352"/>
                </a:moveTo>
                <a:cubicBezTo>
                  <a:pt x="946" y="352"/>
                  <a:pt x="958" y="340"/>
                  <a:pt x="971" y="327"/>
                </a:cubicBezTo>
                <a:cubicBezTo>
                  <a:pt x="971" y="315"/>
                  <a:pt x="920" y="302"/>
                  <a:pt x="920" y="302"/>
                </a:cubicBezTo>
                <a:cubicBezTo>
                  <a:pt x="883" y="315"/>
                  <a:pt x="883" y="315"/>
                  <a:pt x="883" y="315"/>
                </a:cubicBezTo>
                <a:cubicBezTo>
                  <a:pt x="807" y="252"/>
                  <a:pt x="807" y="252"/>
                  <a:pt x="807" y="252"/>
                </a:cubicBezTo>
                <a:cubicBezTo>
                  <a:pt x="832" y="214"/>
                  <a:pt x="832" y="214"/>
                  <a:pt x="832" y="214"/>
                </a:cubicBezTo>
                <a:cubicBezTo>
                  <a:pt x="832" y="214"/>
                  <a:pt x="757" y="164"/>
                  <a:pt x="744" y="151"/>
                </a:cubicBezTo>
                <a:cubicBezTo>
                  <a:pt x="731" y="151"/>
                  <a:pt x="731" y="101"/>
                  <a:pt x="731" y="101"/>
                </a:cubicBezTo>
                <a:cubicBezTo>
                  <a:pt x="706" y="76"/>
                  <a:pt x="706" y="76"/>
                  <a:pt x="706" y="76"/>
                </a:cubicBezTo>
                <a:cubicBezTo>
                  <a:pt x="719" y="13"/>
                  <a:pt x="719" y="13"/>
                  <a:pt x="719" y="13"/>
                </a:cubicBezTo>
                <a:cubicBezTo>
                  <a:pt x="694" y="13"/>
                  <a:pt x="694" y="13"/>
                  <a:pt x="694" y="13"/>
                </a:cubicBezTo>
                <a:cubicBezTo>
                  <a:pt x="618" y="0"/>
                  <a:pt x="618" y="0"/>
                  <a:pt x="618" y="0"/>
                </a:cubicBezTo>
                <a:cubicBezTo>
                  <a:pt x="567" y="25"/>
                  <a:pt x="567" y="25"/>
                  <a:pt x="567" y="25"/>
                </a:cubicBezTo>
                <a:cubicBezTo>
                  <a:pt x="441" y="50"/>
                  <a:pt x="441" y="50"/>
                  <a:pt x="441" y="50"/>
                </a:cubicBezTo>
                <a:cubicBezTo>
                  <a:pt x="416" y="101"/>
                  <a:pt x="416" y="101"/>
                  <a:pt x="416" y="101"/>
                </a:cubicBezTo>
                <a:cubicBezTo>
                  <a:pt x="328" y="138"/>
                  <a:pt x="328" y="138"/>
                  <a:pt x="328" y="138"/>
                </a:cubicBezTo>
                <a:cubicBezTo>
                  <a:pt x="315" y="176"/>
                  <a:pt x="315" y="176"/>
                  <a:pt x="315" y="176"/>
                </a:cubicBezTo>
                <a:cubicBezTo>
                  <a:pt x="277" y="176"/>
                  <a:pt x="277" y="176"/>
                  <a:pt x="277" y="176"/>
                </a:cubicBezTo>
                <a:cubicBezTo>
                  <a:pt x="277" y="226"/>
                  <a:pt x="277" y="226"/>
                  <a:pt x="277" y="226"/>
                </a:cubicBezTo>
                <a:cubicBezTo>
                  <a:pt x="265" y="252"/>
                  <a:pt x="265" y="252"/>
                  <a:pt x="265" y="252"/>
                </a:cubicBezTo>
                <a:cubicBezTo>
                  <a:pt x="189" y="201"/>
                  <a:pt x="189" y="201"/>
                  <a:pt x="189" y="201"/>
                </a:cubicBezTo>
                <a:cubicBezTo>
                  <a:pt x="151" y="252"/>
                  <a:pt x="151" y="252"/>
                  <a:pt x="151" y="252"/>
                </a:cubicBezTo>
                <a:cubicBezTo>
                  <a:pt x="151" y="252"/>
                  <a:pt x="164" y="264"/>
                  <a:pt x="164" y="277"/>
                </a:cubicBezTo>
                <a:cubicBezTo>
                  <a:pt x="164" y="302"/>
                  <a:pt x="139" y="302"/>
                  <a:pt x="139" y="302"/>
                </a:cubicBezTo>
                <a:cubicBezTo>
                  <a:pt x="139" y="340"/>
                  <a:pt x="139" y="340"/>
                  <a:pt x="139" y="340"/>
                </a:cubicBezTo>
                <a:cubicBezTo>
                  <a:pt x="101" y="390"/>
                  <a:pt x="101" y="390"/>
                  <a:pt x="101" y="390"/>
                </a:cubicBezTo>
                <a:cubicBezTo>
                  <a:pt x="25" y="403"/>
                  <a:pt x="25" y="403"/>
                  <a:pt x="25" y="403"/>
                </a:cubicBezTo>
                <a:cubicBezTo>
                  <a:pt x="38" y="465"/>
                  <a:pt x="38" y="465"/>
                  <a:pt x="38" y="465"/>
                </a:cubicBezTo>
                <a:cubicBezTo>
                  <a:pt x="0" y="503"/>
                  <a:pt x="0" y="503"/>
                  <a:pt x="0" y="503"/>
                </a:cubicBezTo>
                <a:cubicBezTo>
                  <a:pt x="13" y="579"/>
                  <a:pt x="13" y="579"/>
                  <a:pt x="13" y="579"/>
                </a:cubicBezTo>
                <a:cubicBezTo>
                  <a:pt x="13" y="579"/>
                  <a:pt x="25" y="604"/>
                  <a:pt x="25" y="604"/>
                </a:cubicBezTo>
                <a:cubicBezTo>
                  <a:pt x="38" y="604"/>
                  <a:pt x="63" y="641"/>
                  <a:pt x="76" y="654"/>
                </a:cubicBezTo>
                <a:cubicBezTo>
                  <a:pt x="101" y="654"/>
                  <a:pt x="126" y="692"/>
                  <a:pt x="139" y="692"/>
                </a:cubicBezTo>
                <a:cubicBezTo>
                  <a:pt x="164" y="679"/>
                  <a:pt x="189" y="667"/>
                  <a:pt x="214" y="654"/>
                </a:cubicBezTo>
                <a:cubicBezTo>
                  <a:pt x="240" y="641"/>
                  <a:pt x="290" y="641"/>
                  <a:pt x="303" y="667"/>
                </a:cubicBezTo>
                <a:cubicBezTo>
                  <a:pt x="303" y="667"/>
                  <a:pt x="328" y="679"/>
                  <a:pt x="341" y="692"/>
                </a:cubicBezTo>
                <a:cubicBezTo>
                  <a:pt x="341" y="604"/>
                  <a:pt x="341" y="604"/>
                  <a:pt x="341" y="604"/>
                </a:cubicBezTo>
                <a:cubicBezTo>
                  <a:pt x="315" y="553"/>
                  <a:pt x="315" y="553"/>
                  <a:pt x="315" y="553"/>
                </a:cubicBezTo>
                <a:cubicBezTo>
                  <a:pt x="328" y="516"/>
                  <a:pt x="328" y="516"/>
                  <a:pt x="328" y="516"/>
                </a:cubicBezTo>
                <a:cubicBezTo>
                  <a:pt x="328" y="516"/>
                  <a:pt x="530" y="516"/>
                  <a:pt x="542" y="516"/>
                </a:cubicBezTo>
                <a:cubicBezTo>
                  <a:pt x="555" y="516"/>
                  <a:pt x="605" y="516"/>
                  <a:pt x="605" y="516"/>
                </a:cubicBezTo>
                <a:cubicBezTo>
                  <a:pt x="643" y="503"/>
                  <a:pt x="643" y="503"/>
                  <a:pt x="643" y="503"/>
                </a:cubicBezTo>
                <a:cubicBezTo>
                  <a:pt x="694" y="503"/>
                  <a:pt x="694" y="503"/>
                  <a:pt x="694" y="503"/>
                </a:cubicBezTo>
                <a:cubicBezTo>
                  <a:pt x="694" y="503"/>
                  <a:pt x="757" y="503"/>
                  <a:pt x="757" y="516"/>
                </a:cubicBezTo>
                <a:cubicBezTo>
                  <a:pt x="757" y="516"/>
                  <a:pt x="782" y="528"/>
                  <a:pt x="794" y="528"/>
                </a:cubicBezTo>
                <a:cubicBezTo>
                  <a:pt x="794" y="516"/>
                  <a:pt x="794" y="516"/>
                  <a:pt x="794" y="516"/>
                </a:cubicBezTo>
                <a:cubicBezTo>
                  <a:pt x="794" y="516"/>
                  <a:pt x="845" y="453"/>
                  <a:pt x="870" y="453"/>
                </a:cubicBezTo>
                <a:cubicBezTo>
                  <a:pt x="895" y="465"/>
                  <a:pt x="920" y="453"/>
                  <a:pt x="933" y="453"/>
                </a:cubicBezTo>
                <a:cubicBezTo>
                  <a:pt x="946" y="453"/>
                  <a:pt x="971" y="415"/>
                  <a:pt x="983" y="403"/>
                </a:cubicBezTo>
                <a:cubicBezTo>
                  <a:pt x="983" y="403"/>
                  <a:pt x="983" y="403"/>
                  <a:pt x="983" y="403"/>
                </a:cubicBezTo>
                <a:lnTo>
                  <a:pt x="946" y="352"/>
                </a:lnTo>
                <a:close/>
              </a:path>
            </a:pathLst>
          </a:custGeom>
          <a:solidFill>
            <a:schemeClr val="accent3"/>
          </a:solidFill>
          <a:ln w="952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 lIns="82878" tIns="41438" rIns="82878" bIns="41438"/>
          <a:lstStyle/>
          <a:p>
            <a:pPr defTabSz="891045"/>
            <a:endParaRPr lang="en-US" sz="1700" dirty="0">
              <a:solidFill>
                <a:srgbClr val="003149"/>
              </a:solidFill>
              <a:cs typeface="Arial" panose="020B0604020202020204" pitchFamily="34" charset="0"/>
            </a:endParaRPr>
          </a:p>
        </p:txBody>
      </p:sp>
      <p:sp>
        <p:nvSpPr>
          <p:cNvPr id="649" name="Freeform 421"/>
          <p:cNvSpPr>
            <a:spLocks/>
          </p:cNvSpPr>
          <p:nvPr/>
        </p:nvSpPr>
        <p:spPr bwMode="gray">
          <a:xfrm>
            <a:off x="1039744" y="2210209"/>
            <a:ext cx="147075" cy="109104"/>
          </a:xfrm>
          <a:custGeom>
            <a:avLst/>
            <a:gdLst>
              <a:gd name="T0" fmla="*/ 255600676 w 983"/>
              <a:gd name="T1" fmla="*/ 0 h 692"/>
              <a:gd name="T2" fmla="*/ 255600676 w 983"/>
              <a:gd name="T3" fmla="*/ 0 h 692"/>
              <a:gd name="T4" fmla="*/ 255600676 w 983"/>
              <a:gd name="T5" fmla="*/ 0 h 692"/>
              <a:gd name="T6" fmla="*/ 255600676 w 983"/>
              <a:gd name="T7" fmla="*/ 0 h 692"/>
              <a:gd name="T8" fmla="*/ 255600676 w 983"/>
              <a:gd name="T9" fmla="*/ 0 h 692"/>
              <a:gd name="T10" fmla="*/ 255600676 w 983"/>
              <a:gd name="T11" fmla="*/ 0 h 692"/>
              <a:gd name="T12" fmla="*/ 255600676 w 983"/>
              <a:gd name="T13" fmla="*/ 0 h 692"/>
              <a:gd name="T14" fmla="*/ 255600676 w 983"/>
              <a:gd name="T15" fmla="*/ 0 h 692"/>
              <a:gd name="T16" fmla="*/ 255600676 w 983"/>
              <a:gd name="T17" fmla="*/ 0 h 692"/>
              <a:gd name="T18" fmla="*/ 255600676 w 983"/>
              <a:gd name="T19" fmla="*/ 0 h 692"/>
              <a:gd name="T20" fmla="*/ 255600676 w 983"/>
              <a:gd name="T21" fmla="*/ 0 h 692"/>
              <a:gd name="T22" fmla="*/ 255600676 w 983"/>
              <a:gd name="T23" fmla="*/ 0 h 692"/>
              <a:gd name="T24" fmla="*/ 255600676 w 983"/>
              <a:gd name="T25" fmla="*/ 0 h 692"/>
              <a:gd name="T26" fmla="*/ 255600676 w 983"/>
              <a:gd name="T27" fmla="*/ 0 h 692"/>
              <a:gd name="T28" fmla="*/ 0 w 983"/>
              <a:gd name="T29" fmla="*/ 0 h 692"/>
              <a:gd name="T30" fmla="*/ 0 w 983"/>
              <a:gd name="T31" fmla="*/ 0 h 692"/>
              <a:gd name="T32" fmla="*/ 0 w 983"/>
              <a:gd name="T33" fmla="*/ 0 h 692"/>
              <a:gd name="T34" fmla="*/ 0 w 983"/>
              <a:gd name="T35" fmla="*/ 0 h 692"/>
              <a:gd name="T36" fmla="*/ 0 w 983"/>
              <a:gd name="T37" fmla="*/ 0 h 692"/>
              <a:gd name="T38" fmla="*/ 0 w 983"/>
              <a:gd name="T39" fmla="*/ 0 h 692"/>
              <a:gd name="T40" fmla="*/ 0 w 983"/>
              <a:gd name="T41" fmla="*/ 0 h 692"/>
              <a:gd name="T42" fmla="*/ 0 w 983"/>
              <a:gd name="T43" fmla="*/ 0 h 692"/>
              <a:gd name="T44" fmla="*/ 0 w 983"/>
              <a:gd name="T45" fmla="*/ 0 h 692"/>
              <a:gd name="T46" fmla="*/ 0 w 983"/>
              <a:gd name="T47" fmla="*/ 0 h 692"/>
              <a:gd name="T48" fmla="*/ 0 w 983"/>
              <a:gd name="T49" fmla="*/ 0 h 692"/>
              <a:gd name="T50" fmla="*/ 0 w 983"/>
              <a:gd name="T51" fmla="*/ 0 h 692"/>
              <a:gd name="T52" fmla="*/ 0 w 983"/>
              <a:gd name="T53" fmla="*/ 0 h 692"/>
              <a:gd name="T54" fmla="*/ 0 w 983"/>
              <a:gd name="T55" fmla="*/ 266883648 h 692"/>
              <a:gd name="T56" fmla="*/ 0 w 983"/>
              <a:gd name="T57" fmla="*/ 266883648 h 692"/>
              <a:gd name="T58" fmla="*/ 0 w 983"/>
              <a:gd name="T59" fmla="*/ 266883648 h 692"/>
              <a:gd name="T60" fmla="*/ 0 w 983"/>
              <a:gd name="T61" fmla="*/ 266883648 h 692"/>
              <a:gd name="T62" fmla="*/ 0 w 983"/>
              <a:gd name="T63" fmla="*/ 266883648 h 692"/>
              <a:gd name="T64" fmla="*/ 0 w 983"/>
              <a:gd name="T65" fmla="*/ 266883648 h 692"/>
              <a:gd name="T66" fmla="*/ 0 w 983"/>
              <a:gd name="T67" fmla="*/ 266883648 h 692"/>
              <a:gd name="T68" fmla="*/ 0 w 983"/>
              <a:gd name="T69" fmla="*/ 266883648 h 692"/>
              <a:gd name="T70" fmla="*/ 0 w 983"/>
              <a:gd name="T71" fmla="*/ 266883648 h 692"/>
              <a:gd name="T72" fmla="*/ 0 w 983"/>
              <a:gd name="T73" fmla="*/ 266883648 h 692"/>
              <a:gd name="T74" fmla="*/ 0 w 983"/>
              <a:gd name="T75" fmla="*/ 266883648 h 692"/>
              <a:gd name="T76" fmla="*/ 0 w 983"/>
              <a:gd name="T77" fmla="*/ 266883648 h 692"/>
              <a:gd name="T78" fmla="*/ 255600676 w 983"/>
              <a:gd name="T79" fmla="*/ 266883648 h 692"/>
              <a:gd name="T80" fmla="*/ 255600676 w 983"/>
              <a:gd name="T81" fmla="*/ 266883648 h 692"/>
              <a:gd name="T82" fmla="*/ 255600676 w 983"/>
              <a:gd name="T83" fmla="*/ 266883648 h 692"/>
              <a:gd name="T84" fmla="*/ 255600676 w 983"/>
              <a:gd name="T85" fmla="*/ 266883648 h 692"/>
              <a:gd name="T86" fmla="*/ 255600676 w 983"/>
              <a:gd name="T87" fmla="*/ 266883648 h 692"/>
              <a:gd name="T88" fmla="*/ 255600676 w 983"/>
              <a:gd name="T89" fmla="*/ 266883648 h 692"/>
              <a:gd name="T90" fmla="*/ 255600676 w 983"/>
              <a:gd name="T91" fmla="*/ 266883648 h 692"/>
              <a:gd name="T92" fmla="*/ 255600676 w 983"/>
              <a:gd name="T93" fmla="*/ 266883648 h 692"/>
              <a:gd name="T94" fmla="*/ 255600676 w 983"/>
              <a:gd name="T95" fmla="*/ 266883648 h 692"/>
              <a:gd name="T96" fmla="*/ 255600676 w 983"/>
              <a:gd name="T97" fmla="*/ 0 h 692"/>
              <a:gd name="T98" fmla="*/ 255600676 w 983"/>
              <a:gd name="T99" fmla="*/ 0 h 692"/>
              <a:gd name="T100" fmla="*/ 255600676 w 983"/>
              <a:gd name="T101" fmla="*/ 0 h 692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w 983"/>
              <a:gd name="T154" fmla="*/ 0 h 692"/>
              <a:gd name="T155" fmla="*/ 983 w 983"/>
              <a:gd name="T156" fmla="*/ 692 h 692"/>
            </a:gdLst>
            <a:ahLst/>
            <a:cxnLst>
              <a:cxn ang="T102">
                <a:pos x="T0" y="T1"/>
              </a:cxn>
              <a:cxn ang="T103">
                <a:pos x="T2" y="T3"/>
              </a:cxn>
              <a:cxn ang="T104">
                <a:pos x="T4" y="T5"/>
              </a:cxn>
              <a:cxn ang="T105">
                <a:pos x="T6" y="T7"/>
              </a:cxn>
              <a:cxn ang="T106">
                <a:pos x="T8" y="T9"/>
              </a:cxn>
              <a:cxn ang="T107">
                <a:pos x="T10" y="T11"/>
              </a:cxn>
              <a:cxn ang="T108">
                <a:pos x="T12" y="T13"/>
              </a:cxn>
              <a:cxn ang="T109">
                <a:pos x="T14" y="T15"/>
              </a:cxn>
              <a:cxn ang="T110">
                <a:pos x="T16" y="T17"/>
              </a:cxn>
              <a:cxn ang="T111">
                <a:pos x="T18" y="T19"/>
              </a:cxn>
              <a:cxn ang="T112">
                <a:pos x="T20" y="T21"/>
              </a:cxn>
              <a:cxn ang="T113">
                <a:pos x="T22" y="T23"/>
              </a:cxn>
              <a:cxn ang="T114">
                <a:pos x="T24" y="T25"/>
              </a:cxn>
              <a:cxn ang="T115">
                <a:pos x="T26" y="T27"/>
              </a:cxn>
              <a:cxn ang="T116">
                <a:pos x="T28" y="T29"/>
              </a:cxn>
              <a:cxn ang="T117">
                <a:pos x="T30" y="T31"/>
              </a:cxn>
              <a:cxn ang="T118">
                <a:pos x="T32" y="T33"/>
              </a:cxn>
              <a:cxn ang="T119">
                <a:pos x="T34" y="T35"/>
              </a:cxn>
              <a:cxn ang="T120">
                <a:pos x="T36" y="T37"/>
              </a:cxn>
              <a:cxn ang="T121">
                <a:pos x="T38" y="T39"/>
              </a:cxn>
              <a:cxn ang="T122">
                <a:pos x="T40" y="T41"/>
              </a:cxn>
              <a:cxn ang="T123">
                <a:pos x="T42" y="T43"/>
              </a:cxn>
              <a:cxn ang="T124">
                <a:pos x="T44" y="T45"/>
              </a:cxn>
              <a:cxn ang="T125">
                <a:pos x="T46" y="T47"/>
              </a:cxn>
              <a:cxn ang="T126">
                <a:pos x="T48" y="T49"/>
              </a:cxn>
              <a:cxn ang="T127">
                <a:pos x="T50" y="T51"/>
              </a:cxn>
              <a:cxn ang="T128">
                <a:pos x="T52" y="T53"/>
              </a:cxn>
              <a:cxn ang="T129">
                <a:pos x="T54" y="T55"/>
              </a:cxn>
              <a:cxn ang="T130">
                <a:pos x="T56" y="T57"/>
              </a:cxn>
              <a:cxn ang="T131">
                <a:pos x="T58" y="T59"/>
              </a:cxn>
              <a:cxn ang="T132">
                <a:pos x="T60" y="T61"/>
              </a:cxn>
              <a:cxn ang="T133">
                <a:pos x="T62" y="T63"/>
              </a:cxn>
              <a:cxn ang="T134">
                <a:pos x="T64" y="T65"/>
              </a:cxn>
              <a:cxn ang="T135">
                <a:pos x="T66" y="T67"/>
              </a:cxn>
              <a:cxn ang="T136">
                <a:pos x="T68" y="T69"/>
              </a:cxn>
              <a:cxn ang="T137">
                <a:pos x="T70" y="T71"/>
              </a:cxn>
              <a:cxn ang="T138">
                <a:pos x="T72" y="T73"/>
              </a:cxn>
              <a:cxn ang="T139">
                <a:pos x="T74" y="T75"/>
              </a:cxn>
              <a:cxn ang="T140">
                <a:pos x="T76" y="T77"/>
              </a:cxn>
              <a:cxn ang="T141">
                <a:pos x="T78" y="T79"/>
              </a:cxn>
              <a:cxn ang="T142">
                <a:pos x="T80" y="T81"/>
              </a:cxn>
              <a:cxn ang="T143">
                <a:pos x="T82" y="T83"/>
              </a:cxn>
              <a:cxn ang="T144">
                <a:pos x="T84" y="T85"/>
              </a:cxn>
              <a:cxn ang="T145">
                <a:pos x="T86" y="T87"/>
              </a:cxn>
              <a:cxn ang="T146">
                <a:pos x="T88" y="T89"/>
              </a:cxn>
              <a:cxn ang="T147">
                <a:pos x="T90" y="T91"/>
              </a:cxn>
              <a:cxn ang="T148">
                <a:pos x="T92" y="T93"/>
              </a:cxn>
              <a:cxn ang="T149">
                <a:pos x="T94" y="T95"/>
              </a:cxn>
              <a:cxn ang="T150">
                <a:pos x="T96" y="T97"/>
              </a:cxn>
              <a:cxn ang="T151">
                <a:pos x="T98" y="T99"/>
              </a:cxn>
              <a:cxn ang="T152">
                <a:pos x="T100" y="T101"/>
              </a:cxn>
            </a:cxnLst>
            <a:rect l="T153" t="T154" r="T155" b="T156"/>
            <a:pathLst>
              <a:path w="983" h="692">
                <a:moveTo>
                  <a:pt x="946" y="352"/>
                </a:moveTo>
                <a:cubicBezTo>
                  <a:pt x="946" y="352"/>
                  <a:pt x="958" y="340"/>
                  <a:pt x="971" y="327"/>
                </a:cubicBezTo>
                <a:cubicBezTo>
                  <a:pt x="971" y="315"/>
                  <a:pt x="920" y="302"/>
                  <a:pt x="920" y="302"/>
                </a:cubicBezTo>
                <a:cubicBezTo>
                  <a:pt x="883" y="315"/>
                  <a:pt x="883" y="315"/>
                  <a:pt x="883" y="315"/>
                </a:cubicBezTo>
                <a:cubicBezTo>
                  <a:pt x="807" y="252"/>
                  <a:pt x="807" y="252"/>
                  <a:pt x="807" y="252"/>
                </a:cubicBezTo>
                <a:cubicBezTo>
                  <a:pt x="832" y="214"/>
                  <a:pt x="832" y="214"/>
                  <a:pt x="832" y="214"/>
                </a:cubicBezTo>
                <a:cubicBezTo>
                  <a:pt x="832" y="214"/>
                  <a:pt x="757" y="164"/>
                  <a:pt x="744" y="151"/>
                </a:cubicBezTo>
                <a:cubicBezTo>
                  <a:pt x="731" y="151"/>
                  <a:pt x="731" y="101"/>
                  <a:pt x="731" y="101"/>
                </a:cubicBezTo>
                <a:cubicBezTo>
                  <a:pt x="706" y="76"/>
                  <a:pt x="706" y="76"/>
                  <a:pt x="706" y="76"/>
                </a:cubicBezTo>
                <a:cubicBezTo>
                  <a:pt x="719" y="13"/>
                  <a:pt x="719" y="13"/>
                  <a:pt x="719" y="13"/>
                </a:cubicBezTo>
                <a:cubicBezTo>
                  <a:pt x="694" y="13"/>
                  <a:pt x="694" y="13"/>
                  <a:pt x="694" y="13"/>
                </a:cubicBezTo>
                <a:cubicBezTo>
                  <a:pt x="618" y="0"/>
                  <a:pt x="618" y="0"/>
                  <a:pt x="618" y="0"/>
                </a:cubicBezTo>
                <a:cubicBezTo>
                  <a:pt x="567" y="25"/>
                  <a:pt x="567" y="25"/>
                  <a:pt x="567" y="25"/>
                </a:cubicBezTo>
                <a:cubicBezTo>
                  <a:pt x="441" y="50"/>
                  <a:pt x="441" y="50"/>
                  <a:pt x="441" y="50"/>
                </a:cubicBezTo>
                <a:cubicBezTo>
                  <a:pt x="416" y="101"/>
                  <a:pt x="416" y="101"/>
                  <a:pt x="416" y="101"/>
                </a:cubicBezTo>
                <a:cubicBezTo>
                  <a:pt x="328" y="138"/>
                  <a:pt x="328" y="138"/>
                  <a:pt x="328" y="138"/>
                </a:cubicBezTo>
                <a:cubicBezTo>
                  <a:pt x="315" y="176"/>
                  <a:pt x="315" y="176"/>
                  <a:pt x="315" y="176"/>
                </a:cubicBezTo>
                <a:cubicBezTo>
                  <a:pt x="277" y="176"/>
                  <a:pt x="277" y="176"/>
                  <a:pt x="277" y="176"/>
                </a:cubicBezTo>
                <a:cubicBezTo>
                  <a:pt x="277" y="226"/>
                  <a:pt x="277" y="226"/>
                  <a:pt x="277" y="226"/>
                </a:cubicBezTo>
                <a:cubicBezTo>
                  <a:pt x="265" y="252"/>
                  <a:pt x="265" y="252"/>
                  <a:pt x="265" y="252"/>
                </a:cubicBezTo>
                <a:cubicBezTo>
                  <a:pt x="189" y="201"/>
                  <a:pt x="189" y="201"/>
                  <a:pt x="189" y="201"/>
                </a:cubicBezTo>
                <a:cubicBezTo>
                  <a:pt x="151" y="252"/>
                  <a:pt x="151" y="252"/>
                  <a:pt x="151" y="252"/>
                </a:cubicBezTo>
                <a:cubicBezTo>
                  <a:pt x="151" y="252"/>
                  <a:pt x="164" y="264"/>
                  <a:pt x="164" y="277"/>
                </a:cubicBezTo>
                <a:cubicBezTo>
                  <a:pt x="164" y="302"/>
                  <a:pt x="139" y="302"/>
                  <a:pt x="139" y="302"/>
                </a:cubicBezTo>
                <a:cubicBezTo>
                  <a:pt x="139" y="340"/>
                  <a:pt x="139" y="340"/>
                  <a:pt x="139" y="340"/>
                </a:cubicBezTo>
                <a:cubicBezTo>
                  <a:pt x="101" y="390"/>
                  <a:pt x="101" y="390"/>
                  <a:pt x="101" y="390"/>
                </a:cubicBezTo>
                <a:cubicBezTo>
                  <a:pt x="25" y="403"/>
                  <a:pt x="25" y="403"/>
                  <a:pt x="25" y="403"/>
                </a:cubicBezTo>
                <a:cubicBezTo>
                  <a:pt x="38" y="465"/>
                  <a:pt x="38" y="465"/>
                  <a:pt x="38" y="465"/>
                </a:cubicBezTo>
                <a:cubicBezTo>
                  <a:pt x="0" y="503"/>
                  <a:pt x="0" y="503"/>
                  <a:pt x="0" y="503"/>
                </a:cubicBezTo>
                <a:cubicBezTo>
                  <a:pt x="13" y="579"/>
                  <a:pt x="13" y="579"/>
                  <a:pt x="13" y="579"/>
                </a:cubicBezTo>
                <a:cubicBezTo>
                  <a:pt x="13" y="579"/>
                  <a:pt x="25" y="604"/>
                  <a:pt x="25" y="604"/>
                </a:cubicBezTo>
                <a:cubicBezTo>
                  <a:pt x="38" y="604"/>
                  <a:pt x="63" y="641"/>
                  <a:pt x="76" y="654"/>
                </a:cubicBezTo>
                <a:cubicBezTo>
                  <a:pt x="101" y="654"/>
                  <a:pt x="126" y="692"/>
                  <a:pt x="139" y="692"/>
                </a:cubicBezTo>
                <a:cubicBezTo>
                  <a:pt x="164" y="679"/>
                  <a:pt x="189" y="667"/>
                  <a:pt x="214" y="654"/>
                </a:cubicBezTo>
                <a:cubicBezTo>
                  <a:pt x="240" y="641"/>
                  <a:pt x="290" y="641"/>
                  <a:pt x="303" y="667"/>
                </a:cubicBezTo>
                <a:cubicBezTo>
                  <a:pt x="303" y="667"/>
                  <a:pt x="328" y="679"/>
                  <a:pt x="341" y="692"/>
                </a:cubicBezTo>
                <a:cubicBezTo>
                  <a:pt x="341" y="604"/>
                  <a:pt x="341" y="604"/>
                  <a:pt x="341" y="604"/>
                </a:cubicBezTo>
                <a:cubicBezTo>
                  <a:pt x="315" y="553"/>
                  <a:pt x="315" y="553"/>
                  <a:pt x="315" y="553"/>
                </a:cubicBezTo>
                <a:cubicBezTo>
                  <a:pt x="328" y="516"/>
                  <a:pt x="328" y="516"/>
                  <a:pt x="328" y="516"/>
                </a:cubicBezTo>
                <a:cubicBezTo>
                  <a:pt x="328" y="516"/>
                  <a:pt x="530" y="516"/>
                  <a:pt x="542" y="516"/>
                </a:cubicBezTo>
                <a:cubicBezTo>
                  <a:pt x="555" y="516"/>
                  <a:pt x="605" y="516"/>
                  <a:pt x="605" y="516"/>
                </a:cubicBezTo>
                <a:cubicBezTo>
                  <a:pt x="643" y="503"/>
                  <a:pt x="643" y="503"/>
                  <a:pt x="643" y="503"/>
                </a:cubicBezTo>
                <a:cubicBezTo>
                  <a:pt x="694" y="503"/>
                  <a:pt x="694" y="503"/>
                  <a:pt x="694" y="503"/>
                </a:cubicBezTo>
                <a:cubicBezTo>
                  <a:pt x="694" y="503"/>
                  <a:pt x="757" y="503"/>
                  <a:pt x="757" y="516"/>
                </a:cubicBezTo>
                <a:cubicBezTo>
                  <a:pt x="757" y="516"/>
                  <a:pt x="782" y="528"/>
                  <a:pt x="794" y="528"/>
                </a:cubicBezTo>
                <a:cubicBezTo>
                  <a:pt x="794" y="516"/>
                  <a:pt x="794" y="516"/>
                  <a:pt x="794" y="516"/>
                </a:cubicBezTo>
                <a:cubicBezTo>
                  <a:pt x="794" y="516"/>
                  <a:pt x="845" y="453"/>
                  <a:pt x="870" y="453"/>
                </a:cubicBezTo>
                <a:cubicBezTo>
                  <a:pt x="895" y="465"/>
                  <a:pt x="920" y="453"/>
                  <a:pt x="933" y="453"/>
                </a:cubicBezTo>
                <a:cubicBezTo>
                  <a:pt x="946" y="453"/>
                  <a:pt x="971" y="415"/>
                  <a:pt x="983" y="403"/>
                </a:cubicBezTo>
                <a:cubicBezTo>
                  <a:pt x="983" y="403"/>
                  <a:pt x="983" y="403"/>
                  <a:pt x="983" y="403"/>
                </a:cubicBezTo>
                <a:lnTo>
                  <a:pt x="946" y="352"/>
                </a:lnTo>
                <a:close/>
              </a:path>
            </a:pathLst>
          </a:custGeom>
          <a:solidFill>
            <a:schemeClr val="accent3"/>
          </a:solidFill>
          <a:ln w="9525" cap="rnd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 lIns="82878" tIns="41438" rIns="82878" bIns="41438"/>
          <a:lstStyle/>
          <a:p>
            <a:pPr defTabSz="891045"/>
            <a:endParaRPr lang="en-US" sz="1700" dirty="0">
              <a:solidFill>
                <a:srgbClr val="003149"/>
              </a:solidFill>
              <a:cs typeface="Arial" panose="020B0604020202020204" pitchFamily="34" charset="0"/>
            </a:endParaRPr>
          </a:p>
        </p:txBody>
      </p:sp>
      <p:sp>
        <p:nvSpPr>
          <p:cNvPr id="650" name="Freeform 423"/>
          <p:cNvSpPr>
            <a:spLocks/>
          </p:cNvSpPr>
          <p:nvPr/>
        </p:nvSpPr>
        <p:spPr bwMode="gray">
          <a:xfrm>
            <a:off x="981948" y="1721772"/>
            <a:ext cx="384657" cy="408507"/>
          </a:xfrm>
          <a:custGeom>
            <a:avLst/>
            <a:gdLst>
              <a:gd name="T0" fmla="*/ 252742151 w 2600"/>
              <a:gd name="T1" fmla="*/ 265957427 h 2600"/>
              <a:gd name="T2" fmla="*/ 252742151 w 2600"/>
              <a:gd name="T3" fmla="*/ 265957427 h 2600"/>
              <a:gd name="T4" fmla="*/ 252742151 w 2600"/>
              <a:gd name="T5" fmla="*/ 265957427 h 2600"/>
              <a:gd name="T6" fmla="*/ 252742151 w 2600"/>
              <a:gd name="T7" fmla="*/ 265957427 h 2600"/>
              <a:gd name="T8" fmla="*/ 252742151 w 2600"/>
              <a:gd name="T9" fmla="*/ 265957427 h 2600"/>
              <a:gd name="T10" fmla="*/ 252742151 w 2600"/>
              <a:gd name="T11" fmla="*/ 265957427 h 2600"/>
              <a:gd name="T12" fmla="*/ 252742151 w 2600"/>
              <a:gd name="T13" fmla="*/ 265957427 h 2600"/>
              <a:gd name="T14" fmla="*/ 252742151 w 2600"/>
              <a:gd name="T15" fmla="*/ 265957427 h 2600"/>
              <a:gd name="T16" fmla="*/ 252742151 w 2600"/>
              <a:gd name="T17" fmla="*/ 265957427 h 2600"/>
              <a:gd name="T18" fmla="*/ 252742151 w 2600"/>
              <a:gd name="T19" fmla="*/ 265957427 h 2600"/>
              <a:gd name="T20" fmla="*/ 252742151 w 2600"/>
              <a:gd name="T21" fmla="*/ 0 h 2600"/>
              <a:gd name="T22" fmla="*/ 252742151 w 2600"/>
              <a:gd name="T23" fmla="*/ 0 h 2600"/>
              <a:gd name="T24" fmla="*/ 252742151 w 2600"/>
              <a:gd name="T25" fmla="*/ 0 h 2600"/>
              <a:gd name="T26" fmla="*/ 252742151 w 2600"/>
              <a:gd name="T27" fmla="*/ 0 h 2600"/>
              <a:gd name="T28" fmla="*/ 252742151 w 2600"/>
              <a:gd name="T29" fmla="*/ 0 h 2600"/>
              <a:gd name="T30" fmla="*/ 252742151 w 2600"/>
              <a:gd name="T31" fmla="*/ 0 h 2600"/>
              <a:gd name="T32" fmla="*/ 252742151 w 2600"/>
              <a:gd name="T33" fmla="*/ 0 h 2600"/>
              <a:gd name="T34" fmla="*/ 252742151 w 2600"/>
              <a:gd name="T35" fmla="*/ 0 h 2600"/>
              <a:gd name="T36" fmla="*/ 252742151 w 2600"/>
              <a:gd name="T37" fmla="*/ 0 h 2600"/>
              <a:gd name="T38" fmla="*/ 252742151 w 2600"/>
              <a:gd name="T39" fmla="*/ 0 h 2600"/>
              <a:gd name="T40" fmla="*/ 252742151 w 2600"/>
              <a:gd name="T41" fmla="*/ 0 h 2600"/>
              <a:gd name="T42" fmla="*/ 252742151 w 2600"/>
              <a:gd name="T43" fmla="*/ 0 h 2600"/>
              <a:gd name="T44" fmla="*/ 252742151 w 2600"/>
              <a:gd name="T45" fmla="*/ 265957427 h 2600"/>
              <a:gd name="T46" fmla="*/ 252742151 w 2600"/>
              <a:gd name="T47" fmla="*/ 265957427 h 2600"/>
              <a:gd name="T48" fmla="*/ 252742151 w 2600"/>
              <a:gd name="T49" fmla="*/ 265957427 h 2600"/>
              <a:gd name="T50" fmla="*/ 252742151 w 2600"/>
              <a:gd name="T51" fmla="*/ 265957427 h 2600"/>
              <a:gd name="T52" fmla="*/ 0 w 2600"/>
              <a:gd name="T53" fmla="*/ 265957427 h 2600"/>
              <a:gd name="T54" fmla="*/ 0 w 2600"/>
              <a:gd name="T55" fmla="*/ 265957427 h 2600"/>
              <a:gd name="T56" fmla="*/ 0 w 2600"/>
              <a:gd name="T57" fmla="*/ 265957427 h 2600"/>
              <a:gd name="T58" fmla="*/ 252742151 w 2600"/>
              <a:gd name="T59" fmla="*/ 265957427 h 2600"/>
              <a:gd name="T60" fmla="*/ 252742151 w 2600"/>
              <a:gd name="T61" fmla="*/ 265957427 h 2600"/>
              <a:gd name="T62" fmla="*/ 252742151 w 2600"/>
              <a:gd name="T63" fmla="*/ 265957427 h 2600"/>
              <a:gd name="T64" fmla="*/ 252742151 w 2600"/>
              <a:gd name="T65" fmla="*/ 265957427 h 2600"/>
              <a:gd name="T66" fmla="*/ 252742151 w 2600"/>
              <a:gd name="T67" fmla="*/ 265957427 h 2600"/>
              <a:gd name="T68" fmla="*/ 252742151 w 2600"/>
              <a:gd name="T69" fmla="*/ 265957427 h 2600"/>
              <a:gd name="T70" fmla="*/ 252742151 w 2600"/>
              <a:gd name="T71" fmla="*/ 265957427 h 2600"/>
              <a:gd name="T72" fmla="*/ 252742151 w 2600"/>
              <a:gd name="T73" fmla="*/ 265957427 h 2600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w 2600"/>
              <a:gd name="T112" fmla="*/ 0 h 2600"/>
              <a:gd name="T113" fmla="*/ 2600 w 2600"/>
              <a:gd name="T114" fmla="*/ 2600 h 2600"/>
            </a:gdLst>
            <a:ahLst/>
            <a:cxnLst>
              <a:cxn ang="T74">
                <a:pos x="T0" y="T1"/>
              </a:cxn>
              <a:cxn ang="T75">
                <a:pos x="T2" y="T3"/>
              </a:cxn>
              <a:cxn ang="T76">
                <a:pos x="T4" y="T5"/>
              </a:cxn>
              <a:cxn ang="T77">
                <a:pos x="T6" y="T7"/>
              </a:cxn>
              <a:cxn ang="T78">
                <a:pos x="T8" y="T9"/>
              </a:cxn>
              <a:cxn ang="T79">
                <a:pos x="T10" y="T11"/>
              </a:cxn>
              <a:cxn ang="T80">
                <a:pos x="T12" y="T13"/>
              </a:cxn>
              <a:cxn ang="T81">
                <a:pos x="T14" y="T15"/>
              </a:cxn>
              <a:cxn ang="T82">
                <a:pos x="T16" y="T17"/>
              </a:cxn>
              <a:cxn ang="T83">
                <a:pos x="T18" y="T19"/>
              </a:cxn>
              <a:cxn ang="T84">
                <a:pos x="T20" y="T21"/>
              </a:cxn>
              <a:cxn ang="T85">
                <a:pos x="T22" y="T23"/>
              </a:cxn>
              <a:cxn ang="T86">
                <a:pos x="T24" y="T25"/>
              </a:cxn>
              <a:cxn ang="T87">
                <a:pos x="T26" y="T27"/>
              </a:cxn>
              <a:cxn ang="T88">
                <a:pos x="T28" y="T29"/>
              </a:cxn>
              <a:cxn ang="T89">
                <a:pos x="T30" y="T31"/>
              </a:cxn>
              <a:cxn ang="T90">
                <a:pos x="T32" y="T33"/>
              </a:cxn>
              <a:cxn ang="T91">
                <a:pos x="T34" y="T35"/>
              </a:cxn>
              <a:cxn ang="T92">
                <a:pos x="T36" y="T37"/>
              </a:cxn>
              <a:cxn ang="T93">
                <a:pos x="T38" y="T39"/>
              </a:cxn>
              <a:cxn ang="T94">
                <a:pos x="T40" y="T41"/>
              </a:cxn>
              <a:cxn ang="T95">
                <a:pos x="T42" y="T43"/>
              </a:cxn>
              <a:cxn ang="T96">
                <a:pos x="T44" y="T45"/>
              </a:cxn>
              <a:cxn ang="T97">
                <a:pos x="T46" y="T47"/>
              </a:cxn>
              <a:cxn ang="T98">
                <a:pos x="T48" y="T49"/>
              </a:cxn>
              <a:cxn ang="T99">
                <a:pos x="T50" y="T51"/>
              </a:cxn>
              <a:cxn ang="T100">
                <a:pos x="T52" y="T53"/>
              </a:cxn>
              <a:cxn ang="T101">
                <a:pos x="T54" y="T55"/>
              </a:cxn>
              <a:cxn ang="T102">
                <a:pos x="T56" y="T57"/>
              </a:cxn>
              <a:cxn ang="T103">
                <a:pos x="T58" y="T59"/>
              </a:cxn>
              <a:cxn ang="T104">
                <a:pos x="T60" y="T61"/>
              </a:cxn>
              <a:cxn ang="T105">
                <a:pos x="T62" y="T63"/>
              </a:cxn>
              <a:cxn ang="T106">
                <a:pos x="T64" y="T65"/>
              </a:cxn>
              <a:cxn ang="T107">
                <a:pos x="T66" y="T67"/>
              </a:cxn>
              <a:cxn ang="T108">
                <a:pos x="T68" y="T69"/>
              </a:cxn>
              <a:cxn ang="T109">
                <a:pos x="T70" y="T71"/>
              </a:cxn>
              <a:cxn ang="T110">
                <a:pos x="T72" y="T73"/>
              </a:cxn>
            </a:cxnLst>
            <a:rect l="T111" t="T112" r="T113" b="T114"/>
            <a:pathLst>
              <a:path w="2600" h="2600">
                <a:moveTo>
                  <a:pt x="2562" y="1883"/>
                </a:moveTo>
                <a:cubicBezTo>
                  <a:pt x="2536" y="1896"/>
                  <a:pt x="2536" y="1896"/>
                  <a:pt x="2536" y="1896"/>
                </a:cubicBezTo>
                <a:cubicBezTo>
                  <a:pt x="2536" y="1896"/>
                  <a:pt x="2459" y="1845"/>
                  <a:pt x="2446" y="1832"/>
                </a:cubicBezTo>
                <a:cubicBezTo>
                  <a:pt x="2434" y="1832"/>
                  <a:pt x="2434" y="1845"/>
                  <a:pt x="2408" y="1845"/>
                </a:cubicBezTo>
                <a:cubicBezTo>
                  <a:pt x="2395" y="1858"/>
                  <a:pt x="2382" y="1832"/>
                  <a:pt x="2382" y="1819"/>
                </a:cubicBezTo>
                <a:cubicBezTo>
                  <a:pt x="2382" y="1794"/>
                  <a:pt x="2357" y="1806"/>
                  <a:pt x="2357" y="1806"/>
                </a:cubicBezTo>
                <a:cubicBezTo>
                  <a:pt x="2357" y="1742"/>
                  <a:pt x="2357" y="1742"/>
                  <a:pt x="2357" y="1742"/>
                </a:cubicBezTo>
                <a:cubicBezTo>
                  <a:pt x="2357" y="1742"/>
                  <a:pt x="2267" y="1627"/>
                  <a:pt x="2280" y="1614"/>
                </a:cubicBezTo>
                <a:cubicBezTo>
                  <a:pt x="2280" y="1614"/>
                  <a:pt x="2331" y="1576"/>
                  <a:pt x="2344" y="1550"/>
                </a:cubicBezTo>
                <a:cubicBezTo>
                  <a:pt x="2344" y="1525"/>
                  <a:pt x="2331" y="1473"/>
                  <a:pt x="2331" y="1435"/>
                </a:cubicBezTo>
                <a:cubicBezTo>
                  <a:pt x="2331" y="1409"/>
                  <a:pt x="2357" y="1371"/>
                  <a:pt x="2357" y="1371"/>
                </a:cubicBezTo>
                <a:cubicBezTo>
                  <a:pt x="2357" y="1371"/>
                  <a:pt x="2331" y="1332"/>
                  <a:pt x="2331" y="1307"/>
                </a:cubicBezTo>
                <a:cubicBezTo>
                  <a:pt x="2344" y="1281"/>
                  <a:pt x="2331" y="1204"/>
                  <a:pt x="2318" y="1153"/>
                </a:cubicBezTo>
                <a:cubicBezTo>
                  <a:pt x="2306" y="1089"/>
                  <a:pt x="2280" y="1051"/>
                  <a:pt x="2280" y="1051"/>
                </a:cubicBezTo>
                <a:cubicBezTo>
                  <a:pt x="2306" y="1038"/>
                  <a:pt x="2306" y="1038"/>
                  <a:pt x="2306" y="1038"/>
                </a:cubicBezTo>
                <a:cubicBezTo>
                  <a:pt x="2242" y="769"/>
                  <a:pt x="2242" y="769"/>
                  <a:pt x="2242" y="769"/>
                </a:cubicBezTo>
                <a:cubicBezTo>
                  <a:pt x="2139" y="692"/>
                  <a:pt x="2139" y="692"/>
                  <a:pt x="2139" y="692"/>
                </a:cubicBezTo>
                <a:cubicBezTo>
                  <a:pt x="2139" y="692"/>
                  <a:pt x="2139" y="654"/>
                  <a:pt x="2113" y="615"/>
                </a:cubicBezTo>
                <a:cubicBezTo>
                  <a:pt x="2101" y="590"/>
                  <a:pt x="2062" y="602"/>
                  <a:pt x="2062" y="602"/>
                </a:cubicBezTo>
                <a:cubicBezTo>
                  <a:pt x="2062" y="602"/>
                  <a:pt x="2062" y="590"/>
                  <a:pt x="2062" y="564"/>
                </a:cubicBezTo>
                <a:cubicBezTo>
                  <a:pt x="2062" y="538"/>
                  <a:pt x="2049" y="487"/>
                  <a:pt x="2049" y="474"/>
                </a:cubicBezTo>
                <a:cubicBezTo>
                  <a:pt x="2049" y="462"/>
                  <a:pt x="2075" y="436"/>
                  <a:pt x="2088" y="423"/>
                </a:cubicBezTo>
                <a:cubicBezTo>
                  <a:pt x="2088" y="398"/>
                  <a:pt x="2126" y="372"/>
                  <a:pt x="2139" y="372"/>
                </a:cubicBezTo>
                <a:cubicBezTo>
                  <a:pt x="2152" y="372"/>
                  <a:pt x="2139" y="372"/>
                  <a:pt x="2139" y="333"/>
                </a:cubicBezTo>
                <a:cubicBezTo>
                  <a:pt x="2139" y="295"/>
                  <a:pt x="2165" y="282"/>
                  <a:pt x="2152" y="282"/>
                </a:cubicBezTo>
                <a:cubicBezTo>
                  <a:pt x="2139" y="282"/>
                  <a:pt x="2139" y="269"/>
                  <a:pt x="2126" y="231"/>
                </a:cubicBezTo>
                <a:cubicBezTo>
                  <a:pt x="2126" y="193"/>
                  <a:pt x="2139" y="154"/>
                  <a:pt x="2139" y="141"/>
                </a:cubicBezTo>
                <a:cubicBezTo>
                  <a:pt x="2152" y="116"/>
                  <a:pt x="2126" y="103"/>
                  <a:pt x="2126" y="103"/>
                </a:cubicBezTo>
                <a:cubicBezTo>
                  <a:pt x="2165" y="52"/>
                  <a:pt x="2165" y="52"/>
                  <a:pt x="2165" y="52"/>
                </a:cubicBezTo>
                <a:cubicBezTo>
                  <a:pt x="2165" y="26"/>
                  <a:pt x="2165" y="26"/>
                  <a:pt x="2165" y="26"/>
                </a:cubicBezTo>
                <a:cubicBezTo>
                  <a:pt x="2165" y="26"/>
                  <a:pt x="2101" y="26"/>
                  <a:pt x="2075" y="13"/>
                </a:cubicBezTo>
                <a:cubicBezTo>
                  <a:pt x="2049" y="13"/>
                  <a:pt x="2011" y="0"/>
                  <a:pt x="1985" y="13"/>
                </a:cubicBezTo>
                <a:cubicBezTo>
                  <a:pt x="1973" y="26"/>
                  <a:pt x="1960" y="13"/>
                  <a:pt x="1934" y="13"/>
                </a:cubicBezTo>
                <a:cubicBezTo>
                  <a:pt x="1909" y="0"/>
                  <a:pt x="1883" y="26"/>
                  <a:pt x="1870" y="26"/>
                </a:cubicBezTo>
                <a:cubicBezTo>
                  <a:pt x="1857" y="26"/>
                  <a:pt x="1755" y="39"/>
                  <a:pt x="1716" y="39"/>
                </a:cubicBezTo>
                <a:cubicBezTo>
                  <a:pt x="1678" y="39"/>
                  <a:pt x="1588" y="39"/>
                  <a:pt x="1563" y="39"/>
                </a:cubicBezTo>
                <a:cubicBezTo>
                  <a:pt x="1524" y="39"/>
                  <a:pt x="1511" y="26"/>
                  <a:pt x="1473" y="39"/>
                </a:cubicBezTo>
                <a:cubicBezTo>
                  <a:pt x="1435" y="52"/>
                  <a:pt x="1435" y="77"/>
                  <a:pt x="1358" y="77"/>
                </a:cubicBezTo>
                <a:cubicBezTo>
                  <a:pt x="1294" y="77"/>
                  <a:pt x="1217" y="103"/>
                  <a:pt x="1166" y="129"/>
                </a:cubicBezTo>
                <a:cubicBezTo>
                  <a:pt x="1102" y="141"/>
                  <a:pt x="1114" y="193"/>
                  <a:pt x="1089" y="205"/>
                </a:cubicBezTo>
                <a:cubicBezTo>
                  <a:pt x="1063" y="218"/>
                  <a:pt x="999" y="205"/>
                  <a:pt x="999" y="205"/>
                </a:cubicBezTo>
                <a:cubicBezTo>
                  <a:pt x="999" y="205"/>
                  <a:pt x="935" y="269"/>
                  <a:pt x="922" y="269"/>
                </a:cubicBezTo>
                <a:cubicBezTo>
                  <a:pt x="922" y="282"/>
                  <a:pt x="820" y="295"/>
                  <a:pt x="820" y="295"/>
                </a:cubicBezTo>
                <a:cubicBezTo>
                  <a:pt x="820" y="295"/>
                  <a:pt x="858" y="321"/>
                  <a:pt x="871" y="385"/>
                </a:cubicBezTo>
                <a:cubicBezTo>
                  <a:pt x="884" y="449"/>
                  <a:pt x="884" y="487"/>
                  <a:pt x="884" y="513"/>
                </a:cubicBezTo>
                <a:cubicBezTo>
                  <a:pt x="884" y="551"/>
                  <a:pt x="884" y="615"/>
                  <a:pt x="922" y="654"/>
                </a:cubicBezTo>
                <a:cubicBezTo>
                  <a:pt x="961" y="692"/>
                  <a:pt x="961" y="756"/>
                  <a:pt x="935" y="756"/>
                </a:cubicBezTo>
                <a:cubicBezTo>
                  <a:pt x="909" y="743"/>
                  <a:pt x="794" y="743"/>
                  <a:pt x="756" y="769"/>
                </a:cubicBezTo>
                <a:cubicBezTo>
                  <a:pt x="717" y="782"/>
                  <a:pt x="730" y="782"/>
                  <a:pt x="705" y="807"/>
                </a:cubicBezTo>
                <a:cubicBezTo>
                  <a:pt x="679" y="820"/>
                  <a:pt x="628" y="833"/>
                  <a:pt x="628" y="871"/>
                </a:cubicBezTo>
                <a:cubicBezTo>
                  <a:pt x="628" y="910"/>
                  <a:pt x="653" y="935"/>
                  <a:pt x="589" y="948"/>
                </a:cubicBezTo>
                <a:cubicBezTo>
                  <a:pt x="512" y="961"/>
                  <a:pt x="474" y="961"/>
                  <a:pt x="461" y="1025"/>
                </a:cubicBezTo>
                <a:cubicBezTo>
                  <a:pt x="461" y="1076"/>
                  <a:pt x="384" y="1089"/>
                  <a:pt x="320" y="1115"/>
                </a:cubicBezTo>
                <a:cubicBezTo>
                  <a:pt x="269" y="1153"/>
                  <a:pt x="231" y="1115"/>
                  <a:pt x="167" y="1140"/>
                </a:cubicBezTo>
                <a:cubicBezTo>
                  <a:pt x="103" y="1166"/>
                  <a:pt x="0" y="1256"/>
                  <a:pt x="0" y="1256"/>
                </a:cubicBezTo>
                <a:cubicBezTo>
                  <a:pt x="0" y="1397"/>
                  <a:pt x="0" y="1397"/>
                  <a:pt x="0" y="1397"/>
                </a:cubicBezTo>
                <a:cubicBezTo>
                  <a:pt x="0" y="1461"/>
                  <a:pt x="0" y="1461"/>
                  <a:pt x="0" y="1461"/>
                </a:cubicBezTo>
                <a:cubicBezTo>
                  <a:pt x="0" y="1461"/>
                  <a:pt x="0" y="1461"/>
                  <a:pt x="0" y="1461"/>
                </a:cubicBezTo>
                <a:cubicBezTo>
                  <a:pt x="500" y="1781"/>
                  <a:pt x="500" y="1781"/>
                  <a:pt x="500" y="1781"/>
                </a:cubicBezTo>
                <a:cubicBezTo>
                  <a:pt x="1243" y="2306"/>
                  <a:pt x="1243" y="2306"/>
                  <a:pt x="1243" y="2306"/>
                </a:cubicBezTo>
                <a:cubicBezTo>
                  <a:pt x="1243" y="2357"/>
                  <a:pt x="1243" y="2357"/>
                  <a:pt x="1243" y="2357"/>
                </a:cubicBezTo>
                <a:cubicBezTo>
                  <a:pt x="1307" y="2383"/>
                  <a:pt x="1307" y="2383"/>
                  <a:pt x="1307" y="2383"/>
                </a:cubicBezTo>
                <a:cubicBezTo>
                  <a:pt x="1307" y="2383"/>
                  <a:pt x="1319" y="2421"/>
                  <a:pt x="1332" y="2434"/>
                </a:cubicBezTo>
                <a:cubicBezTo>
                  <a:pt x="1345" y="2434"/>
                  <a:pt x="1358" y="2408"/>
                  <a:pt x="1371" y="2408"/>
                </a:cubicBezTo>
                <a:cubicBezTo>
                  <a:pt x="1383" y="2421"/>
                  <a:pt x="1396" y="2447"/>
                  <a:pt x="1409" y="2460"/>
                </a:cubicBezTo>
                <a:cubicBezTo>
                  <a:pt x="1422" y="2460"/>
                  <a:pt x="1486" y="2472"/>
                  <a:pt x="1499" y="2485"/>
                </a:cubicBezTo>
                <a:cubicBezTo>
                  <a:pt x="1511" y="2498"/>
                  <a:pt x="1524" y="2524"/>
                  <a:pt x="1499" y="2549"/>
                </a:cubicBezTo>
                <a:cubicBezTo>
                  <a:pt x="1486" y="2575"/>
                  <a:pt x="1486" y="2575"/>
                  <a:pt x="1486" y="2575"/>
                </a:cubicBezTo>
                <a:cubicBezTo>
                  <a:pt x="1511" y="2600"/>
                  <a:pt x="1511" y="2600"/>
                  <a:pt x="1511" y="2600"/>
                </a:cubicBezTo>
                <a:cubicBezTo>
                  <a:pt x="1627" y="2575"/>
                  <a:pt x="1627" y="2575"/>
                  <a:pt x="1627" y="2575"/>
                </a:cubicBezTo>
                <a:cubicBezTo>
                  <a:pt x="1832" y="2536"/>
                  <a:pt x="1832" y="2536"/>
                  <a:pt x="1832" y="2536"/>
                </a:cubicBezTo>
                <a:cubicBezTo>
                  <a:pt x="2024" y="2357"/>
                  <a:pt x="2024" y="2357"/>
                  <a:pt x="2024" y="2357"/>
                </a:cubicBezTo>
                <a:cubicBezTo>
                  <a:pt x="2600" y="1986"/>
                  <a:pt x="2600" y="1986"/>
                  <a:pt x="2600" y="1986"/>
                </a:cubicBezTo>
                <a:lnTo>
                  <a:pt x="2562" y="1883"/>
                </a:lnTo>
                <a:close/>
              </a:path>
            </a:pathLst>
          </a:custGeom>
          <a:solidFill>
            <a:schemeClr val="accent3"/>
          </a:solidFill>
          <a:ln w="952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 lIns="82878" tIns="41438" rIns="82878" bIns="41438"/>
          <a:lstStyle/>
          <a:p>
            <a:pPr defTabSz="891045"/>
            <a:endParaRPr lang="en-US" sz="1700" dirty="0">
              <a:solidFill>
                <a:srgbClr val="003149"/>
              </a:solidFill>
              <a:cs typeface="Arial" panose="020B0604020202020204" pitchFamily="34" charset="0"/>
            </a:endParaRPr>
          </a:p>
        </p:txBody>
      </p:sp>
      <p:sp>
        <p:nvSpPr>
          <p:cNvPr id="651" name="Freeform 424"/>
          <p:cNvSpPr>
            <a:spLocks/>
          </p:cNvSpPr>
          <p:nvPr/>
        </p:nvSpPr>
        <p:spPr bwMode="gray">
          <a:xfrm>
            <a:off x="981948" y="1721772"/>
            <a:ext cx="384657" cy="408507"/>
          </a:xfrm>
          <a:custGeom>
            <a:avLst/>
            <a:gdLst>
              <a:gd name="T0" fmla="*/ 252742151 w 2600"/>
              <a:gd name="T1" fmla="*/ 265957427 h 2600"/>
              <a:gd name="T2" fmla="*/ 252742151 w 2600"/>
              <a:gd name="T3" fmla="*/ 265957427 h 2600"/>
              <a:gd name="T4" fmla="*/ 252742151 w 2600"/>
              <a:gd name="T5" fmla="*/ 265957427 h 2600"/>
              <a:gd name="T6" fmla="*/ 252742151 w 2600"/>
              <a:gd name="T7" fmla="*/ 265957427 h 2600"/>
              <a:gd name="T8" fmla="*/ 252742151 w 2600"/>
              <a:gd name="T9" fmla="*/ 265957427 h 2600"/>
              <a:gd name="T10" fmla="*/ 252742151 w 2600"/>
              <a:gd name="T11" fmla="*/ 265957427 h 2600"/>
              <a:gd name="T12" fmla="*/ 252742151 w 2600"/>
              <a:gd name="T13" fmla="*/ 265957427 h 2600"/>
              <a:gd name="T14" fmla="*/ 252742151 w 2600"/>
              <a:gd name="T15" fmla="*/ 265957427 h 2600"/>
              <a:gd name="T16" fmla="*/ 252742151 w 2600"/>
              <a:gd name="T17" fmla="*/ 265957427 h 2600"/>
              <a:gd name="T18" fmla="*/ 252742151 w 2600"/>
              <a:gd name="T19" fmla="*/ 265957427 h 2600"/>
              <a:gd name="T20" fmla="*/ 252742151 w 2600"/>
              <a:gd name="T21" fmla="*/ 0 h 2600"/>
              <a:gd name="T22" fmla="*/ 252742151 w 2600"/>
              <a:gd name="T23" fmla="*/ 0 h 2600"/>
              <a:gd name="T24" fmla="*/ 252742151 w 2600"/>
              <a:gd name="T25" fmla="*/ 0 h 2600"/>
              <a:gd name="T26" fmla="*/ 252742151 w 2600"/>
              <a:gd name="T27" fmla="*/ 0 h 2600"/>
              <a:gd name="T28" fmla="*/ 252742151 w 2600"/>
              <a:gd name="T29" fmla="*/ 0 h 2600"/>
              <a:gd name="T30" fmla="*/ 252742151 w 2600"/>
              <a:gd name="T31" fmla="*/ 0 h 2600"/>
              <a:gd name="T32" fmla="*/ 252742151 w 2600"/>
              <a:gd name="T33" fmla="*/ 0 h 2600"/>
              <a:gd name="T34" fmla="*/ 252742151 w 2600"/>
              <a:gd name="T35" fmla="*/ 0 h 2600"/>
              <a:gd name="T36" fmla="*/ 252742151 w 2600"/>
              <a:gd name="T37" fmla="*/ 0 h 2600"/>
              <a:gd name="T38" fmla="*/ 252742151 w 2600"/>
              <a:gd name="T39" fmla="*/ 0 h 2600"/>
              <a:gd name="T40" fmla="*/ 252742151 w 2600"/>
              <a:gd name="T41" fmla="*/ 0 h 2600"/>
              <a:gd name="T42" fmla="*/ 252742151 w 2600"/>
              <a:gd name="T43" fmla="*/ 0 h 2600"/>
              <a:gd name="T44" fmla="*/ 252742151 w 2600"/>
              <a:gd name="T45" fmla="*/ 265957427 h 2600"/>
              <a:gd name="T46" fmla="*/ 252742151 w 2600"/>
              <a:gd name="T47" fmla="*/ 265957427 h 2600"/>
              <a:gd name="T48" fmla="*/ 252742151 w 2600"/>
              <a:gd name="T49" fmla="*/ 265957427 h 2600"/>
              <a:gd name="T50" fmla="*/ 252742151 w 2600"/>
              <a:gd name="T51" fmla="*/ 265957427 h 2600"/>
              <a:gd name="T52" fmla="*/ 0 w 2600"/>
              <a:gd name="T53" fmla="*/ 265957427 h 2600"/>
              <a:gd name="T54" fmla="*/ 0 w 2600"/>
              <a:gd name="T55" fmla="*/ 265957427 h 2600"/>
              <a:gd name="T56" fmla="*/ 0 w 2600"/>
              <a:gd name="T57" fmla="*/ 265957427 h 2600"/>
              <a:gd name="T58" fmla="*/ 252742151 w 2600"/>
              <a:gd name="T59" fmla="*/ 265957427 h 2600"/>
              <a:gd name="T60" fmla="*/ 252742151 w 2600"/>
              <a:gd name="T61" fmla="*/ 265957427 h 2600"/>
              <a:gd name="T62" fmla="*/ 252742151 w 2600"/>
              <a:gd name="T63" fmla="*/ 265957427 h 2600"/>
              <a:gd name="T64" fmla="*/ 252742151 w 2600"/>
              <a:gd name="T65" fmla="*/ 265957427 h 2600"/>
              <a:gd name="T66" fmla="*/ 252742151 w 2600"/>
              <a:gd name="T67" fmla="*/ 265957427 h 2600"/>
              <a:gd name="T68" fmla="*/ 252742151 w 2600"/>
              <a:gd name="T69" fmla="*/ 265957427 h 2600"/>
              <a:gd name="T70" fmla="*/ 252742151 w 2600"/>
              <a:gd name="T71" fmla="*/ 265957427 h 2600"/>
              <a:gd name="T72" fmla="*/ 252742151 w 2600"/>
              <a:gd name="T73" fmla="*/ 265957427 h 2600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w 2600"/>
              <a:gd name="T112" fmla="*/ 0 h 2600"/>
              <a:gd name="T113" fmla="*/ 2600 w 2600"/>
              <a:gd name="T114" fmla="*/ 2600 h 2600"/>
            </a:gdLst>
            <a:ahLst/>
            <a:cxnLst>
              <a:cxn ang="T74">
                <a:pos x="T0" y="T1"/>
              </a:cxn>
              <a:cxn ang="T75">
                <a:pos x="T2" y="T3"/>
              </a:cxn>
              <a:cxn ang="T76">
                <a:pos x="T4" y="T5"/>
              </a:cxn>
              <a:cxn ang="T77">
                <a:pos x="T6" y="T7"/>
              </a:cxn>
              <a:cxn ang="T78">
                <a:pos x="T8" y="T9"/>
              </a:cxn>
              <a:cxn ang="T79">
                <a:pos x="T10" y="T11"/>
              </a:cxn>
              <a:cxn ang="T80">
                <a:pos x="T12" y="T13"/>
              </a:cxn>
              <a:cxn ang="T81">
                <a:pos x="T14" y="T15"/>
              </a:cxn>
              <a:cxn ang="T82">
                <a:pos x="T16" y="T17"/>
              </a:cxn>
              <a:cxn ang="T83">
                <a:pos x="T18" y="T19"/>
              </a:cxn>
              <a:cxn ang="T84">
                <a:pos x="T20" y="T21"/>
              </a:cxn>
              <a:cxn ang="T85">
                <a:pos x="T22" y="T23"/>
              </a:cxn>
              <a:cxn ang="T86">
                <a:pos x="T24" y="T25"/>
              </a:cxn>
              <a:cxn ang="T87">
                <a:pos x="T26" y="T27"/>
              </a:cxn>
              <a:cxn ang="T88">
                <a:pos x="T28" y="T29"/>
              </a:cxn>
              <a:cxn ang="T89">
                <a:pos x="T30" y="T31"/>
              </a:cxn>
              <a:cxn ang="T90">
                <a:pos x="T32" y="T33"/>
              </a:cxn>
              <a:cxn ang="T91">
                <a:pos x="T34" y="T35"/>
              </a:cxn>
              <a:cxn ang="T92">
                <a:pos x="T36" y="T37"/>
              </a:cxn>
              <a:cxn ang="T93">
                <a:pos x="T38" y="T39"/>
              </a:cxn>
              <a:cxn ang="T94">
                <a:pos x="T40" y="T41"/>
              </a:cxn>
              <a:cxn ang="T95">
                <a:pos x="T42" y="T43"/>
              </a:cxn>
              <a:cxn ang="T96">
                <a:pos x="T44" y="T45"/>
              </a:cxn>
              <a:cxn ang="T97">
                <a:pos x="T46" y="T47"/>
              </a:cxn>
              <a:cxn ang="T98">
                <a:pos x="T48" y="T49"/>
              </a:cxn>
              <a:cxn ang="T99">
                <a:pos x="T50" y="T51"/>
              </a:cxn>
              <a:cxn ang="T100">
                <a:pos x="T52" y="T53"/>
              </a:cxn>
              <a:cxn ang="T101">
                <a:pos x="T54" y="T55"/>
              </a:cxn>
              <a:cxn ang="T102">
                <a:pos x="T56" y="T57"/>
              </a:cxn>
              <a:cxn ang="T103">
                <a:pos x="T58" y="T59"/>
              </a:cxn>
              <a:cxn ang="T104">
                <a:pos x="T60" y="T61"/>
              </a:cxn>
              <a:cxn ang="T105">
                <a:pos x="T62" y="T63"/>
              </a:cxn>
              <a:cxn ang="T106">
                <a:pos x="T64" y="T65"/>
              </a:cxn>
              <a:cxn ang="T107">
                <a:pos x="T66" y="T67"/>
              </a:cxn>
              <a:cxn ang="T108">
                <a:pos x="T68" y="T69"/>
              </a:cxn>
              <a:cxn ang="T109">
                <a:pos x="T70" y="T71"/>
              </a:cxn>
              <a:cxn ang="T110">
                <a:pos x="T72" y="T73"/>
              </a:cxn>
            </a:cxnLst>
            <a:rect l="T111" t="T112" r="T113" b="T114"/>
            <a:pathLst>
              <a:path w="2600" h="2600">
                <a:moveTo>
                  <a:pt x="2562" y="1883"/>
                </a:moveTo>
                <a:cubicBezTo>
                  <a:pt x="2536" y="1896"/>
                  <a:pt x="2536" y="1896"/>
                  <a:pt x="2536" y="1896"/>
                </a:cubicBezTo>
                <a:cubicBezTo>
                  <a:pt x="2536" y="1896"/>
                  <a:pt x="2459" y="1845"/>
                  <a:pt x="2446" y="1832"/>
                </a:cubicBezTo>
                <a:cubicBezTo>
                  <a:pt x="2434" y="1832"/>
                  <a:pt x="2434" y="1845"/>
                  <a:pt x="2408" y="1845"/>
                </a:cubicBezTo>
                <a:cubicBezTo>
                  <a:pt x="2395" y="1858"/>
                  <a:pt x="2382" y="1832"/>
                  <a:pt x="2382" y="1819"/>
                </a:cubicBezTo>
                <a:cubicBezTo>
                  <a:pt x="2382" y="1794"/>
                  <a:pt x="2357" y="1806"/>
                  <a:pt x="2357" y="1806"/>
                </a:cubicBezTo>
                <a:cubicBezTo>
                  <a:pt x="2357" y="1742"/>
                  <a:pt x="2357" y="1742"/>
                  <a:pt x="2357" y="1742"/>
                </a:cubicBezTo>
                <a:cubicBezTo>
                  <a:pt x="2357" y="1742"/>
                  <a:pt x="2267" y="1627"/>
                  <a:pt x="2280" y="1614"/>
                </a:cubicBezTo>
                <a:cubicBezTo>
                  <a:pt x="2280" y="1614"/>
                  <a:pt x="2331" y="1576"/>
                  <a:pt x="2344" y="1550"/>
                </a:cubicBezTo>
                <a:cubicBezTo>
                  <a:pt x="2344" y="1525"/>
                  <a:pt x="2331" y="1473"/>
                  <a:pt x="2331" y="1435"/>
                </a:cubicBezTo>
                <a:cubicBezTo>
                  <a:pt x="2331" y="1409"/>
                  <a:pt x="2357" y="1371"/>
                  <a:pt x="2357" y="1371"/>
                </a:cubicBezTo>
                <a:cubicBezTo>
                  <a:pt x="2357" y="1371"/>
                  <a:pt x="2331" y="1332"/>
                  <a:pt x="2331" y="1307"/>
                </a:cubicBezTo>
                <a:cubicBezTo>
                  <a:pt x="2344" y="1281"/>
                  <a:pt x="2331" y="1204"/>
                  <a:pt x="2318" y="1153"/>
                </a:cubicBezTo>
                <a:cubicBezTo>
                  <a:pt x="2306" y="1089"/>
                  <a:pt x="2280" y="1051"/>
                  <a:pt x="2280" y="1051"/>
                </a:cubicBezTo>
                <a:cubicBezTo>
                  <a:pt x="2306" y="1038"/>
                  <a:pt x="2306" y="1038"/>
                  <a:pt x="2306" y="1038"/>
                </a:cubicBezTo>
                <a:cubicBezTo>
                  <a:pt x="2242" y="769"/>
                  <a:pt x="2242" y="769"/>
                  <a:pt x="2242" y="769"/>
                </a:cubicBezTo>
                <a:cubicBezTo>
                  <a:pt x="2139" y="692"/>
                  <a:pt x="2139" y="692"/>
                  <a:pt x="2139" y="692"/>
                </a:cubicBezTo>
                <a:cubicBezTo>
                  <a:pt x="2139" y="692"/>
                  <a:pt x="2139" y="654"/>
                  <a:pt x="2113" y="615"/>
                </a:cubicBezTo>
                <a:cubicBezTo>
                  <a:pt x="2101" y="590"/>
                  <a:pt x="2062" y="602"/>
                  <a:pt x="2062" y="602"/>
                </a:cubicBezTo>
                <a:cubicBezTo>
                  <a:pt x="2062" y="602"/>
                  <a:pt x="2062" y="590"/>
                  <a:pt x="2062" y="564"/>
                </a:cubicBezTo>
                <a:cubicBezTo>
                  <a:pt x="2062" y="538"/>
                  <a:pt x="2049" y="487"/>
                  <a:pt x="2049" y="474"/>
                </a:cubicBezTo>
                <a:cubicBezTo>
                  <a:pt x="2049" y="462"/>
                  <a:pt x="2075" y="436"/>
                  <a:pt x="2088" y="423"/>
                </a:cubicBezTo>
                <a:cubicBezTo>
                  <a:pt x="2088" y="398"/>
                  <a:pt x="2126" y="372"/>
                  <a:pt x="2139" y="372"/>
                </a:cubicBezTo>
                <a:cubicBezTo>
                  <a:pt x="2152" y="372"/>
                  <a:pt x="2139" y="372"/>
                  <a:pt x="2139" y="333"/>
                </a:cubicBezTo>
                <a:cubicBezTo>
                  <a:pt x="2139" y="295"/>
                  <a:pt x="2165" y="282"/>
                  <a:pt x="2152" y="282"/>
                </a:cubicBezTo>
                <a:cubicBezTo>
                  <a:pt x="2139" y="282"/>
                  <a:pt x="2139" y="269"/>
                  <a:pt x="2126" y="231"/>
                </a:cubicBezTo>
                <a:cubicBezTo>
                  <a:pt x="2126" y="193"/>
                  <a:pt x="2139" y="154"/>
                  <a:pt x="2139" y="141"/>
                </a:cubicBezTo>
                <a:cubicBezTo>
                  <a:pt x="2152" y="116"/>
                  <a:pt x="2126" y="103"/>
                  <a:pt x="2126" y="103"/>
                </a:cubicBezTo>
                <a:cubicBezTo>
                  <a:pt x="2165" y="52"/>
                  <a:pt x="2165" y="52"/>
                  <a:pt x="2165" y="52"/>
                </a:cubicBezTo>
                <a:cubicBezTo>
                  <a:pt x="2165" y="26"/>
                  <a:pt x="2165" y="26"/>
                  <a:pt x="2165" y="26"/>
                </a:cubicBezTo>
                <a:cubicBezTo>
                  <a:pt x="2165" y="26"/>
                  <a:pt x="2101" y="26"/>
                  <a:pt x="2075" y="13"/>
                </a:cubicBezTo>
                <a:cubicBezTo>
                  <a:pt x="2049" y="13"/>
                  <a:pt x="2011" y="0"/>
                  <a:pt x="1985" y="13"/>
                </a:cubicBezTo>
                <a:cubicBezTo>
                  <a:pt x="1973" y="26"/>
                  <a:pt x="1960" y="13"/>
                  <a:pt x="1934" y="13"/>
                </a:cubicBezTo>
                <a:cubicBezTo>
                  <a:pt x="1909" y="0"/>
                  <a:pt x="1883" y="26"/>
                  <a:pt x="1870" y="26"/>
                </a:cubicBezTo>
                <a:cubicBezTo>
                  <a:pt x="1857" y="26"/>
                  <a:pt x="1755" y="39"/>
                  <a:pt x="1716" y="39"/>
                </a:cubicBezTo>
                <a:cubicBezTo>
                  <a:pt x="1678" y="39"/>
                  <a:pt x="1588" y="39"/>
                  <a:pt x="1563" y="39"/>
                </a:cubicBezTo>
                <a:cubicBezTo>
                  <a:pt x="1524" y="39"/>
                  <a:pt x="1511" y="26"/>
                  <a:pt x="1473" y="39"/>
                </a:cubicBezTo>
                <a:cubicBezTo>
                  <a:pt x="1435" y="52"/>
                  <a:pt x="1435" y="77"/>
                  <a:pt x="1358" y="77"/>
                </a:cubicBezTo>
                <a:cubicBezTo>
                  <a:pt x="1294" y="77"/>
                  <a:pt x="1217" y="103"/>
                  <a:pt x="1166" y="129"/>
                </a:cubicBezTo>
                <a:cubicBezTo>
                  <a:pt x="1102" y="141"/>
                  <a:pt x="1114" y="193"/>
                  <a:pt x="1089" y="205"/>
                </a:cubicBezTo>
                <a:cubicBezTo>
                  <a:pt x="1063" y="218"/>
                  <a:pt x="999" y="205"/>
                  <a:pt x="999" y="205"/>
                </a:cubicBezTo>
                <a:cubicBezTo>
                  <a:pt x="999" y="205"/>
                  <a:pt x="935" y="269"/>
                  <a:pt x="922" y="269"/>
                </a:cubicBezTo>
                <a:cubicBezTo>
                  <a:pt x="922" y="282"/>
                  <a:pt x="820" y="295"/>
                  <a:pt x="820" y="295"/>
                </a:cubicBezTo>
                <a:cubicBezTo>
                  <a:pt x="820" y="295"/>
                  <a:pt x="858" y="321"/>
                  <a:pt x="871" y="385"/>
                </a:cubicBezTo>
                <a:cubicBezTo>
                  <a:pt x="884" y="449"/>
                  <a:pt x="884" y="487"/>
                  <a:pt x="884" y="513"/>
                </a:cubicBezTo>
                <a:cubicBezTo>
                  <a:pt x="884" y="551"/>
                  <a:pt x="884" y="615"/>
                  <a:pt x="922" y="654"/>
                </a:cubicBezTo>
                <a:cubicBezTo>
                  <a:pt x="961" y="692"/>
                  <a:pt x="961" y="756"/>
                  <a:pt x="935" y="756"/>
                </a:cubicBezTo>
                <a:cubicBezTo>
                  <a:pt x="909" y="743"/>
                  <a:pt x="794" y="743"/>
                  <a:pt x="756" y="769"/>
                </a:cubicBezTo>
                <a:cubicBezTo>
                  <a:pt x="717" y="782"/>
                  <a:pt x="730" y="782"/>
                  <a:pt x="705" y="807"/>
                </a:cubicBezTo>
                <a:cubicBezTo>
                  <a:pt x="679" y="820"/>
                  <a:pt x="628" y="833"/>
                  <a:pt x="628" y="871"/>
                </a:cubicBezTo>
                <a:cubicBezTo>
                  <a:pt x="628" y="910"/>
                  <a:pt x="653" y="935"/>
                  <a:pt x="589" y="948"/>
                </a:cubicBezTo>
                <a:cubicBezTo>
                  <a:pt x="512" y="961"/>
                  <a:pt x="474" y="961"/>
                  <a:pt x="461" y="1025"/>
                </a:cubicBezTo>
                <a:cubicBezTo>
                  <a:pt x="461" y="1076"/>
                  <a:pt x="384" y="1089"/>
                  <a:pt x="320" y="1115"/>
                </a:cubicBezTo>
                <a:cubicBezTo>
                  <a:pt x="269" y="1153"/>
                  <a:pt x="231" y="1115"/>
                  <a:pt x="167" y="1140"/>
                </a:cubicBezTo>
                <a:cubicBezTo>
                  <a:pt x="103" y="1166"/>
                  <a:pt x="0" y="1256"/>
                  <a:pt x="0" y="1256"/>
                </a:cubicBezTo>
                <a:cubicBezTo>
                  <a:pt x="0" y="1397"/>
                  <a:pt x="0" y="1397"/>
                  <a:pt x="0" y="1397"/>
                </a:cubicBezTo>
                <a:cubicBezTo>
                  <a:pt x="0" y="1461"/>
                  <a:pt x="0" y="1461"/>
                  <a:pt x="0" y="1461"/>
                </a:cubicBezTo>
                <a:cubicBezTo>
                  <a:pt x="0" y="1461"/>
                  <a:pt x="0" y="1461"/>
                  <a:pt x="0" y="1461"/>
                </a:cubicBezTo>
                <a:cubicBezTo>
                  <a:pt x="500" y="1781"/>
                  <a:pt x="500" y="1781"/>
                  <a:pt x="500" y="1781"/>
                </a:cubicBezTo>
                <a:cubicBezTo>
                  <a:pt x="1243" y="2306"/>
                  <a:pt x="1243" y="2306"/>
                  <a:pt x="1243" y="2306"/>
                </a:cubicBezTo>
                <a:cubicBezTo>
                  <a:pt x="1243" y="2357"/>
                  <a:pt x="1243" y="2357"/>
                  <a:pt x="1243" y="2357"/>
                </a:cubicBezTo>
                <a:cubicBezTo>
                  <a:pt x="1307" y="2383"/>
                  <a:pt x="1307" y="2383"/>
                  <a:pt x="1307" y="2383"/>
                </a:cubicBezTo>
                <a:cubicBezTo>
                  <a:pt x="1307" y="2383"/>
                  <a:pt x="1319" y="2421"/>
                  <a:pt x="1332" y="2434"/>
                </a:cubicBezTo>
                <a:cubicBezTo>
                  <a:pt x="1345" y="2434"/>
                  <a:pt x="1358" y="2408"/>
                  <a:pt x="1371" y="2408"/>
                </a:cubicBezTo>
                <a:cubicBezTo>
                  <a:pt x="1383" y="2421"/>
                  <a:pt x="1396" y="2447"/>
                  <a:pt x="1409" y="2460"/>
                </a:cubicBezTo>
                <a:cubicBezTo>
                  <a:pt x="1422" y="2460"/>
                  <a:pt x="1486" y="2472"/>
                  <a:pt x="1499" y="2485"/>
                </a:cubicBezTo>
                <a:cubicBezTo>
                  <a:pt x="1511" y="2498"/>
                  <a:pt x="1524" y="2524"/>
                  <a:pt x="1499" y="2549"/>
                </a:cubicBezTo>
                <a:cubicBezTo>
                  <a:pt x="1486" y="2575"/>
                  <a:pt x="1486" y="2575"/>
                  <a:pt x="1486" y="2575"/>
                </a:cubicBezTo>
                <a:cubicBezTo>
                  <a:pt x="1511" y="2600"/>
                  <a:pt x="1511" y="2600"/>
                  <a:pt x="1511" y="2600"/>
                </a:cubicBezTo>
                <a:cubicBezTo>
                  <a:pt x="1627" y="2575"/>
                  <a:pt x="1627" y="2575"/>
                  <a:pt x="1627" y="2575"/>
                </a:cubicBezTo>
                <a:cubicBezTo>
                  <a:pt x="1832" y="2536"/>
                  <a:pt x="1832" y="2536"/>
                  <a:pt x="1832" y="2536"/>
                </a:cubicBezTo>
                <a:cubicBezTo>
                  <a:pt x="2024" y="2357"/>
                  <a:pt x="2024" y="2357"/>
                  <a:pt x="2024" y="2357"/>
                </a:cubicBezTo>
                <a:cubicBezTo>
                  <a:pt x="2600" y="1986"/>
                  <a:pt x="2600" y="1986"/>
                  <a:pt x="2600" y="1986"/>
                </a:cubicBezTo>
                <a:lnTo>
                  <a:pt x="2562" y="1883"/>
                </a:lnTo>
                <a:close/>
              </a:path>
            </a:pathLst>
          </a:custGeom>
          <a:solidFill>
            <a:schemeClr val="accent3"/>
          </a:solidFill>
          <a:ln w="9525" cap="rnd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 lIns="82878" tIns="41438" rIns="82878" bIns="41438"/>
          <a:lstStyle/>
          <a:p>
            <a:pPr defTabSz="891045"/>
            <a:endParaRPr lang="en-US" sz="1700" dirty="0">
              <a:solidFill>
                <a:srgbClr val="003149"/>
              </a:solidFill>
              <a:cs typeface="Arial" panose="020B0604020202020204" pitchFamily="34" charset="0"/>
            </a:endParaRPr>
          </a:p>
        </p:txBody>
      </p:sp>
      <p:sp>
        <p:nvSpPr>
          <p:cNvPr id="652" name="Freeform 429"/>
          <p:cNvSpPr>
            <a:spLocks/>
          </p:cNvSpPr>
          <p:nvPr/>
        </p:nvSpPr>
        <p:spPr bwMode="gray">
          <a:xfrm>
            <a:off x="1315054" y="1818203"/>
            <a:ext cx="295407" cy="298134"/>
          </a:xfrm>
          <a:custGeom>
            <a:avLst/>
            <a:gdLst>
              <a:gd name="T0" fmla="*/ 253342577 w 1992"/>
              <a:gd name="T1" fmla="*/ 265609688 h 1900"/>
              <a:gd name="T2" fmla="*/ 253342577 w 1992"/>
              <a:gd name="T3" fmla="*/ 265609688 h 1900"/>
              <a:gd name="T4" fmla="*/ 253342577 w 1992"/>
              <a:gd name="T5" fmla="*/ 0 h 1900"/>
              <a:gd name="T6" fmla="*/ 253342577 w 1992"/>
              <a:gd name="T7" fmla="*/ 0 h 1900"/>
              <a:gd name="T8" fmla="*/ 253342577 w 1992"/>
              <a:gd name="T9" fmla="*/ 0 h 1900"/>
              <a:gd name="T10" fmla="*/ 253342577 w 1992"/>
              <a:gd name="T11" fmla="*/ 0 h 1900"/>
              <a:gd name="T12" fmla="*/ 253342577 w 1992"/>
              <a:gd name="T13" fmla="*/ 0 h 1900"/>
              <a:gd name="T14" fmla="*/ 253342577 w 1992"/>
              <a:gd name="T15" fmla="*/ 0 h 1900"/>
              <a:gd name="T16" fmla="*/ 253342577 w 1992"/>
              <a:gd name="T17" fmla="*/ 0 h 1900"/>
              <a:gd name="T18" fmla="*/ 253342577 w 1992"/>
              <a:gd name="T19" fmla="*/ 0 h 1900"/>
              <a:gd name="T20" fmla="*/ 253342577 w 1992"/>
              <a:gd name="T21" fmla="*/ 0 h 1900"/>
              <a:gd name="T22" fmla="*/ 253342577 w 1992"/>
              <a:gd name="T23" fmla="*/ 0 h 1900"/>
              <a:gd name="T24" fmla="*/ 253342577 w 1992"/>
              <a:gd name="T25" fmla="*/ 0 h 1900"/>
              <a:gd name="T26" fmla="*/ 253342577 w 1992"/>
              <a:gd name="T27" fmla="*/ 0 h 1900"/>
              <a:gd name="T28" fmla="*/ 253342577 w 1992"/>
              <a:gd name="T29" fmla="*/ 0 h 1900"/>
              <a:gd name="T30" fmla="*/ 253342577 w 1992"/>
              <a:gd name="T31" fmla="*/ 0 h 1900"/>
              <a:gd name="T32" fmla="*/ 253342577 w 1992"/>
              <a:gd name="T33" fmla="*/ 0 h 1900"/>
              <a:gd name="T34" fmla="*/ 253342577 w 1992"/>
              <a:gd name="T35" fmla="*/ 0 h 1900"/>
              <a:gd name="T36" fmla="*/ 253342577 w 1992"/>
              <a:gd name="T37" fmla="*/ 0 h 1900"/>
              <a:gd name="T38" fmla="*/ 253342577 w 1992"/>
              <a:gd name="T39" fmla="*/ 0 h 1900"/>
              <a:gd name="T40" fmla="*/ 253342577 w 1992"/>
              <a:gd name="T41" fmla="*/ 0 h 1900"/>
              <a:gd name="T42" fmla="*/ 0 w 1992"/>
              <a:gd name="T43" fmla="*/ 0 h 1900"/>
              <a:gd name="T44" fmla="*/ 0 w 1992"/>
              <a:gd name="T45" fmla="*/ 0 h 1900"/>
              <a:gd name="T46" fmla="*/ 0 w 1992"/>
              <a:gd name="T47" fmla="*/ 0 h 1900"/>
              <a:gd name="T48" fmla="*/ 0 w 1992"/>
              <a:gd name="T49" fmla="*/ 0 h 1900"/>
              <a:gd name="T50" fmla="*/ 0 w 1992"/>
              <a:gd name="T51" fmla="*/ 0 h 1900"/>
              <a:gd name="T52" fmla="*/ 0 w 1992"/>
              <a:gd name="T53" fmla="*/ 0 h 1900"/>
              <a:gd name="T54" fmla="*/ 0 w 1992"/>
              <a:gd name="T55" fmla="*/ 0 h 1900"/>
              <a:gd name="T56" fmla="*/ 0 w 1992"/>
              <a:gd name="T57" fmla="*/ 0 h 1900"/>
              <a:gd name="T58" fmla="*/ 0 w 1992"/>
              <a:gd name="T59" fmla="*/ 0 h 1900"/>
              <a:gd name="T60" fmla="*/ 0 w 1992"/>
              <a:gd name="T61" fmla="*/ 0 h 1900"/>
              <a:gd name="T62" fmla="*/ 0 w 1992"/>
              <a:gd name="T63" fmla="*/ 265609688 h 1900"/>
              <a:gd name="T64" fmla="*/ 0 w 1992"/>
              <a:gd name="T65" fmla="*/ 265609688 h 1900"/>
              <a:gd name="T66" fmla="*/ 0 w 1992"/>
              <a:gd name="T67" fmla="*/ 265609688 h 1900"/>
              <a:gd name="T68" fmla="*/ 0 w 1992"/>
              <a:gd name="T69" fmla="*/ 265609688 h 1900"/>
              <a:gd name="T70" fmla="*/ 0 w 1992"/>
              <a:gd name="T71" fmla="*/ 265609688 h 1900"/>
              <a:gd name="T72" fmla="*/ 0 w 1992"/>
              <a:gd name="T73" fmla="*/ 265609688 h 1900"/>
              <a:gd name="T74" fmla="*/ 0 w 1992"/>
              <a:gd name="T75" fmla="*/ 265609688 h 1900"/>
              <a:gd name="T76" fmla="*/ 0 w 1992"/>
              <a:gd name="T77" fmla="*/ 265609688 h 1900"/>
              <a:gd name="T78" fmla="*/ 0 w 1992"/>
              <a:gd name="T79" fmla="*/ 265609688 h 1900"/>
              <a:gd name="T80" fmla="*/ 0 w 1992"/>
              <a:gd name="T81" fmla="*/ 265609688 h 1900"/>
              <a:gd name="T82" fmla="*/ 0 w 1992"/>
              <a:gd name="T83" fmla="*/ 265609688 h 1900"/>
              <a:gd name="T84" fmla="*/ 0 w 1992"/>
              <a:gd name="T85" fmla="*/ 265609688 h 1900"/>
              <a:gd name="T86" fmla="*/ 0 w 1992"/>
              <a:gd name="T87" fmla="*/ 265609688 h 1900"/>
              <a:gd name="T88" fmla="*/ 0 w 1992"/>
              <a:gd name="T89" fmla="*/ 265609688 h 1900"/>
              <a:gd name="T90" fmla="*/ 0 w 1992"/>
              <a:gd name="T91" fmla="*/ 265609688 h 1900"/>
              <a:gd name="T92" fmla="*/ 253342577 w 1992"/>
              <a:gd name="T93" fmla="*/ 265609688 h 1900"/>
              <a:gd name="T94" fmla="*/ 253342577 w 1992"/>
              <a:gd name="T95" fmla="*/ 265609688 h 1900"/>
              <a:gd name="T96" fmla="*/ 253342577 w 1992"/>
              <a:gd name="T97" fmla="*/ 265609688 h 1900"/>
              <a:gd name="T98" fmla="*/ 253342577 w 1992"/>
              <a:gd name="T99" fmla="*/ 265609688 h 1900"/>
              <a:gd name="T100" fmla="*/ 253342577 w 1992"/>
              <a:gd name="T101" fmla="*/ 265609688 h 1900"/>
              <a:gd name="T102" fmla="*/ 253342577 w 1992"/>
              <a:gd name="T103" fmla="*/ 265609688 h 1900"/>
              <a:gd name="T104" fmla="*/ 253342577 w 1992"/>
              <a:gd name="T105" fmla="*/ 265609688 h 1900"/>
              <a:gd name="T106" fmla="*/ 253342577 w 1992"/>
              <a:gd name="T107" fmla="*/ 265609688 h 1900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w 1992"/>
              <a:gd name="T163" fmla="*/ 0 h 1900"/>
              <a:gd name="T164" fmla="*/ 1992 w 1992"/>
              <a:gd name="T165" fmla="*/ 1900 h 1900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T162" t="T163" r="T164" b="T165"/>
            <a:pathLst>
              <a:path w="1992" h="1900">
                <a:moveTo>
                  <a:pt x="1954" y="532"/>
                </a:moveTo>
                <a:cubicBezTo>
                  <a:pt x="1941" y="481"/>
                  <a:pt x="1928" y="443"/>
                  <a:pt x="1928" y="443"/>
                </a:cubicBezTo>
                <a:cubicBezTo>
                  <a:pt x="1928" y="443"/>
                  <a:pt x="1967" y="354"/>
                  <a:pt x="1967" y="342"/>
                </a:cubicBezTo>
                <a:cubicBezTo>
                  <a:pt x="1967" y="329"/>
                  <a:pt x="1954" y="253"/>
                  <a:pt x="1954" y="253"/>
                </a:cubicBezTo>
                <a:cubicBezTo>
                  <a:pt x="1992" y="215"/>
                  <a:pt x="1992" y="215"/>
                  <a:pt x="1992" y="215"/>
                </a:cubicBezTo>
                <a:cubicBezTo>
                  <a:pt x="1992" y="215"/>
                  <a:pt x="1954" y="177"/>
                  <a:pt x="1928" y="177"/>
                </a:cubicBezTo>
                <a:cubicBezTo>
                  <a:pt x="1903" y="177"/>
                  <a:pt x="1877" y="177"/>
                  <a:pt x="1839" y="164"/>
                </a:cubicBezTo>
                <a:cubicBezTo>
                  <a:pt x="1801" y="152"/>
                  <a:pt x="1775" y="139"/>
                  <a:pt x="1750" y="139"/>
                </a:cubicBezTo>
                <a:cubicBezTo>
                  <a:pt x="1724" y="139"/>
                  <a:pt x="1737" y="76"/>
                  <a:pt x="1737" y="76"/>
                </a:cubicBezTo>
                <a:cubicBezTo>
                  <a:pt x="1737" y="76"/>
                  <a:pt x="1686" y="63"/>
                  <a:pt x="1635" y="38"/>
                </a:cubicBezTo>
                <a:cubicBezTo>
                  <a:pt x="1596" y="25"/>
                  <a:pt x="1584" y="38"/>
                  <a:pt x="1545" y="63"/>
                </a:cubicBezTo>
                <a:cubicBezTo>
                  <a:pt x="1494" y="76"/>
                  <a:pt x="1494" y="63"/>
                  <a:pt x="1405" y="76"/>
                </a:cubicBezTo>
                <a:cubicBezTo>
                  <a:pt x="1328" y="88"/>
                  <a:pt x="1354" y="164"/>
                  <a:pt x="1328" y="190"/>
                </a:cubicBezTo>
                <a:cubicBezTo>
                  <a:pt x="1290" y="215"/>
                  <a:pt x="1379" y="278"/>
                  <a:pt x="1354" y="329"/>
                </a:cubicBezTo>
                <a:cubicBezTo>
                  <a:pt x="1341" y="367"/>
                  <a:pt x="1252" y="430"/>
                  <a:pt x="1201" y="418"/>
                </a:cubicBezTo>
                <a:cubicBezTo>
                  <a:pt x="1150" y="405"/>
                  <a:pt x="1047" y="329"/>
                  <a:pt x="1009" y="304"/>
                </a:cubicBezTo>
                <a:cubicBezTo>
                  <a:pt x="958" y="291"/>
                  <a:pt x="856" y="291"/>
                  <a:pt x="818" y="278"/>
                </a:cubicBezTo>
                <a:cubicBezTo>
                  <a:pt x="779" y="266"/>
                  <a:pt x="754" y="164"/>
                  <a:pt x="766" y="126"/>
                </a:cubicBezTo>
                <a:cubicBezTo>
                  <a:pt x="766" y="88"/>
                  <a:pt x="728" y="101"/>
                  <a:pt x="677" y="101"/>
                </a:cubicBezTo>
                <a:cubicBezTo>
                  <a:pt x="626" y="88"/>
                  <a:pt x="626" y="76"/>
                  <a:pt x="575" y="63"/>
                </a:cubicBezTo>
                <a:cubicBezTo>
                  <a:pt x="537" y="50"/>
                  <a:pt x="511" y="25"/>
                  <a:pt x="486" y="38"/>
                </a:cubicBezTo>
                <a:cubicBezTo>
                  <a:pt x="473" y="50"/>
                  <a:pt x="422" y="63"/>
                  <a:pt x="383" y="50"/>
                </a:cubicBezTo>
                <a:cubicBezTo>
                  <a:pt x="345" y="38"/>
                  <a:pt x="281" y="0"/>
                  <a:pt x="281" y="0"/>
                </a:cubicBezTo>
                <a:cubicBezTo>
                  <a:pt x="281" y="0"/>
                  <a:pt x="269" y="50"/>
                  <a:pt x="269" y="63"/>
                </a:cubicBezTo>
                <a:cubicBezTo>
                  <a:pt x="269" y="76"/>
                  <a:pt x="307" y="101"/>
                  <a:pt x="269" y="114"/>
                </a:cubicBezTo>
                <a:cubicBezTo>
                  <a:pt x="230" y="139"/>
                  <a:pt x="179" y="164"/>
                  <a:pt x="166" y="177"/>
                </a:cubicBezTo>
                <a:cubicBezTo>
                  <a:pt x="154" y="190"/>
                  <a:pt x="154" y="202"/>
                  <a:pt x="141" y="215"/>
                </a:cubicBezTo>
                <a:cubicBezTo>
                  <a:pt x="128" y="215"/>
                  <a:pt x="103" y="266"/>
                  <a:pt x="103" y="266"/>
                </a:cubicBezTo>
                <a:cubicBezTo>
                  <a:pt x="103" y="266"/>
                  <a:pt x="115" y="329"/>
                  <a:pt x="115" y="342"/>
                </a:cubicBezTo>
                <a:cubicBezTo>
                  <a:pt x="128" y="354"/>
                  <a:pt x="90" y="392"/>
                  <a:pt x="77" y="405"/>
                </a:cubicBezTo>
                <a:cubicBezTo>
                  <a:pt x="64" y="418"/>
                  <a:pt x="39" y="430"/>
                  <a:pt x="39" y="430"/>
                </a:cubicBezTo>
                <a:cubicBezTo>
                  <a:pt x="13" y="443"/>
                  <a:pt x="13" y="443"/>
                  <a:pt x="13" y="443"/>
                </a:cubicBezTo>
                <a:cubicBezTo>
                  <a:pt x="13" y="443"/>
                  <a:pt x="39" y="481"/>
                  <a:pt x="52" y="544"/>
                </a:cubicBezTo>
                <a:cubicBezTo>
                  <a:pt x="64" y="595"/>
                  <a:pt x="77" y="671"/>
                  <a:pt x="64" y="696"/>
                </a:cubicBezTo>
                <a:cubicBezTo>
                  <a:pt x="64" y="722"/>
                  <a:pt x="90" y="760"/>
                  <a:pt x="90" y="760"/>
                </a:cubicBezTo>
                <a:cubicBezTo>
                  <a:pt x="90" y="760"/>
                  <a:pt x="64" y="798"/>
                  <a:pt x="64" y="823"/>
                </a:cubicBezTo>
                <a:cubicBezTo>
                  <a:pt x="64" y="861"/>
                  <a:pt x="77" y="912"/>
                  <a:pt x="77" y="937"/>
                </a:cubicBezTo>
                <a:cubicBezTo>
                  <a:pt x="64" y="962"/>
                  <a:pt x="13" y="1000"/>
                  <a:pt x="13" y="1000"/>
                </a:cubicBezTo>
                <a:cubicBezTo>
                  <a:pt x="0" y="1013"/>
                  <a:pt x="90" y="1127"/>
                  <a:pt x="90" y="1127"/>
                </a:cubicBezTo>
                <a:cubicBezTo>
                  <a:pt x="90" y="1190"/>
                  <a:pt x="90" y="1190"/>
                  <a:pt x="90" y="1190"/>
                </a:cubicBezTo>
                <a:cubicBezTo>
                  <a:pt x="90" y="1190"/>
                  <a:pt x="115" y="1178"/>
                  <a:pt x="115" y="1203"/>
                </a:cubicBezTo>
                <a:cubicBezTo>
                  <a:pt x="115" y="1216"/>
                  <a:pt x="128" y="1241"/>
                  <a:pt x="141" y="1228"/>
                </a:cubicBezTo>
                <a:cubicBezTo>
                  <a:pt x="166" y="1228"/>
                  <a:pt x="166" y="1216"/>
                  <a:pt x="179" y="1216"/>
                </a:cubicBezTo>
                <a:cubicBezTo>
                  <a:pt x="192" y="1228"/>
                  <a:pt x="269" y="1279"/>
                  <a:pt x="269" y="1279"/>
                </a:cubicBezTo>
                <a:cubicBezTo>
                  <a:pt x="294" y="1266"/>
                  <a:pt x="294" y="1266"/>
                  <a:pt x="294" y="1266"/>
                </a:cubicBezTo>
                <a:cubicBezTo>
                  <a:pt x="332" y="1368"/>
                  <a:pt x="332" y="1368"/>
                  <a:pt x="332" y="1368"/>
                </a:cubicBezTo>
                <a:cubicBezTo>
                  <a:pt x="537" y="1418"/>
                  <a:pt x="537" y="1418"/>
                  <a:pt x="537" y="1418"/>
                </a:cubicBezTo>
                <a:cubicBezTo>
                  <a:pt x="613" y="1494"/>
                  <a:pt x="613" y="1494"/>
                  <a:pt x="613" y="1494"/>
                </a:cubicBezTo>
                <a:cubicBezTo>
                  <a:pt x="843" y="1380"/>
                  <a:pt x="843" y="1380"/>
                  <a:pt x="843" y="1380"/>
                </a:cubicBezTo>
                <a:cubicBezTo>
                  <a:pt x="1839" y="1900"/>
                  <a:pt x="1839" y="1900"/>
                  <a:pt x="1839" y="1900"/>
                </a:cubicBezTo>
                <a:cubicBezTo>
                  <a:pt x="1839" y="1836"/>
                  <a:pt x="1839" y="1836"/>
                  <a:pt x="1839" y="1836"/>
                </a:cubicBezTo>
                <a:cubicBezTo>
                  <a:pt x="1967" y="1836"/>
                  <a:pt x="1967" y="1836"/>
                  <a:pt x="1967" y="1836"/>
                </a:cubicBezTo>
                <a:cubicBezTo>
                  <a:pt x="1967" y="608"/>
                  <a:pt x="1967" y="608"/>
                  <a:pt x="1967" y="608"/>
                </a:cubicBezTo>
                <a:cubicBezTo>
                  <a:pt x="1967" y="608"/>
                  <a:pt x="1967" y="570"/>
                  <a:pt x="1954" y="532"/>
                </a:cubicBezTo>
              </a:path>
            </a:pathLst>
          </a:custGeom>
          <a:solidFill>
            <a:schemeClr val="accent3"/>
          </a:solidFill>
          <a:ln w="952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 lIns="82878" tIns="41438" rIns="82878" bIns="41438"/>
          <a:lstStyle/>
          <a:p>
            <a:pPr defTabSz="891045"/>
            <a:endParaRPr lang="en-US" sz="1700" dirty="0">
              <a:solidFill>
                <a:srgbClr val="003149"/>
              </a:solidFill>
              <a:cs typeface="Arial" panose="020B0604020202020204" pitchFamily="34" charset="0"/>
            </a:endParaRPr>
          </a:p>
        </p:txBody>
      </p:sp>
      <p:sp>
        <p:nvSpPr>
          <p:cNvPr id="653" name="Freeform 430"/>
          <p:cNvSpPr>
            <a:spLocks/>
          </p:cNvSpPr>
          <p:nvPr/>
        </p:nvSpPr>
        <p:spPr bwMode="gray">
          <a:xfrm>
            <a:off x="1315054" y="1818203"/>
            <a:ext cx="295407" cy="298134"/>
          </a:xfrm>
          <a:custGeom>
            <a:avLst/>
            <a:gdLst>
              <a:gd name="T0" fmla="*/ 2147483647 w 201"/>
              <a:gd name="T1" fmla="*/ 2147483647 h 192"/>
              <a:gd name="T2" fmla="*/ 2147483647 w 201"/>
              <a:gd name="T3" fmla="*/ 2147483647 h 192"/>
              <a:gd name="T4" fmla="*/ 2147483647 w 201"/>
              <a:gd name="T5" fmla="*/ 2147483647 h 192"/>
              <a:gd name="T6" fmla="*/ 2147483647 w 201"/>
              <a:gd name="T7" fmla="*/ 2147483647 h 192"/>
              <a:gd name="T8" fmla="*/ 2147483647 w 201"/>
              <a:gd name="T9" fmla="*/ 2147483647 h 192"/>
              <a:gd name="T10" fmla="*/ 2147483647 w 201"/>
              <a:gd name="T11" fmla="*/ 2147483647 h 192"/>
              <a:gd name="T12" fmla="*/ 2147483647 w 201"/>
              <a:gd name="T13" fmla="*/ 2147483647 h 192"/>
              <a:gd name="T14" fmla="*/ 2147483647 w 201"/>
              <a:gd name="T15" fmla="*/ 2147483647 h 192"/>
              <a:gd name="T16" fmla="*/ 2147483647 w 201"/>
              <a:gd name="T17" fmla="*/ 2147483647 h 192"/>
              <a:gd name="T18" fmla="*/ 2147483647 w 201"/>
              <a:gd name="T19" fmla="*/ 2147483647 h 192"/>
              <a:gd name="T20" fmla="*/ 2147483647 w 201"/>
              <a:gd name="T21" fmla="*/ 2147483647 h 192"/>
              <a:gd name="T22" fmla="*/ 2147483647 w 201"/>
              <a:gd name="T23" fmla="*/ 2147483647 h 192"/>
              <a:gd name="T24" fmla="*/ 2147483647 w 201"/>
              <a:gd name="T25" fmla="*/ 2147483647 h 192"/>
              <a:gd name="T26" fmla="*/ 2147483647 w 201"/>
              <a:gd name="T27" fmla="*/ 2147483647 h 192"/>
              <a:gd name="T28" fmla="*/ 2147483647 w 201"/>
              <a:gd name="T29" fmla="*/ 2147483647 h 192"/>
              <a:gd name="T30" fmla="*/ 2147483647 w 201"/>
              <a:gd name="T31" fmla="*/ 2147483647 h 192"/>
              <a:gd name="T32" fmla="*/ 2147483647 w 201"/>
              <a:gd name="T33" fmla="*/ 2147483647 h 192"/>
              <a:gd name="T34" fmla="*/ 2147483647 w 201"/>
              <a:gd name="T35" fmla="*/ 2147483647 h 192"/>
              <a:gd name="T36" fmla="*/ 2147483647 w 201"/>
              <a:gd name="T37" fmla="*/ 2147483647 h 192"/>
              <a:gd name="T38" fmla="*/ 2147483647 w 201"/>
              <a:gd name="T39" fmla="*/ 2147483647 h 192"/>
              <a:gd name="T40" fmla="*/ 2147483647 w 201"/>
              <a:gd name="T41" fmla="*/ 2147483647 h 192"/>
              <a:gd name="T42" fmla="*/ 2147483647 w 201"/>
              <a:gd name="T43" fmla="*/ 2147483647 h 192"/>
              <a:gd name="T44" fmla="*/ 2147483647 w 201"/>
              <a:gd name="T45" fmla="*/ 0 h 192"/>
              <a:gd name="T46" fmla="*/ 2147483647 w 201"/>
              <a:gd name="T47" fmla="*/ 2147483647 h 192"/>
              <a:gd name="T48" fmla="*/ 2147483647 w 201"/>
              <a:gd name="T49" fmla="*/ 2147483647 h 192"/>
              <a:gd name="T50" fmla="*/ 2147483647 w 201"/>
              <a:gd name="T51" fmla="*/ 2147483647 h 192"/>
              <a:gd name="T52" fmla="*/ 2147483647 w 201"/>
              <a:gd name="T53" fmla="*/ 2147483647 h 192"/>
              <a:gd name="T54" fmla="*/ 2147483647 w 201"/>
              <a:gd name="T55" fmla="*/ 2147483647 h 192"/>
              <a:gd name="T56" fmla="*/ 2147483647 w 201"/>
              <a:gd name="T57" fmla="*/ 2147483647 h 192"/>
              <a:gd name="T58" fmla="*/ 2147483647 w 201"/>
              <a:gd name="T59" fmla="*/ 2147483647 h 192"/>
              <a:gd name="T60" fmla="*/ 2147483647 w 201"/>
              <a:gd name="T61" fmla="*/ 2147483647 h 192"/>
              <a:gd name="T62" fmla="*/ 2147483647 w 201"/>
              <a:gd name="T63" fmla="*/ 2147483647 h 192"/>
              <a:gd name="T64" fmla="*/ 2147483647 w 201"/>
              <a:gd name="T65" fmla="*/ 2147483647 h 192"/>
              <a:gd name="T66" fmla="*/ 2147483647 w 201"/>
              <a:gd name="T67" fmla="*/ 2147483647 h 192"/>
              <a:gd name="T68" fmla="*/ 2147483647 w 201"/>
              <a:gd name="T69" fmla="*/ 2147483647 h 192"/>
              <a:gd name="T70" fmla="*/ 2147483647 w 201"/>
              <a:gd name="T71" fmla="*/ 2147483647 h 192"/>
              <a:gd name="T72" fmla="*/ 2147483647 w 201"/>
              <a:gd name="T73" fmla="*/ 2147483647 h 192"/>
              <a:gd name="T74" fmla="*/ 2147483647 w 201"/>
              <a:gd name="T75" fmla="*/ 2147483647 h 192"/>
              <a:gd name="T76" fmla="*/ 2147483647 w 201"/>
              <a:gd name="T77" fmla="*/ 2147483647 h 192"/>
              <a:gd name="T78" fmla="*/ 2147483647 w 201"/>
              <a:gd name="T79" fmla="*/ 2147483647 h 192"/>
              <a:gd name="T80" fmla="*/ 2147483647 w 201"/>
              <a:gd name="T81" fmla="*/ 2147483647 h 192"/>
              <a:gd name="T82" fmla="*/ 2147483647 w 201"/>
              <a:gd name="T83" fmla="*/ 2147483647 h 192"/>
              <a:gd name="T84" fmla="*/ 2147483647 w 201"/>
              <a:gd name="T85" fmla="*/ 2147483647 h 192"/>
              <a:gd name="T86" fmla="*/ 2147483647 w 201"/>
              <a:gd name="T87" fmla="*/ 2147483647 h 192"/>
              <a:gd name="T88" fmla="*/ 2147483647 w 201"/>
              <a:gd name="T89" fmla="*/ 2147483647 h 192"/>
              <a:gd name="T90" fmla="*/ 2147483647 w 201"/>
              <a:gd name="T91" fmla="*/ 2147483647 h 192"/>
              <a:gd name="T92" fmla="*/ 2147483647 w 201"/>
              <a:gd name="T93" fmla="*/ 2147483647 h 192"/>
              <a:gd name="T94" fmla="*/ 2147483647 w 201"/>
              <a:gd name="T95" fmla="*/ 2147483647 h 192"/>
              <a:gd name="T96" fmla="*/ 2147483647 w 201"/>
              <a:gd name="T97" fmla="*/ 2147483647 h 192"/>
              <a:gd name="T98" fmla="*/ 2147483647 w 201"/>
              <a:gd name="T99" fmla="*/ 2147483647 h 192"/>
              <a:gd name="T100" fmla="*/ 2147483647 w 201"/>
              <a:gd name="T101" fmla="*/ 2147483647 h 192"/>
              <a:gd name="T102" fmla="*/ 2147483647 w 201"/>
              <a:gd name="T103" fmla="*/ 2147483647 h 192"/>
              <a:gd name="T104" fmla="*/ 2147483647 w 201"/>
              <a:gd name="T105" fmla="*/ 2147483647 h 192"/>
              <a:gd name="T106" fmla="*/ 2147483647 w 201"/>
              <a:gd name="T107" fmla="*/ 2147483647 h 192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w 201"/>
              <a:gd name="T163" fmla="*/ 0 h 192"/>
              <a:gd name="T164" fmla="*/ 201 w 201"/>
              <a:gd name="T165" fmla="*/ 192 h 192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T162" t="T163" r="T164" b="T165"/>
            <a:pathLst>
              <a:path w="201" h="192">
                <a:moveTo>
                  <a:pt x="197" y="53"/>
                </a:moveTo>
                <a:cubicBezTo>
                  <a:pt x="196" y="48"/>
                  <a:pt x="195" y="44"/>
                  <a:pt x="195" y="44"/>
                </a:cubicBezTo>
                <a:cubicBezTo>
                  <a:pt x="195" y="44"/>
                  <a:pt x="199" y="35"/>
                  <a:pt x="199" y="34"/>
                </a:cubicBezTo>
                <a:cubicBezTo>
                  <a:pt x="199" y="33"/>
                  <a:pt x="197" y="25"/>
                  <a:pt x="197" y="25"/>
                </a:cubicBezTo>
                <a:cubicBezTo>
                  <a:pt x="201" y="21"/>
                  <a:pt x="201" y="21"/>
                  <a:pt x="201" y="21"/>
                </a:cubicBezTo>
                <a:cubicBezTo>
                  <a:pt x="201" y="21"/>
                  <a:pt x="197" y="17"/>
                  <a:pt x="195" y="17"/>
                </a:cubicBezTo>
                <a:cubicBezTo>
                  <a:pt x="192" y="17"/>
                  <a:pt x="189" y="17"/>
                  <a:pt x="186" y="16"/>
                </a:cubicBezTo>
                <a:cubicBezTo>
                  <a:pt x="182" y="15"/>
                  <a:pt x="179" y="14"/>
                  <a:pt x="177" y="14"/>
                </a:cubicBezTo>
                <a:cubicBezTo>
                  <a:pt x="174" y="14"/>
                  <a:pt x="175" y="7"/>
                  <a:pt x="175" y="7"/>
                </a:cubicBezTo>
                <a:cubicBezTo>
                  <a:pt x="175" y="7"/>
                  <a:pt x="170" y="6"/>
                  <a:pt x="165" y="3"/>
                </a:cubicBezTo>
                <a:cubicBezTo>
                  <a:pt x="161" y="2"/>
                  <a:pt x="160" y="3"/>
                  <a:pt x="156" y="6"/>
                </a:cubicBezTo>
                <a:cubicBezTo>
                  <a:pt x="151" y="7"/>
                  <a:pt x="151" y="6"/>
                  <a:pt x="142" y="7"/>
                </a:cubicBezTo>
                <a:cubicBezTo>
                  <a:pt x="134" y="8"/>
                  <a:pt x="137" y="16"/>
                  <a:pt x="134" y="19"/>
                </a:cubicBezTo>
                <a:cubicBezTo>
                  <a:pt x="130" y="21"/>
                  <a:pt x="139" y="28"/>
                  <a:pt x="137" y="33"/>
                </a:cubicBezTo>
                <a:cubicBezTo>
                  <a:pt x="135" y="37"/>
                  <a:pt x="126" y="43"/>
                  <a:pt x="121" y="42"/>
                </a:cubicBezTo>
                <a:cubicBezTo>
                  <a:pt x="116" y="40"/>
                  <a:pt x="106" y="33"/>
                  <a:pt x="102" y="30"/>
                </a:cubicBezTo>
                <a:cubicBezTo>
                  <a:pt x="97" y="29"/>
                  <a:pt x="86" y="29"/>
                  <a:pt x="83" y="28"/>
                </a:cubicBezTo>
                <a:cubicBezTo>
                  <a:pt x="79" y="26"/>
                  <a:pt x="76" y="16"/>
                  <a:pt x="77" y="12"/>
                </a:cubicBezTo>
                <a:cubicBezTo>
                  <a:pt x="77" y="8"/>
                  <a:pt x="73" y="10"/>
                  <a:pt x="68" y="10"/>
                </a:cubicBezTo>
                <a:cubicBezTo>
                  <a:pt x="63" y="8"/>
                  <a:pt x="63" y="7"/>
                  <a:pt x="58" y="6"/>
                </a:cubicBezTo>
                <a:cubicBezTo>
                  <a:pt x="54" y="5"/>
                  <a:pt x="52" y="2"/>
                  <a:pt x="49" y="3"/>
                </a:cubicBezTo>
                <a:cubicBezTo>
                  <a:pt x="48" y="5"/>
                  <a:pt x="43" y="6"/>
                  <a:pt x="39" y="5"/>
                </a:cubicBezTo>
                <a:cubicBezTo>
                  <a:pt x="35" y="3"/>
                  <a:pt x="28" y="0"/>
                  <a:pt x="28" y="0"/>
                </a:cubicBezTo>
                <a:cubicBezTo>
                  <a:pt x="28" y="0"/>
                  <a:pt x="27" y="5"/>
                  <a:pt x="27" y="6"/>
                </a:cubicBezTo>
                <a:cubicBezTo>
                  <a:pt x="27" y="7"/>
                  <a:pt x="31" y="10"/>
                  <a:pt x="27" y="11"/>
                </a:cubicBezTo>
                <a:cubicBezTo>
                  <a:pt x="23" y="14"/>
                  <a:pt x="18" y="16"/>
                  <a:pt x="17" y="17"/>
                </a:cubicBezTo>
                <a:cubicBezTo>
                  <a:pt x="16" y="19"/>
                  <a:pt x="16" y="20"/>
                  <a:pt x="14" y="21"/>
                </a:cubicBezTo>
                <a:cubicBezTo>
                  <a:pt x="13" y="21"/>
                  <a:pt x="10" y="26"/>
                  <a:pt x="10" y="26"/>
                </a:cubicBezTo>
                <a:cubicBezTo>
                  <a:pt x="10" y="26"/>
                  <a:pt x="12" y="33"/>
                  <a:pt x="12" y="34"/>
                </a:cubicBezTo>
                <a:cubicBezTo>
                  <a:pt x="13" y="35"/>
                  <a:pt x="9" y="39"/>
                  <a:pt x="8" y="40"/>
                </a:cubicBezTo>
                <a:cubicBezTo>
                  <a:pt x="6" y="42"/>
                  <a:pt x="4" y="43"/>
                  <a:pt x="4" y="43"/>
                </a:cubicBezTo>
                <a:cubicBezTo>
                  <a:pt x="1" y="44"/>
                  <a:pt x="1" y="44"/>
                  <a:pt x="1" y="44"/>
                </a:cubicBezTo>
                <a:cubicBezTo>
                  <a:pt x="1" y="44"/>
                  <a:pt x="4" y="48"/>
                  <a:pt x="5" y="55"/>
                </a:cubicBezTo>
                <a:cubicBezTo>
                  <a:pt x="6" y="60"/>
                  <a:pt x="8" y="67"/>
                  <a:pt x="6" y="70"/>
                </a:cubicBezTo>
                <a:cubicBezTo>
                  <a:pt x="6" y="73"/>
                  <a:pt x="9" y="76"/>
                  <a:pt x="9" y="76"/>
                </a:cubicBezTo>
                <a:cubicBezTo>
                  <a:pt x="9" y="76"/>
                  <a:pt x="6" y="80"/>
                  <a:pt x="6" y="83"/>
                </a:cubicBezTo>
                <a:cubicBezTo>
                  <a:pt x="6" y="87"/>
                  <a:pt x="8" y="92"/>
                  <a:pt x="8" y="94"/>
                </a:cubicBezTo>
                <a:cubicBezTo>
                  <a:pt x="6" y="97"/>
                  <a:pt x="1" y="101"/>
                  <a:pt x="1" y="101"/>
                </a:cubicBezTo>
                <a:cubicBezTo>
                  <a:pt x="0" y="102"/>
                  <a:pt x="9" y="113"/>
                  <a:pt x="9" y="113"/>
                </a:cubicBezTo>
                <a:cubicBezTo>
                  <a:pt x="9" y="120"/>
                  <a:pt x="9" y="120"/>
                  <a:pt x="9" y="120"/>
                </a:cubicBezTo>
                <a:cubicBezTo>
                  <a:pt x="9" y="120"/>
                  <a:pt x="12" y="119"/>
                  <a:pt x="12" y="121"/>
                </a:cubicBezTo>
                <a:cubicBezTo>
                  <a:pt x="12" y="122"/>
                  <a:pt x="13" y="125"/>
                  <a:pt x="14" y="124"/>
                </a:cubicBezTo>
                <a:cubicBezTo>
                  <a:pt x="17" y="124"/>
                  <a:pt x="17" y="122"/>
                  <a:pt x="18" y="122"/>
                </a:cubicBezTo>
                <a:cubicBezTo>
                  <a:pt x="19" y="124"/>
                  <a:pt x="27" y="129"/>
                  <a:pt x="27" y="129"/>
                </a:cubicBezTo>
                <a:cubicBezTo>
                  <a:pt x="30" y="127"/>
                  <a:pt x="30" y="127"/>
                  <a:pt x="30" y="127"/>
                </a:cubicBezTo>
                <a:cubicBezTo>
                  <a:pt x="34" y="138"/>
                  <a:pt x="34" y="138"/>
                  <a:pt x="34" y="138"/>
                </a:cubicBezTo>
                <a:cubicBezTo>
                  <a:pt x="54" y="143"/>
                  <a:pt x="54" y="143"/>
                  <a:pt x="54" y="143"/>
                </a:cubicBezTo>
                <a:cubicBezTo>
                  <a:pt x="62" y="150"/>
                  <a:pt x="62" y="150"/>
                  <a:pt x="62" y="150"/>
                </a:cubicBezTo>
                <a:cubicBezTo>
                  <a:pt x="85" y="139"/>
                  <a:pt x="85" y="139"/>
                  <a:pt x="85" y="139"/>
                </a:cubicBezTo>
                <a:cubicBezTo>
                  <a:pt x="186" y="192"/>
                  <a:pt x="186" y="192"/>
                  <a:pt x="186" y="192"/>
                </a:cubicBezTo>
                <a:cubicBezTo>
                  <a:pt x="186" y="185"/>
                  <a:pt x="186" y="185"/>
                  <a:pt x="186" y="185"/>
                </a:cubicBezTo>
                <a:cubicBezTo>
                  <a:pt x="199" y="185"/>
                  <a:pt x="199" y="185"/>
                  <a:pt x="199" y="185"/>
                </a:cubicBezTo>
                <a:cubicBezTo>
                  <a:pt x="199" y="61"/>
                  <a:pt x="199" y="61"/>
                  <a:pt x="199" y="61"/>
                </a:cubicBezTo>
                <a:cubicBezTo>
                  <a:pt x="199" y="61"/>
                  <a:pt x="199" y="57"/>
                  <a:pt x="197" y="53"/>
                </a:cubicBezTo>
              </a:path>
            </a:pathLst>
          </a:custGeom>
          <a:solidFill>
            <a:schemeClr val="accent3"/>
          </a:solidFill>
          <a:ln w="9525" cap="rnd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 lIns="82878" tIns="41438" rIns="82878" bIns="41438"/>
          <a:lstStyle/>
          <a:p>
            <a:pPr defTabSz="891045"/>
            <a:endParaRPr lang="en-US" sz="1700" dirty="0">
              <a:solidFill>
                <a:srgbClr val="003149"/>
              </a:solidFill>
              <a:cs typeface="Arial" panose="020B0604020202020204" pitchFamily="34" charset="0"/>
            </a:endParaRPr>
          </a:p>
        </p:txBody>
      </p:sp>
      <p:sp>
        <p:nvSpPr>
          <p:cNvPr id="654" name="Freeform 441"/>
          <p:cNvSpPr>
            <a:spLocks/>
          </p:cNvSpPr>
          <p:nvPr/>
        </p:nvSpPr>
        <p:spPr bwMode="gray">
          <a:xfrm>
            <a:off x="1756262" y="2214007"/>
            <a:ext cx="276551" cy="227090"/>
          </a:xfrm>
          <a:custGeom>
            <a:avLst/>
            <a:gdLst>
              <a:gd name="T0" fmla="*/ 254276731 w 1858"/>
              <a:gd name="T1" fmla="*/ 263648390 h 1458"/>
              <a:gd name="T2" fmla="*/ 254276731 w 1858"/>
              <a:gd name="T3" fmla="*/ 263648390 h 1458"/>
              <a:gd name="T4" fmla="*/ 254276731 w 1858"/>
              <a:gd name="T5" fmla="*/ 263648390 h 1458"/>
              <a:gd name="T6" fmla="*/ 254276731 w 1858"/>
              <a:gd name="T7" fmla="*/ 263648390 h 1458"/>
              <a:gd name="T8" fmla="*/ 254276731 w 1858"/>
              <a:gd name="T9" fmla="*/ 263648390 h 1458"/>
              <a:gd name="T10" fmla="*/ 254276731 w 1858"/>
              <a:gd name="T11" fmla="*/ 263648390 h 1458"/>
              <a:gd name="T12" fmla="*/ 254276731 w 1858"/>
              <a:gd name="T13" fmla="*/ 263648390 h 1458"/>
              <a:gd name="T14" fmla="*/ 254276731 w 1858"/>
              <a:gd name="T15" fmla="*/ 0 h 1458"/>
              <a:gd name="T16" fmla="*/ 254276731 w 1858"/>
              <a:gd name="T17" fmla="*/ 0 h 1458"/>
              <a:gd name="T18" fmla="*/ 254276731 w 1858"/>
              <a:gd name="T19" fmla="*/ 0 h 1458"/>
              <a:gd name="T20" fmla="*/ 254276731 w 1858"/>
              <a:gd name="T21" fmla="*/ 0 h 1458"/>
              <a:gd name="T22" fmla="*/ 254276731 w 1858"/>
              <a:gd name="T23" fmla="*/ 0 h 1458"/>
              <a:gd name="T24" fmla="*/ 254276731 w 1858"/>
              <a:gd name="T25" fmla="*/ 0 h 1458"/>
              <a:gd name="T26" fmla="*/ 254276731 w 1858"/>
              <a:gd name="T27" fmla="*/ 0 h 1458"/>
              <a:gd name="T28" fmla="*/ 254276731 w 1858"/>
              <a:gd name="T29" fmla="*/ 0 h 1458"/>
              <a:gd name="T30" fmla="*/ 254276731 w 1858"/>
              <a:gd name="T31" fmla="*/ 0 h 1458"/>
              <a:gd name="T32" fmla="*/ 254276731 w 1858"/>
              <a:gd name="T33" fmla="*/ 0 h 1458"/>
              <a:gd name="T34" fmla="*/ 254276731 w 1858"/>
              <a:gd name="T35" fmla="*/ 0 h 1458"/>
              <a:gd name="T36" fmla="*/ 254276731 w 1858"/>
              <a:gd name="T37" fmla="*/ 0 h 1458"/>
              <a:gd name="T38" fmla="*/ 254276731 w 1858"/>
              <a:gd name="T39" fmla="*/ 0 h 1458"/>
              <a:gd name="T40" fmla="*/ 254276731 w 1858"/>
              <a:gd name="T41" fmla="*/ 0 h 1458"/>
              <a:gd name="T42" fmla="*/ 254276731 w 1858"/>
              <a:gd name="T43" fmla="*/ 0 h 1458"/>
              <a:gd name="T44" fmla="*/ 0 w 1858"/>
              <a:gd name="T45" fmla="*/ 0 h 1458"/>
              <a:gd name="T46" fmla="*/ 0 w 1858"/>
              <a:gd name="T47" fmla="*/ 0 h 1458"/>
              <a:gd name="T48" fmla="*/ 0 w 1858"/>
              <a:gd name="T49" fmla="*/ 0 h 1458"/>
              <a:gd name="T50" fmla="*/ 0 w 1858"/>
              <a:gd name="T51" fmla="*/ 0 h 1458"/>
              <a:gd name="T52" fmla="*/ 0 w 1858"/>
              <a:gd name="T53" fmla="*/ 0 h 1458"/>
              <a:gd name="T54" fmla="*/ 0 w 1858"/>
              <a:gd name="T55" fmla="*/ 263648390 h 1458"/>
              <a:gd name="T56" fmla="*/ 0 w 1858"/>
              <a:gd name="T57" fmla="*/ 263648390 h 1458"/>
              <a:gd name="T58" fmla="*/ 0 w 1858"/>
              <a:gd name="T59" fmla="*/ 263648390 h 1458"/>
              <a:gd name="T60" fmla="*/ 0 w 1858"/>
              <a:gd name="T61" fmla="*/ 263648390 h 1458"/>
              <a:gd name="T62" fmla="*/ 0 w 1858"/>
              <a:gd name="T63" fmla="*/ 263648390 h 1458"/>
              <a:gd name="T64" fmla="*/ 0 w 1858"/>
              <a:gd name="T65" fmla="*/ 263648390 h 1458"/>
              <a:gd name="T66" fmla="*/ 0 w 1858"/>
              <a:gd name="T67" fmla="*/ 263648390 h 1458"/>
              <a:gd name="T68" fmla="*/ 0 w 1858"/>
              <a:gd name="T69" fmla="*/ 263648390 h 1458"/>
              <a:gd name="T70" fmla="*/ 0 w 1858"/>
              <a:gd name="T71" fmla="*/ 263648390 h 1458"/>
              <a:gd name="T72" fmla="*/ 0 w 1858"/>
              <a:gd name="T73" fmla="*/ 263648390 h 1458"/>
              <a:gd name="T74" fmla="*/ 0 w 1858"/>
              <a:gd name="T75" fmla="*/ 263648390 h 1458"/>
              <a:gd name="T76" fmla="*/ 0 w 1858"/>
              <a:gd name="T77" fmla="*/ 263648390 h 1458"/>
              <a:gd name="T78" fmla="*/ 0 w 1858"/>
              <a:gd name="T79" fmla="*/ 263648390 h 1458"/>
              <a:gd name="T80" fmla="*/ 0 w 1858"/>
              <a:gd name="T81" fmla="*/ 263648390 h 1458"/>
              <a:gd name="T82" fmla="*/ 0 w 1858"/>
              <a:gd name="T83" fmla="*/ 263648390 h 1458"/>
              <a:gd name="T84" fmla="*/ 0 w 1858"/>
              <a:gd name="T85" fmla="*/ 263648390 h 1458"/>
              <a:gd name="T86" fmla="*/ 0 w 1858"/>
              <a:gd name="T87" fmla="*/ 263648390 h 1458"/>
              <a:gd name="T88" fmla="*/ 0 w 1858"/>
              <a:gd name="T89" fmla="*/ 263648390 h 1458"/>
              <a:gd name="T90" fmla="*/ 254276731 w 1858"/>
              <a:gd name="T91" fmla="*/ 263648390 h 1458"/>
              <a:gd name="T92" fmla="*/ 254276731 w 1858"/>
              <a:gd name="T93" fmla="*/ 263648390 h 1458"/>
              <a:gd name="T94" fmla="*/ 254276731 w 1858"/>
              <a:gd name="T95" fmla="*/ 263648390 h 1458"/>
              <a:gd name="T96" fmla="*/ 254276731 w 1858"/>
              <a:gd name="T97" fmla="*/ 263648390 h 1458"/>
              <a:gd name="T98" fmla="*/ 254276731 w 1858"/>
              <a:gd name="T99" fmla="*/ 263648390 h 1458"/>
              <a:gd name="T100" fmla="*/ 254276731 w 1858"/>
              <a:gd name="T101" fmla="*/ 263648390 h 1458"/>
              <a:gd name="T102" fmla="*/ 254276731 w 1858"/>
              <a:gd name="T103" fmla="*/ 263648390 h 1458"/>
              <a:gd name="T104" fmla="*/ 254276731 w 1858"/>
              <a:gd name="T105" fmla="*/ 263648390 h 1458"/>
              <a:gd name="T106" fmla="*/ 254276731 w 1858"/>
              <a:gd name="T107" fmla="*/ 263648390 h 1458"/>
              <a:gd name="T108" fmla="*/ 254276731 w 1858"/>
              <a:gd name="T109" fmla="*/ 263648390 h 1458"/>
              <a:gd name="T110" fmla="*/ 254276731 w 1858"/>
              <a:gd name="T111" fmla="*/ 263648390 h 1458"/>
              <a:gd name="T112" fmla="*/ 254276731 w 1858"/>
              <a:gd name="T113" fmla="*/ 263648390 h 1458"/>
              <a:gd name="T114" fmla="*/ 254276731 w 1858"/>
              <a:gd name="T115" fmla="*/ 263648390 h 1458"/>
              <a:gd name="T116" fmla="*/ 254276731 w 1858"/>
              <a:gd name="T117" fmla="*/ 263648390 h 1458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w 1858"/>
              <a:gd name="T178" fmla="*/ 0 h 1458"/>
              <a:gd name="T179" fmla="*/ 1858 w 1858"/>
              <a:gd name="T180" fmla="*/ 1458 h 1458"/>
            </a:gdLst>
            <a:ahLst/>
            <a:cxnLst>
              <a:cxn ang="T118">
                <a:pos x="T0" y="T1"/>
              </a:cxn>
              <a:cxn ang="T119">
                <a:pos x="T2" y="T3"/>
              </a:cxn>
              <a:cxn ang="T120">
                <a:pos x="T4" y="T5"/>
              </a:cxn>
              <a:cxn ang="T121">
                <a:pos x="T6" y="T7"/>
              </a:cxn>
              <a:cxn ang="T122">
                <a:pos x="T8" y="T9"/>
              </a:cxn>
              <a:cxn ang="T123">
                <a:pos x="T10" y="T11"/>
              </a:cxn>
              <a:cxn ang="T124">
                <a:pos x="T12" y="T13"/>
              </a:cxn>
              <a:cxn ang="T125">
                <a:pos x="T14" y="T15"/>
              </a:cxn>
              <a:cxn ang="T126">
                <a:pos x="T16" y="T17"/>
              </a:cxn>
              <a:cxn ang="T127">
                <a:pos x="T18" y="T19"/>
              </a:cxn>
              <a:cxn ang="T128">
                <a:pos x="T20" y="T21"/>
              </a:cxn>
              <a:cxn ang="T129">
                <a:pos x="T22" y="T23"/>
              </a:cxn>
              <a:cxn ang="T130">
                <a:pos x="T24" y="T25"/>
              </a:cxn>
              <a:cxn ang="T131">
                <a:pos x="T26" y="T27"/>
              </a:cxn>
              <a:cxn ang="T132">
                <a:pos x="T28" y="T29"/>
              </a:cxn>
              <a:cxn ang="T133">
                <a:pos x="T30" y="T31"/>
              </a:cxn>
              <a:cxn ang="T134">
                <a:pos x="T32" y="T33"/>
              </a:cxn>
              <a:cxn ang="T135">
                <a:pos x="T34" y="T35"/>
              </a:cxn>
              <a:cxn ang="T136">
                <a:pos x="T36" y="T37"/>
              </a:cxn>
              <a:cxn ang="T137">
                <a:pos x="T38" y="T39"/>
              </a:cxn>
              <a:cxn ang="T138">
                <a:pos x="T40" y="T41"/>
              </a:cxn>
              <a:cxn ang="T139">
                <a:pos x="T42" y="T43"/>
              </a:cxn>
              <a:cxn ang="T140">
                <a:pos x="T44" y="T45"/>
              </a:cxn>
              <a:cxn ang="T141">
                <a:pos x="T46" y="T47"/>
              </a:cxn>
              <a:cxn ang="T142">
                <a:pos x="T48" y="T49"/>
              </a:cxn>
              <a:cxn ang="T143">
                <a:pos x="T50" y="T51"/>
              </a:cxn>
              <a:cxn ang="T144">
                <a:pos x="T52" y="T53"/>
              </a:cxn>
              <a:cxn ang="T145">
                <a:pos x="T54" y="T55"/>
              </a:cxn>
              <a:cxn ang="T146">
                <a:pos x="T56" y="T57"/>
              </a:cxn>
              <a:cxn ang="T147">
                <a:pos x="T58" y="T59"/>
              </a:cxn>
              <a:cxn ang="T148">
                <a:pos x="T60" y="T61"/>
              </a:cxn>
              <a:cxn ang="T149">
                <a:pos x="T62" y="T63"/>
              </a:cxn>
              <a:cxn ang="T150">
                <a:pos x="T64" y="T65"/>
              </a:cxn>
              <a:cxn ang="T151">
                <a:pos x="T66" y="T67"/>
              </a:cxn>
              <a:cxn ang="T152">
                <a:pos x="T68" y="T69"/>
              </a:cxn>
              <a:cxn ang="T153">
                <a:pos x="T70" y="T71"/>
              </a:cxn>
              <a:cxn ang="T154">
                <a:pos x="T72" y="T73"/>
              </a:cxn>
              <a:cxn ang="T155">
                <a:pos x="T74" y="T75"/>
              </a:cxn>
              <a:cxn ang="T156">
                <a:pos x="T76" y="T77"/>
              </a:cxn>
              <a:cxn ang="T157">
                <a:pos x="T78" y="T79"/>
              </a:cxn>
              <a:cxn ang="T158">
                <a:pos x="T80" y="T81"/>
              </a:cxn>
              <a:cxn ang="T159">
                <a:pos x="T82" y="T83"/>
              </a:cxn>
              <a:cxn ang="T160">
                <a:pos x="T84" y="T85"/>
              </a:cxn>
              <a:cxn ang="T161">
                <a:pos x="T86" y="T87"/>
              </a:cxn>
              <a:cxn ang="T162">
                <a:pos x="T88" y="T89"/>
              </a:cxn>
              <a:cxn ang="T163">
                <a:pos x="T90" y="T91"/>
              </a:cxn>
              <a:cxn ang="T164">
                <a:pos x="T92" y="T93"/>
              </a:cxn>
              <a:cxn ang="T165">
                <a:pos x="T94" y="T95"/>
              </a:cxn>
              <a:cxn ang="T166">
                <a:pos x="T96" y="T97"/>
              </a:cxn>
              <a:cxn ang="T167">
                <a:pos x="T98" y="T99"/>
              </a:cxn>
              <a:cxn ang="T168">
                <a:pos x="T100" y="T101"/>
              </a:cxn>
              <a:cxn ang="T169">
                <a:pos x="T102" y="T103"/>
              </a:cxn>
              <a:cxn ang="T170">
                <a:pos x="T104" y="T105"/>
              </a:cxn>
              <a:cxn ang="T171">
                <a:pos x="T106" y="T107"/>
              </a:cxn>
              <a:cxn ang="T172">
                <a:pos x="T108" y="T109"/>
              </a:cxn>
              <a:cxn ang="T173">
                <a:pos x="T110" y="T111"/>
              </a:cxn>
              <a:cxn ang="T174">
                <a:pos x="T112" y="T113"/>
              </a:cxn>
              <a:cxn ang="T175">
                <a:pos x="T114" y="T115"/>
              </a:cxn>
              <a:cxn ang="T176">
                <a:pos x="T116" y="T117"/>
              </a:cxn>
            </a:cxnLst>
            <a:rect l="T177" t="T178" r="T179" b="T180"/>
            <a:pathLst>
              <a:path w="1858" h="1458">
                <a:moveTo>
                  <a:pt x="1744" y="870"/>
                </a:moveTo>
                <a:cubicBezTo>
                  <a:pt x="1365" y="742"/>
                  <a:pt x="1365" y="742"/>
                  <a:pt x="1365" y="742"/>
                </a:cubicBezTo>
                <a:cubicBezTo>
                  <a:pt x="1365" y="742"/>
                  <a:pt x="1302" y="691"/>
                  <a:pt x="1277" y="665"/>
                </a:cubicBezTo>
                <a:cubicBezTo>
                  <a:pt x="1251" y="627"/>
                  <a:pt x="1213" y="537"/>
                  <a:pt x="1213" y="537"/>
                </a:cubicBezTo>
                <a:cubicBezTo>
                  <a:pt x="1239" y="499"/>
                  <a:pt x="1239" y="499"/>
                  <a:pt x="1239" y="499"/>
                </a:cubicBezTo>
                <a:cubicBezTo>
                  <a:pt x="1201" y="486"/>
                  <a:pt x="1201" y="486"/>
                  <a:pt x="1201" y="486"/>
                </a:cubicBezTo>
                <a:cubicBezTo>
                  <a:pt x="1100" y="511"/>
                  <a:pt x="1100" y="511"/>
                  <a:pt x="1100" y="511"/>
                </a:cubicBezTo>
                <a:cubicBezTo>
                  <a:pt x="1087" y="422"/>
                  <a:pt x="1087" y="422"/>
                  <a:pt x="1087" y="422"/>
                </a:cubicBezTo>
                <a:cubicBezTo>
                  <a:pt x="1163" y="307"/>
                  <a:pt x="1163" y="307"/>
                  <a:pt x="1163" y="307"/>
                </a:cubicBezTo>
                <a:cubicBezTo>
                  <a:pt x="1163" y="307"/>
                  <a:pt x="1150" y="281"/>
                  <a:pt x="1125" y="268"/>
                </a:cubicBezTo>
                <a:cubicBezTo>
                  <a:pt x="1100" y="243"/>
                  <a:pt x="1049" y="179"/>
                  <a:pt x="1036" y="166"/>
                </a:cubicBezTo>
                <a:cubicBezTo>
                  <a:pt x="1024" y="166"/>
                  <a:pt x="986" y="89"/>
                  <a:pt x="961" y="89"/>
                </a:cubicBezTo>
                <a:cubicBezTo>
                  <a:pt x="935" y="77"/>
                  <a:pt x="872" y="38"/>
                  <a:pt x="847" y="38"/>
                </a:cubicBezTo>
                <a:cubicBezTo>
                  <a:pt x="822" y="38"/>
                  <a:pt x="784" y="51"/>
                  <a:pt x="784" y="51"/>
                </a:cubicBezTo>
                <a:cubicBezTo>
                  <a:pt x="758" y="38"/>
                  <a:pt x="758" y="38"/>
                  <a:pt x="758" y="38"/>
                </a:cubicBezTo>
                <a:cubicBezTo>
                  <a:pt x="682" y="64"/>
                  <a:pt x="682" y="64"/>
                  <a:pt x="682" y="64"/>
                </a:cubicBezTo>
                <a:cubicBezTo>
                  <a:pt x="657" y="25"/>
                  <a:pt x="657" y="25"/>
                  <a:pt x="657" y="25"/>
                </a:cubicBezTo>
                <a:cubicBezTo>
                  <a:pt x="619" y="0"/>
                  <a:pt x="619" y="0"/>
                  <a:pt x="619" y="0"/>
                </a:cubicBezTo>
                <a:cubicBezTo>
                  <a:pt x="569" y="89"/>
                  <a:pt x="569" y="89"/>
                  <a:pt x="569" y="89"/>
                </a:cubicBezTo>
                <a:cubicBezTo>
                  <a:pt x="569" y="89"/>
                  <a:pt x="543" y="51"/>
                  <a:pt x="531" y="64"/>
                </a:cubicBezTo>
                <a:cubicBezTo>
                  <a:pt x="518" y="64"/>
                  <a:pt x="505" y="77"/>
                  <a:pt x="505" y="77"/>
                </a:cubicBezTo>
                <a:cubicBezTo>
                  <a:pt x="442" y="64"/>
                  <a:pt x="442" y="64"/>
                  <a:pt x="442" y="64"/>
                </a:cubicBezTo>
                <a:cubicBezTo>
                  <a:pt x="442" y="64"/>
                  <a:pt x="442" y="153"/>
                  <a:pt x="430" y="179"/>
                </a:cubicBezTo>
                <a:cubicBezTo>
                  <a:pt x="404" y="204"/>
                  <a:pt x="404" y="217"/>
                  <a:pt x="404" y="230"/>
                </a:cubicBezTo>
                <a:cubicBezTo>
                  <a:pt x="404" y="230"/>
                  <a:pt x="392" y="281"/>
                  <a:pt x="392" y="281"/>
                </a:cubicBezTo>
                <a:cubicBezTo>
                  <a:pt x="392" y="281"/>
                  <a:pt x="354" y="281"/>
                  <a:pt x="328" y="307"/>
                </a:cubicBezTo>
                <a:cubicBezTo>
                  <a:pt x="303" y="320"/>
                  <a:pt x="278" y="384"/>
                  <a:pt x="265" y="396"/>
                </a:cubicBezTo>
                <a:cubicBezTo>
                  <a:pt x="265" y="409"/>
                  <a:pt x="253" y="435"/>
                  <a:pt x="253" y="473"/>
                </a:cubicBezTo>
                <a:cubicBezTo>
                  <a:pt x="253" y="499"/>
                  <a:pt x="253" y="550"/>
                  <a:pt x="240" y="537"/>
                </a:cubicBezTo>
                <a:cubicBezTo>
                  <a:pt x="215" y="511"/>
                  <a:pt x="202" y="499"/>
                  <a:pt x="189" y="524"/>
                </a:cubicBezTo>
                <a:cubicBezTo>
                  <a:pt x="164" y="550"/>
                  <a:pt x="164" y="575"/>
                  <a:pt x="164" y="588"/>
                </a:cubicBezTo>
                <a:cubicBezTo>
                  <a:pt x="177" y="614"/>
                  <a:pt x="164" y="614"/>
                  <a:pt x="152" y="652"/>
                </a:cubicBezTo>
                <a:cubicBezTo>
                  <a:pt x="152" y="678"/>
                  <a:pt x="139" y="806"/>
                  <a:pt x="139" y="806"/>
                </a:cubicBezTo>
                <a:cubicBezTo>
                  <a:pt x="139" y="806"/>
                  <a:pt x="101" y="844"/>
                  <a:pt x="101" y="844"/>
                </a:cubicBezTo>
                <a:cubicBezTo>
                  <a:pt x="88" y="844"/>
                  <a:pt x="38" y="819"/>
                  <a:pt x="38" y="831"/>
                </a:cubicBezTo>
                <a:cubicBezTo>
                  <a:pt x="25" y="844"/>
                  <a:pt x="25" y="870"/>
                  <a:pt x="12" y="882"/>
                </a:cubicBezTo>
                <a:cubicBezTo>
                  <a:pt x="12" y="895"/>
                  <a:pt x="0" y="895"/>
                  <a:pt x="38" y="908"/>
                </a:cubicBezTo>
                <a:cubicBezTo>
                  <a:pt x="63" y="921"/>
                  <a:pt x="126" y="946"/>
                  <a:pt x="126" y="946"/>
                </a:cubicBezTo>
                <a:cubicBezTo>
                  <a:pt x="126" y="946"/>
                  <a:pt x="164" y="1023"/>
                  <a:pt x="177" y="1023"/>
                </a:cubicBezTo>
                <a:cubicBezTo>
                  <a:pt x="202" y="1036"/>
                  <a:pt x="227" y="1049"/>
                  <a:pt x="240" y="1062"/>
                </a:cubicBezTo>
                <a:cubicBezTo>
                  <a:pt x="253" y="1087"/>
                  <a:pt x="240" y="1100"/>
                  <a:pt x="253" y="1138"/>
                </a:cubicBezTo>
                <a:cubicBezTo>
                  <a:pt x="265" y="1164"/>
                  <a:pt x="291" y="1202"/>
                  <a:pt x="291" y="1202"/>
                </a:cubicBezTo>
                <a:cubicBezTo>
                  <a:pt x="354" y="1215"/>
                  <a:pt x="354" y="1215"/>
                  <a:pt x="354" y="1215"/>
                </a:cubicBezTo>
                <a:cubicBezTo>
                  <a:pt x="354" y="1215"/>
                  <a:pt x="354" y="1253"/>
                  <a:pt x="354" y="1266"/>
                </a:cubicBezTo>
                <a:cubicBezTo>
                  <a:pt x="354" y="1279"/>
                  <a:pt x="379" y="1305"/>
                  <a:pt x="379" y="1305"/>
                </a:cubicBezTo>
                <a:cubicBezTo>
                  <a:pt x="379" y="1305"/>
                  <a:pt x="430" y="1317"/>
                  <a:pt x="455" y="1317"/>
                </a:cubicBezTo>
                <a:cubicBezTo>
                  <a:pt x="480" y="1317"/>
                  <a:pt x="581" y="1381"/>
                  <a:pt x="581" y="1381"/>
                </a:cubicBezTo>
                <a:cubicBezTo>
                  <a:pt x="581" y="1381"/>
                  <a:pt x="645" y="1445"/>
                  <a:pt x="682" y="1433"/>
                </a:cubicBezTo>
                <a:cubicBezTo>
                  <a:pt x="720" y="1433"/>
                  <a:pt x="809" y="1445"/>
                  <a:pt x="822" y="1458"/>
                </a:cubicBezTo>
                <a:cubicBezTo>
                  <a:pt x="834" y="1458"/>
                  <a:pt x="834" y="1420"/>
                  <a:pt x="847" y="1407"/>
                </a:cubicBezTo>
                <a:cubicBezTo>
                  <a:pt x="872" y="1394"/>
                  <a:pt x="973" y="1343"/>
                  <a:pt x="973" y="1343"/>
                </a:cubicBezTo>
                <a:cubicBezTo>
                  <a:pt x="1024" y="1394"/>
                  <a:pt x="1024" y="1394"/>
                  <a:pt x="1024" y="1394"/>
                </a:cubicBezTo>
                <a:cubicBezTo>
                  <a:pt x="1024" y="1394"/>
                  <a:pt x="1087" y="1394"/>
                  <a:pt x="1100" y="1394"/>
                </a:cubicBezTo>
                <a:cubicBezTo>
                  <a:pt x="1112" y="1394"/>
                  <a:pt x="1138" y="1356"/>
                  <a:pt x="1175" y="1356"/>
                </a:cubicBezTo>
                <a:cubicBezTo>
                  <a:pt x="1201" y="1369"/>
                  <a:pt x="1213" y="1343"/>
                  <a:pt x="1239" y="1330"/>
                </a:cubicBezTo>
                <a:cubicBezTo>
                  <a:pt x="1264" y="1305"/>
                  <a:pt x="1315" y="1279"/>
                  <a:pt x="1340" y="1266"/>
                </a:cubicBezTo>
                <a:cubicBezTo>
                  <a:pt x="1365" y="1266"/>
                  <a:pt x="1492" y="1266"/>
                  <a:pt x="1492" y="1266"/>
                </a:cubicBezTo>
                <a:cubicBezTo>
                  <a:pt x="1858" y="882"/>
                  <a:pt x="1858" y="882"/>
                  <a:pt x="1858" y="882"/>
                </a:cubicBezTo>
                <a:lnTo>
                  <a:pt x="1744" y="870"/>
                </a:lnTo>
                <a:close/>
              </a:path>
            </a:pathLst>
          </a:custGeom>
          <a:solidFill>
            <a:schemeClr val="accent3"/>
          </a:solidFill>
          <a:ln w="0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 lIns="82878" tIns="41438" rIns="82878" bIns="41438"/>
          <a:lstStyle/>
          <a:p>
            <a:pPr defTabSz="891045"/>
            <a:endParaRPr lang="en-US" sz="1700" dirty="0">
              <a:solidFill>
                <a:srgbClr val="003149"/>
              </a:solidFill>
              <a:cs typeface="Arial" panose="020B0604020202020204" pitchFamily="34" charset="0"/>
            </a:endParaRPr>
          </a:p>
        </p:txBody>
      </p:sp>
      <p:sp>
        <p:nvSpPr>
          <p:cNvPr id="655" name="Freeform 442"/>
          <p:cNvSpPr>
            <a:spLocks/>
          </p:cNvSpPr>
          <p:nvPr/>
        </p:nvSpPr>
        <p:spPr bwMode="gray">
          <a:xfrm>
            <a:off x="1756262" y="2214007"/>
            <a:ext cx="276551" cy="227090"/>
          </a:xfrm>
          <a:custGeom>
            <a:avLst/>
            <a:gdLst>
              <a:gd name="T0" fmla="*/ 254276731 w 1858"/>
              <a:gd name="T1" fmla="*/ 263648390 h 1458"/>
              <a:gd name="T2" fmla="*/ 254276731 w 1858"/>
              <a:gd name="T3" fmla="*/ 263648390 h 1458"/>
              <a:gd name="T4" fmla="*/ 254276731 w 1858"/>
              <a:gd name="T5" fmla="*/ 263648390 h 1458"/>
              <a:gd name="T6" fmla="*/ 254276731 w 1858"/>
              <a:gd name="T7" fmla="*/ 263648390 h 1458"/>
              <a:gd name="T8" fmla="*/ 254276731 w 1858"/>
              <a:gd name="T9" fmla="*/ 263648390 h 1458"/>
              <a:gd name="T10" fmla="*/ 254276731 w 1858"/>
              <a:gd name="T11" fmla="*/ 263648390 h 1458"/>
              <a:gd name="T12" fmla="*/ 254276731 w 1858"/>
              <a:gd name="T13" fmla="*/ 263648390 h 1458"/>
              <a:gd name="T14" fmla="*/ 254276731 w 1858"/>
              <a:gd name="T15" fmla="*/ 0 h 1458"/>
              <a:gd name="T16" fmla="*/ 254276731 w 1858"/>
              <a:gd name="T17" fmla="*/ 0 h 1458"/>
              <a:gd name="T18" fmla="*/ 254276731 w 1858"/>
              <a:gd name="T19" fmla="*/ 0 h 1458"/>
              <a:gd name="T20" fmla="*/ 254276731 w 1858"/>
              <a:gd name="T21" fmla="*/ 0 h 1458"/>
              <a:gd name="T22" fmla="*/ 254276731 w 1858"/>
              <a:gd name="T23" fmla="*/ 0 h 1458"/>
              <a:gd name="T24" fmla="*/ 254276731 w 1858"/>
              <a:gd name="T25" fmla="*/ 0 h 1458"/>
              <a:gd name="T26" fmla="*/ 254276731 w 1858"/>
              <a:gd name="T27" fmla="*/ 0 h 1458"/>
              <a:gd name="T28" fmla="*/ 254276731 w 1858"/>
              <a:gd name="T29" fmla="*/ 0 h 1458"/>
              <a:gd name="T30" fmla="*/ 254276731 w 1858"/>
              <a:gd name="T31" fmla="*/ 0 h 1458"/>
              <a:gd name="T32" fmla="*/ 254276731 w 1858"/>
              <a:gd name="T33" fmla="*/ 0 h 1458"/>
              <a:gd name="T34" fmla="*/ 254276731 w 1858"/>
              <a:gd name="T35" fmla="*/ 0 h 1458"/>
              <a:gd name="T36" fmla="*/ 254276731 w 1858"/>
              <a:gd name="T37" fmla="*/ 0 h 1458"/>
              <a:gd name="T38" fmla="*/ 254276731 w 1858"/>
              <a:gd name="T39" fmla="*/ 0 h 1458"/>
              <a:gd name="T40" fmla="*/ 254276731 w 1858"/>
              <a:gd name="T41" fmla="*/ 0 h 1458"/>
              <a:gd name="T42" fmla="*/ 254276731 w 1858"/>
              <a:gd name="T43" fmla="*/ 0 h 1458"/>
              <a:gd name="T44" fmla="*/ 0 w 1858"/>
              <a:gd name="T45" fmla="*/ 0 h 1458"/>
              <a:gd name="T46" fmla="*/ 0 w 1858"/>
              <a:gd name="T47" fmla="*/ 0 h 1458"/>
              <a:gd name="T48" fmla="*/ 0 w 1858"/>
              <a:gd name="T49" fmla="*/ 0 h 1458"/>
              <a:gd name="T50" fmla="*/ 0 w 1858"/>
              <a:gd name="T51" fmla="*/ 0 h 1458"/>
              <a:gd name="T52" fmla="*/ 0 w 1858"/>
              <a:gd name="T53" fmla="*/ 0 h 1458"/>
              <a:gd name="T54" fmla="*/ 0 w 1858"/>
              <a:gd name="T55" fmla="*/ 263648390 h 1458"/>
              <a:gd name="T56" fmla="*/ 0 w 1858"/>
              <a:gd name="T57" fmla="*/ 263648390 h 1458"/>
              <a:gd name="T58" fmla="*/ 0 w 1858"/>
              <a:gd name="T59" fmla="*/ 263648390 h 1458"/>
              <a:gd name="T60" fmla="*/ 0 w 1858"/>
              <a:gd name="T61" fmla="*/ 263648390 h 1458"/>
              <a:gd name="T62" fmla="*/ 0 w 1858"/>
              <a:gd name="T63" fmla="*/ 263648390 h 1458"/>
              <a:gd name="T64" fmla="*/ 0 w 1858"/>
              <a:gd name="T65" fmla="*/ 263648390 h 1458"/>
              <a:gd name="T66" fmla="*/ 0 w 1858"/>
              <a:gd name="T67" fmla="*/ 263648390 h 1458"/>
              <a:gd name="T68" fmla="*/ 0 w 1858"/>
              <a:gd name="T69" fmla="*/ 263648390 h 1458"/>
              <a:gd name="T70" fmla="*/ 0 w 1858"/>
              <a:gd name="T71" fmla="*/ 263648390 h 1458"/>
              <a:gd name="T72" fmla="*/ 0 w 1858"/>
              <a:gd name="T73" fmla="*/ 263648390 h 1458"/>
              <a:gd name="T74" fmla="*/ 0 w 1858"/>
              <a:gd name="T75" fmla="*/ 263648390 h 1458"/>
              <a:gd name="T76" fmla="*/ 0 w 1858"/>
              <a:gd name="T77" fmla="*/ 263648390 h 1458"/>
              <a:gd name="T78" fmla="*/ 0 w 1858"/>
              <a:gd name="T79" fmla="*/ 263648390 h 1458"/>
              <a:gd name="T80" fmla="*/ 0 w 1858"/>
              <a:gd name="T81" fmla="*/ 263648390 h 1458"/>
              <a:gd name="T82" fmla="*/ 0 w 1858"/>
              <a:gd name="T83" fmla="*/ 263648390 h 1458"/>
              <a:gd name="T84" fmla="*/ 0 w 1858"/>
              <a:gd name="T85" fmla="*/ 263648390 h 1458"/>
              <a:gd name="T86" fmla="*/ 0 w 1858"/>
              <a:gd name="T87" fmla="*/ 263648390 h 1458"/>
              <a:gd name="T88" fmla="*/ 0 w 1858"/>
              <a:gd name="T89" fmla="*/ 263648390 h 1458"/>
              <a:gd name="T90" fmla="*/ 254276731 w 1858"/>
              <a:gd name="T91" fmla="*/ 263648390 h 1458"/>
              <a:gd name="T92" fmla="*/ 254276731 w 1858"/>
              <a:gd name="T93" fmla="*/ 263648390 h 1458"/>
              <a:gd name="T94" fmla="*/ 254276731 w 1858"/>
              <a:gd name="T95" fmla="*/ 263648390 h 1458"/>
              <a:gd name="T96" fmla="*/ 254276731 w 1858"/>
              <a:gd name="T97" fmla="*/ 263648390 h 1458"/>
              <a:gd name="T98" fmla="*/ 254276731 w 1858"/>
              <a:gd name="T99" fmla="*/ 263648390 h 1458"/>
              <a:gd name="T100" fmla="*/ 254276731 w 1858"/>
              <a:gd name="T101" fmla="*/ 263648390 h 1458"/>
              <a:gd name="T102" fmla="*/ 254276731 w 1858"/>
              <a:gd name="T103" fmla="*/ 263648390 h 1458"/>
              <a:gd name="T104" fmla="*/ 254276731 w 1858"/>
              <a:gd name="T105" fmla="*/ 263648390 h 1458"/>
              <a:gd name="T106" fmla="*/ 254276731 w 1858"/>
              <a:gd name="T107" fmla="*/ 263648390 h 1458"/>
              <a:gd name="T108" fmla="*/ 254276731 w 1858"/>
              <a:gd name="T109" fmla="*/ 263648390 h 1458"/>
              <a:gd name="T110" fmla="*/ 254276731 w 1858"/>
              <a:gd name="T111" fmla="*/ 263648390 h 1458"/>
              <a:gd name="T112" fmla="*/ 254276731 w 1858"/>
              <a:gd name="T113" fmla="*/ 263648390 h 1458"/>
              <a:gd name="T114" fmla="*/ 254276731 w 1858"/>
              <a:gd name="T115" fmla="*/ 263648390 h 1458"/>
              <a:gd name="T116" fmla="*/ 254276731 w 1858"/>
              <a:gd name="T117" fmla="*/ 263648390 h 1458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w 1858"/>
              <a:gd name="T178" fmla="*/ 0 h 1458"/>
              <a:gd name="T179" fmla="*/ 1858 w 1858"/>
              <a:gd name="T180" fmla="*/ 1458 h 1458"/>
            </a:gdLst>
            <a:ahLst/>
            <a:cxnLst>
              <a:cxn ang="T118">
                <a:pos x="T0" y="T1"/>
              </a:cxn>
              <a:cxn ang="T119">
                <a:pos x="T2" y="T3"/>
              </a:cxn>
              <a:cxn ang="T120">
                <a:pos x="T4" y="T5"/>
              </a:cxn>
              <a:cxn ang="T121">
                <a:pos x="T6" y="T7"/>
              </a:cxn>
              <a:cxn ang="T122">
                <a:pos x="T8" y="T9"/>
              </a:cxn>
              <a:cxn ang="T123">
                <a:pos x="T10" y="T11"/>
              </a:cxn>
              <a:cxn ang="T124">
                <a:pos x="T12" y="T13"/>
              </a:cxn>
              <a:cxn ang="T125">
                <a:pos x="T14" y="T15"/>
              </a:cxn>
              <a:cxn ang="T126">
                <a:pos x="T16" y="T17"/>
              </a:cxn>
              <a:cxn ang="T127">
                <a:pos x="T18" y="T19"/>
              </a:cxn>
              <a:cxn ang="T128">
                <a:pos x="T20" y="T21"/>
              </a:cxn>
              <a:cxn ang="T129">
                <a:pos x="T22" y="T23"/>
              </a:cxn>
              <a:cxn ang="T130">
                <a:pos x="T24" y="T25"/>
              </a:cxn>
              <a:cxn ang="T131">
                <a:pos x="T26" y="T27"/>
              </a:cxn>
              <a:cxn ang="T132">
                <a:pos x="T28" y="T29"/>
              </a:cxn>
              <a:cxn ang="T133">
                <a:pos x="T30" y="T31"/>
              </a:cxn>
              <a:cxn ang="T134">
                <a:pos x="T32" y="T33"/>
              </a:cxn>
              <a:cxn ang="T135">
                <a:pos x="T34" y="T35"/>
              </a:cxn>
              <a:cxn ang="T136">
                <a:pos x="T36" y="T37"/>
              </a:cxn>
              <a:cxn ang="T137">
                <a:pos x="T38" y="T39"/>
              </a:cxn>
              <a:cxn ang="T138">
                <a:pos x="T40" y="T41"/>
              </a:cxn>
              <a:cxn ang="T139">
                <a:pos x="T42" y="T43"/>
              </a:cxn>
              <a:cxn ang="T140">
                <a:pos x="T44" y="T45"/>
              </a:cxn>
              <a:cxn ang="T141">
                <a:pos x="T46" y="T47"/>
              </a:cxn>
              <a:cxn ang="T142">
                <a:pos x="T48" y="T49"/>
              </a:cxn>
              <a:cxn ang="T143">
                <a:pos x="T50" y="T51"/>
              </a:cxn>
              <a:cxn ang="T144">
                <a:pos x="T52" y="T53"/>
              </a:cxn>
              <a:cxn ang="T145">
                <a:pos x="T54" y="T55"/>
              </a:cxn>
              <a:cxn ang="T146">
                <a:pos x="T56" y="T57"/>
              </a:cxn>
              <a:cxn ang="T147">
                <a:pos x="T58" y="T59"/>
              </a:cxn>
              <a:cxn ang="T148">
                <a:pos x="T60" y="T61"/>
              </a:cxn>
              <a:cxn ang="T149">
                <a:pos x="T62" y="T63"/>
              </a:cxn>
              <a:cxn ang="T150">
                <a:pos x="T64" y="T65"/>
              </a:cxn>
              <a:cxn ang="T151">
                <a:pos x="T66" y="T67"/>
              </a:cxn>
              <a:cxn ang="T152">
                <a:pos x="T68" y="T69"/>
              </a:cxn>
              <a:cxn ang="T153">
                <a:pos x="T70" y="T71"/>
              </a:cxn>
              <a:cxn ang="T154">
                <a:pos x="T72" y="T73"/>
              </a:cxn>
              <a:cxn ang="T155">
                <a:pos x="T74" y="T75"/>
              </a:cxn>
              <a:cxn ang="T156">
                <a:pos x="T76" y="T77"/>
              </a:cxn>
              <a:cxn ang="T157">
                <a:pos x="T78" y="T79"/>
              </a:cxn>
              <a:cxn ang="T158">
                <a:pos x="T80" y="T81"/>
              </a:cxn>
              <a:cxn ang="T159">
                <a:pos x="T82" y="T83"/>
              </a:cxn>
              <a:cxn ang="T160">
                <a:pos x="T84" y="T85"/>
              </a:cxn>
              <a:cxn ang="T161">
                <a:pos x="T86" y="T87"/>
              </a:cxn>
              <a:cxn ang="T162">
                <a:pos x="T88" y="T89"/>
              </a:cxn>
              <a:cxn ang="T163">
                <a:pos x="T90" y="T91"/>
              </a:cxn>
              <a:cxn ang="T164">
                <a:pos x="T92" y="T93"/>
              </a:cxn>
              <a:cxn ang="T165">
                <a:pos x="T94" y="T95"/>
              </a:cxn>
              <a:cxn ang="T166">
                <a:pos x="T96" y="T97"/>
              </a:cxn>
              <a:cxn ang="T167">
                <a:pos x="T98" y="T99"/>
              </a:cxn>
              <a:cxn ang="T168">
                <a:pos x="T100" y="T101"/>
              </a:cxn>
              <a:cxn ang="T169">
                <a:pos x="T102" y="T103"/>
              </a:cxn>
              <a:cxn ang="T170">
                <a:pos x="T104" y="T105"/>
              </a:cxn>
              <a:cxn ang="T171">
                <a:pos x="T106" y="T107"/>
              </a:cxn>
              <a:cxn ang="T172">
                <a:pos x="T108" y="T109"/>
              </a:cxn>
              <a:cxn ang="T173">
                <a:pos x="T110" y="T111"/>
              </a:cxn>
              <a:cxn ang="T174">
                <a:pos x="T112" y="T113"/>
              </a:cxn>
              <a:cxn ang="T175">
                <a:pos x="T114" y="T115"/>
              </a:cxn>
              <a:cxn ang="T176">
                <a:pos x="T116" y="T117"/>
              </a:cxn>
            </a:cxnLst>
            <a:rect l="T177" t="T178" r="T179" b="T180"/>
            <a:pathLst>
              <a:path w="1858" h="1458">
                <a:moveTo>
                  <a:pt x="1744" y="870"/>
                </a:moveTo>
                <a:cubicBezTo>
                  <a:pt x="1365" y="742"/>
                  <a:pt x="1365" y="742"/>
                  <a:pt x="1365" y="742"/>
                </a:cubicBezTo>
                <a:cubicBezTo>
                  <a:pt x="1365" y="742"/>
                  <a:pt x="1302" y="691"/>
                  <a:pt x="1277" y="665"/>
                </a:cubicBezTo>
                <a:cubicBezTo>
                  <a:pt x="1251" y="627"/>
                  <a:pt x="1213" y="537"/>
                  <a:pt x="1213" y="537"/>
                </a:cubicBezTo>
                <a:cubicBezTo>
                  <a:pt x="1239" y="499"/>
                  <a:pt x="1239" y="499"/>
                  <a:pt x="1239" y="499"/>
                </a:cubicBezTo>
                <a:cubicBezTo>
                  <a:pt x="1201" y="486"/>
                  <a:pt x="1201" y="486"/>
                  <a:pt x="1201" y="486"/>
                </a:cubicBezTo>
                <a:cubicBezTo>
                  <a:pt x="1100" y="511"/>
                  <a:pt x="1100" y="511"/>
                  <a:pt x="1100" y="511"/>
                </a:cubicBezTo>
                <a:cubicBezTo>
                  <a:pt x="1087" y="422"/>
                  <a:pt x="1087" y="422"/>
                  <a:pt x="1087" y="422"/>
                </a:cubicBezTo>
                <a:cubicBezTo>
                  <a:pt x="1163" y="307"/>
                  <a:pt x="1163" y="307"/>
                  <a:pt x="1163" y="307"/>
                </a:cubicBezTo>
                <a:cubicBezTo>
                  <a:pt x="1163" y="307"/>
                  <a:pt x="1150" y="281"/>
                  <a:pt x="1125" y="268"/>
                </a:cubicBezTo>
                <a:cubicBezTo>
                  <a:pt x="1100" y="243"/>
                  <a:pt x="1049" y="179"/>
                  <a:pt x="1036" y="166"/>
                </a:cubicBezTo>
                <a:cubicBezTo>
                  <a:pt x="1024" y="166"/>
                  <a:pt x="986" y="89"/>
                  <a:pt x="961" y="89"/>
                </a:cubicBezTo>
                <a:cubicBezTo>
                  <a:pt x="935" y="77"/>
                  <a:pt x="872" y="38"/>
                  <a:pt x="847" y="38"/>
                </a:cubicBezTo>
                <a:cubicBezTo>
                  <a:pt x="822" y="38"/>
                  <a:pt x="784" y="51"/>
                  <a:pt x="784" y="51"/>
                </a:cubicBezTo>
                <a:cubicBezTo>
                  <a:pt x="758" y="38"/>
                  <a:pt x="758" y="38"/>
                  <a:pt x="758" y="38"/>
                </a:cubicBezTo>
                <a:cubicBezTo>
                  <a:pt x="682" y="64"/>
                  <a:pt x="682" y="64"/>
                  <a:pt x="682" y="64"/>
                </a:cubicBezTo>
                <a:cubicBezTo>
                  <a:pt x="657" y="25"/>
                  <a:pt x="657" y="25"/>
                  <a:pt x="657" y="25"/>
                </a:cubicBezTo>
                <a:cubicBezTo>
                  <a:pt x="619" y="0"/>
                  <a:pt x="619" y="0"/>
                  <a:pt x="619" y="0"/>
                </a:cubicBezTo>
                <a:cubicBezTo>
                  <a:pt x="569" y="89"/>
                  <a:pt x="569" y="89"/>
                  <a:pt x="569" y="89"/>
                </a:cubicBezTo>
                <a:cubicBezTo>
                  <a:pt x="569" y="89"/>
                  <a:pt x="543" y="51"/>
                  <a:pt x="531" y="64"/>
                </a:cubicBezTo>
                <a:cubicBezTo>
                  <a:pt x="518" y="64"/>
                  <a:pt x="505" y="77"/>
                  <a:pt x="505" y="77"/>
                </a:cubicBezTo>
                <a:cubicBezTo>
                  <a:pt x="442" y="64"/>
                  <a:pt x="442" y="64"/>
                  <a:pt x="442" y="64"/>
                </a:cubicBezTo>
                <a:cubicBezTo>
                  <a:pt x="442" y="64"/>
                  <a:pt x="442" y="153"/>
                  <a:pt x="430" y="179"/>
                </a:cubicBezTo>
                <a:cubicBezTo>
                  <a:pt x="404" y="204"/>
                  <a:pt x="404" y="217"/>
                  <a:pt x="404" y="230"/>
                </a:cubicBezTo>
                <a:cubicBezTo>
                  <a:pt x="404" y="230"/>
                  <a:pt x="392" y="281"/>
                  <a:pt x="392" y="281"/>
                </a:cubicBezTo>
                <a:cubicBezTo>
                  <a:pt x="392" y="281"/>
                  <a:pt x="354" y="281"/>
                  <a:pt x="328" y="307"/>
                </a:cubicBezTo>
                <a:cubicBezTo>
                  <a:pt x="303" y="320"/>
                  <a:pt x="278" y="384"/>
                  <a:pt x="265" y="396"/>
                </a:cubicBezTo>
                <a:cubicBezTo>
                  <a:pt x="265" y="409"/>
                  <a:pt x="253" y="435"/>
                  <a:pt x="253" y="473"/>
                </a:cubicBezTo>
                <a:cubicBezTo>
                  <a:pt x="253" y="499"/>
                  <a:pt x="253" y="550"/>
                  <a:pt x="240" y="537"/>
                </a:cubicBezTo>
                <a:cubicBezTo>
                  <a:pt x="215" y="511"/>
                  <a:pt x="202" y="499"/>
                  <a:pt x="189" y="524"/>
                </a:cubicBezTo>
                <a:cubicBezTo>
                  <a:pt x="164" y="550"/>
                  <a:pt x="164" y="575"/>
                  <a:pt x="164" y="588"/>
                </a:cubicBezTo>
                <a:cubicBezTo>
                  <a:pt x="177" y="614"/>
                  <a:pt x="164" y="614"/>
                  <a:pt x="152" y="652"/>
                </a:cubicBezTo>
                <a:cubicBezTo>
                  <a:pt x="152" y="678"/>
                  <a:pt x="139" y="806"/>
                  <a:pt x="139" y="806"/>
                </a:cubicBezTo>
                <a:cubicBezTo>
                  <a:pt x="139" y="806"/>
                  <a:pt x="101" y="844"/>
                  <a:pt x="101" y="844"/>
                </a:cubicBezTo>
                <a:cubicBezTo>
                  <a:pt x="88" y="844"/>
                  <a:pt x="38" y="819"/>
                  <a:pt x="38" y="831"/>
                </a:cubicBezTo>
                <a:cubicBezTo>
                  <a:pt x="25" y="844"/>
                  <a:pt x="25" y="870"/>
                  <a:pt x="12" y="882"/>
                </a:cubicBezTo>
                <a:cubicBezTo>
                  <a:pt x="12" y="895"/>
                  <a:pt x="0" y="895"/>
                  <a:pt x="38" y="908"/>
                </a:cubicBezTo>
                <a:cubicBezTo>
                  <a:pt x="63" y="921"/>
                  <a:pt x="126" y="946"/>
                  <a:pt x="126" y="946"/>
                </a:cubicBezTo>
                <a:cubicBezTo>
                  <a:pt x="126" y="946"/>
                  <a:pt x="164" y="1023"/>
                  <a:pt x="177" y="1023"/>
                </a:cubicBezTo>
                <a:cubicBezTo>
                  <a:pt x="202" y="1036"/>
                  <a:pt x="227" y="1049"/>
                  <a:pt x="240" y="1062"/>
                </a:cubicBezTo>
                <a:cubicBezTo>
                  <a:pt x="253" y="1087"/>
                  <a:pt x="240" y="1100"/>
                  <a:pt x="253" y="1138"/>
                </a:cubicBezTo>
                <a:cubicBezTo>
                  <a:pt x="265" y="1164"/>
                  <a:pt x="291" y="1202"/>
                  <a:pt x="291" y="1202"/>
                </a:cubicBezTo>
                <a:cubicBezTo>
                  <a:pt x="354" y="1215"/>
                  <a:pt x="354" y="1215"/>
                  <a:pt x="354" y="1215"/>
                </a:cubicBezTo>
                <a:cubicBezTo>
                  <a:pt x="354" y="1215"/>
                  <a:pt x="354" y="1253"/>
                  <a:pt x="354" y="1266"/>
                </a:cubicBezTo>
                <a:cubicBezTo>
                  <a:pt x="354" y="1279"/>
                  <a:pt x="379" y="1305"/>
                  <a:pt x="379" y="1305"/>
                </a:cubicBezTo>
                <a:cubicBezTo>
                  <a:pt x="379" y="1305"/>
                  <a:pt x="430" y="1317"/>
                  <a:pt x="455" y="1317"/>
                </a:cubicBezTo>
                <a:cubicBezTo>
                  <a:pt x="480" y="1317"/>
                  <a:pt x="581" y="1381"/>
                  <a:pt x="581" y="1381"/>
                </a:cubicBezTo>
                <a:cubicBezTo>
                  <a:pt x="581" y="1381"/>
                  <a:pt x="645" y="1445"/>
                  <a:pt x="682" y="1433"/>
                </a:cubicBezTo>
                <a:cubicBezTo>
                  <a:pt x="720" y="1433"/>
                  <a:pt x="809" y="1445"/>
                  <a:pt x="822" y="1458"/>
                </a:cubicBezTo>
                <a:cubicBezTo>
                  <a:pt x="834" y="1458"/>
                  <a:pt x="834" y="1420"/>
                  <a:pt x="847" y="1407"/>
                </a:cubicBezTo>
                <a:cubicBezTo>
                  <a:pt x="872" y="1394"/>
                  <a:pt x="973" y="1343"/>
                  <a:pt x="973" y="1343"/>
                </a:cubicBezTo>
                <a:cubicBezTo>
                  <a:pt x="1024" y="1394"/>
                  <a:pt x="1024" y="1394"/>
                  <a:pt x="1024" y="1394"/>
                </a:cubicBezTo>
                <a:cubicBezTo>
                  <a:pt x="1024" y="1394"/>
                  <a:pt x="1087" y="1394"/>
                  <a:pt x="1100" y="1394"/>
                </a:cubicBezTo>
                <a:cubicBezTo>
                  <a:pt x="1112" y="1394"/>
                  <a:pt x="1138" y="1356"/>
                  <a:pt x="1175" y="1356"/>
                </a:cubicBezTo>
                <a:cubicBezTo>
                  <a:pt x="1201" y="1369"/>
                  <a:pt x="1213" y="1343"/>
                  <a:pt x="1239" y="1330"/>
                </a:cubicBezTo>
                <a:cubicBezTo>
                  <a:pt x="1264" y="1305"/>
                  <a:pt x="1315" y="1279"/>
                  <a:pt x="1340" y="1266"/>
                </a:cubicBezTo>
                <a:cubicBezTo>
                  <a:pt x="1365" y="1266"/>
                  <a:pt x="1492" y="1266"/>
                  <a:pt x="1492" y="1266"/>
                </a:cubicBezTo>
                <a:cubicBezTo>
                  <a:pt x="1858" y="882"/>
                  <a:pt x="1858" y="882"/>
                  <a:pt x="1858" y="882"/>
                </a:cubicBezTo>
                <a:lnTo>
                  <a:pt x="1744" y="870"/>
                </a:lnTo>
                <a:close/>
              </a:path>
            </a:pathLst>
          </a:custGeom>
          <a:solidFill>
            <a:schemeClr val="accent3"/>
          </a:solidFill>
          <a:ln w="3175" cap="rnd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 lIns="82878" tIns="41438" rIns="82878" bIns="41438"/>
          <a:lstStyle/>
          <a:p>
            <a:pPr defTabSz="891045"/>
            <a:endParaRPr lang="en-US" sz="1700" dirty="0">
              <a:solidFill>
                <a:srgbClr val="003149"/>
              </a:solidFill>
              <a:cs typeface="Arial" panose="020B0604020202020204" pitchFamily="34" charset="0"/>
            </a:endParaRPr>
          </a:p>
        </p:txBody>
      </p:sp>
      <p:sp>
        <p:nvSpPr>
          <p:cNvPr id="656" name="Freeform 483"/>
          <p:cNvSpPr>
            <a:spLocks noEditPoints="1"/>
          </p:cNvSpPr>
          <p:nvPr/>
        </p:nvSpPr>
        <p:spPr bwMode="gray">
          <a:xfrm>
            <a:off x="1367837" y="2403064"/>
            <a:ext cx="358259" cy="374253"/>
          </a:xfrm>
          <a:custGeom>
            <a:avLst/>
            <a:gdLst>
              <a:gd name="T0" fmla="*/ 253324688 w 2416"/>
              <a:gd name="T1" fmla="*/ 263961361 h 2400"/>
              <a:gd name="T2" fmla="*/ 253324688 w 2416"/>
              <a:gd name="T3" fmla="*/ 0 h 2400"/>
              <a:gd name="T4" fmla="*/ 253324688 w 2416"/>
              <a:gd name="T5" fmla="*/ 0 h 2400"/>
              <a:gd name="T6" fmla="*/ 253324688 w 2416"/>
              <a:gd name="T7" fmla="*/ 0 h 2400"/>
              <a:gd name="T8" fmla="*/ 253324688 w 2416"/>
              <a:gd name="T9" fmla="*/ 0 h 2400"/>
              <a:gd name="T10" fmla="*/ 253324688 w 2416"/>
              <a:gd name="T11" fmla="*/ 0 h 2400"/>
              <a:gd name="T12" fmla="*/ 253324688 w 2416"/>
              <a:gd name="T13" fmla="*/ 0 h 2400"/>
              <a:gd name="T14" fmla="*/ 253324688 w 2416"/>
              <a:gd name="T15" fmla="*/ 0 h 2400"/>
              <a:gd name="T16" fmla="*/ 253324688 w 2416"/>
              <a:gd name="T17" fmla="*/ 0 h 2400"/>
              <a:gd name="T18" fmla="*/ 253324688 w 2416"/>
              <a:gd name="T19" fmla="*/ 0 h 2400"/>
              <a:gd name="T20" fmla="*/ 253324688 w 2416"/>
              <a:gd name="T21" fmla="*/ 0 h 2400"/>
              <a:gd name="T22" fmla="*/ 253324688 w 2416"/>
              <a:gd name="T23" fmla="*/ 0 h 2400"/>
              <a:gd name="T24" fmla="*/ 253324688 w 2416"/>
              <a:gd name="T25" fmla="*/ 0 h 2400"/>
              <a:gd name="T26" fmla="*/ 253324688 w 2416"/>
              <a:gd name="T27" fmla="*/ 0 h 2400"/>
              <a:gd name="T28" fmla="*/ 253324688 w 2416"/>
              <a:gd name="T29" fmla="*/ 0 h 2400"/>
              <a:gd name="T30" fmla="*/ 253324688 w 2416"/>
              <a:gd name="T31" fmla="*/ 263961361 h 2400"/>
              <a:gd name="T32" fmla="*/ 253324688 w 2416"/>
              <a:gd name="T33" fmla="*/ 263961361 h 2400"/>
              <a:gd name="T34" fmla="*/ 253324688 w 2416"/>
              <a:gd name="T35" fmla="*/ 263961361 h 2400"/>
              <a:gd name="T36" fmla="*/ 253324688 w 2416"/>
              <a:gd name="T37" fmla="*/ 263961361 h 2400"/>
              <a:gd name="T38" fmla="*/ 0 w 2416"/>
              <a:gd name="T39" fmla="*/ 263961361 h 2400"/>
              <a:gd name="T40" fmla="*/ 0 w 2416"/>
              <a:gd name="T41" fmla="*/ 263961361 h 2400"/>
              <a:gd name="T42" fmla="*/ 0 w 2416"/>
              <a:gd name="T43" fmla="*/ 263961361 h 2400"/>
              <a:gd name="T44" fmla="*/ 0 w 2416"/>
              <a:gd name="T45" fmla="*/ 263961361 h 2400"/>
              <a:gd name="T46" fmla="*/ 0 w 2416"/>
              <a:gd name="T47" fmla="*/ 263961361 h 2400"/>
              <a:gd name="T48" fmla="*/ 0 w 2416"/>
              <a:gd name="T49" fmla="*/ 263961361 h 2400"/>
              <a:gd name="T50" fmla="*/ 0 w 2416"/>
              <a:gd name="T51" fmla="*/ 263961361 h 2400"/>
              <a:gd name="T52" fmla="*/ 253324688 w 2416"/>
              <a:gd name="T53" fmla="*/ 263961361 h 2400"/>
              <a:gd name="T54" fmla="*/ 253324688 w 2416"/>
              <a:gd name="T55" fmla="*/ 263961361 h 2400"/>
              <a:gd name="T56" fmla="*/ 253324688 w 2416"/>
              <a:gd name="T57" fmla="*/ 263961361 h 2400"/>
              <a:gd name="T58" fmla="*/ 253324688 w 2416"/>
              <a:gd name="T59" fmla="*/ 263961361 h 2400"/>
              <a:gd name="T60" fmla="*/ 253324688 w 2416"/>
              <a:gd name="T61" fmla="*/ 263961361 h 2400"/>
              <a:gd name="T62" fmla="*/ 253324688 w 2416"/>
              <a:gd name="T63" fmla="*/ 263961361 h 2400"/>
              <a:gd name="T64" fmla="*/ 253324688 w 2416"/>
              <a:gd name="T65" fmla="*/ 263961361 h 2400"/>
              <a:gd name="T66" fmla="*/ 253324688 w 2416"/>
              <a:gd name="T67" fmla="*/ 263961361 h 2400"/>
              <a:gd name="T68" fmla="*/ 253324688 w 2416"/>
              <a:gd name="T69" fmla="*/ 263961361 h 2400"/>
              <a:gd name="T70" fmla="*/ 253324688 w 2416"/>
              <a:gd name="T71" fmla="*/ 263961361 h 2400"/>
              <a:gd name="T72" fmla="*/ 253324688 w 2416"/>
              <a:gd name="T73" fmla="*/ 263961361 h 2400"/>
              <a:gd name="T74" fmla="*/ 253324688 w 2416"/>
              <a:gd name="T75" fmla="*/ 263961361 h 2400"/>
              <a:gd name="T76" fmla="*/ 253324688 w 2416"/>
              <a:gd name="T77" fmla="*/ 263961361 h 2400"/>
              <a:gd name="T78" fmla="*/ 253324688 w 2416"/>
              <a:gd name="T79" fmla="*/ 263961361 h 2400"/>
              <a:gd name="T80" fmla="*/ 253324688 w 2416"/>
              <a:gd name="T81" fmla="*/ 263961361 h 2400"/>
              <a:gd name="T82" fmla="*/ 253324688 w 2416"/>
              <a:gd name="T83" fmla="*/ 263961361 h 2400"/>
              <a:gd name="T84" fmla="*/ 253324688 w 2416"/>
              <a:gd name="T85" fmla="*/ 263961361 h 2400"/>
              <a:gd name="T86" fmla="*/ 253324688 w 2416"/>
              <a:gd name="T87" fmla="*/ 263961361 h 2400"/>
              <a:gd name="T88" fmla="*/ 253324688 w 2416"/>
              <a:gd name="T89" fmla="*/ 263961361 h 2400"/>
              <a:gd name="T90" fmla="*/ 253324688 w 2416"/>
              <a:gd name="T91" fmla="*/ 263961361 h 2400"/>
              <a:gd name="T92" fmla="*/ 253324688 w 2416"/>
              <a:gd name="T93" fmla="*/ 263961361 h 2400"/>
              <a:gd name="T94" fmla="*/ 253324688 w 2416"/>
              <a:gd name="T95" fmla="*/ 263961361 h 2400"/>
              <a:gd name="T96" fmla="*/ 253324688 w 2416"/>
              <a:gd name="T97" fmla="*/ 263961361 h 2400"/>
              <a:gd name="T98" fmla="*/ 253324688 w 2416"/>
              <a:gd name="T99" fmla="*/ 263961361 h 2400"/>
              <a:gd name="T100" fmla="*/ 253324688 w 2416"/>
              <a:gd name="T101" fmla="*/ 263961361 h 2400"/>
              <a:gd name="T102" fmla="*/ 253324688 w 2416"/>
              <a:gd name="T103" fmla="*/ 263961361 h 2400"/>
              <a:gd name="T104" fmla="*/ 253324688 w 2416"/>
              <a:gd name="T105" fmla="*/ 263961361 h 2400"/>
              <a:gd name="T106" fmla="*/ 253324688 w 2416"/>
              <a:gd name="T107" fmla="*/ 263961361 h 2400"/>
              <a:gd name="T108" fmla="*/ 253324688 w 2416"/>
              <a:gd name="T109" fmla="*/ 263961361 h 2400"/>
              <a:gd name="T110" fmla="*/ 253324688 w 2416"/>
              <a:gd name="T111" fmla="*/ 263961361 h 2400"/>
              <a:gd name="T112" fmla="*/ 253324688 w 2416"/>
              <a:gd name="T113" fmla="*/ 0 h 2400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w 2416"/>
              <a:gd name="T172" fmla="*/ 0 h 2400"/>
              <a:gd name="T173" fmla="*/ 2416 w 2416"/>
              <a:gd name="T174" fmla="*/ 2400 h 2400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T171" t="T172" r="T173" b="T174"/>
            <a:pathLst>
              <a:path w="2416" h="2400">
                <a:moveTo>
                  <a:pt x="2250" y="847"/>
                </a:moveTo>
                <a:cubicBezTo>
                  <a:pt x="2250" y="847"/>
                  <a:pt x="2237" y="847"/>
                  <a:pt x="2237" y="847"/>
                </a:cubicBezTo>
                <a:cubicBezTo>
                  <a:pt x="2237" y="847"/>
                  <a:pt x="2250" y="847"/>
                  <a:pt x="2250" y="847"/>
                </a:cubicBezTo>
                <a:close/>
                <a:moveTo>
                  <a:pt x="2365" y="372"/>
                </a:moveTo>
                <a:cubicBezTo>
                  <a:pt x="2340" y="359"/>
                  <a:pt x="2340" y="347"/>
                  <a:pt x="2340" y="321"/>
                </a:cubicBezTo>
                <a:cubicBezTo>
                  <a:pt x="2340" y="295"/>
                  <a:pt x="2327" y="295"/>
                  <a:pt x="2340" y="282"/>
                </a:cubicBezTo>
                <a:cubicBezTo>
                  <a:pt x="2353" y="257"/>
                  <a:pt x="2340" y="231"/>
                  <a:pt x="2340" y="231"/>
                </a:cubicBezTo>
                <a:cubicBezTo>
                  <a:pt x="2340" y="231"/>
                  <a:pt x="2314" y="205"/>
                  <a:pt x="2314" y="205"/>
                </a:cubicBezTo>
                <a:cubicBezTo>
                  <a:pt x="2301" y="193"/>
                  <a:pt x="2250" y="167"/>
                  <a:pt x="2237" y="154"/>
                </a:cubicBezTo>
                <a:cubicBezTo>
                  <a:pt x="2237" y="141"/>
                  <a:pt x="2212" y="90"/>
                  <a:pt x="2186" y="90"/>
                </a:cubicBezTo>
                <a:cubicBezTo>
                  <a:pt x="2161" y="90"/>
                  <a:pt x="2148" y="128"/>
                  <a:pt x="2148" y="128"/>
                </a:cubicBezTo>
                <a:cubicBezTo>
                  <a:pt x="2071" y="103"/>
                  <a:pt x="2071" y="103"/>
                  <a:pt x="2071" y="103"/>
                </a:cubicBezTo>
                <a:cubicBezTo>
                  <a:pt x="2071" y="103"/>
                  <a:pt x="2058" y="141"/>
                  <a:pt x="2033" y="128"/>
                </a:cubicBezTo>
                <a:cubicBezTo>
                  <a:pt x="2007" y="128"/>
                  <a:pt x="1956" y="103"/>
                  <a:pt x="1956" y="77"/>
                </a:cubicBezTo>
                <a:cubicBezTo>
                  <a:pt x="1943" y="64"/>
                  <a:pt x="1931" y="51"/>
                  <a:pt x="1918" y="39"/>
                </a:cubicBezTo>
                <a:cubicBezTo>
                  <a:pt x="1918" y="39"/>
                  <a:pt x="1918" y="39"/>
                  <a:pt x="1918" y="39"/>
                </a:cubicBezTo>
                <a:cubicBezTo>
                  <a:pt x="1918" y="39"/>
                  <a:pt x="1867" y="13"/>
                  <a:pt x="1841" y="39"/>
                </a:cubicBezTo>
                <a:cubicBezTo>
                  <a:pt x="1828" y="51"/>
                  <a:pt x="1790" y="26"/>
                  <a:pt x="1752" y="26"/>
                </a:cubicBezTo>
                <a:cubicBezTo>
                  <a:pt x="1713" y="26"/>
                  <a:pt x="1675" y="0"/>
                  <a:pt x="1662" y="13"/>
                </a:cubicBezTo>
                <a:cubicBezTo>
                  <a:pt x="1649" y="26"/>
                  <a:pt x="1611" y="51"/>
                  <a:pt x="1598" y="64"/>
                </a:cubicBezTo>
                <a:cubicBezTo>
                  <a:pt x="1573" y="64"/>
                  <a:pt x="1547" y="26"/>
                  <a:pt x="1521" y="51"/>
                </a:cubicBezTo>
                <a:cubicBezTo>
                  <a:pt x="1496" y="64"/>
                  <a:pt x="1406" y="90"/>
                  <a:pt x="1406" y="90"/>
                </a:cubicBezTo>
                <a:cubicBezTo>
                  <a:pt x="1342" y="77"/>
                  <a:pt x="1342" y="77"/>
                  <a:pt x="1342" y="77"/>
                </a:cubicBezTo>
                <a:cubicBezTo>
                  <a:pt x="1342" y="77"/>
                  <a:pt x="1304" y="167"/>
                  <a:pt x="1291" y="167"/>
                </a:cubicBezTo>
                <a:cubicBezTo>
                  <a:pt x="1266" y="167"/>
                  <a:pt x="1189" y="141"/>
                  <a:pt x="1163" y="141"/>
                </a:cubicBezTo>
                <a:cubicBezTo>
                  <a:pt x="1151" y="141"/>
                  <a:pt x="1048" y="103"/>
                  <a:pt x="1048" y="103"/>
                </a:cubicBezTo>
                <a:cubicBezTo>
                  <a:pt x="1048" y="103"/>
                  <a:pt x="933" y="13"/>
                  <a:pt x="920" y="26"/>
                </a:cubicBezTo>
                <a:cubicBezTo>
                  <a:pt x="895" y="39"/>
                  <a:pt x="831" y="90"/>
                  <a:pt x="831" y="103"/>
                </a:cubicBezTo>
                <a:cubicBezTo>
                  <a:pt x="831" y="116"/>
                  <a:pt x="805" y="231"/>
                  <a:pt x="805" y="231"/>
                </a:cubicBezTo>
                <a:cubicBezTo>
                  <a:pt x="805" y="231"/>
                  <a:pt x="818" y="270"/>
                  <a:pt x="780" y="321"/>
                </a:cubicBezTo>
                <a:cubicBezTo>
                  <a:pt x="754" y="372"/>
                  <a:pt x="754" y="449"/>
                  <a:pt x="741" y="475"/>
                </a:cubicBezTo>
                <a:cubicBezTo>
                  <a:pt x="729" y="501"/>
                  <a:pt x="703" y="539"/>
                  <a:pt x="716" y="565"/>
                </a:cubicBezTo>
                <a:cubicBezTo>
                  <a:pt x="716" y="603"/>
                  <a:pt x="703" y="655"/>
                  <a:pt x="703" y="693"/>
                </a:cubicBezTo>
                <a:cubicBezTo>
                  <a:pt x="690" y="719"/>
                  <a:pt x="703" y="745"/>
                  <a:pt x="677" y="757"/>
                </a:cubicBezTo>
                <a:cubicBezTo>
                  <a:pt x="652" y="770"/>
                  <a:pt x="601" y="822"/>
                  <a:pt x="575" y="834"/>
                </a:cubicBezTo>
                <a:cubicBezTo>
                  <a:pt x="562" y="860"/>
                  <a:pt x="524" y="924"/>
                  <a:pt x="511" y="937"/>
                </a:cubicBezTo>
                <a:cubicBezTo>
                  <a:pt x="498" y="950"/>
                  <a:pt x="498" y="1027"/>
                  <a:pt x="498" y="1053"/>
                </a:cubicBezTo>
                <a:cubicBezTo>
                  <a:pt x="498" y="1078"/>
                  <a:pt x="498" y="1117"/>
                  <a:pt x="473" y="1142"/>
                </a:cubicBezTo>
                <a:cubicBezTo>
                  <a:pt x="447" y="1168"/>
                  <a:pt x="371" y="1219"/>
                  <a:pt x="358" y="1258"/>
                </a:cubicBezTo>
                <a:cubicBezTo>
                  <a:pt x="345" y="1284"/>
                  <a:pt x="307" y="1296"/>
                  <a:pt x="294" y="1296"/>
                </a:cubicBezTo>
                <a:cubicBezTo>
                  <a:pt x="281" y="1284"/>
                  <a:pt x="268" y="1219"/>
                  <a:pt x="268" y="1219"/>
                </a:cubicBezTo>
                <a:cubicBezTo>
                  <a:pt x="268" y="1219"/>
                  <a:pt x="230" y="1232"/>
                  <a:pt x="204" y="1232"/>
                </a:cubicBezTo>
                <a:cubicBezTo>
                  <a:pt x="192" y="1232"/>
                  <a:pt x="192" y="1271"/>
                  <a:pt x="192" y="1271"/>
                </a:cubicBezTo>
                <a:cubicBezTo>
                  <a:pt x="192" y="1271"/>
                  <a:pt x="166" y="1284"/>
                  <a:pt x="153" y="1284"/>
                </a:cubicBezTo>
                <a:cubicBezTo>
                  <a:pt x="140" y="1284"/>
                  <a:pt x="128" y="1271"/>
                  <a:pt x="115" y="1258"/>
                </a:cubicBezTo>
                <a:cubicBezTo>
                  <a:pt x="115" y="1258"/>
                  <a:pt x="115" y="1258"/>
                  <a:pt x="115" y="1258"/>
                </a:cubicBezTo>
                <a:cubicBezTo>
                  <a:pt x="115" y="1258"/>
                  <a:pt x="115" y="1258"/>
                  <a:pt x="115" y="1258"/>
                </a:cubicBezTo>
                <a:cubicBezTo>
                  <a:pt x="51" y="1309"/>
                  <a:pt x="51" y="1309"/>
                  <a:pt x="51" y="1309"/>
                </a:cubicBezTo>
                <a:cubicBezTo>
                  <a:pt x="38" y="1361"/>
                  <a:pt x="38" y="1361"/>
                  <a:pt x="38" y="1361"/>
                </a:cubicBezTo>
                <a:cubicBezTo>
                  <a:pt x="38" y="1399"/>
                  <a:pt x="38" y="1399"/>
                  <a:pt x="38" y="1399"/>
                </a:cubicBezTo>
                <a:cubicBezTo>
                  <a:pt x="0" y="1399"/>
                  <a:pt x="0" y="1399"/>
                  <a:pt x="0" y="1399"/>
                </a:cubicBezTo>
                <a:cubicBezTo>
                  <a:pt x="25" y="1438"/>
                  <a:pt x="25" y="1438"/>
                  <a:pt x="25" y="1438"/>
                </a:cubicBezTo>
                <a:cubicBezTo>
                  <a:pt x="115" y="1412"/>
                  <a:pt x="115" y="1412"/>
                  <a:pt x="115" y="1412"/>
                </a:cubicBezTo>
                <a:cubicBezTo>
                  <a:pt x="550" y="1425"/>
                  <a:pt x="550" y="1425"/>
                  <a:pt x="550" y="1425"/>
                </a:cubicBezTo>
                <a:cubicBezTo>
                  <a:pt x="550" y="1425"/>
                  <a:pt x="601" y="1540"/>
                  <a:pt x="601" y="1579"/>
                </a:cubicBezTo>
                <a:cubicBezTo>
                  <a:pt x="601" y="1604"/>
                  <a:pt x="677" y="1694"/>
                  <a:pt x="677" y="1694"/>
                </a:cubicBezTo>
                <a:cubicBezTo>
                  <a:pt x="677" y="1694"/>
                  <a:pt x="780" y="1694"/>
                  <a:pt x="793" y="1681"/>
                </a:cubicBezTo>
                <a:cubicBezTo>
                  <a:pt x="805" y="1681"/>
                  <a:pt x="895" y="1681"/>
                  <a:pt x="895" y="1681"/>
                </a:cubicBezTo>
                <a:cubicBezTo>
                  <a:pt x="908" y="1643"/>
                  <a:pt x="908" y="1643"/>
                  <a:pt x="908" y="1643"/>
                </a:cubicBezTo>
                <a:cubicBezTo>
                  <a:pt x="933" y="1566"/>
                  <a:pt x="933" y="1566"/>
                  <a:pt x="933" y="1566"/>
                </a:cubicBezTo>
                <a:cubicBezTo>
                  <a:pt x="1061" y="1540"/>
                  <a:pt x="1061" y="1540"/>
                  <a:pt x="1061" y="1540"/>
                </a:cubicBezTo>
                <a:cubicBezTo>
                  <a:pt x="1048" y="1592"/>
                  <a:pt x="1048" y="1592"/>
                  <a:pt x="1048" y="1592"/>
                </a:cubicBezTo>
                <a:cubicBezTo>
                  <a:pt x="1048" y="1592"/>
                  <a:pt x="1202" y="1579"/>
                  <a:pt x="1202" y="1604"/>
                </a:cubicBezTo>
                <a:cubicBezTo>
                  <a:pt x="1202" y="1617"/>
                  <a:pt x="1202" y="1669"/>
                  <a:pt x="1202" y="1694"/>
                </a:cubicBezTo>
                <a:cubicBezTo>
                  <a:pt x="1215" y="1707"/>
                  <a:pt x="1227" y="1758"/>
                  <a:pt x="1215" y="1771"/>
                </a:cubicBezTo>
                <a:cubicBezTo>
                  <a:pt x="1202" y="1797"/>
                  <a:pt x="1215" y="1900"/>
                  <a:pt x="1240" y="1912"/>
                </a:cubicBezTo>
                <a:cubicBezTo>
                  <a:pt x="1253" y="1925"/>
                  <a:pt x="1278" y="2015"/>
                  <a:pt x="1266" y="2028"/>
                </a:cubicBezTo>
                <a:cubicBezTo>
                  <a:pt x="1253" y="2041"/>
                  <a:pt x="1253" y="2092"/>
                  <a:pt x="1253" y="2092"/>
                </a:cubicBezTo>
                <a:cubicBezTo>
                  <a:pt x="1304" y="2079"/>
                  <a:pt x="1304" y="2079"/>
                  <a:pt x="1304" y="2079"/>
                </a:cubicBezTo>
                <a:cubicBezTo>
                  <a:pt x="1304" y="2079"/>
                  <a:pt x="1381" y="2066"/>
                  <a:pt x="1394" y="2066"/>
                </a:cubicBezTo>
                <a:cubicBezTo>
                  <a:pt x="1406" y="2066"/>
                  <a:pt x="1457" y="2066"/>
                  <a:pt x="1483" y="2054"/>
                </a:cubicBezTo>
                <a:cubicBezTo>
                  <a:pt x="1496" y="2054"/>
                  <a:pt x="1521" y="2092"/>
                  <a:pt x="1521" y="2118"/>
                </a:cubicBezTo>
                <a:cubicBezTo>
                  <a:pt x="1521" y="2143"/>
                  <a:pt x="1573" y="2105"/>
                  <a:pt x="1573" y="2105"/>
                </a:cubicBezTo>
                <a:cubicBezTo>
                  <a:pt x="1649" y="2092"/>
                  <a:pt x="1649" y="2092"/>
                  <a:pt x="1649" y="2092"/>
                </a:cubicBezTo>
                <a:cubicBezTo>
                  <a:pt x="1649" y="2092"/>
                  <a:pt x="1649" y="2131"/>
                  <a:pt x="1649" y="2143"/>
                </a:cubicBezTo>
                <a:cubicBezTo>
                  <a:pt x="1649" y="2156"/>
                  <a:pt x="1688" y="2169"/>
                  <a:pt x="1713" y="2182"/>
                </a:cubicBezTo>
                <a:cubicBezTo>
                  <a:pt x="1739" y="2195"/>
                  <a:pt x="1803" y="2195"/>
                  <a:pt x="1828" y="2195"/>
                </a:cubicBezTo>
                <a:cubicBezTo>
                  <a:pt x="1841" y="2208"/>
                  <a:pt x="1854" y="2169"/>
                  <a:pt x="1854" y="2156"/>
                </a:cubicBezTo>
                <a:cubicBezTo>
                  <a:pt x="1854" y="2131"/>
                  <a:pt x="1905" y="2169"/>
                  <a:pt x="1905" y="2169"/>
                </a:cubicBezTo>
                <a:cubicBezTo>
                  <a:pt x="1905" y="2169"/>
                  <a:pt x="1943" y="2246"/>
                  <a:pt x="1969" y="2259"/>
                </a:cubicBezTo>
                <a:cubicBezTo>
                  <a:pt x="1982" y="2259"/>
                  <a:pt x="2033" y="2297"/>
                  <a:pt x="2058" y="2297"/>
                </a:cubicBezTo>
                <a:cubicBezTo>
                  <a:pt x="2071" y="2310"/>
                  <a:pt x="2097" y="2349"/>
                  <a:pt x="2110" y="2374"/>
                </a:cubicBezTo>
                <a:cubicBezTo>
                  <a:pt x="2110" y="2400"/>
                  <a:pt x="2135" y="2374"/>
                  <a:pt x="2174" y="2362"/>
                </a:cubicBezTo>
                <a:cubicBezTo>
                  <a:pt x="2199" y="2349"/>
                  <a:pt x="2186" y="2387"/>
                  <a:pt x="2186" y="2387"/>
                </a:cubicBezTo>
                <a:cubicBezTo>
                  <a:pt x="2212" y="2387"/>
                  <a:pt x="2212" y="2387"/>
                  <a:pt x="2212" y="2387"/>
                </a:cubicBezTo>
                <a:cubicBezTo>
                  <a:pt x="2212" y="2220"/>
                  <a:pt x="2212" y="2220"/>
                  <a:pt x="2212" y="2220"/>
                </a:cubicBezTo>
                <a:cubicBezTo>
                  <a:pt x="2212" y="2220"/>
                  <a:pt x="2212" y="2220"/>
                  <a:pt x="2199" y="2220"/>
                </a:cubicBezTo>
                <a:cubicBezTo>
                  <a:pt x="2174" y="2220"/>
                  <a:pt x="2186" y="2259"/>
                  <a:pt x="2186" y="2259"/>
                </a:cubicBezTo>
                <a:cubicBezTo>
                  <a:pt x="2135" y="2246"/>
                  <a:pt x="2135" y="2246"/>
                  <a:pt x="2135" y="2246"/>
                </a:cubicBezTo>
                <a:cubicBezTo>
                  <a:pt x="2097" y="2220"/>
                  <a:pt x="2097" y="2220"/>
                  <a:pt x="2097" y="2220"/>
                </a:cubicBezTo>
                <a:cubicBezTo>
                  <a:pt x="2097" y="2220"/>
                  <a:pt x="2033" y="2169"/>
                  <a:pt x="2046" y="2131"/>
                </a:cubicBezTo>
                <a:cubicBezTo>
                  <a:pt x="2046" y="2105"/>
                  <a:pt x="2058" y="2041"/>
                  <a:pt x="2071" y="2028"/>
                </a:cubicBezTo>
                <a:cubicBezTo>
                  <a:pt x="2071" y="2015"/>
                  <a:pt x="2058" y="1938"/>
                  <a:pt x="2058" y="1900"/>
                </a:cubicBezTo>
                <a:cubicBezTo>
                  <a:pt x="2058" y="1861"/>
                  <a:pt x="2033" y="1848"/>
                  <a:pt x="2033" y="1848"/>
                </a:cubicBezTo>
                <a:cubicBezTo>
                  <a:pt x="2033" y="1848"/>
                  <a:pt x="2058" y="1810"/>
                  <a:pt x="2084" y="1810"/>
                </a:cubicBezTo>
                <a:cubicBezTo>
                  <a:pt x="2097" y="1810"/>
                  <a:pt x="2097" y="1758"/>
                  <a:pt x="2097" y="1758"/>
                </a:cubicBezTo>
                <a:cubicBezTo>
                  <a:pt x="2327" y="1707"/>
                  <a:pt x="2327" y="1707"/>
                  <a:pt x="2327" y="1707"/>
                </a:cubicBezTo>
                <a:cubicBezTo>
                  <a:pt x="2327" y="1707"/>
                  <a:pt x="2250" y="1566"/>
                  <a:pt x="2237" y="1527"/>
                </a:cubicBezTo>
                <a:cubicBezTo>
                  <a:pt x="2212" y="1489"/>
                  <a:pt x="2186" y="1463"/>
                  <a:pt x="2186" y="1438"/>
                </a:cubicBezTo>
                <a:cubicBezTo>
                  <a:pt x="2186" y="1399"/>
                  <a:pt x="2161" y="1335"/>
                  <a:pt x="2161" y="1309"/>
                </a:cubicBezTo>
                <a:cubicBezTo>
                  <a:pt x="2161" y="1296"/>
                  <a:pt x="2161" y="1271"/>
                  <a:pt x="2174" y="1245"/>
                </a:cubicBezTo>
                <a:cubicBezTo>
                  <a:pt x="2161" y="1245"/>
                  <a:pt x="2161" y="1245"/>
                  <a:pt x="2161" y="1232"/>
                </a:cubicBezTo>
                <a:cubicBezTo>
                  <a:pt x="2148" y="1219"/>
                  <a:pt x="2122" y="1168"/>
                  <a:pt x="2135" y="1130"/>
                </a:cubicBezTo>
                <a:cubicBezTo>
                  <a:pt x="2148" y="1091"/>
                  <a:pt x="2122" y="1040"/>
                  <a:pt x="2122" y="1040"/>
                </a:cubicBezTo>
                <a:cubicBezTo>
                  <a:pt x="2110" y="1001"/>
                  <a:pt x="2110" y="1001"/>
                  <a:pt x="2110" y="1001"/>
                </a:cubicBezTo>
                <a:cubicBezTo>
                  <a:pt x="2097" y="1001"/>
                  <a:pt x="2084" y="988"/>
                  <a:pt x="2097" y="976"/>
                </a:cubicBezTo>
                <a:cubicBezTo>
                  <a:pt x="2110" y="963"/>
                  <a:pt x="2135" y="899"/>
                  <a:pt x="2135" y="899"/>
                </a:cubicBezTo>
                <a:cubicBezTo>
                  <a:pt x="2135" y="899"/>
                  <a:pt x="2148" y="860"/>
                  <a:pt x="2186" y="847"/>
                </a:cubicBezTo>
                <a:cubicBezTo>
                  <a:pt x="2186" y="847"/>
                  <a:pt x="2199" y="847"/>
                  <a:pt x="2199" y="847"/>
                </a:cubicBezTo>
                <a:cubicBezTo>
                  <a:pt x="2186" y="834"/>
                  <a:pt x="2186" y="834"/>
                  <a:pt x="2186" y="834"/>
                </a:cubicBezTo>
                <a:cubicBezTo>
                  <a:pt x="2186" y="834"/>
                  <a:pt x="2186" y="719"/>
                  <a:pt x="2186" y="693"/>
                </a:cubicBezTo>
                <a:cubicBezTo>
                  <a:pt x="2199" y="680"/>
                  <a:pt x="2225" y="603"/>
                  <a:pt x="2237" y="578"/>
                </a:cubicBezTo>
                <a:cubicBezTo>
                  <a:pt x="2237" y="552"/>
                  <a:pt x="2276" y="526"/>
                  <a:pt x="2289" y="514"/>
                </a:cubicBezTo>
                <a:cubicBezTo>
                  <a:pt x="2301" y="501"/>
                  <a:pt x="2365" y="462"/>
                  <a:pt x="2391" y="424"/>
                </a:cubicBezTo>
                <a:cubicBezTo>
                  <a:pt x="2416" y="398"/>
                  <a:pt x="2391" y="385"/>
                  <a:pt x="2365" y="372"/>
                </a:cubicBezTo>
                <a:close/>
              </a:path>
            </a:pathLst>
          </a:custGeom>
          <a:solidFill>
            <a:schemeClr val="accent3"/>
          </a:solidFill>
          <a:ln w="0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 lIns="82878" tIns="41438" rIns="82878" bIns="41438"/>
          <a:lstStyle/>
          <a:p>
            <a:pPr defTabSz="891045"/>
            <a:endParaRPr lang="en-US" sz="1700" dirty="0">
              <a:solidFill>
                <a:srgbClr val="003149"/>
              </a:solidFill>
              <a:cs typeface="Arial" panose="020B0604020202020204" pitchFamily="34" charset="0"/>
            </a:endParaRPr>
          </a:p>
        </p:txBody>
      </p:sp>
      <p:sp>
        <p:nvSpPr>
          <p:cNvPr id="657" name="Freeform 484"/>
          <p:cNvSpPr>
            <a:spLocks noEditPoints="1"/>
          </p:cNvSpPr>
          <p:nvPr/>
        </p:nvSpPr>
        <p:spPr bwMode="gray">
          <a:xfrm>
            <a:off x="1367837" y="2403064"/>
            <a:ext cx="358259" cy="374253"/>
          </a:xfrm>
          <a:custGeom>
            <a:avLst/>
            <a:gdLst>
              <a:gd name="T0" fmla="*/ 253324688 w 2416"/>
              <a:gd name="T1" fmla="*/ 263961361 h 2400"/>
              <a:gd name="T2" fmla="*/ 253324688 w 2416"/>
              <a:gd name="T3" fmla="*/ 0 h 2400"/>
              <a:gd name="T4" fmla="*/ 253324688 w 2416"/>
              <a:gd name="T5" fmla="*/ 0 h 2400"/>
              <a:gd name="T6" fmla="*/ 253324688 w 2416"/>
              <a:gd name="T7" fmla="*/ 0 h 2400"/>
              <a:gd name="T8" fmla="*/ 253324688 w 2416"/>
              <a:gd name="T9" fmla="*/ 0 h 2400"/>
              <a:gd name="T10" fmla="*/ 253324688 w 2416"/>
              <a:gd name="T11" fmla="*/ 0 h 2400"/>
              <a:gd name="T12" fmla="*/ 253324688 w 2416"/>
              <a:gd name="T13" fmla="*/ 0 h 2400"/>
              <a:gd name="T14" fmla="*/ 253324688 w 2416"/>
              <a:gd name="T15" fmla="*/ 0 h 2400"/>
              <a:gd name="T16" fmla="*/ 253324688 w 2416"/>
              <a:gd name="T17" fmla="*/ 0 h 2400"/>
              <a:gd name="T18" fmla="*/ 253324688 w 2416"/>
              <a:gd name="T19" fmla="*/ 0 h 2400"/>
              <a:gd name="T20" fmla="*/ 253324688 w 2416"/>
              <a:gd name="T21" fmla="*/ 0 h 2400"/>
              <a:gd name="T22" fmla="*/ 253324688 w 2416"/>
              <a:gd name="T23" fmla="*/ 0 h 2400"/>
              <a:gd name="T24" fmla="*/ 253324688 w 2416"/>
              <a:gd name="T25" fmla="*/ 0 h 2400"/>
              <a:gd name="T26" fmla="*/ 253324688 w 2416"/>
              <a:gd name="T27" fmla="*/ 0 h 2400"/>
              <a:gd name="T28" fmla="*/ 253324688 w 2416"/>
              <a:gd name="T29" fmla="*/ 0 h 2400"/>
              <a:gd name="T30" fmla="*/ 253324688 w 2416"/>
              <a:gd name="T31" fmla="*/ 263961361 h 2400"/>
              <a:gd name="T32" fmla="*/ 253324688 w 2416"/>
              <a:gd name="T33" fmla="*/ 263961361 h 2400"/>
              <a:gd name="T34" fmla="*/ 253324688 w 2416"/>
              <a:gd name="T35" fmla="*/ 263961361 h 2400"/>
              <a:gd name="T36" fmla="*/ 253324688 w 2416"/>
              <a:gd name="T37" fmla="*/ 263961361 h 2400"/>
              <a:gd name="T38" fmla="*/ 0 w 2416"/>
              <a:gd name="T39" fmla="*/ 263961361 h 2400"/>
              <a:gd name="T40" fmla="*/ 0 w 2416"/>
              <a:gd name="T41" fmla="*/ 263961361 h 2400"/>
              <a:gd name="T42" fmla="*/ 0 w 2416"/>
              <a:gd name="T43" fmla="*/ 263961361 h 2400"/>
              <a:gd name="T44" fmla="*/ 0 w 2416"/>
              <a:gd name="T45" fmla="*/ 263961361 h 2400"/>
              <a:gd name="T46" fmla="*/ 0 w 2416"/>
              <a:gd name="T47" fmla="*/ 263961361 h 2400"/>
              <a:gd name="T48" fmla="*/ 0 w 2416"/>
              <a:gd name="T49" fmla="*/ 263961361 h 2400"/>
              <a:gd name="T50" fmla="*/ 0 w 2416"/>
              <a:gd name="T51" fmla="*/ 263961361 h 2400"/>
              <a:gd name="T52" fmla="*/ 253324688 w 2416"/>
              <a:gd name="T53" fmla="*/ 263961361 h 2400"/>
              <a:gd name="T54" fmla="*/ 253324688 w 2416"/>
              <a:gd name="T55" fmla="*/ 263961361 h 2400"/>
              <a:gd name="T56" fmla="*/ 253324688 w 2416"/>
              <a:gd name="T57" fmla="*/ 263961361 h 2400"/>
              <a:gd name="T58" fmla="*/ 253324688 w 2416"/>
              <a:gd name="T59" fmla="*/ 263961361 h 2400"/>
              <a:gd name="T60" fmla="*/ 253324688 w 2416"/>
              <a:gd name="T61" fmla="*/ 263961361 h 2400"/>
              <a:gd name="T62" fmla="*/ 253324688 w 2416"/>
              <a:gd name="T63" fmla="*/ 263961361 h 2400"/>
              <a:gd name="T64" fmla="*/ 253324688 w 2416"/>
              <a:gd name="T65" fmla="*/ 263961361 h 2400"/>
              <a:gd name="T66" fmla="*/ 253324688 w 2416"/>
              <a:gd name="T67" fmla="*/ 263961361 h 2400"/>
              <a:gd name="T68" fmla="*/ 253324688 w 2416"/>
              <a:gd name="T69" fmla="*/ 263961361 h 2400"/>
              <a:gd name="T70" fmla="*/ 253324688 w 2416"/>
              <a:gd name="T71" fmla="*/ 263961361 h 2400"/>
              <a:gd name="T72" fmla="*/ 253324688 w 2416"/>
              <a:gd name="T73" fmla="*/ 263961361 h 2400"/>
              <a:gd name="T74" fmla="*/ 253324688 w 2416"/>
              <a:gd name="T75" fmla="*/ 263961361 h 2400"/>
              <a:gd name="T76" fmla="*/ 253324688 w 2416"/>
              <a:gd name="T77" fmla="*/ 263961361 h 2400"/>
              <a:gd name="T78" fmla="*/ 253324688 w 2416"/>
              <a:gd name="T79" fmla="*/ 263961361 h 2400"/>
              <a:gd name="T80" fmla="*/ 253324688 w 2416"/>
              <a:gd name="T81" fmla="*/ 263961361 h 2400"/>
              <a:gd name="T82" fmla="*/ 253324688 w 2416"/>
              <a:gd name="T83" fmla="*/ 263961361 h 2400"/>
              <a:gd name="T84" fmla="*/ 253324688 w 2416"/>
              <a:gd name="T85" fmla="*/ 263961361 h 2400"/>
              <a:gd name="T86" fmla="*/ 253324688 w 2416"/>
              <a:gd name="T87" fmla="*/ 263961361 h 2400"/>
              <a:gd name="T88" fmla="*/ 253324688 w 2416"/>
              <a:gd name="T89" fmla="*/ 263961361 h 2400"/>
              <a:gd name="T90" fmla="*/ 253324688 w 2416"/>
              <a:gd name="T91" fmla="*/ 263961361 h 2400"/>
              <a:gd name="T92" fmla="*/ 253324688 w 2416"/>
              <a:gd name="T93" fmla="*/ 263961361 h 2400"/>
              <a:gd name="T94" fmla="*/ 253324688 w 2416"/>
              <a:gd name="T95" fmla="*/ 263961361 h 2400"/>
              <a:gd name="T96" fmla="*/ 253324688 w 2416"/>
              <a:gd name="T97" fmla="*/ 263961361 h 2400"/>
              <a:gd name="T98" fmla="*/ 253324688 w 2416"/>
              <a:gd name="T99" fmla="*/ 263961361 h 2400"/>
              <a:gd name="T100" fmla="*/ 253324688 w 2416"/>
              <a:gd name="T101" fmla="*/ 263961361 h 2400"/>
              <a:gd name="T102" fmla="*/ 253324688 w 2416"/>
              <a:gd name="T103" fmla="*/ 263961361 h 2400"/>
              <a:gd name="T104" fmla="*/ 253324688 w 2416"/>
              <a:gd name="T105" fmla="*/ 263961361 h 2400"/>
              <a:gd name="T106" fmla="*/ 253324688 w 2416"/>
              <a:gd name="T107" fmla="*/ 263961361 h 2400"/>
              <a:gd name="T108" fmla="*/ 253324688 w 2416"/>
              <a:gd name="T109" fmla="*/ 263961361 h 2400"/>
              <a:gd name="T110" fmla="*/ 253324688 w 2416"/>
              <a:gd name="T111" fmla="*/ 263961361 h 2400"/>
              <a:gd name="T112" fmla="*/ 253324688 w 2416"/>
              <a:gd name="T113" fmla="*/ 0 h 2400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w 2416"/>
              <a:gd name="T172" fmla="*/ 0 h 2400"/>
              <a:gd name="T173" fmla="*/ 2416 w 2416"/>
              <a:gd name="T174" fmla="*/ 2400 h 2400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T171" t="T172" r="T173" b="T174"/>
            <a:pathLst>
              <a:path w="2416" h="2400">
                <a:moveTo>
                  <a:pt x="2250" y="847"/>
                </a:moveTo>
                <a:cubicBezTo>
                  <a:pt x="2250" y="847"/>
                  <a:pt x="2237" y="847"/>
                  <a:pt x="2237" y="847"/>
                </a:cubicBezTo>
                <a:cubicBezTo>
                  <a:pt x="2237" y="847"/>
                  <a:pt x="2250" y="847"/>
                  <a:pt x="2250" y="847"/>
                </a:cubicBezTo>
                <a:close/>
                <a:moveTo>
                  <a:pt x="2365" y="372"/>
                </a:moveTo>
                <a:cubicBezTo>
                  <a:pt x="2340" y="359"/>
                  <a:pt x="2340" y="347"/>
                  <a:pt x="2340" y="321"/>
                </a:cubicBezTo>
                <a:cubicBezTo>
                  <a:pt x="2340" y="295"/>
                  <a:pt x="2327" y="295"/>
                  <a:pt x="2340" y="282"/>
                </a:cubicBezTo>
                <a:cubicBezTo>
                  <a:pt x="2353" y="257"/>
                  <a:pt x="2340" y="231"/>
                  <a:pt x="2340" y="231"/>
                </a:cubicBezTo>
                <a:cubicBezTo>
                  <a:pt x="2340" y="231"/>
                  <a:pt x="2314" y="205"/>
                  <a:pt x="2314" y="205"/>
                </a:cubicBezTo>
                <a:cubicBezTo>
                  <a:pt x="2301" y="193"/>
                  <a:pt x="2250" y="167"/>
                  <a:pt x="2237" y="154"/>
                </a:cubicBezTo>
                <a:cubicBezTo>
                  <a:pt x="2237" y="141"/>
                  <a:pt x="2212" y="90"/>
                  <a:pt x="2186" y="90"/>
                </a:cubicBezTo>
                <a:cubicBezTo>
                  <a:pt x="2161" y="90"/>
                  <a:pt x="2148" y="128"/>
                  <a:pt x="2148" y="128"/>
                </a:cubicBezTo>
                <a:cubicBezTo>
                  <a:pt x="2071" y="103"/>
                  <a:pt x="2071" y="103"/>
                  <a:pt x="2071" y="103"/>
                </a:cubicBezTo>
                <a:cubicBezTo>
                  <a:pt x="2071" y="103"/>
                  <a:pt x="2058" y="141"/>
                  <a:pt x="2033" y="128"/>
                </a:cubicBezTo>
                <a:cubicBezTo>
                  <a:pt x="2007" y="128"/>
                  <a:pt x="1956" y="103"/>
                  <a:pt x="1956" y="77"/>
                </a:cubicBezTo>
                <a:cubicBezTo>
                  <a:pt x="1943" y="64"/>
                  <a:pt x="1931" y="51"/>
                  <a:pt x="1918" y="39"/>
                </a:cubicBezTo>
                <a:cubicBezTo>
                  <a:pt x="1918" y="39"/>
                  <a:pt x="1918" y="39"/>
                  <a:pt x="1918" y="39"/>
                </a:cubicBezTo>
                <a:cubicBezTo>
                  <a:pt x="1918" y="39"/>
                  <a:pt x="1867" y="13"/>
                  <a:pt x="1841" y="39"/>
                </a:cubicBezTo>
                <a:cubicBezTo>
                  <a:pt x="1828" y="51"/>
                  <a:pt x="1790" y="26"/>
                  <a:pt x="1752" y="26"/>
                </a:cubicBezTo>
                <a:cubicBezTo>
                  <a:pt x="1713" y="26"/>
                  <a:pt x="1675" y="0"/>
                  <a:pt x="1662" y="13"/>
                </a:cubicBezTo>
                <a:cubicBezTo>
                  <a:pt x="1649" y="26"/>
                  <a:pt x="1611" y="51"/>
                  <a:pt x="1598" y="64"/>
                </a:cubicBezTo>
                <a:cubicBezTo>
                  <a:pt x="1573" y="64"/>
                  <a:pt x="1547" y="26"/>
                  <a:pt x="1521" y="51"/>
                </a:cubicBezTo>
                <a:cubicBezTo>
                  <a:pt x="1496" y="64"/>
                  <a:pt x="1406" y="90"/>
                  <a:pt x="1406" y="90"/>
                </a:cubicBezTo>
                <a:cubicBezTo>
                  <a:pt x="1342" y="77"/>
                  <a:pt x="1342" y="77"/>
                  <a:pt x="1342" y="77"/>
                </a:cubicBezTo>
                <a:cubicBezTo>
                  <a:pt x="1342" y="77"/>
                  <a:pt x="1304" y="167"/>
                  <a:pt x="1291" y="167"/>
                </a:cubicBezTo>
                <a:cubicBezTo>
                  <a:pt x="1266" y="167"/>
                  <a:pt x="1189" y="141"/>
                  <a:pt x="1163" y="141"/>
                </a:cubicBezTo>
                <a:cubicBezTo>
                  <a:pt x="1151" y="141"/>
                  <a:pt x="1048" y="103"/>
                  <a:pt x="1048" y="103"/>
                </a:cubicBezTo>
                <a:cubicBezTo>
                  <a:pt x="1048" y="103"/>
                  <a:pt x="933" y="13"/>
                  <a:pt x="920" y="26"/>
                </a:cubicBezTo>
                <a:cubicBezTo>
                  <a:pt x="895" y="39"/>
                  <a:pt x="831" y="90"/>
                  <a:pt x="831" y="103"/>
                </a:cubicBezTo>
                <a:cubicBezTo>
                  <a:pt x="831" y="116"/>
                  <a:pt x="805" y="231"/>
                  <a:pt x="805" y="231"/>
                </a:cubicBezTo>
                <a:cubicBezTo>
                  <a:pt x="805" y="231"/>
                  <a:pt x="818" y="270"/>
                  <a:pt x="780" y="321"/>
                </a:cubicBezTo>
                <a:cubicBezTo>
                  <a:pt x="754" y="372"/>
                  <a:pt x="754" y="449"/>
                  <a:pt x="741" y="475"/>
                </a:cubicBezTo>
                <a:cubicBezTo>
                  <a:pt x="729" y="501"/>
                  <a:pt x="703" y="539"/>
                  <a:pt x="716" y="565"/>
                </a:cubicBezTo>
                <a:cubicBezTo>
                  <a:pt x="716" y="603"/>
                  <a:pt x="703" y="655"/>
                  <a:pt x="703" y="693"/>
                </a:cubicBezTo>
                <a:cubicBezTo>
                  <a:pt x="690" y="719"/>
                  <a:pt x="703" y="745"/>
                  <a:pt x="677" y="757"/>
                </a:cubicBezTo>
                <a:cubicBezTo>
                  <a:pt x="652" y="770"/>
                  <a:pt x="601" y="822"/>
                  <a:pt x="575" y="834"/>
                </a:cubicBezTo>
                <a:cubicBezTo>
                  <a:pt x="562" y="860"/>
                  <a:pt x="524" y="924"/>
                  <a:pt x="511" y="937"/>
                </a:cubicBezTo>
                <a:cubicBezTo>
                  <a:pt x="498" y="950"/>
                  <a:pt x="498" y="1027"/>
                  <a:pt x="498" y="1053"/>
                </a:cubicBezTo>
                <a:cubicBezTo>
                  <a:pt x="498" y="1078"/>
                  <a:pt x="498" y="1117"/>
                  <a:pt x="473" y="1142"/>
                </a:cubicBezTo>
                <a:cubicBezTo>
                  <a:pt x="447" y="1168"/>
                  <a:pt x="371" y="1219"/>
                  <a:pt x="358" y="1258"/>
                </a:cubicBezTo>
                <a:cubicBezTo>
                  <a:pt x="345" y="1284"/>
                  <a:pt x="307" y="1296"/>
                  <a:pt x="294" y="1296"/>
                </a:cubicBezTo>
                <a:cubicBezTo>
                  <a:pt x="281" y="1284"/>
                  <a:pt x="268" y="1219"/>
                  <a:pt x="268" y="1219"/>
                </a:cubicBezTo>
                <a:cubicBezTo>
                  <a:pt x="268" y="1219"/>
                  <a:pt x="230" y="1232"/>
                  <a:pt x="204" y="1232"/>
                </a:cubicBezTo>
                <a:cubicBezTo>
                  <a:pt x="192" y="1232"/>
                  <a:pt x="192" y="1271"/>
                  <a:pt x="192" y="1271"/>
                </a:cubicBezTo>
                <a:cubicBezTo>
                  <a:pt x="192" y="1271"/>
                  <a:pt x="166" y="1284"/>
                  <a:pt x="153" y="1284"/>
                </a:cubicBezTo>
                <a:cubicBezTo>
                  <a:pt x="140" y="1284"/>
                  <a:pt x="128" y="1271"/>
                  <a:pt x="115" y="1258"/>
                </a:cubicBezTo>
                <a:cubicBezTo>
                  <a:pt x="115" y="1258"/>
                  <a:pt x="115" y="1258"/>
                  <a:pt x="115" y="1258"/>
                </a:cubicBezTo>
                <a:cubicBezTo>
                  <a:pt x="115" y="1258"/>
                  <a:pt x="115" y="1258"/>
                  <a:pt x="115" y="1258"/>
                </a:cubicBezTo>
                <a:cubicBezTo>
                  <a:pt x="51" y="1309"/>
                  <a:pt x="51" y="1309"/>
                  <a:pt x="51" y="1309"/>
                </a:cubicBezTo>
                <a:cubicBezTo>
                  <a:pt x="38" y="1361"/>
                  <a:pt x="38" y="1361"/>
                  <a:pt x="38" y="1361"/>
                </a:cubicBezTo>
                <a:cubicBezTo>
                  <a:pt x="38" y="1399"/>
                  <a:pt x="38" y="1399"/>
                  <a:pt x="38" y="1399"/>
                </a:cubicBezTo>
                <a:cubicBezTo>
                  <a:pt x="0" y="1399"/>
                  <a:pt x="0" y="1399"/>
                  <a:pt x="0" y="1399"/>
                </a:cubicBezTo>
                <a:cubicBezTo>
                  <a:pt x="25" y="1438"/>
                  <a:pt x="25" y="1438"/>
                  <a:pt x="25" y="1438"/>
                </a:cubicBezTo>
                <a:cubicBezTo>
                  <a:pt x="115" y="1412"/>
                  <a:pt x="115" y="1412"/>
                  <a:pt x="115" y="1412"/>
                </a:cubicBezTo>
                <a:cubicBezTo>
                  <a:pt x="550" y="1425"/>
                  <a:pt x="550" y="1425"/>
                  <a:pt x="550" y="1425"/>
                </a:cubicBezTo>
                <a:cubicBezTo>
                  <a:pt x="550" y="1425"/>
                  <a:pt x="601" y="1540"/>
                  <a:pt x="601" y="1579"/>
                </a:cubicBezTo>
                <a:cubicBezTo>
                  <a:pt x="601" y="1604"/>
                  <a:pt x="677" y="1694"/>
                  <a:pt x="677" y="1694"/>
                </a:cubicBezTo>
                <a:cubicBezTo>
                  <a:pt x="677" y="1694"/>
                  <a:pt x="780" y="1694"/>
                  <a:pt x="793" y="1681"/>
                </a:cubicBezTo>
                <a:cubicBezTo>
                  <a:pt x="805" y="1681"/>
                  <a:pt x="895" y="1681"/>
                  <a:pt x="895" y="1681"/>
                </a:cubicBezTo>
                <a:cubicBezTo>
                  <a:pt x="908" y="1643"/>
                  <a:pt x="908" y="1643"/>
                  <a:pt x="908" y="1643"/>
                </a:cubicBezTo>
                <a:cubicBezTo>
                  <a:pt x="933" y="1566"/>
                  <a:pt x="933" y="1566"/>
                  <a:pt x="933" y="1566"/>
                </a:cubicBezTo>
                <a:cubicBezTo>
                  <a:pt x="1061" y="1540"/>
                  <a:pt x="1061" y="1540"/>
                  <a:pt x="1061" y="1540"/>
                </a:cubicBezTo>
                <a:cubicBezTo>
                  <a:pt x="1048" y="1592"/>
                  <a:pt x="1048" y="1592"/>
                  <a:pt x="1048" y="1592"/>
                </a:cubicBezTo>
                <a:cubicBezTo>
                  <a:pt x="1048" y="1592"/>
                  <a:pt x="1202" y="1579"/>
                  <a:pt x="1202" y="1604"/>
                </a:cubicBezTo>
                <a:cubicBezTo>
                  <a:pt x="1202" y="1617"/>
                  <a:pt x="1202" y="1669"/>
                  <a:pt x="1202" y="1694"/>
                </a:cubicBezTo>
                <a:cubicBezTo>
                  <a:pt x="1215" y="1707"/>
                  <a:pt x="1227" y="1758"/>
                  <a:pt x="1215" y="1771"/>
                </a:cubicBezTo>
                <a:cubicBezTo>
                  <a:pt x="1202" y="1797"/>
                  <a:pt x="1215" y="1900"/>
                  <a:pt x="1240" y="1912"/>
                </a:cubicBezTo>
                <a:cubicBezTo>
                  <a:pt x="1253" y="1925"/>
                  <a:pt x="1278" y="2015"/>
                  <a:pt x="1266" y="2028"/>
                </a:cubicBezTo>
                <a:cubicBezTo>
                  <a:pt x="1253" y="2041"/>
                  <a:pt x="1253" y="2092"/>
                  <a:pt x="1253" y="2092"/>
                </a:cubicBezTo>
                <a:cubicBezTo>
                  <a:pt x="1304" y="2079"/>
                  <a:pt x="1304" y="2079"/>
                  <a:pt x="1304" y="2079"/>
                </a:cubicBezTo>
                <a:cubicBezTo>
                  <a:pt x="1304" y="2079"/>
                  <a:pt x="1381" y="2066"/>
                  <a:pt x="1394" y="2066"/>
                </a:cubicBezTo>
                <a:cubicBezTo>
                  <a:pt x="1406" y="2066"/>
                  <a:pt x="1457" y="2066"/>
                  <a:pt x="1483" y="2054"/>
                </a:cubicBezTo>
                <a:cubicBezTo>
                  <a:pt x="1496" y="2054"/>
                  <a:pt x="1521" y="2092"/>
                  <a:pt x="1521" y="2118"/>
                </a:cubicBezTo>
                <a:cubicBezTo>
                  <a:pt x="1521" y="2143"/>
                  <a:pt x="1573" y="2105"/>
                  <a:pt x="1573" y="2105"/>
                </a:cubicBezTo>
                <a:cubicBezTo>
                  <a:pt x="1649" y="2092"/>
                  <a:pt x="1649" y="2092"/>
                  <a:pt x="1649" y="2092"/>
                </a:cubicBezTo>
                <a:cubicBezTo>
                  <a:pt x="1649" y="2092"/>
                  <a:pt x="1649" y="2131"/>
                  <a:pt x="1649" y="2143"/>
                </a:cubicBezTo>
                <a:cubicBezTo>
                  <a:pt x="1649" y="2156"/>
                  <a:pt x="1688" y="2169"/>
                  <a:pt x="1713" y="2182"/>
                </a:cubicBezTo>
                <a:cubicBezTo>
                  <a:pt x="1739" y="2195"/>
                  <a:pt x="1803" y="2195"/>
                  <a:pt x="1828" y="2195"/>
                </a:cubicBezTo>
                <a:cubicBezTo>
                  <a:pt x="1841" y="2208"/>
                  <a:pt x="1854" y="2169"/>
                  <a:pt x="1854" y="2156"/>
                </a:cubicBezTo>
                <a:cubicBezTo>
                  <a:pt x="1854" y="2131"/>
                  <a:pt x="1905" y="2169"/>
                  <a:pt x="1905" y="2169"/>
                </a:cubicBezTo>
                <a:cubicBezTo>
                  <a:pt x="1905" y="2169"/>
                  <a:pt x="1943" y="2246"/>
                  <a:pt x="1969" y="2259"/>
                </a:cubicBezTo>
                <a:cubicBezTo>
                  <a:pt x="1982" y="2259"/>
                  <a:pt x="2033" y="2297"/>
                  <a:pt x="2058" y="2297"/>
                </a:cubicBezTo>
                <a:cubicBezTo>
                  <a:pt x="2071" y="2310"/>
                  <a:pt x="2097" y="2349"/>
                  <a:pt x="2110" y="2374"/>
                </a:cubicBezTo>
                <a:cubicBezTo>
                  <a:pt x="2110" y="2400"/>
                  <a:pt x="2135" y="2374"/>
                  <a:pt x="2174" y="2362"/>
                </a:cubicBezTo>
                <a:cubicBezTo>
                  <a:pt x="2199" y="2349"/>
                  <a:pt x="2186" y="2387"/>
                  <a:pt x="2186" y="2387"/>
                </a:cubicBezTo>
                <a:cubicBezTo>
                  <a:pt x="2212" y="2387"/>
                  <a:pt x="2212" y="2387"/>
                  <a:pt x="2212" y="2387"/>
                </a:cubicBezTo>
                <a:cubicBezTo>
                  <a:pt x="2212" y="2220"/>
                  <a:pt x="2212" y="2220"/>
                  <a:pt x="2212" y="2220"/>
                </a:cubicBezTo>
                <a:cubicBezTo>
                  <a:pt x="2212" y="2220"/>
                  <a:pt x="2212" y="2220"/>
                  <a:pt x="2199" y="2220"/>
                </a:cubicBezTo>
                <a:cubicBezTo>
                  <a:pt x="2174" y="2220"/>
                  <a:pt x="2186" y="2259"/>
                  <a:pt x="2186" y="2259"/>
                </a:cubicBezTo>
                <a:cubicBezTo>
                  <a:pt x="2135" y="2246"/>
                  <a:pt x="2135" y="2246"/>
                  <a:pt x="2135" y="2246"/>
                </a:cubicBezTo>
                <a:cubicBezTo>
                  <a:pt x="2097" y="2220"/>
                  <a:pt x="2097" y="2220"/>
                  <a:pt x="2097" y="2220"/>
                </a:cubicBezTo>
                <a:cubicBezTo>
                  <a:pt x="2097" y="2220"/>
                  <a:pt x="2033" y="2169"/>
                  <a:pt x="2046" y="2131"/>
                </a:cubicBezTo>
                <a:cubicBezTo>
                  <a:pt x="2046" y="2105"/>
                  <a:pt x="2058" y="2041"/>
                  <a:pt x="2071" y="2028"/>
                </a:cubicBezTo>
                <a:cubicBezTo>
                  <a:pt x="2071" y="2015"/>
                  <a:pt x="2058" y="1938"/>
                  <a:pt x="2058" y="1900"/>
                </a:cubicBezTo>
                <a:cubicBezTo>
                  <a:pt x="2058" y="1861"/>
                  <a:pt x="2033" y="1848"/>
                  <a:pt x="2033" y="1848"/>
                </a:cubicBezTo>
                <a:cubicBezTo>
                  <a:pt x="2033" y="1848"/>
                  <a:pt x="2058" y="1810"/>
                  <a:pt x="2084" y="1810"/>
                </a:cubicBezTo>
                <a:cubicBezTo>
                  <a:pt x="2097" y="1810"/>
                  <a:pt x="2097" y="1758"/>
                  <a:pt x="2097" y="1758"/>
                </a:cubicBezTo>
                <a:cubicBezTo>
                  <a:pt x="2327" y="1707"/>
                  <a:pt x="2327" y="1707"/>
                  <a:pt x="2327" y="1707"/>
                </a:cubicBezTo>
                <a:cubicBezTo>
                  <a:pt x="2327" y="1707"/>
                  <a:pt x="2250" y="1566"/>
                  <a:pt x="2237" y="1527"/>
                </a:cubicBezTo>
                <a:cubicBezTo>
                  <a:pt x="2212" y="1489"/>
                  <a:pt x="2186" y="1463"/>
                  <a:pt x="2186" y="1438"/>
                </a:cubicBezTo>
                <a:cubicBezTo>
                  <a:pt x="2186" y="1399"/>
                  <a:pt x="2161" y="1335"/>
                  <a:pt x="2161" y="1309"/>
                </a:cubicBezTo>
                <a:cubicBezTo>
                  <a:pt x="2161" y="1296"/>
                  <a:pt x="2161" y="1271"/>
                  <a:pt x="2174" y="1245"/>
                </a:cubicBezTo>
                <a:cubicBezTo>
                  <a:pt x="2161" y="1245"/>
                  <a:pt x="2161" y="1245"/>
                  <a:pt x="2161" y="1232"/>
                </a:cubicBezTo>
                <a:cubicBezTo>
                  <a:pt x="2148" y="1219"/>
                  <a:pt x="2122" y="1168"/>
                  <a:pt x="2135" y="1130"/>
                </a:cubicBezTo>
                <a:cubicBezTo>
                  <a:pt x="2148" y="1091"/>
                  <a:pt x="2122" y="1040"/>
                  <a:pt x="2122" y="1040"/>
                </a:cubicBezTo>
                <a:cubicBezTo>
                  <a:pt x="2110" y="1001"/>
                  <a:pt x="2110" y="1001"/>
                  <a:pt x="2110" y="1001"/>
                </a:cubicBezTo>
                <a:cubicBezTo>
                  <a:pt x="2097" y="1001"/>
                  <a:pt x="2084" y="988"/>
                  <a:pt x="2097" y="976"/>
                </a:cubicBezTo>
                <a:cubicBezTo>
                  <a:pt x="2110" y="963"/>
                  <a:pt x="2135" y="899"/>
                  <a:pt x="2135" y="899"/>
                </a:cubicBezTo>
                <a:cubicBezTo>
                  <a:pt x="2135" y="899"/>
                  <a:pt x="2148" y="860"/>
                  <a:pt x="2186" y="847"/>
                </a:cubicBezTo>
                <a:cubicBezTo>
                  <a:pt x="2186" y="847"/>
                  <a:pt x="2199" y="847"/>
                  <a:pt x="2199" y="847"/>
                </a:cubicBezTo>
                <a:cubicBezTo>
                  <a:pt x="2186" y="834"/>
                  <a:pt x="2186" y="834"/>
                  <a:pt x="2186" y="834"/>
                </a:cubicBezTo>
                <a:cubicBezTo>
                  <a:pt x="2186" y="834"/>
                  <a:pt x="2186" y="719"/>
                  <a:pt x="2186" y="693"/>
                </a:cubicBezTo>
                <a:cubicBezTo>
                  <a:pt x="2199" y="680"/>
                  <a:pt x="2225" y="603"/>
                  <a:pt x="2237" y="578"/>
                </a:cubicBezTo>
                <a:cubicBezTo>
                  <a:pt x="2237" y="552"/>
                  <a:pt x="2276" y="526"/>
                  <a:pt x="2289" y="514"/>
                </a:cubicBezTo>
                <a:cubicBezTo>
                  <a:pt x="2301" y="501"/>
                  <a:pt x="2365" y="462"/>
                  <a:pt x="2391" y="424"/>
                </a:cubicBezTo>
                <a:cubicBezTo>
                  <a:pt x="2416" y="398"/>
                  <a:pt x="2391" y="385"/>
                  <a:pt x="2365" y="372"/>
                </a:cubicBezTo>
                <a:close/>
              </a:path>
            </a:pathLst>
          </a:custGeom>
          <a:solidFill>
            <a:schemeClr val="accent3"/>
          </a:solidFill>
          <a:ln w="3175" cap="rnd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 lIns="82878" tIns="41438" rIns="82878" bIns="41438"/>
          <a:lstStyle/>
          <a:p>
            <a:pPr defTabSz="891045"/>
            <a:endParaRPr lang="en-US" sz="1700" dirty="0">
              <a:solidFill>
                <a:srgbClr val="003149"/>
              </a:solidFill>
              <a:cs typeface="Arial" panose="020B0604020202020204" pitchFamily="34" charset="0"/>
            </a:endParaRPr>
          </a:p>
        </p:txBody>
      </p:sp>
      <p:sp>
        <p:nvSpPr>
          <p:cNvPr id="658" name="Freeform 486"/>
          <p:cNvSpPr>
            <a:spLocks/>
          </p:cNvSpPr>
          <p:nvPr/>
        </p:nvSpPr>
        <p:spPr bwMode="gray">
          <a:xfrm>
            <a:off x="1690896" y="2528642"/>
            <a:ext cx="203642" cy="213134"/>
          </a:xfrm>
          <a:custGeom>
            <a:avLst/>
            <a:gdLst>
              <a:gd name="T0" fmla="*/ 251548912 w 1383"/>
              <a:gd name="T1" fmla="*/ 263918828 h 1367"/>
              <a:gd name="T2" fmla="*/ 251548912 w 1383"/>
              <a:gd name="T3" fmla="*/ 263918828 h 1367"/>
              <a:gd name="T4" fmla="*/ 251548912 w 1383"/>
              <a:gd name="T5" fmla="*/ 263918828 h 1367"/>
              <a:gd name="T6" fmla="*/ 251548912 w 1383"/>
              <a:gd name="T7" fmla="*/ 263918828 h 1367"/>
              <a:gd name="T8" fmla="*/ 251548912 w 1383"/>
              <a:gd name="T9" fmla="*/ 263918828 h 1367"/>
              <a:gd name="T10" fmla="*/ 251548912 w 1383"/>
              <a:gd name="T11" fmla="*/ 263918828 h 1367"/>
              <a:gd name="T12" fmla="*/ 251548912 w 1383"/>
              <a:gd name="T13" fmla="*/ 263918828 h 1367"/>
              <a:gd name="T14" fmla="*/ 251548912 w 1383"/>
              <a:gd name="T15" fmla="*/ 263918828 h 1367"/>
              <a:gd name="T16" fmla="*/ 251548912 w 1383"/>
              <a:gd name="T17" fmla="*/ 263918828 h 1367"/>
              <a:gd name="T18" fmla="*/ 251548912 w 1383"/>
              <a:gd name="T19" fmla="*/ 263918828 h 1367"/>
              <a:gd name="T20" fmla="*/ 251548912 w 1383"/>
              <a:gd name="T21" fmla="*/ 0 h 1367"/>
              <a:gd name="T22" fmla="*/ 251548912 w 1383"/>
              <a:gd name="T23" fmla="*/ 0 h 1367"/>
              <a:gd name="T24" fmla="*/ 251548912 w 1383"/>
              <a:gd name="T25" fmla="*/ 0 h 1367"/>
              <a:gd name="T26" fmla="*/ 251548912 w 1383"/>
              <a:gd name="T27" fmla="*/ 0 h 1367"/>
              <a:gd name="T28" fmla="*/ 251548912 w 1383"/>
              <a:gd name="T29" fmla="*/ 0 h 1367"/>
              <a:gd name="T30" fmla="*/ 251548912 w 1383"/>
              <a:gd name="T31" fmla="*/ 0 h 1367"/>
              <a:gd name="T32" fmla="*/ 251548912 w 1383"/>
              <a:gd name="T33" fmla="*/ 0 h 1367"/>
              <a:gd name="T34" fmla="*/ 0 w 1383"/>
              <a:gd name="T35" fmla="*/ 0 h 1367"/>
              <a:gd name="T36" fmla="*/ 0 w 1383"/>
              <a:gd name="T37" fmla="*/ 0 h 1367"/>
              <a:gd name="T38" fmla="*/ 0 w 1383"/>
              <a:gd name="T39" fmla="*/ 0 h 1367"/>
              <a:gd name="T40" fmla="*/ 0 w 1383"/>
              <a:gd name="T41" fmla="*/ 0 h 1367"/>
              <a:gd name="T42" fmla="*/ 0 w 1383"/>
              <a:gd name="T43" fmla="*/ 0 h 1367"/>
              <a:gd name="T44" fmla="*/ 0 w 1383"/>
              <a:gd name="T45" fmla="*/ 0 h 1367"/>
              <a:gd name="T46" fmla="*/ 0 w 1383"/>
              <a:gd name="T47" fmla="*/ 0 h 1367"/>
              <a:gd name="T48" fmla="*/ 0 w 1383"/>
              <a:gd name="T49" fmla="*/ 0 h 1367"/>
              <a:gd name="T50" fmla="*/ 0 w 1383"/>
              <a:gd name="T51" fmla="*/ 0 h 1367"/>
              <a:gd name="T52" fmla="*/ 0 w 1383"/>
              <a:gd name="T53" fmla="*/ 0 h 1367"/>
              <a:gd name="T54" fmla="*/ 0 w 1383"/>
              <a:gd name="T55" fmla="*/ 0 h 1367"/>
              <a:gd name="T56" fmla="*/ 0 w 1383"/>
              <a:gd name="T57" fmla="*/ 0 h 1367"/>
              <a:gd name="T58" fmla="*/ 0 w 1383"/>
              <a:gd name="T59" fmla="*/ 0 h 1367"/>
              <a:gd name="T60" fmla="*/ 0 w 1383"/>
              <a:gd name="T61" fmla="*/ 0 h 1367"/>
              <a:gd name="T62" fmla="*/ 0 w 1383"/>
              <a:gd name="T63" fmla="*/ 0 h 1367"/>
              <a:gd name="T64" fmla="*/ 0 w 1383"/>
              <a:gd name="T65" fmla="*/ 0 h 1367"/>
              <a:gd name="T66" fmla="*/ 0 w 1383"/>
              <a:gd name="T67" fmla="*/ 263918828 h 1367"/>
              <a:gd name="T68" fmla="*/ 0 w 1383"/>
              <a:gd name="T69" fmla="*/ 263918828 h 1367"/>
              <a:gd name="T70" fmla="*/ 0 w 1383"/>
              <a:gd name="T71" fmla="*/ 263918828 h 1367"/>
              <a:gd name="T72" fmla="*/ 0 w 1383"/>
              <a:gd name="T73" fmla="*/ 263918828 h 1367"/>
              <a:gd name="T74" fmla="*/ 0 w 1383"/>
              <a:gd name="T75" fmla="*/ 263918828 h 1367"/>
              <a:gd name="T76" fmla="*/ 251548912 w 1383"/>
              <a:gd name="T77" fmla="*/ 263918828 h 1367"/>
              <a:gd name="T78" fmla="*/ 251548912 w 1383"/>
              <a:gd name="T79" fmla="*/ 263918828 h 1367"/>
              <a:gd name="T80" fmla="*/ 251548912 w 1383"/>
              <a:gd name="T81" fmla="*/ 263918828 h 1367"/>
              <a:gd name="T82" fmla="*/ 251548912 w 1383"/>
              <a:gd name="T83" fmla="*/ 263918828 h 1367"/>
              <a:gd name="T84" fmla="*/ 251548912 w 1383"/>
              <a:gd name="T85" fmla="*/ 263918828 h 1367"/>
              <a:gd name="T86" fmla="*/ 251548912 w 1383"/>
              <a:gd name="T87" fmla="*/ 263918828 h 1367"/>
              <a:gd name="T88" fmla="*/ 251548912 w 1383"/>
              <a:gd name="T89" fmla="*/ 263918828 h 1367"/>
              <a:gd name="T90" fmla="*/ 251548912 w 1383"/>
              <a:gd name="T91" fmla="*/ 263918828 h 1367"/>
              <a:gd name="T92" fmla="*/ 251548912 w 1383"/>
              <a:gd name="T93" fmla="*/ 263918828 h 1367"/>
              <a:gd name="T94" fmla="*/ 251548912 w 1383"/>
              <a:gd name="T95" fmla="*/ 263918828 h 1367"/>
              <a:gd name="T96" fmla="*/ 251548912 w 1383"/>
              <a:gd name="T97" fmla="*/ 263918828 h 1367"/>
              <a:gd name="T98" fmla="*/ 251548912 w 1383"/>
              <a:gd name="T99" fmla="*/ 263918828 h 1367"/>
              <a:gd name="T100" fmla="*/ 251548912 w 1383"/>
              <a:gd name="T101" fmla="*/ 263918828 h 1367"/>
              <a:gd name="T102" fmla="*/ 251548912 w 1383"/>
              <a:gd name="T103" fmla="*/ 263918828 h 1367"/>
              <a:gd name="T104" fmla="*/ 251548912 w 1383"/>
              <a:gd name="T105" fmla="*/ 263918828 h 1367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w 1383"/>
              <a:gd name="T160" fmla="*/ 0 h 1367"/>
              <a:gd name="T161" fmla="*/ 1383 w 1383"/>
              <a:gd name="T162" fmla="*/ 1367 h 1367"/>
            </a:gdLst>
            <a:ahLst/>
            <a:cxnLst>
              <a:cxn ang="T106">
                <a:pos x="T0" y="T1"/>
              </a:cxn>
              <a:cxn ang="T107">
                <a:pos x="T2" y="T3"/>
              </a:cxn>
              <a:cxn ang="T108">
                <a:pos x="T4" y="T5"/>
              </a:cxn>
              <a:cxn ang="T109">
                <a:pos x="T6" y="T7"/>
              </a:cxn>
              <a:cxn ang="T110">
                <a:pos x="T8" y="T9"/>
              </a:cxn>
              <a:cxn ang="T111">
                <a:pos x="T10" y="T11"/>
              </a:cxn>
              <a:cxn ang="T112">
                <a:pos x="T12" y="T13"/>
              </a:cxn>
              <a:cxn ang="T113">
                <a:pos x="T14" y="T15"/>
              </a:cxn>
              <a:cxn ang="T114">
                <a:pos x="T16" y="T17"/>
              </a:cxn>
              <a:cxn ang="T115">
                <a:pos x="T18" y="T19"/>
              </a:cxn>
              <a:cxn ang="T116">
                <a:pos x="T20" y="T21"/>
              </a:cxn>
              <a:cxn ang="T117">
                <a:pos x="T22" y="T23"/>
              </a:cxn>
              <a:cxn ang="T118">
                <a:pos x="T24" y="T25"/>
              </a:cxn>
              <a:cxn ang="T119">
                <a:pos x="T26" y="T27"/>
              </a:cxn>
              <a:cxn ang="T120">
                <a:pos x="T28" y="T29"/>
              </a:cxn>
              <a:cxn ang="T121">
                <a:pos x="T30" y="T31"/>
              </a:cxn>
              <a:cxn ang="T122">
                <a:pos x="T32" y="T33"/>
              </a:cxn>
              <a:cxn ang="T123">
                <a:pos x="T34" y="T35"/>
              </a:cxn>
              <a:cxn ang="T124">
                <a:pos x="T36" y="T37"/>
              </a:cxn>
              <a:cxn ang="T125">
                <a:pos x="T38" y="T39"/>
              </a:cxn>
              <a:cxn ang="T126">
                <a:pos x="T40" y="T41"/>
              </a:cxn>
              <a:cxn ang="T127">
                <a:pos x="T42" y="T43"/>
              </a:cxn>
              <a:cxn ang="T128">
                <a:pos x="T44" y="T45"/>
              </a:cxn>
              <a:cxn ang="T129">
                <a:pos x="T46" y="T47"/>
              </a:cxn>
              <a:cxn ang="T130">
                <a:pos x="T48" y="T49"/>
              </a:cxn>
              <a:cxn ang="T131">
                <a:pos x="T50" y="T51"/>
              </a:cxn>
              <a:cxn ang="T132">
                <a:pos x="T52" y="T53"/>
              </a:cxn>
              <a:cxn ang="T133">
                <a:pos x="T54" y="T55"/>
              </a:cxn>
              <a:cxn ang="T134">
                <a:pos x="T56" y="T57"/>
              </a:cxn>
              <a:cxn ang="T135">
                <a:pos x="T58" y="T59"/>
              </a:cxn>
              <a:cxn ang="T136">
                <a:pos x="T60" y="T61"/>
              </a:cxn>
              <a:cxn ang="T137">
                <a:pos x="T62" y="T63"/>
              </a:cxn>
              <a:cxn ang="T138">
                <a:pos x="T64" y="T65"/>
              </a:cxn>
              <a:cxn ang="T139">
                <a:pos x="T66" y="T67"/>
              </a:cxn>
              <a:cxn ang="T140">
                <a:pos x="T68" y="T69"/>
              </a:cxn>
              <a:cxn ang="T141">
                <a:pos x="T70" y="T71"/>
              </a:cxn>
              <a:cxn ang="T142">
                <a:pos x="T72" y="T73"/>
              </a:cxn>
              <a:cxn ang="T143">
                <a:pos x="T74" y="T75"/>
              </a:cxn>
              <a:cxn ang="T144">
                <a:pos x="T76" y="T77"/>
              </a:cxn>
              <a:cxn ang="T145">
                <a:pos x="T78" y="T79"/>
              </a:cxn>
              <a:cxn ang="T146">
                <a:pos x="T80" y="T81"/>
              </a:cxn>
              <a:cxn ang="T147">
                <a:pos x="T82" y="T83"/>
              </a:cxn>
              <a:cxn ang="T148">
                <a:pos x="T84" y="T85"/>
              </a:cxn>
              <a:cxn ang="T149">
                <a:pos x="T86" y="T87"/>
              </a:cxn>
              <a:cxn ang="T150">
                <a:pos x="T88" y="T89"/>
              </a:cxn>
              <a:cxn ang="T151">
                <a:pos x="T90" y="T91"/>
              </a:cxn>
              <a:cxn ang="T152">
                <a:pos x="T92" y="T93"/>
              </a:cxn>
              <a:cxn ang="T153">
                <a:pos x="T94" y="T95"/>
              </a:cxn>
              <a:cxn ang="T154">
                <a:pos x="T96" y="T97"/>
              </a:cxn>
              <a:cxn ang="T155">
                <a:pos x="T98" y="T99"/>
              </a:cxn>
              <a:cxn ang="T156">
                <a:pos x="T100" y="T101"/>
              </a:cxn>
              <a:cxn ang="T157">
                <a:pos x="T102" y="T103"/>
              </a:cxn>
              <a:cxn ang="T158">
                <a:pos x="T104" y="T105"/>
              </a:cxn>
            </a:cxnLst>
            <a:rect l="T159" t="T160" r="T161" b="T162"/>
            <a:pathLst>
              <a:path w="1383" h="1367">
                <a:moveTo>
                  <a:pt x="1307" y="1135"/>
                </a:moveTo>
                <a:cubicBezTo>
                  <a:pt x="1294" y="1135"/>
                  <a:pt x="1269" y="1096"/>
                  <a:pt x="1282" y="1071"/>
                </a:cubicBezTo>
                <a:cubicBezTo>
                  <a:pt x="1294" y="1032"/>
                  <a:pt x="1269" y="1006"/>
                  <a:pt x="1244" y="980"/>
                </a:cubicBezTo>
                <a:cubicBezTo>
                  <a:pt x="1231" y="955"/>
                  <a:pt x="1218" y="929"/>
                  <a:pt x="1244" y="903"/>
                </a:cubicBezTo>
                <a:cubicBezTo>
                  <a:pt x="1269" y="877"/>
                  <a:pt x="1231" y="851"/>
                  <a:pt x="1244" y="813"/>
                </a:cubicBezTo>
                <a:cubicBezTo>
                  <a:pt x="1244" y="774"/>
                  <a:pt x="1256" y="761"/>
                  <a:pt x="1256" y="748"/>
                </a:cubicBezTo>
                <a:cubicBezTo>
                  <a:pt x="1244" y="735"/>
                  <a:pt x="1218" y="697"/>
                  <a:pt x="1205" y="684"/>
                </a:cubicBezTo>
                <a:cubicBezTo>
                  <a:pt x="1193" y="671"/>
                  <a:pt x="1155" y="632"/>
                  <a:pt x="1167" y="594"/>
                </a:cubicBezTo>
                <a:cubicBezTo>
                  <a:pt x="1193" y="568"/>
                  <a:pt x="1205" y="516"/>
                  <a:pt x="1205" y="516"/>
                </a:cubicBezTo>
                <a:cubicBezTo>
                  <a:pt x="1218" y="478"/>
                  <a:pt x="1218" y="478"/>
                  <a:pt x="1218" y="478"/>
                </a:cubicBezTo>
                <a:cubicBezTo>
                  <a:pt x="1218" y="478"/>
                  <a:pt x="1167" y="426"/>
                  <a:pt x="1142" y="413"/>
                </a:cubicBezTo>
                <a:cubicBezTo>
                  <a:pt x="1129" y="400"/>
                  <a:pt x="1040" y="336"/>
                  <a:pt x="1040" y="323"/>
                </a:cubicBezTo>
                <a:cubicBezTo>
                  <a:pt x="1040" y="310"/>
                  <a:pt x="1028" y="245"/>
                  <a:pt x="1028" y="245"/>
                </a:cubicBezTo>
                <a:cubicBezTo>
                  <a:pt x="571" y="0"/>
                  <a:pt x="571" y="0"/>
                  <a:pt x="571" y="0"/>
                </a:cubicBezTo>
                <a:cubicBezTo>
                  <a:pt x="571" y="0"/>
                  <a:pt x="571" y="0"/>
                  <a:pt x="571" y="0"/>
                </a:cubicBezTo>
                <a:cubicBezTo>
                  <a:pt x="558" y="13"/>
                  <a:pt x="558" y="26"/>
                  <a:pt x="546" y="26"/>
                </a:cubicBezTo>
                <a:cubicBezTo>
                  <a:pt x="520" y="78"/>
                  <a:pt x="520" y="117"/>
                  <a:pt x="507" y="142"/>
                </a:cubicBezTo>
                <a:cubicBezTo>
                  <a:pt x="495" y="181"/>
                  <a:pt x="431" y="168"/>
                  <a:pt x="431" y="142"/>
                </a:cubicBezTo>
                <a:cubicBezTo>
                  <a:pt x="419" y="104"/>
                  <a:pt x="292" y="233"/>
                  <a:pt x="292" y="181"/>
                </a:cubicBezTo>
                <a:cubicBezTo>
                  <a:pt x="292" y="129"/>
                  <a:pt x="292" y="65"/>
                  <a:pt x="317" y="26"/>
                </a:cubicBezTo>
                <a:cubicBezTo>
                  <a:pt x="317" y="13"/>
                  <a:pt x="317" y="13"/>
                  <a:pt x="317" y="0"/>
                </a:cubicBezTo>
                <a:cubicBezTo>
                  <a:pt x="216" y="0"/>
                  <a:pt x="139" y="0"/>
                  <a:pt x="127" y="0"/>
                </a:cubicBezTo>
                <a:cubicBezTo>
                  <a:pt x="127" y="0"/>
                  <a:pt x="127" y="0"/>
                  <a:pt x="127" y="0"/>
                </a:cubicBezTo>
                <a:cubicBezTo>
                  <a:pt x="139" y="26"/>
                  <a:pt x="139" y="26"/>
                  <a:pt x="139" y="26"/>
                </a:cubicBezTo>
                <a:cubicBezTo>
                  <a:pt x="139" y="26"/>
                  <a:pt x="177" y="78"/>
                  <a:pt x="177" y="104"/>
                </a:cubicBezTo>
                <a:cubicBezTo>
                  <a:pt x="177" y="129"/>
                  <a:pt x="190" y="168"/>
                  <a:pt x="165" y="168"/>
                </a:cubicBezTo>
                <a:cubicBezTo>
                  <a:pt x="152" y="168"/>
                  <a:pt x="152" y="168"/>
                  <a:pt x="139" y="168"/>
                </a:cubicBezTo>
                <a:cubicBezTo>
                  <a:pt x="127" y="233"/>
                  <a:pt x="127" y="233"/>
                  <a:pt x="127" y="233"/>
                </a:cubicBezTo>
                <a:cubicBezTo>
                  <a:pt x="177" y="258"/>
                  <a:pt x="177" y="258"/>
                  <a:pt x="177" y="258"/>
                </a:cubicBezTo>
                <a:cubicBezTo>
                  <a:pt x="127" y="323"/>
                  <a:pt x="127" y="323"/>
                  <a:pt x="127" y="323"/>
                </a:cubicBezTo>
                <a:cubicBezTo>
                  <a:pt x="127" y="323"/>
                  <a:pt x="51" y="439"/>
                  <a:pt x="38" y="439"/>
                </a:cubicBezTo>
                <a:cubicBezTo>
                  <a:pt x="38" y="439"/>
                  <a:pt x="25" y="439"/>
                  <a:pt x="12" y="439"/>
                </a:cubicBezTo>
                <a:cubicBezTo>
                  <a:pt x="12" y="439"/>
                  <a:pt x="12" y="439"/>
                  <a:pt x="12" y="439"/>
                </a:cubicBezTo>
                <a:cubicBezTo>
                  <a:pt x="0" y="465"/>
                  <a:pt x="0" y="490"/>
                  <a:pt x="0" y="503"/>
                </a:cubicBezTo>
                <a:cubicBezTo>
                  <a:pt x="0" y="529"/>
                  <a:pt x="25" y="594"/>
                  <a:pt x="25" y="632"/>
                </a:cubicBezTo>
                <a:cubicBezTo>
                  <a:pt x="25" y="658"/>
                  <a:pt x="51" y="684"/>
                  <a:pt x="76" y="722"/>
                </a:cubicBezTo>
                <a:cubicBezTo>
                  <a:pt x="89" y="761"/>
                  <a:pt x="165" y="903"/>
                  <a:pt x="165" y="903"/>
                </a:cubicBezTo>
                <a:cubicBezTo>
                  <a:pt x="165" y="903"/>
                  <a:pt x="241" y="955"/>
                  <a:pt x="279" y="980"/>
                </a:cubicBezTo>
                <a:cubicBezTo>
                  <a:pt x="317" y="1006"/>
                  <a:pt x="419" y="1058"/>
                  <a:pt x="444" y="1071"/>
                </a:cubicBezTo>
                <a:cubicBezTo>
                  <a:pt x="469" y="1083"/>
                  <a:pt x="546" y="1096"/>
                  <a:pt x="558" y="1096"/>
                </a:cubicBezTo>
                <a:cubicBezTo>
                  <a:pt x="571" y="1083"/>
                  <a:pt x="596" y="1071"/>
                  <a:pt x="622" y="1109"/>
                </a:cubicBezTo>
                <a:cubicBezTo>
                  <a:pt x="647" y="1161"/>
                  <a:pt x="647" y="1251"/>
                  <a:pt x="660" y="1277"/>
                </a:cubicBezTo>
                <a:cubicBezTo>
                  <a:pt x="672" y="1303"/>
                  <a:pt x="685" y="1341"/>
                  <a:pt x="685" y="1341"/>
                </a:cubicBezTo>
                <a:cubicBezTo>
                  <a:pt x="685" y="1341"/>
                  <a:pt x="761" y="1341"/>
                  <a:pt x="774" y="1341"/>
                </a:cubicBezTo>
                <a:cubicBezTo>
                  <a:pt x="799" y="1341"/>
                  <a:pt x="837" y="1316"/>
                  <a:pt x="837" y="1341"/>
                </a:cubicBezTo>
                <a:cubicBezTo>
                  <a:pt x="850" y="1367"/>
                  <a:pt x="875" y="1367"/>
                  <a:pt x="914" y="1354"/>
                </a:cubicBezTo>
                <a:cubicBezTo>
                  <a:pt x="952" y="1341"/>
                  <a:pt x="964" y="1341"/>
                  <a:pt x="1002" y="1354"/>
                </a:cubicBezTo>
                <a:cubicBezTo>
                  <a:pt x="1040" y="1354"/>
                  <a:pt x="1028" y="1328"/>
                  <a:pt x="1066" y="1316"/>
                </a:cubicBezTo>
                <a:cubicBezTo>
                  <a:pt x="1104" y="1290"/>
                  <a:pt x="1117" y="1328"/>
                  <a:pt x="1142" y="1316"/>
                </a:cubicBezTo>
                <a:cubicBezTo>
                  <a:pt x="1167" y="1303"/>
                  <a:pt x="1218" y="1290"/>
                  <a:pt x="1244" y="1277"/>
                </a:cubicBezTo>
                <a:cubicBezTo>
                  <a:pt x="1269" y="1264"/>
                  <a:pt x="1332" y="1225"/>
                  <a:pt x="1345" y="1225"/>
                </a:cubicBezTo>
                <a:cubicBezTo>
                  <a:pt x="1370" y="1225"/>
                  <a:pt x="1383" y="1200"/>
                  <a:pt x="1383" y="1200"/>
                </a:cubicBezTo>
                <a:cubicBezTo>
                  <a:pt x="1383" y="1200"/>
                  <a:pt x="1320" y="1148"/>
                  <a:pt x="1307" y="1135"/>
                </a:cubicBezTo>
              </a:path>
            </a:pathLst>
          </a:custGeom>
          <a:solidFill>
            <a:schemeClr val="accent3"/>
          </a:solidFill>
          <a:ln w="0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 lIns="82878" tIns="41438" rIns="82878" bIns="41438"/>
          <a:lstStyle/>
          <a:p>
            <a:pPr defTabSz="891045"/>
            <a:endParaRPr lang="en-US" sz="1700" dirty="0">
              <a:solidFill>
                <a:srgbClr val="003149"/>
              </a:solidFill>
              <a:cs typeface="Arial" panose="020B0604020202020204" pitchFamily="34" charset="0"/>
            </a:endParaRPr>
          </a:p>
        </p:txBody>
      </p:sp>
      <p:sp>
        <p:nvSpPr>
          <p:cNvPr id="659" name="Freeform 487"/>
          <p:cNvSpPr>
            <a:spLocks/>
          </p:cNvSpPr>
          <p:nvPr/>
        </p:nvSpPr>
        <p:spPr bwMode="gray">
          <a:xfrm>
            <a:off x="1690896" y="2528642"/>
            <a:ext cx="203642" cy="213134"/>
          </a:xfrm>
          <a:custGeom>
            <a:avLst/>
            <a:gdLst>
              <a:gd name="T0" fmla="*/ 2147483647 w 139"/>
              <a:gd name="T1" fmla="*/ 2147483647 h 138"/>
              <a:gd name="T2" fmla="*/ 2147483647 w 139"/>
              <a:gd name="T3" fmla="*/ 2147483647 h 138"/>
              <a:gd name="T4" fmla="*/ 2147483647 w 139"/>
              <a:gd name="T5" fmla="*/ 2147483647 h 138"/>
              <a:gd name="T6" fmla="*/ 2147483647 w 139"/>
              <a:gd name="T7" fmla="*/ 2147483647 h 138"/>
              <a:gd name="T8" fmla="*/ 2147483647 w 139"/>
              <a:gd name="T9" fmla="*/ 2147483647 h 138"/>
              <a:gd name="T10" fmla="*/ 2147483647 w 139"/>
              <a:gd name="T11" fmla="*/ 2147483647 h 138"/>
              <a:gd name="T12" fmla="*/ 2147483647 w 139"/>
              <a:gd name="T13" fmla="*/ 2147483647 h 138"/>
              <a:gd name="T14" fmla="*/ 2147483647 w 139"/>
              <a:gd name="T15" fmla="*/ 2147483647 h 138"/>
              <a:gd name="T16" fmla="*/ 2147483647 w 139"/>
              <a:gd name="T17" fmla="*/ 2147483647 h 138"/>
              <a:gd name="T18" fmla="*/ 2147483647 w 139"/>
              <a:gd name="T19" fmla="*/ 2147483647 h 138"/>
              <a:gd name="T20" fmla="*/ 2147483647 w 139"/>
              <a:gd name="T21" fmla="*/ 2147483647 h 138"/>
              <a:gd name="T22" fmla="*/ 2147483647 w 139"/>
              <a:gd name="T23" fmla="*/ 2147483647 h 138"/>
              <a:gd name="T24" fmla="*/ 2147483647 w 139"/>
              <a:gd name="T25" fmla="*/ 2147483647 h 138"/>
              <a:gd name="T26" fmla="*/ 2147483647 w 139"/>
              <a:gd name="T27" fmla="*/ 0 h 138"/>
              <a:gd name="T28" fmla="*/ 2147483647 w 139"/>
              <a:gd name="T29" fmla="*/ 0 h 138"/>
              <a:gd name="T30" fmla="*/ 2147483647 w 139"/>
              <a:gd name="T31" fmla="*/ 2147483647 h 138"/>
              <a:gd name="T32" fmla="*/ 2147483647 w 139"/>
              <a:gd name="T33" fmla="*/ 2147483647 h 138"/>
              <a:gd name="T34" fmla="*/ 2147483647 w 139"/>
              <a:gd name="T35" fmla="*/ 2147483647 h 138"/>
              <a:gd name="T36" fmla="*/ 2147483647 w 139"/>
              <a:gd name="T37" fmla="*/ 2147483647 h 138"/>
              <a:gd name="T38" fmla="*/ 2147483647 w 139"/>
              <a:gd name="T39" fmla="*/ 2147483647 h 138"/>
              <a:gd name="T40" fmla="*/ 2147483647 w 139"/>
              <a:gd name="T41" fmla="*/ 0 h 138"/>
              <a:gd name="T42" fmla="*/ 2147483647 w 139"/>
              <a:gd name="T43" fmla="*/ 0 h 138"/>
              <a:gd name="T44" fmla="*/ 2147483647 w 139"/>
              <a:gd name="T45" fmla="*/ 0 h 138"/>
              <a:gd name="T46" fmla="*/ 2147483647 w 139"/>
              <a:gd name="T47" fmla="*/ 2147483647 h 138"/>
              <a:gd name="T48" fmla="*/ 2147483647 w 139"/>
              <a:gd name="T49" fmla="*/ 2147483647 h 138"/>
              <a:gd name="T50" fmla="*/ 2147483647 w 139"/>
              <a:gd name="T51" fmla="*/ 2147483647 h 138"/>
              <a:gd name="T52" fmla="*/ 2147483647 w 139"/>
              <a:gd name="T53" fmla="*/ 2147483647 h 138"/>
              <a:gd name="T54" fmla="*/ 2147483647 w 139"/>
              <a:gd name="T55" fmla="*/ 2147483647 h 138"/>
              <a:gd name="T56" fmla="*/ 2147483647 w 139"/>
              <a:gd name="T57" fmla="*/ 2147483647 h 138"/>
              <a:gd name="T58" fmla="*/ 2147483647 w 139"/>
              <a:gd name="T59" fmla="*/ 2147483647 h 138"/>
              <a:gd name="T60" fmla="*/ 2147483647 w 139"/>
              <a:gd name="T61" fmla="*/ 2147483647 h 138"/>
              <a:gd name="T62" fmla="*/ 2147483647 w 139"/>
              <a:gd name="T63" fmla="*/ 2147483647 h 138"/>
              <a:gd name="T64" fmla="*/ 2147483647 w 139"/>
              <a:gd name="T65" fmla="*/ 2147483647 h 138"/>
              <a:gd name="T66" fmla="*/ 0 w 139"/>
              <a:gd name="T67" fmla="*/ 2147483647 h 138"/>
              <a:gd name="T68" fmla="*/ 2147483647 w 139"/>
              <a:gd name="T69" fmla="*/ 2147483647 h 138"/>
              <a:gd name="T70" fmla="*/ 2147483647 w 139"/>
              <a:gd name="T71" fmla="*/ 2147483647 h 138"/>
              <a:gd name="T72" fmla="*/ 2147483647 w 139"/>
              <a:gd name="T73" fmla="*/ 2147483647 h 138"/>
              <a:gd name="T74" fmla="*/ 2147483647 w 139"/>
              <a:gd name="T75" fmla="*/ 2147483647 h 138"/>
              <a:gd name="T76" fmla="*/ 2147483647 w 139"/>
              <a:gd name="T77" fmla="*/ 2147483647 h 138"/>
              <a:gd name="T78" fmla="*/ 2147483647 w 139"/>
              <a:gd name="T79" fmla="*/ 2147483647 h 138"/>
              <a:gd name="T80" fmla="*/ 2147483647 w 139"/>
              <a:gd name="T81" fmla="*/ 2147483647 h 138"/>
              <a:gd name="T82" fmla="*/ 2147483647 w 139"/>
              <a:gd name="T83" fmla="*/ 2147483647 h 138"/>
              <a:gd name="T84" fmla="*/ 2147483647 w 139"/>
              <a:gd name="T85" fmla="*/ 2147483647 h 138"/>
              <a:gd name="T86" fmla="*/ 2147483647 w 139"/>
              <a:gd name="T87" fmla="*/ 2147483647 h 138"/>
              <a:gd name="T88" fmla="*/ 2147483647 w 139"/>
              <a:gd name="T89" fmla="*/ 2147483647 h 138"/>
              <a:gd name="T90" fmla="*/ 2147483647 w 139"/>
              <a:gd name="T91" fmla="*/ 2147483647 h 138"/>
              <a:gd name="T92" fmla="*/ 2147483647 w 139"/>
              <a:gd name="T93" fmla="*/ 2147483647 h 138"/>
              <a:gd name="T94" fmla="*/ 2147483647 w 139"/>
              <a:gd name="T95" fmla="*/ 2147483647 h 138"/>
              <a:gd name="T96" fmla="*/ 2147483647 w 139"/>
              <a:gd name="T97" fmla="*/ 2147483647 h 138"/>
              <a:gd name="T98" fmla="*/ 2147483647 w 139"/>
              <a:gd name="T99" fmla="*/ 2147483647 h 138"/>
              <a:gd name="T100" fmla="*/ 2147483647 w 139"/>
              <a:gd name="T101" fmla="*/ 2147483647 h 138"/>
              <a:gd name="T102" fmla="*/ 2147483647 w 139"/>
              <a:gd name="T103" fmla="*/ 2147483647 h 138"/>
              <a:gd name="T104" fmla="*/ 2147483647 w 139"/>
              <a:gd name="T105" fmla="*/ 2147483647 h 138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w 139"/>
              <a:gd name="T160" fmla="*/ 0 h 138"/>
              <a:gd name="T161" fmla="*/ 139 w 139"/>
              <a:gd name="T162" fmla="*/ 138 h 138"/>
            </a:gdLst>
            <a:ahLst/>
            <a:cxnLst>
              <a:cxn ang="T106">
                <a:pos x="T0" y="T1"/>
              </a:cxn>
              <a:cxn ang="T107">
                <a:pos x="T2" y="T3"/>
              </a:cxn>
              <a:cxn ang="T108">
                <a:pos x="T4" y="T5"/>
              </a:cxn>
              <a:cxn ang="T109">
                <a:pos x="T6" y="T7"/>
              </a:cxn>
              <a:cxn ang="T110">
                <a:pos x="T8" y="T9"/>
              </a:cxn>
              <a:cxn ang="T111">
                <a:pos x="T10" y="T11"/>
              </a:cxn>
              <a:cxn ang="T112">
                <a:pos x="T12" y="T13"/>
              </a:cxn>
              <a:cxn ang="T113">
                <a:pos x="T14" y="T15"/>
              </a:cxn>
              <a:cxn ang="T114">
                <a:pos x="T16" y="T17"/>
              </a:cxn>
              <a:cxn ang="T115">
                <a:pos x="T18" y="T19"/>
              </a:cxn>
              <a:cxn ang="T116">
                <a:pos x="T20" y="T21"/>
              </a:cxn>
              <a:cxn ang="T117">
                <a:pos x="T22" y="T23"/>
              </a:cxn>
              <a:cxn ang="T118">
                <a:pos x="T24" y="T25"/>
              </a:cxn>
              <a:cxn ang="T119">
                <a:pos x="T26" y="T27"/>
              </a:cxn>
              <a:cxn ang="T120">
                <a:pos x="T28" y="T29"/>
              </a:cxn>
              <a:cxn ang="T121">
                <a:pos x="T30" y="T31"/>
              </a:cxn>
              <a:cxn ang="T122">
                <a:pos x="T32" y="T33"/>
              </a:cxn>
              <a:cxn ang="T123">
                <a:pos x="T34" y="T35"/>
              </a:cxn>
              <a:cxn ang="T124">
                <a:pos x="T36" y="T37"/>
              </a:cxn>
              <a:cxn ang="T125">
                <a:pos x="T38" y="T39"/>
              </a:cxn>
              <a:cxn ang="T126">
                <a:pos x="T40" y="T41"/>
              </a:cxn>
              <a:cxn ang="T127">
                <a:pos x="T42" y="T43"/>
              </a:cxn>
              <a:cxn ang="T128">
                <a:pos x="T44" y="T45"/>
              </a:cxn>
              <a:cxn ang="T129">
                <a:pos x="T46" y="T47"/>
              </a:cxn>
              <a:cxn ang="T130">
                <a:pos x="T48" y="T49"/>
              </a:cxn>
              <a:cxn ang="T131">
                <a:pos x="T50" y="T51"/>
              </a:cxn>
              <a:cxn ang="T132">
                <a:pos x="T52" y="T53"/>
              </a:cxn>
              <a:cxn ang="T133">
                <a:pos x="T54" y="T55"/>
              </a:cxn>
              <a:cxn ang="T134">
                <a:pos x="T56" y="T57"/>
              </a:cxn>
              <a:cxn ang="T135">
                <a:pos x="T58" y="T59"/>
              </a:cxn>
              <a:cxn ang="T136">
                <a:pos x="T60" y="T61"/>
              </a:cxn>
              <a:cxn ang="T137">
                <a:pos x="T62" y="T63"/>
              </a:cxn>
              <a:cxn ang="T138">
                <a:pos x="T64" y="T65"/>
              </a:cxn>
              <a:cxn ang="T139">
                <a:pos x="T66" y="T67"/>
              </a:cxn>
              <a:cxn ang="T140">
                <a:pos x="T68" y="T69"/>
              </a:cxn>
              <a:cxn ang="T141">
                <a:pos x="T70" y="T71"/>
              </a:cxn>
              <a:cxn ang="T142">
                <a:pos x="T72" y="T73"/>
              </a:cxn>
              <a:cxn ang="T143">
                <a:pos x="T74" y="T75"/>
              </a:cxn>
              <a:cxn ang="T144">
                <a:pos x="T76" y="T77"/>
              </a:cxn>
              <a:cxn ang="T145">
                <a:pos x="T78" y="T79"/>
              </a:cxn>
              <a:cxn ang="T146">
                <a:pos x="T80" y="T81"/>
              </a:cxn>
              <a:cxn ang="T147">
                <a:pos x="T82" y="T83"/>
              </a:cxn>
              <a:cxn ang="T148">
                <a:pos x="T84" y="T85"/>
              </a:cxn>
              <a:cxn ang="T149">
                <a:pos x="T86" y="T87"/>
              </a:cxn>
              <a:cxn ang="T150">
                <a:pos x="T88" y="T89"/>
              </a:cxn>
              <a:cxn ang="T151">
                <a:pos x="T90" y="T91"/>
              </a:cxn>
              <a:cxn ang="T152">
                <a:pos x="T92" y="T93"/>
              </a:cxn>
              <a:cxn ang="T153">
                <a:pos x="T94" y="T95"/>
              </a:cxn>
              <a:cxn ang="T154">
                <a:pos x="T96" y="T97"/>
              </a:cxn>
              <a:cxn ang="T155">
                <a:pos x="T98" y="T99"/>
              </a:cxn>
              <a:cxn ang="T156">
                <a:pos x="T100" y="T101"/>
              </a:cxn>
              <a:cxn ang="T157">
                <a:pos x="T102" y="T103"/>
              </a:cxn>
              <a:cxn ang="T158">
                <a:pos x="T104" y="T105"/>
              </a:cxn>
            </a:cxnLst>
            <a:rect l="T159" t="T160" r="T161" b="T162"/>
            <a:pathLst>
              <a:path w="139" h="138">
                <a:moveTo>
                  <a:pt x="132" y="115"/>
                </a:moveTo>
                <a:cubicBezTo>
                  <a:pt x="130" y="115"/>
                  <a:pt x="128" y="111"/>
                  <a:pt x="129" y="108"/>
                </a:cubicBezTo>
                <a:cubicBezTo>
                  <a:pt x="130" y="105"/>
                  <a:pt x="128" y="102"/>
                  <a:pt x="125" y="99"/>
                </a:cubicBezTo>
                <a:cubicBezTo>
                  <a:pt x="124" y="97"/>
                  <a:pt x="123" y="94"/>
                  <a:pt x="125" y="92"/>
                </a:cubicBezTo>
                <a:cubicBezTo>
                  <a:pt x="128" y="89"/>
                  <a:pt x="124" y="86"/>
                  <a:pt x="125" y="82"/>
                </a:cubicBezTo>
                <a:cubicBezTo>
                  <a:pt x="125" y="78"/>
                  <a:pt x="127" y="77"/>
                  <a:pt x="127" y="76"/>
                </a:cubicBezTo>
                <a:cubicBezTo>
                  <a:pt x="125" y="75"/>
                  <a:pt x="123" y="71"/>
                  <a:pt x="121" y="69"/>
                </a:cubicBezTo>
                <a:cubicBezTo>
                  <a:pt x="120" y="68"/>
                  <a:pt x="116" y="64"/>
                  <a:pt x="118" y="60"/>
                </a:cubicBezTo>
                <a:cubicBezTo>
                  <a:pt x="120" y="58"/>
                  <a:pt x="121" y="52"/>
                  <a:pt x="121" y="52"/>
                </a:cubicBezTo>
                <a:cubicBezTo>
                  <a:pt x="123" y="49"/>
                  <a:pt x="123" y="49"/>
                  <a:pt x="123" y="49"/>
                </a:cubicBezTo>
                <a:cubicBezTo>
                  <a:pt x="123" y="49"/>
                  <a:pt x="118" y="43"/>
                  <a:pt x="115" y="42"/>
                </a:cubicBezTo>
                <a:cubicBezTo>
                  <a:pt x="114" y="41"/>
                  <a:pt x="105" y="34"/>
                  <a:pt x="105" y="33"/>
                </a:cubicBezTo>
                <a:cubicBezTo>
                  <a:pt x="105" y="32"/>
                  <a:pt x="104" y="25"/>
                  <a:pt x="104" y="25"/>
                </a:cubicBezTo>
                <a:cubicBezTo>
                  <a:pt x="57" y="0"/>
                  <a:pt x="57" y="0"/>
                  <a:pt x="57" y="0"/>
                </a:cubicBezTo>
                <a:cubicBezTo>
                  <a:pt x="57" y="0"/>
                  <a:pt x="57" y="0"/>
                  <a:pt x="57" y="0"/>
                </a:cubicBezTo>
                <a:cubicBezTo>
                  <a:pt x="56" y="2"/>
                  <a:pt x="56" y="3"/>
                  <a:pt x="55" y="3"/>
                </a:cubicBezTo>
                <a:cubicBezTo>
                  <a:pt x="52" y="8"/>
                  <a:pt x="52" y="12"/>
                  <a:pt x="51" y="15"/>
                </a:cubicBezTo>
                <a:cubicBezTo>
                  <a:pt x="50" y="19"/>
                  <a:pt x="43" y="17"/>
                  <a:pt x="43" y="15"/>
                </a:cubicBezTo>
                <a:cubicBezTo>
                  <a:pt x="42" y="11"/>
                  <a:pt x="29" y="24"/>
                  <a:pt x="29" y="19"/>
                </a:cubicBezTo>
                <a:cubicBezTo>
                  <a:pt x="29" y="13"/>
                  <a:pt x="29" y="7"/>
                  <a:pt x="32" y="3"/>
                </a:cubicBezTo>
                <a:cubicBezTo>
                  <a:pt x="32" y="2"/>
                  <a:pt x="32" y="2"/>
                  <a:pt x="32" y="0"/>
                </a:cubicBezTo>
                <a:cubicBezTo>
                  <a:pt x="22" y="0"/>
                  <a:pt x="14" y="0"/>
                  <a:pt x="13" y="0"/>
                </a:cubicBezTo>
                <a:cubicBezTo>
                  <a:pt x="13" y="0"/>
                  <a:pt x="13" y="0"/>
                  <a:pt x="13" y="0"/>
                </a:cubicBezTo>
                <a:cubicBezTo>
                  <a:pt x="14" y="3"/>
                  <a:pt x="14" y="3"/>
                  <a:pt x="14" y="3"/>
                </a:cubicBezTo>
                <a:cubicBezTo>
                  <a:pt x="14" y="3"/>
                  <a:pt x="18" y="8"/>
                  <a:pt x="18" y="11"/>
                </a:cubicBezTo>
                <a:cubicBezTo>
                  <a:pt x="18" y="13"/>
                  <a:pt x="19" y="17"/>
                  <a:pt x="16" y="17"/>
                </a:cubicBezTo>
                <a:cubicBezTo>
                  <a:pt x="15" y="17"/>
                  <a:pt x="15" y="17"/>
                  <a:pt x="14" y="17"/>
                </a:cubicBezTo>
                <a:cubicBezTo>
                  <a:pt x="13" y="24"/>
                  <a:pt x="13" y="24"/>
                  <a:pt x="13" y="24"/>
                </a:cubicBezTo>
                <a:cubicBezTo>
                  <a:pt x="18" y="26"/>
                  <a:pt x="18" y="26"/>
                  <a:pt x="18" y="26"/>
                </a:cubicBezTo>
                <a:cubicBezTo>
                  <a:pt x="13" y="33"/>
                  <a:pt x="13" y="33"/>
                  <a:pt x="13" y="33"/>
                </a:cubicBezTo>
                <a:cubicBezTo>
                  <a:pt x="13" y="33"/>
                  <a:pt x="5" y="45"/>
                  <a:pt x="4" y="45"/>
                </a:cubicBezTo>
                <a:cubicBezTo>
                  <a:pt x="4" y="45"/>
                  <a:pt x="2" y="45"/>
                  <a:pt x="1" y="45"/>
                </a:cubicBezTo>
                <a:cubicBezTo>
                  <a:pt x="1" y="45"/>
                  <a:pt x="1" y="45"/>
                  <a:pt x="1" y="45"/>
                </a:cubicBezTo>
                <a:cubicBezTo>
                  <a:pt x="0" y="47"/>
                  <a:pt x="0" y="50"/>
                  <a:pt x="0" y="51"/>
                </a:cubicBezTo>
                <a:cubicBezTo>
                  <a:pt x="0" y="54"/>
                  <a:pt x="2" y="60"/>
                  <a:pt x="2" y="64"/>
                </a:cubicBezTo>
                <a:cubicBezTo>
                  <a:pt x="2" y="67"/>
                  <a:pt x="5" y="69"/>
                  <a:pt x="7" y="73"/>
                </a:cubicBezTo>
                <a:cubicBezTo>
                  <a:pt x="9" y="77"/>
                  <a:pt x="16" y="92"/>
                  <a:pt x="16" y="92"/>
                </a:cubicBezTo>
                <a:cubicBezTo>
                  <a:pt x="16" y="92"/>
                  <a:pt x="24" y="97"/>
                  <a:pt x="28" y="99"/>
                </a:cubicBezTo>
                <a:cubicBezTo>
                  <a:pt x="32" y="102"/>
                  <a:pt x="42" y="107"/>
                  <a:pt x="45" y="108"/>
                </a:cubicBezTo>
                <a:cubicBezTo>
                  <a:pt x="47" y="110"/>
                  <a:pt x="55" y="111"/>
                  <a:pt x="56" y="111"/>
                </a:cubicBezTo>
                <a:cubicBezTo>
                  <a:pt x="57" y="110"/>
                  <a:pt x="60" y="108"/>
                  <a:pt x="63" y="112"/>
                </a:cubicBezTo>
                <a:cubicBezTo>
                  <a:pt x="65" y="118"/>
                  <a:pt x="65" y="127"/>
                  <a:pt x="66" y="129"/>
                </a:cubicBezTo>
                <a:cubicBezTo>
                  <a:pt x="68" y="132"/>
                  <a:pt x="69" y="136"/>
                  <a:pt x="69" y="136"/>
                </a:cubicBezTo>
                <a:cubicBezTo>
                  <a:pt x="69" y="136"/>
                  <a:pt x="77" y="136"/>
                  <a:pt x="78" y="136"/>
                </a:cubicBezTo>
                <a:cubicBezTo>
                  <a:pt x="80" y="136"/>
                  <a:pt x="84" y="133"/>
                  <a:pt x="84" y="136"/>
                </a:cubicBezTo>
                <a:cubicBezTo>
                  <a:pt x="86" y="138"/>
                  <a:pt x="88" y="138"/>
                  <a:pt x="92" y="137"/>
                </a:cubicBezTo>
                <a:cubicBezTo>
                  <a:pt x="96" y="136"/>
                  <a:pt x="97" y="136"/>
                  <a:pt x="101" y="137"/>
                </a:cubicBezTo>
                <a:cubicBezTo>
                  <a:pt x="105" y="137"/>
                  <a:pt x="104" y="134"/>
                  <a:pt x="107" y="133"/>
                </a:cubicBezTo>
                <a:cubicBezTo>
                  <a:pt x="111" y="131"/>
                  <a:pt x="113" y="134"/>
                  <a:pt x="115" y="133"/>
                </a:cubicBezTo>
                <a:cubicBezTo>
                  <a:pt x="118" y="132"/>
                  <a:pt x="123" y="131"/>
                  <a:pt x="125" y="129"/>
                </a:cubicBezTo>
                <a:cubicBezTo>
                  <a:pt x="128" y="128"/>
                  <a:pt x="134" y="124"/>
                  <a:pt x="136" y="124"/>
                </a:cubicBezTo>
                <a:cubicBezTo>
                  <a:pt x="138" y="124"/>
                  <a:pt x="139" y="122"/>
                  <a:pt x="139" y="122"/>
                </a:cubicBezTo>
                <a:cubicBezTo>
                  <a:pt x="139" y="122"/>
                  <a:pt x="133" y="116"/>
                  <a:pt x="132" y="115"/>
                </a:cubicBezTo>
              </a:path>
            </a:pathLst>
          </a:custGeom>
          <a:solidFill>
            <a:schemeClr val="accent3"/>
          </a:solidFill>
          <a:ln w="3175" cap="rnd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 lIns="82878" tIns="41438" rIns="82878" bIns="41438"/>
          <a:lstStyle/>
          <a:p>
            <a:pPr defTabSz="891045"/>
            <a:endParaRPr lang="en-US" sz="1700" dirty="0">
              <a:solidFill>
                <a:srgbClr val="003149"/>
              </a:solidFill>
              <a:cs typeface="Arial" panose="020B0604020202020204" pitchFamily="34" charset="0"/>
            </a:endParaRPr>
          </a:p>
        </p:txBody>
      </p:sp>
      <p:sp>
        <p:nvSpPr>
          <p:cNvPr id="660" name="Freeform 513"/>
          <p:cNvSpPr>
            <a:spLocks noEditPoints="1"/>
          </p:cNvSpPr>
          <p:nvPr/>
        </p:nvSpPr>
        <p:spPr bwMode="gray">
          <a:xfrm>
            <a:off x="1498592" y="2861022"/>
            <a:ext cx="187301" cy="196642"/>
          </a:xfrm>
          <a:custGeom>
            <a:avLst/>
            <a:gdLst>
              <a:gd name="T0" fmla="*/ 250960678 w 1275"/>
              <a:gd name="T1" fmla="*/ 0 h 1259"/>
              <a:gd name="T2" fmla="*/ 250960678 w 1275"/>
              <a:gd name="T3" fmla="*/ 0 h 1259"/>
              <a:gd name="T4" fmla="*/ 250960678 w 1275"/>
              <a:gd name="T5" fmla="*/ 0 h 1259"/>
              <a:gd name="T6" fmla="*/ 250960678 w 1275"/>
              <a:gd name="T7" fmla="*/ 264384239 h 1259"/>
              <a:gd name="T8" fmla="*/ 250960678 w 1275"/>
              <a:gd name="T9" fmla="*/ 264384239 h 1259"/>
              <a:gd name="T10" fmla="*/ 250960678 w 1275"/>
              <a:gd name="T11" fmla="*/ 0 h 1259"/>
              <a:gd name="T12" fmla="*/ 250960678 w 1275"/>
              <a:gd name="T13" fmla="*/ 0 h 1259"/>
              <a:gd name="T14" fmla="*/ 250960678 w 1275"/>
              <a:gd name="T15" fmla="*/ 0 h 1259"/>
              <a:gd name="T16" fmla="*/ 250960678 w 1275"/>
              <a:gd name="T17" fmla="*/ 0 h 1259"/>
              <a:gd name="T18" fmla="*/ 250960678 w 1275"/>
              <a:gd name="T19" fmla="*/ 0 h 1259"/>
              <a:gd name="T20" fmla="*/ 250960678 w 1275"/>
              <a:gd name="T21" fmla="*/ 0 h 1259"/>
              <a:gd name="T22" fmla="*/ 250960678 w 1275"/>
              <a:gd name="T23" fmla="*/ 0 h 1259"/>
              <a:gd name="T24" fmla="*/ 250960678 w 1275"/>
              <a:gd name="T25" fmla="*/ 0 h 1259"/>
              <a:gd name="T26" fmla="*/ 250960678 w 1275"/>
              <a:gd name="T27" fmla="*/ 0 h 1259"/>
              <a:gd name="T28" fmla="*/ 250960678 w 1275"/>
              <a:gd name="T29" fmla="*/ 0 h 1259"/>
              <a:gd name="T30" fmla="*/ 250960678 w 1275"/>
              <a:gd name="T31" fmla="*/ 0 h 1259"/>
              <a:gd name="T32" fmla="*/ 250960678 w 1275"/>
              <a:gd name="T33" fmla="*/ 0 h 1259"/>
              <a:gd name="T34" fmla="*/ 0 w 1275"/>
              <a:gd name="T35" fmla="*/ 0 h 1259"/>
              <a:gd name="T36" fmla="*/ 0 w 1275"/>
              <a:gd name="T37" fmla="*/ 0 h 1259"/>
              <a:gd name="T38" fmla="*/ 0 w 1275"/>
              <a:gd name="T39" fmla="*/ 264384239 h 1259"/>
              <a:gd name="T40" fmla="*/ 0 w 1275"/>
              <a:gd name="T41" fmla="*/ 264384239 h 1259"/>
              <a:gd name="T42" fmla="*/ 0 w 1275"/>
              <a:gd name="T43" fmla="*/ 264384239 h 1259"/>
              <a:gd name="T44" fmla="*/ 0 w 1275"/>
              <a:gd name="T45" fmla="*/ 264384239 h 1259"/>
              <a:gd name="T46" fmla="*/ 0 w 1275"/>
              <a:gd name="T47" fmla="*/ 264384239 h 1259"/>
              <a:gd name="T48" fmla="*/ 0 w 1275"/>
              <a:gd name="T49" fmla="*/ 264384239 h 1259"/>
              <a:gd name="T50" fmla="*/ 0 w 1275"/>
              <a:gd name="T51" fmla="*/ 264384239 h 1259"/>
              <a:gd name="T52" fmla="*/ 0 w 1275"/>
              <a:gd name="T53" fmla="*/ 264384239 h 1259"/>
              <a:gd name="T54" fmla="*/ 0 w 1275"/>
              <a:gd name="T55" fmla="*/ 264384239 h 1259"/>
              <a:gd name="T56" fmla="*/ 250960678 w 1275"/>
              <a:gd name="T57" fmla="*/ 264384239 h 1259"/>
              <a:gd name="T58" fmla="*/ 250960678 w 1275"/>
              <a:gd name="T59" fmla="*/ 264384239 h 1259"/>
              <a:gd name="T60" fmla="*/ 250960678 w 1275"/>
              <a:gd name="T61" fmla="*/ 264384239 h 1259"/>
              <a:gd name="T62" fmla="*/ 250960678 w 1275"/>
              <a:gd name="T63" fmla="*/ 264384239 h 1259"/>
              <a:gd name="T64" fmla="*/ 250960678 w 1275"/>
              <a:gd name="T65" fmla="*/ 264384239 h 1259"/>
              <a:gd name="T66" fmla="*/ 250960678 w 1275"/>
              <a:gd name="T67" fmla="*/ 264384239 h 1259"/>
              <a:gd name="T68" fmla="*/ 250960678 w 1275"/>
              <a:gd name="T69" fmla="*/ 264384239 h 1259"/>
              <a:gd name="T70" fmla="*/ 250960678 w 1275"/>
              <a:gd name="T71" fmla="*/ 264384239 h 1259"/>
              <a:gd name="T72" fmla="*/ 250960678 w 1275"/>
              <a:gd name="T73" fmla="*/ 264384239 h 1259"/>
              <a:gd name="T74" fmla="*/ 250960678 w 1275"/>
              <a:gd name="T75" fmla="*/ 264384239 h 1259"/>
              <a:gd name="T76" fmla="*/ 250960678 w 1275"/>
              <a:gd name="T77" fmla="*/ 264384239 h 1259"/>
              <a:gd name="T78" fmla="*/ 250960678 w 1275"/>
              <a:gd name="T79" fmla="*/ 264384239 h 1259"/>
              <a:gd name="T80" fmla="*/ 250960678 w 1275"/>
              <a:gd name="T81" fmla="*/ 264384239 h 1259"/>
              <a:gd name="T82" fmla="*/ 0 w 1275"/>
              <a:gd name="T83" fmla="*/ 0 h 1259"/>
              <a:gd name="T84" fmla="*/ 0 w 1275"/>
              <a:gd name="T85" fmla="*/ 0 h 1259"/>
              <a:gd name="T86" fmla="*/ 0 w 1275"/>
              <a:gd name="T87" fmla="*/ 0 h 1259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w 1275"/>
              <a:gd name="T133" fmla="*/ 0 h 1259"/>
              <a:gd name="T134" fmla="*/ 1275 w 1275"/>
              <a:gd name="T135" fmla="*/ 1259 h 1259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T132" t="T133" r="T134" b="T135"/>
            <a:pathLst>
              <a:path w="1275" h="1259">
                <a:moveTo>
                  <a:pt x="739" y="0"/>
                </a:moveTo>
                <a:cubicBezTo>
                  <a:pt x="752" y="13"/>
                  <a:pt x="752" y="13"/>
                  <a:pt x="765" y="13"/>
                </a:cubicBezTo>
                <a:cubicBezTo>
                  <a:pt x="752" y="13"/>
                  <a:pt x="752" y="13"/>
                  <a:pt x="739" y="0"/>
                </a:cubicBezTo>
                <a:close/>
                <a:moveTo>
                  <a:pt x="1249" y="553"/>
                </a:moveTo>
                <a:cubicBezTo>
                  <a:pt x="1249" y="553"/>
                  <a:pt x="1160" y="527"/>
                  <a:pt x="1135" y="527"/>
                </a:cubicBezTo>
                <a:cubicBezTo>
                  <a:pt x="1109" y="514"/>
                  <a:pt x="1084" y="450"/>
                  <a:pt x="1071" y="437"/>
                </a:cubicBezTo>
                <a:cubicBezTo>
                  <a:pt x="1071" y="411"/>
                  <a:pt x="1071" y="386"/>
                  <a:pt x="1071" y="386"/>
                </a:cubicBezTo>
                <a:cubicBezTo>
                  <a:pt x="1033" y="334"/>
                  <a:pt x="1033" y="334"/>
                  <a:pt x="1033" y="334"/>
                </a:cubicBezTo>
                <a:cubicBezTo>
                  <a:pt x="892" y="244"/>
                  <a:pt x="892" y="244"/>
                  <a:pt x="892" y="244"/>
                </a:cubicBezTo>
                <a:cubicBezTo>
                  <a:pt x="892" y="244"/>
                  <a:pt x="841" y="142"/>
                  <a:pt x="829" y="129"/>
                </a:cubicBezTo>
                <a:cubicBezTo>
                  <a:pt x="829" y="116"/>
                  <a:pt x="765" y="26"/>
                  <a:pt x="765" y="26"/>
                </a:cubicBezTo>
                <a:cubicBezTo>
                  <a:pt x="765" y="26"/>
                  <a:pt x="765" y="13"/>
                  <a:pt x="765" y="13"/>
                </a:cubicBezTo>
                <a:cubicBezTo>
                  <a:pt x="765" y="13"/>
                  <a:pt x="752" y="13"/>
                  <a:pt x="752" y="13"/>
                </a:cubicBezTo>
                <a:cubicBezTo>
                  <a:pt x="727" y="13"/>
                  <a:pt x="688" y="52"/>
                  <a:pt x="688" y="52"/>
                </a:cubicBezTo>
                <a:cubicBezTo>
                  <a:pt x="688" y="52"/>
                  <a:pt x="650" y="52"/>
                  <a:pt x="637" y="52"/>
                </a:cubicBezTo>
                <a:cubicBezTo>
                  <a:pt x="625" y="52"/>
                  <a:pt x="561" y="90"/>
                  <a:pt x="561" y="90"/>
                </a:cubicBezTo>
                <a:cubicBezTo>
                  <a:pt x="523" y="39"/>
                  <a:pt x="523" y="39"/>
                  <a:pt x="523" y="39"/>
                </a:cubicBezTo>
                <a:cubicBezTo>
                  <a:pt x="523" y="39"/>
                  <a:pt x="319" y="78"/>
                  <a:pt x="306" y="90"/>
                </a:cubicBezTo>
                <a:cubicBezTo>
                  <a:pt x="293" y="90"/>
                  <a:pt x="242" y="90"/>
                  <a:pt x="242" y="90"/>
                </a:cubicBezTo>
                <a:cubicBezTo>
                  <a:pt x="229" y="578"/>
                  <a:pt x="229" y="578"/>
                  <a:pt x="229" y="578"/>
                </a:cubicBezTo>
                <a:cubicBezTo>
                  <a:pt x="115" y="578"/>
                  <a:pt x="115" y="578"/>
                  <a:pt x="115" y="578"/>
                </a:cubicBezTo>
                <a:cubicBezTo>
                  <a:pt x="115" y="976"/>
                  <a:pt x="115" y="976"/>
                  <a:pt x="115" y="976"/>
                </a:cubicBezTo>
                <a:cubicBezTo>
                  <a:pt x="127" y="976"/>
                  <a:pt x="178" y="1028"/>
                  <a:pt x="191" y="1079"/>
                </a:cubicBezTo>
                <a:cubicBezTo>
                  <a:pt x="217" y="1130"/>
                  <a:pt x="229" y="1143"/>
                  <a:pt x="217" y="1156"/>
                </a:cubicBezTo>
                <a:cubicBezTo>
                  <a:pt x="191" y="1169"/>
                  <a:pt x="191" y="1207"/>
                  <a:pt x="191" y="1207"/>
                </a:cubicBezTo>
                <a:cubicBezTo>
                  <a:pt x="191" y="1259"/>
                  <a:pt x="191" y="1259"/>
                  <a:pt x="191" y="1259"/>
                </a:cubicBezTo>
                <a:cubicBezTo>
                  <a:pt x="191" y="1259"/>
                  <a:pt x="268" y="1233"/>
                  <a:pt x="293" y="1246"/>
                </a:cubicBezTo>
                <a:cubicBezTo>
                  <a:pt x="319" y="1259"/>
                  <a:pt x="357" y="1207"/>
                  <a:pt x="408" y="1182"/>
                </a:cubicBezTo>
                <a:cubicBezTo>
                  <a:pt x="446" y="1156"/>
                  <a:pt x="446" y="1130"/>
                  <a:pt x="459" y="1079"/>
                </a:cubicBezTo>
                <a:cubicBezTo>
                  <a:pt x="484" y="1028"/>
                  <a:pt x="548" y="1002"/>
                  <a:pt x="574" y="1041"/>
                </a:cubicBezTo>
                <a:cubicBezTo>
                  <a:pt x="612" y="1079"/>
                  <a:pt x="650" y="1092"/>
                  <a:pt x="688" y="1105"/>
                </a:cubicBezTo>
                <a:cubicBezTo>
                  <a:pt x="727" y="1105"/>
                  <a:pt x="765" y="1118"/>
                  <a:pt x="790" y="1079"/>
                </a:cubicBezTo>
                <a:cubicBezTo>
                  <a:pt x="816" y="1053"/>
                  <a:pt x="841" y="976"/>
                  <a:pt x="854" y="963"/>
                </a:cubicBezTo>
                <a:cubicBezTo>
                  <a:pt x="867" y="951"/>
                  <a:pt x="905" y="925"/>
                  <a:pt x="931" y="912"/>
                </a:cubicBezTo>
                <a:cubicBezTo>
                  <a:pt x="969" y="912"/>
                  <a:pt x="969" y="899"/>
                  <a:pt x="982" y="848"/>
                </a:cubicBezTo>
                <a:cubicBezTo>
                  <a:pt x="994" y="809"/>
                  <a:pt x="982" y="797"/>
                  <a:pt x="1033" y="784"/>
                </a:cubicBezTo>
                <a:cubicBezTo>
                  <a:pt x="1071" y="771"/>
                  <a:pt x="1084" y="745"/>
                  <a:pt x="1109" y="707"/>
                </a:cubicBezTo>
                <a:cubicBezTo>
                  <a:pt x="1135" y="668"/>
                  <a:pt x="1147" y="655"/>
                  <a:pt x="1173" y="655"/>
                </a:cubicBezTo>
                <a:cubicBezTo>
                  <a:pt x="1211" y="642"/>
                  <a:pt x="1237" y="617"/>
                  <a:pt x="1237" y="617"/>
                </a:cubicBezTo>
                <a:cubicBezTo>
                  <a:pt x="1275" y="591"/>
                  <a:pt x="1275" y="591"/>
                  <a:pt x="1275" y="591"/>
                </a:cubicBezTo>
                <a:cubicBezTo>
                  <a:pt x="1262" y="578"/>
                  <a:pt x="1249" y="553"/>
                  <a:pt x="1249" y="553"/>
                </a:cubicBezTo>
                <a:close/>
                <a:moveTo>
                  <a:pt x="51" y="26"/>
                </a:moveTo>
                <a:cubicBezTo>
                  <a:pt x="25" y="26"/>
                  <a:pt x="13" y="26"/>
                  <a:pt x="0" y="26"/>
                </a:cubicBezTo>
                <a:cubicBezTo>
                  <a:pt x="13" y="26"/>
                  <a:pt x="25" y="26"/>
                  <a:pt x="51" y="26"/>
                </a:cubicBezTo>
                <a:close/>
              </a:path>
            </a:pathLst>
          </a:custGeom>
          <a:solidFill>
            <a:schemeClr val="accent3"/>
          </a:solidFill>
          <a:ln w="0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 lIns="82878" tIns="41438" rIns="82878" bIns="41438"/>
          <a:lstStyle/>
          <a:p>
            <a:pPr defTabSz="891045"/>
            <a:endParaRPr lang="en-US" sz="1700" dirty="0">
              <a:solidFill>
                <a:srgbClr val="003149"/>
              </a:solidFill>
              <a:cs typeface="Arial" panose="020B0604020202020204" pitchFamily="34" charset="0"/>
            </a:endParaRPr>
          </a:p>
        </p:txBody>
      </p:sp>
      <p:sp>
        <p:nvSpPr>
          <p:cNvPr id="661" name="Freeform 514"/>
          <p:cNvSpPr>
            <a:spLocks noEditPoints="1"/>
          </p:cNvSpPr>
          <p:nvPr/>
        </p:nvSpPr>
        <p:spPr bwMode="gray">
          <a:xfrm>
            <a:off x="1498592" y="2861022"/>
            <a:ext cx="187301" cy="196642"/>
          </a:xfrm>
          <a:custGeom>
            <a:avLst/>
            <a:gdLst>
              <a:gd name="T0" fmla="*/ 250960678 w 1275"/>
              <a:gd name="T1" fmla="*/ 0 h 1259"/>
              <a:gd name="T2" fmla="*/ 250960678 w 1275"/>
              <a:gd name="T3" fmla="*/ 0 h 1259"/>
              <a:gd name="T4" fmla="*/ 250960678 w 1275"/>
              <a:gd name="T5" fmla="*/ 0 h 1259"/>
              <a:gd name="T6" fmla="*/ 250960678 w 1275"/>
              <a:gd name="T7" fmla="*/ 264384239 h 1259"/>
              <a:gd name="T8" fmla="*/ 250960678 w 1275"/>
              <a:gd name="T9" fmla="*/ 264384239 h 1259"/>
              <a:gd name="T10" fmla="*/ 250960678 w 1275"/>
              <a:gd name="T11" fmla="*/ 0 h 1259"/>
              <a:gd name="T12" fmla="*/ 250960678 w 1275"/>
              <a:gd name="T13" fmla="*/ 0 h 1259"/>
              <a:gd name="T14" fmla="*/ 250960678 w 1275"/>
              <a:gd name="T15" fmla="*/ 0 h 1259"/>
              <a:gd name="T16" fmla="*/ 250960678 w 1275"/>
              <a:gd name="T17" fmla="*/ 0 h 1259"/>
              <a:gd name="T18" fmla="*/ 250960678 w 1275"/>
              <a:gd name="T19" fmla="*/ 0 h 1259"/>
              <a:gd name="T20" fmla="*/ 250960678 w 1275"/>
              <a:gd name="T21" fmla="*/ 0 h 1259"/>
              <a:gd name="T22" fmla="*/ 250960678 w 1275"/>
              <a:gd name="T23" fmla="*/ 0 h 1259"/>
              <a:gd name="T24" fmla="*/ 250960678 w 1275"/>
              <a:gd name="T25" fmla="*/ 0 h 1259"/>
              <a:gd name="T26" fmla="*/ 250960678 w 1275"/>
              <a:gd name="T27" fmla="*/ 0 h 1259"/>
              <a:gd name="T28" fmla="*/ 250960678 w 1275"/>
              <a:gd name="T29" fmla="*/ 0 h 1259"/>
              <a:gd name="T30" fmla="*/ 250960678 w 1275"/>
              <a:gd name="T31" fmla="*/ 0 h 1259"/>
              <a:gd name="T32" fmla="*/ 250960678 w 1275"/>
              <a:gd name="T33" fmla="*/ 0 h 1259"/>
              <a:gd name="T34" fmla="*/ 0 w 1275"/>
              <a:gd name="T35" fmla="*/ 0 h 1259"/>
              <a:gd name="T36" fmla="*/ 0 w 1275"/>
              <a:gd name="T37" fmla="*/ 0 h 1259"/>
              <a:gd name="T38" fmla="*/ 0 w 1275"/>
              <a:gd name="T39" fmla="*/ 264384239 h 1259"/>
              <a:gd name="T40" fmla="*/ 0 w 1275"/>
              <a:gd name="T41" fmla="*/ 264384239 h 1259"/>
              <a:gd name="T42" fmla="*/ 0 w 1275"/>
              <a:gd name="T43" fmla="*/ 264384239 h 1259"/>
              <a:gd name="T44" fmla="*/ 0 w 1275"/>
              <a:gd name="T45" fmla="*/ 264384239 h 1259"/>
              <a:gd name="T46" fmla="*/ 0 w 1275"/>
              <a:gd name="T47" fmla="*/ 264384239 h 1259"/>
              <a:gd name="T48" fmla="*/ 0 w 1275"/>
              <a:gd name="T49" fmla="*/ 264384239 h 1259"/>
              <a:gd name="T50" fmla="*/ 0 w 1275"/>
              <a:gd name="T51" fmla="*/ 264384239 h 1259"/>
              <a:gd name="T52" fmla="*/ 0 w 1275"/>
              <a:gd name="T53" fmla="*/ 264384239 h 1259"/>
              <a:gd name="T54" fmla="*/ 0 w 1275"/>
              <a:gd name="T55" fmla="*/ 264384239 h 1259"/>
              <a:gd name="T56" fmla="*/ 250960678 w 1275"/>
              <a:gd name="T57" fmla="*/ 264384239 h 1259"/>
              <a:gd name="T58" fmla="*/ 250960678 w 1275"/>
              <a:gd name="T59" fmla="*/ 264384239 h 1259"/>
              <a:gd name="T60" fmla="*/ 250960678 w 1275"/>
              <a:gd name="T61" fmla="*/ 264384239 h 1259"/>
              <a:gd name="T62" fmla="*/ 250960678 w 1275"/>
              <a:gd name="T63" fmla="*/ 264384239 h 1259"/>
              <a:gd name="T64" fmla="*/ 250960678 w 1275"/>
              <a:gd name="T65" fmla="*/ 264384239 h 1259"/>
              <a:gd name="T66" fmla="*/ 250960678 w 1275"/>
              <a:gd name="T67" fmla="*/ 264384239 h 1259"/>
              <a:gd name="T68" fmla="*/ 250960678 w 1275"/>
              <a:gd name="T69" fmla="*/ 264384239 h 1259"/>
              <a:gd name="T70" fmla="*/ 250960678 w 1275"/>
              <a:gd name="T71" fmla="*/ 264384239 h 1259"/>
              <a:gd name="T72" fmla="*/ 250960678 w 1275"/>
              <a:gd name="T73" fmla="*/ 264384239 h 1259"/>
              <a:gd name="T74" fmla="*/ 250960678 w 1275"/>
              <a:gd name="T75" fmla="*/ 264384239 h 1259"/>
              <a:gd name="T76" fmla="*/ 250960678 w 1275"/>
              <a:gd name="T77" fmla="*/ 264384239 h 1259"/>
              <a:gd name="T78" fmla="*/ 250960678 w 1275"/>
              <a:gd name="T79" fmla="*/ 264384239 h 1259"/>
              <a:gd name="T80" fmla="*/ 250960678 w 1275"/>
              <a:gd name="T81" fmla="*/ 264384239 h 1259"/>
              <a:gd name="T82" fmla="*/ 0 w 1275"/>
              <a:gd name="T83" fmla="*/ 0 h 1259"/>
              <a:gd name="T84" fmla="*/ 0 w 1275"/>
              <a:gd name="T85" fmla="*/ 0 h 1259"/>
              <a:gd name="T86" fmla="*/ 0 w 1275"/>
              <a:gd name="T87" fmla="*/ 0 h 1259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w 1275"/>
              <a:gd name="T133" fmla="*/ 0 h 1259"/>
              <a:gd name="T134" fmla="*/ 1275 w 1275"/>
              <a:gd name="T135" fmla="*/ 1259 h 1259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T132" t="T133" r="T134" b="T135"/>
            <a:pathLst>
              <a:path w="1275" h="1259">
                <a:moveTo>
                  <a:pt x="739" y="0"/>
                </a:moveTo>
                <a:cubicBezTo>
                  <a:pt x="752" y="13"/>
                  <a:pt x="752" y="13"/>
                  <a:pt x="765" y="13"/>
                </a:cubicBezTo>
                <a:cubicBezTo>
                  <a:pt x="752" y="13"/>
                  <a:pt x="752" y="13"/>
                  <a:pt x="739" y="0"/>
                </a:cubicBezTo>
                <a:close/>
                <a:moveTo>
                  <a:pt x="1249" y="553"/>
                </a:moveTo>
                <a:cubicBezTo>
                  <a:pt x="1249" y="553"/>
                  <a:pt x="1160" y="527"/>
                  <a:pt x="1135" y="527"/>
                </a:cubicBezTo>
                <a:cubicBezTo>
                  <a:pt x="1109" y="514"/>
                  <a:pt x="1084" y="450"/>
                  <a:pt x="1071" y="437"/>
                </a:cubicBezTo>
                <a:cubicBezTo>
                  <a:pt x="1071" y="411"/>
                  <a:pt x="1071" y="386"/>
                  <a:pt x="1071" y="386"/>
                </a:cubicBezTo>
                <a:cubicBezTo>
                  <a:pt x="1033" y="334"/>
                  <a:pt x="1033" y="334"/>
                  <a:pt x="1033" y="334"/>
                </a:cubicBezTo>
                <a:cubicBezTo>
                  <a:pt x="892" y="244"/>
                  <a:pt x="892" y="244"/>
                  <a:pt x="892" y="244"/>
                </a:cubicBezTo>
                <a:cubicBezTo>
                  <a:pt x="892" y="244"/>
                  <a:pt x="841" y="142"/>
                  <a:pt x="829" y="129"/>
                </a:cubicBezTo>
                <a:cubicBezTo>
                  <a:pt x="829" y="116"/>
                  <a:pt x="765" y="26"/>
                  <a:pt x="765" y="26"/>
                </a:cubicBezTo>
                <a:cubicBezTo>
                  <a:pt x="765" y="26"/>
                  <a:pt x="765" y="13"/>
                  <a:pt x="765" y="13"/>
                </a:cubicBezTo>
                <a:cubicBezTo>
                  <a:pt x="765" y="13"/>
                  <a:pt x="752" y="13"/>
                  <a:pt x="752" y="13"/>
                </a:cubicBezTo>
                <a:cubicBezTo>
                  <a:pt x="727" y="13"/>
                  <a:pt x="688" y="52"/>
                  <a:pt x="688" y="52"/>
                </a:cubicBezTo>
                <a:cubicBezTo>
                  <a:pt x="688" y="52"/>
                  <a:pt x="650" y="52"/>
                  <a:pt x="637" y="52"/>
                </a:cubicBezTo>
                <a:cubicBezTo>
                  <a:pt x="625" y="52"/>
                  <a:pt x="561" y="90"/>
                  <a:pt x="561" y="90"/>
                </a:cubicBezTo>
                <a:cubicBezTo>
                  <a:pt x="523" y="39"/>
                  <a:pt x="523" y="39"/>
                  <a:pt x="523" y="39"/>
                </a:cubicBezTo>
                <a:cubicBezTo>
                  <a:pt x="523" y="39"/>
                  <a:pt x="319" y="78"/>
                  <a:pt x="306" y="90"/>
                </a:cubicBezTo>
                <a:cubicBezTo>
                  <a:pt x="293" y="90"/>
                  <a:pt x="242" y="90"/>
                  <a:pt x="242" y="90"/>
                </a:cubicBezTo>
                <a:cubicBezTo>
                  <a:pt x="229" y="578"/>
                  <a:pt x="229" y="578"/>
                  <a:pt x="229" y="578"/>
                </a:cubicBezTo>
                <a:cubicBezTo>
                  <a:pt x="115" y="578"/>
                  <a:pt x="115" y="578"/>
                  <a:pt x="115" y="578"/>
                </a:cubicBezTo>
                <a:cubicBezTo>
                  <a:pt x="115" y="976"/>
                  <a:pt x="115" y="976"/>
                  <a:pt x="115" y="976"/>
                </a:cubicBezTo>
                <a:cubicBezTo>
                  <a:pt x="127" y="976"/>
                  <a:pt x="178" y="1028"/>
                  <a:pt x="191" y="1079"/>
                </a:cubicBezTo>
                <a:cubicBezTo>
                  <a:pt x="217" y="1130"/>
                  <a:pt x="229" y="1143"/>
                  <a:pt x="217" y="1156"/>
                </a:cubicBezTo>
                <a:cubicBezTo>
                  <a:pt x="191" y="1169"/>
                  <a:pt x="191" y="1207"/>
                  <a:pt x="191" y="1207"/>
                </a:cubicBezTo>
                <a:cubicBezTo>
                  <a:pt x="191" y="1259"/>
                  <a:pt x="191" y="1259"/>
                  <a:pt x="191" y="1259"/>
                </a:cubicBezTo>
                <a:cubicBezTo>
                  <a:pt x="191" y="1259"/>
                  <a:pt x="268" y="1233"/>
                  <a:pt x="293" y="1246"/>
                </a:cubicBezTo>
                <a:cubicBezTo>
                  <a:pt x="319" y="1259"/>
                  <a:pt x="357" y="1207"/>
                  <a:pt x="408" y="1182"/>
                </a:cubicBezTo>
                <a:cubicBezTo>
                  <a:pt x="446" y="1156"/>
                  <a:pt x="446" y="1130"/>
                  <a:pt x="459" y="1079"/>
                </a:cubicBezTo>
                <a:cubicBezTo>
                  <a:pt x="484" y="1028"/>
                  <a:pt x="548" y="1002"/>
                  <a:pt x="574" y="1041"/>
                </a:cubicBezTo>
                <a:cubicBezTo>
                  <a:pt x="612" y="1079"/>
                  <a:pt x="650" y="1092"/>
                  <a:pt x="688" y="1105"/>
                </a:cubicBezTo>
                <a:cubicBezTo>
                  <a:pt x="727" y="1105"/>
                  <a:pt x="765" y="1118"/>
                  <a:pt x="790" y="1079"/>
                </a:cubicBezTo>
                <a:cubicBezTo>
                  <a:pt x="816" y="1053"/>
                  <a:pt x="841" y="976"/>
                  <a:pt x="854" y="963"/>
                </a:cubicBezTo>
                <a:cubicBezTo>
                  <a:pt x="867" y="951"/>
                  <a:pt x="905" y="925"/>
                  <a:pt x="931" y="912"/>
                </a:cubicBezTo>
                <a:cubicBezTo>
                  <a:pt x="969" y="912"/>
                  <a:pt x="969" y="899"/>
                  <a:pt x="982" y="848"/>
                </a:cubicBezTo>
                <a:cubicBezTo>
                  <a:pt x="994" y="809"/>
                  <a:pt x="982" y="797"/>
                  <a:pt x="1033" y="784"/>
                </a:cubicBezTo>
                <a:cubicBezTo>
                  <a:pt x="1071" y="771"/>
                  <a:pt x="1084" y="745"/>
                  <a:pt x="1109" y="707"/>
                </a:cubicBezTo>
                <a:cubicBezTo>
                  <a:pt x="1135" y="668"/>
                  <a:pt x="1147" y="655"/>
                  <a:pt x="1173" y="655"/>
                </a:cubicBezTo>
                <a:cubicBezTo>
                  <a:pt x="1211" y="642"/>
                  <a:pt x="1237" y="617"/>
                  <a:pt x="1237" y="617"/>
                </a:cubicBezTo>
                <a:cubicBezTo>
                  <a:pt x="1275" y="591"/>
                  <a:pt x="1275" y="591"/>
                  <a:pt x="1275" y="591"/>
                </a:cubicBezTo>
                <a:cubicBezTo>
                  <a:pt x="1262" y="578"/>
                  <a:pt x="1249" y="553"/>
                  <a:pt x="1249" y="553"/>
                </a:cubicBezTo>
                <a:close/>
                <a:moveTo>
                  <a:pt x="51" y="26"/>
                </a:moveTo>
                <a:cubicBezTo>
                  <a:pt x="25" y="26"/>
                  <a:pt x="13" y="26"/>
                  <a:pt x="0" y="26"/>
                </a:cubicBezTo>
                <a:cubicBezTo>
                  <a:pt x="13" y="26"/>
                  <a:pt x="25" y="26"/>
                  <a:pt x="51" y="26"/>
                </a:cubicBezTo>
                <a:close/>
              </a:path>
            </a:pathLst>
          </a:custGeom>
          <a:solidFill>
            <a:schemeClr val="accent3"/>
          </a:solidFill>
          <a:ln w="3175" cap="rnd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 lIns="82878" tIns="41438" rIns="82878" bIns="41438"/>
          <a:lstStyle/>
          <a:p>
            <a:pPr defTabSz="891045"/>
            <a:endParaRPr lang="en-US" sz="1700" dirty="0">
              <a:solidFill>
                <a:srgbClr val="003149"/>
              </a:solidFill>
              <a:cs typeface="Arial" panose="020B0604020202020204" pitchFamily="34" charset="0"/>
            </a:endParaRPr>
          </a:p>
        </p:txBody>
      </p:sp>
      <p:sp>
        <p:nvSpPr>
          <p:cNvPr id="662" name="Freeform 516"/>
          <p:cNvSpPr>
            <a:spLocks noEditPoints="1"/>
          </p:cNvSpPr>
          <p:nvPr/>
        </p:nvSpPr>
        <p:spPr bwMode="gray">
          <a:xfrm>
            <a:off x="1449558" y="2952389"/>
            <a:ext cx="304206" cy="284179"/>
          </a:xfrm>
          <a:custGeom>
            <a:avLst/>
            <a:gdLst>
              <a:gd name="T0" fmla="*/ 252399550 w 2059"/>
              <a:gd name="T1" fmla="*/ 266059786 h 1808"/>
              <a:gd name="T2" fmla="*/ 252399550 w 2059"/>
              <a:gd name="T3" fmla="*/ 266059786 h 1808"/>
              <a:gd name="T4" fmla="*/ 252399550 w 2059"/>
              <a:gd name="T5" fmla="*/ 266059786 h 1808"/>
              <a:gd name="T6" fmla="*/ 252399550 w 2059"/>
              <a:gd name="T7" fmla="*/ 0 h 1808"/>
              <a:gd name="T8" fmla="*/ 252399550 w 2059"/>
              <a:gd name="T9" fmla="*/ 0 h 1808"/>
              <a:gd name="T10" fmla="*/ 252399550 w 2059"/>
              <a:gd name="T11" fmla="*/ 0 h 1808"/>
              <a:gd name="T12" fmla="*/ 252399550 w 2059"/>
              <a:gd name="T13" fmla="*/ 0 h 1808"/>
              <a:gd name="T14" fmla="*/ 252399550 w 2059"/>
              <a:gd name="T15" fmla="*/ 0 h 1808"/>
              <a:gd name="T16" fmla="*/ 252399550 w 2059"/>
              <a:gd name="T17" fmla="*/ 0 h 1808"/>
              <a:gd name="T18" fmla="*/ 252399550 w 2059"/>
              <a:gd name="T19" fmla="*/ 0 h 1808"/>
              <a:gd name="T20" fmla="*/ 252399550 w 2059"/>
              <a:gd name="T21" fmla="*/ 266059786 h 1808"/>
              <a:gd name="T22" fmla="*/ 252399550 w 2059"/>
              <a:gd name="T23" fmla="*/ 266059786 h 1808"/>
              <a:gd name="T24" fmla="*/ 252399550 w 2059"/>
              <a:gd name="T25" fmla="*/ 266059786 h 1808"/>
              <a:gd name="T26" fmla="*/ 252399550 w 2059"/>
              <a:gd name="T27" fmla="*/ 266059786 h 1808"/>
              <a:gd name="T28" fmla="*/ 252399550 w 2059"/>
              <a:gd name="T29" fmla="*/ 266059786 h 1808"/>
              <a:gd name="T30" fmla="*/ 252399550 w 2059"/>
              <a:gd name="T31" fmla="*/ 266059786 h 1808"/>
              <a:gd name="T32" fmla="*/ 0 w 2059"/>
              <a:gd name="T33" fmla="*/ 266059786 h 1808"/>
              <a:gd name="T34" fmla="*/ 0 w 2059"/>
              <a:gd name="T35" fmla="*/ 266059786 h 1808"/>
              <a:gd name="T36" fmla="*/ 0 w 2059"/>
              <a:gd name="T37" fmla="*/ 266059786 h 1808"/>
              <a:gd name="T38" fmla="*/ 0 w 2059"/>
              <a:gd name="T39" fmla="*/ 266059786 h 1808"/>
              <a:gd name="T40" fmla="*/ 0 w 2059"/>
              <a:gd name="T41" fmla="*/ 266059786 h 1808"/>
              <a:gd name="T42" fmla="*/ 0 w 2059"/>
              <a:gd name="T43" fmla="*/ 266059786 h 1808"/>
              <a:gd name="T44" fmla="*/ 0 w 2059"/>
              <a:gd name="T45" fmla="*/ 266059786 h 1808"/>
              <a:gd name="T46" fmla="*/ 0 w 2059"/>
              <a:gd name="T47" fmla="*/ 266059786 h 1808"/>
              <a:gd name="T48" fmla="*/ 0 w 2059"/>
              <a:gd name="T49" fmla="*/ 266059786 h 1808"/>
              <a:gd name="T50" fmla="*/ 252399550 w 2059"/>
              <a:gd name="T51" fmla="*/ 266059786 h 1808"/>
              <a:gd name="T52" fmla="*/ 252399550 w 2059"/>
              <a:gd name="T53" fmla="*/ 266059786 h 1808"/>
              <a:gd name="T54" fmla="*/ 252399550 w 2059"/>
              <a:gd name="T55" fmla="*/ 266059786 h 1808"/>
              <a:gd name="T56" fmla="*/ 252399550 w 2059"/>
              <a:gd name="T57" fmla="*/ 266059786 h 1808"/>
              <a:gd name="T58" fmla="*/ 252399550 w 2059"/>
              <a:gd name="T59" fmla="*/ 266059786 h 1808"/>
              <a:gd name="T60" fmla="*/ 252399550 w 2059"/>
              <a:gd name="T61" fmla="*/ 266059786 h 1808"/>
              <a:gd name="T62" fmla="*/ 252399550 w 2059"/>
              <a:gd name="T63" fmla="*/ 266059786 h 1808"/>
              <a:gd name="T64" fmla="*/ 252399550 w 2059"/>
              <a:gd name="T65" fmla="*/ 266059786 h 1808"/>
              <a:gd name="T66" fmla="*/ 252399550 w 2059"/>
              <a:gd name="T67" fmla="*/ 266059786 h 1808"/>
              <a:gd name="T68" fmla="*/ 252399550 w 2059"/>
              <a:gd name="T69" fmla="*/ 266059786 h 1808"/>
              <a:gd name="T70" fmla="*/ 252399550 w 2059"/>
              <a:gd name="T71" fmla="*/ 266059786 h 1808"/>
              <a:gd name="T72" fmla="*/ 252399550 w 2059"/>
              <a:gd name="T73" fmla="*/ 266059786 h 1808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w 2059"/>
              <a:gd name="T112" fmla="*/ 0 h 1808"/>
              <a:gd name="T113" fmla="*/ 2059 w 2059"/>
              <a:gd name="T114" fmla="*/ 1808 h 1808"/>
            </a:gdLst>
            <a:ahLst/>
            <a:cxnLst>
              <a:cxn ang="T74">
                <a:pos x="T0" y="T1"/>
              </a:cxn>
              <a:cxn ang="T75">
                <a:pos x="T2" y="T3"/>
              </a:cxn>
              <a:cxn ang="T76">
                <a:pos x="T4" y="T5"/>
              </a:cxn>
              <a:cxn ang="T77">
                <a:pos x="T6" y="T7"/>
              </a:cxn>
              <a:cxn ang="T78">
                <a:pos x="T8" y="T9"/>
              </a:cxn>
              <a:cxn ang="T79">
                <a:pos x="T10" y="T11"/>
              </a:cxn>
              <a:cxn ang="T80">
                <a:pos x="T12" y="T13"/>
              </a:cxn>
              <a:cxn ang="T81">
                <a:pos x="T14" y="T15"/>
              </a:cxn>
              <a:cxn ang="T82">
                <a:pos x="T16" y="T17"/>
              </a:cxn>
              <a:cxn ang="T83">
                <a:pos x="T18" y="T19"/>
              </a:cxn>
              <a:cxn ang="T84">
                <a:pos x="T20" y="T21"/>
              </a:cxn>
              <a:cxn ang="T85">
                <a:pos x="T22" y="T23"/>
              </a:cxn>
              <a:cxn ang="T86">
                <a:pos x="T24" y="T25"/>
              </a:cxn>
              <a:cxn ang="T87">
                <a:pos x="T26" y="T27"/>
              </a:cxn>
              <a:cxn ang="T88">
                <a:pos x="T28" y="T29"/>
              </a:cxn>
              <a:cxn ang="T89">
                <a:pos x="T30" y="T31"/>
              </a:cxn>
              <a:cxn ang="T90">
                <a:pos x="T32" y="T33"/>
              </a:cxn>
              <a:cxn ang="T91">
                <a:pos x="T34" y="T35"/>
              </a:cxn>
              <a:cxn ang="T92">
                <a:pos x="T36" y="T37"/>
              </a:cxn>
              <a:cxn ang="T93">
                <a:pos x="T38" y="T39"/>
              </a:cxn>
              <a:cxn ang="T94">
                <a:pos x="T40" y="T41"/>
              </a:cxn>
              <a:cxn ang="T95">
                <a:pos x="T42" y="T43"/>
              </a:cxn>
              <a:cxn ang="T96">
                <a:pos x="T44" y="T45"/>
              </a:cxn>
              <a:cxn ang="T97">
                <a:pos x="T46" y="T47"/>
              </a:cxn>
              <a:cxn ang="T98">
                <a:pos x="T48" y="T49"/>
              </a:cxn>
              <a:cxn ang="T99">
                <a:pos x="T50" y="T51"/>
              </a:cxn>
              <a:cxn ang="T100">
                <a:pos x="T52" y="T53"/>
              </a:cxn>
              <a:cxn ang="T101">
                <a:pos x="T54" y="T55"/>
              </a:cxn>
              <a:cxn ang="T102">
                <a:pos x="T56" y="T57"/>
              </a:cxn>
              <a:cxn ang="T103">
                <a:pos x="T58" y="T59"/>
              </a:cxn>
              <a:cxn ang="T104">
                <a:pos x="T60" y="T61"/>
              </a:cxn>
              <a:cxn ang="T105">
                <a:pos x="T62" y="T63"/>
              </a:cxn>
              <a:cxn ang="T106">
                <a:pos x="T64" y="T65"/>
              </a:cxn>
              <a:cxn ang="T107">
                <a:pos x="T66" y="T67"/>
              </a:cxn>
              <a:cxn ang="T108">
                <a:pos x="T68" y="T69"/>
              </a:cxn>
              <a:cxn ang="T109">
                <a:pos x="T70" y="T71"/>
              </a:cxn>
              <a:cxn ang="T110">
                <a:pos x="T72" y="T73"/>
              </a:cxn>
            </a:cxnLst>
            <a:rect l="T111" t="T112" r="T113" b="T114"/>
            <a:pathLst>
              <a:path w="2059" h="1808">
                <a:moveTo>
                  <a:pt x="1957" y="654"/>
                </a:moveTo>
                <a:cubicBezTo>
                  <a:pt x="1944" y="718"/>
                  <a:pt x="1944" y="718"/>
                  <a:pt x="1944" y="718"/>
                </a:cubicBezTo>
                <a:cubicBezTo>
                  <a:pt x="1944" y="718"/>
                  <a:pt x="1843" y="705"/>
                  <a:pt x="1830" y="680"/>
                </a:cubicBezTo>
                <a:cubicBezTo>
                  <a:pt x="1817" y="654"/>
                  <a:pt x="1779" y="615"/>
                  <a:pt x="1779" y="615"/>
                </a:cubicBezTo>
                <a:cubicBezTo>
                  <a:pt x="1856" y="500"/>
                  <a:pt x="1856" y="500"/>
                  <a:pt x="1856" y="500"/>
                </a:cubicBezTo>
                <a:cubicBezTo>
                  <a:pt x="1856" y="500"/>
                  <a:pt x="1894" y="513"/>
                  <a:pt x="1906" y="526"/>
                </a:cubicBezTo>
                <a:cubicBezTo>
                  <a:pt x="1906" y="538"/>
                  <a:pt x="1932" y="538"/>
                  <a:pt x="1957" y="538"/>
                </a:cubicBezTo>
                <a:cubicBezTo>
                  <a:pt x="1944" y="513"/>
                  <a:pt x="1957" y="462"/>
                  <a:pt x="1957" y="410"/>
                </a:cubicBezTo>
                <a:cubicBezTo>
                  <a:pt x="1957" y="372"/>
                  <a:pt x="1957" y="295"/>
                  <a:pt x="1932" y="256"/>
                </a:cubicBezTo>
                <a:cubicBezTo>
                  <a:pt x="1919" y="231"/>
                  <a:pt x="1881" y="128"/>
                  <a:pt x="1881" y="115"/>
                </a:cubicBezTo>
                <a:cubicBezTo>
                  <a:pt x="1894" y="102"/>
                  <a:pt x="1868" y="38"/>
                  <a:pt x="1868" y="38"/>
                </a:cubicBezTo>
                <a:cubicBezTo>
                  <a:pt x="1856" y="25"/>
                  <a:pt x="1754" y="38"/>
                  <a:pt x="1728" y="38"/>
                </a:cubicBezTo>
                <a:cubicBezTo>
                  <a:pt x="1703" y="25"/>
                  <a:pt x="1614" y="25"/>
                  <a:pt x="1614" y="0"/>
                </a:cubicBezTo>
                <a:cubicBezTo>
                  <a:pt x="1576" y="25"/>
                  <a:pt x="1576" y="25"/>
                  <a:pt x="1576" y="25"/>
                </a:cubicBezTo>
                <a:cubicBezTo>
                  <a:pt x="1576" y="25"/>
                  <a:pt x="1551" y="51"/>
                  <a:pt x="1512" y="64"/>
                </a:cubicBezTo>
                <a:cubicBezTo>
                  <a:pt x="1487" y="64"/>
                  <a:pt x="1474" y="77"/>
                  <a:pt x="1449" y="115"/>
                </a:cubicBezTo>
                <a:cubicBezTo>
                  <a:pt x="1424" y="154"/>
                  <a:pt x="1411" y="179"/>
                  <a:pt x="1373" y="192"/>
                </a:cubicBezTo>
                <a:cubicBezTo>
                  <a:pt x="1322" y="205"/>
                  <a:pt x="1335" y="218"/>
                  <a:pt x="1322" y="256"/>
                </a:cubicBezTo>
                <a:cubicBezTo>
                  <a:pt x="1309" y="308"/>
                  <a:pt x="1309" y="320"/>
                  <a:pt x="1271" y="320"/>
                </a:cubicBezTo>
                <a:cubicBezTo>
                  <a:pt x="1246" y="333"/>
                  <a:pt x="1208" y="359"/>
                  <a:pt x="1195" y="372"/>
                </a:cubicBezTo>
                <a:cubicBezTo>
                  <a:pt x="1182" y="385"/>
                  <a:pt x="1157" y="462"/>
                  <a:pt x="1131" y="487"/>
                </a:cubicBezTo>
                <a:cubicBezTo>
                  <a:pt x="1106" y="526"/>
                  <a:pt x="1068" y="513"/>
                  <a:pt x="1030" y="513"/>
                </a:cubicBezTo>
                <a:cubicBezTo>
                  <a:pt x="992" y="500"/>
                  <a:pt x="953" y="487"/>
                  <a:pt x="915" y="449"/>
                </a:cubicBezTo>
                <a:cubicBezTo>
                  <a:pt x="890" y="410"/>
                  <a:pt x="826" y="436"/>
                  <a:pt x="801" y="487"/>
                </a:cubicBezTo>
                <a:cubicBezTo>
                  <a:pt x="788" y="538"/>
                  <a:pt x="788" y="564"/>
                  <a:pt x="750" y="590"/>
                </a:cubicBezTo>
                <a:cubicBezTo>
                  <a:pt x="699" y="615"/>
                  <a:pt x="661" y="667"/>
                  <a:pt x="636" y="654"/>
                </a:cubicBezTo>
                <a:cubicBezTo>
                  <a:pt x="610" y="641"/>
                  <a:pt x="534" y="667"/>
                  <a:pt x="534" y="667"/>
                </a:cubicBezTo>
                <a:cubicBezTo>
                  <a:pt x="534" y="615"/>
                  <a:pt x="534" y="615"/>
                  <a:pt x="534" y="615"/>
                </a:cubicBezTo>
                <a:cubicBezTo>
                  <a:pt x="534" y="615"/>
                  <a:pt x="534" y="577"/>
                  <a:pt x="560" y="564"/>
                </a:cubicBezTo>
                <a:cubicBezTo>
                  <a:pt x="572" y="551"/>
                  <a:pt x="560" y="538"/>
                  <a:pt x="534" y="487"/>
                </a:cubicBezTo>
                <a:cubicBezTo>
                  <a:pt x="521" y="436"/>
                  <a:pt x="471" y="385"/>
                  <a:pt x="458" y="385"/>
                </a:cubicBezTo>
                <a:cubicBezTo>
                  <a:pt x="471" y="872"/>
                  <a:pt x="471" y="872"/>
                  <a:pt x="471" y="872"/>
                </a:cubicBezTo>
                <a:cubicBezTo>
                  <a:pt x="471" y="872"/>
                  <a:pt x="420" y="898"/>
                  <a:pt x="407" y="898"/>
                </a:cubicBezTo>
                <a:cubicBezTo>
                  <a:pt x="382" y="898"/>
                  <a:pt x="356" y="949"/>
                  <a:pt x="356" y="949"/>
                </a:cubicBezTo>
                <a:cubicBezTo>
                  <a:pt x="356" y="949"/>
                  <a:pt x="331" y="949"/>
                  <a:pt x="305" y="936"/>
                </a:cubicBezTo>
                <a:cubicBezTo>
                  <a:pt x="280" y="923"/>
                  <a:pt x="216" y="949"/>
                  <a:pt x="191" y="936"/>
                </a:cubicBezTo>
                <a:cubicBezTo>
                  <a:pt x="166" y="936"/>
                  <a:pt x="128" y="923"/>
                  <a:pt x="128" y="885"/>
                </a:cubicBezTo>
                <a:cubicBezTo>
                  <a:pt x="128" y="859"/>
                  <a:pt x="102" y="846"/>
                  <a:pt x="89" y="833"/>
                </a:cubicBezTo>
                <a:cubicBezTo>
                  <a:pt x="64" y="808"/>
                  <a:pt x="51" y="859"/>
                  <a:pt x="51" y="872"/>
                </a:cubicBezTo>
                <a:cubicBezTo>
                  <a:pt x="51" y="885"/>
                  <a:pt x="0" y="910"/>
                  <a:pt x="0" y="910"/>
                </a:cubicBezTo>
                <a:cubicBezTo>
                  <a:pt x="0" y="910"/>
                  <a:pt x="89" y="1051"/>
                  <a:pt x="89" y="1090"/>
                </a:cubicBezTo>
                <a:cubicBezTo>
                  <a:pt x="89" y="1128"/>
                  <a:pt x="153" y="1231"/>
                  <a:pt x="178" y="1269"/>
                </a:cubicBezTo>
                <a:cubicBezTo>
                  <a:pt x="191" y="1295"/>
                  <a:pt x="242" y="1385"/>
                  <a:pt x="242" y="1411"/>
                </a:cubicBezTo>
                <a:cubicBezTo>
                  <a:pt x="242" y="1436"/>
                  <a:pt x="255" y="1449"/>
                  <a:pt x="242" y="1488"/>
                </a:cubicBezTo>
                <a:cubicBezTo>
                  <a:pt x="229" y="1526"/>
                  <a:pt x="191" y="1513"/>
                  <a:pt x="191" y="1513"/>
                </a:cubicBezTo>
                <a:cubicBezTo>
                  <a:pt x="204" y="1552"/>
                  <a:pt x="204" y="1552"/>
                  <a:pt x="204" y="1552"/>
                </a:cubicBezTo>
                <a:cubicBezTo>
                  <a:pt x="204" y="1552"/>
                  <a:pt x="204" y="1616"/>
                  <a:pt x="216" y="1641"/>
                </a:cubicBezTo>
                <a:cubicBezTo>
                  <a:pt x="242" y="1654"/>
                  <a:pt x="242" y="1718"/>
                  <a:pt x="242" y="1731"/>
                </a:cubicBezTo>
                <a:cubicBezTo>
                  <a:pt x="242" y="1744"/>
                  <a:pt x="267" y="1718"/>
                  <a:pt x="293" y="1731"/>
                </a:cubicBezTo>
                <a:cubicBezTo>
                  <a:pt x="305" y="1731"/>
                  <a:pt x="331" y="1770"/>
                  <a:pt x="356" y="1782"/>
                </a:cubicBezTo>
                <a:cubicBezTo>
                  <a:pt x="369" y="1795"/>
                  <a:pt x="496" y="1808"/>
                  <a:pt x="547" y="1782"/>
                </a:cubicBezTo>
                <a:cubicBezTo>
                  <a:pt x="598" y="1770"/>
                  <a:pt x="674" y="1731"/>
                  <a:pt x="725" y="1718"/>
                </a:cubicBezTo>
                <a:cubicBezTo>
                  <a:pt x="763" y="1706"/>
                  <a:pt x="852" y="1731"/>
                  <a:pt x="915" y="1731"/>
                </a:cubicBezTo>
                <a:cubicBezTo>
                  <a:pt x="979" y="1731"/>
                  <a:pt x="1055" y="1757"/>
                  <a:pt x="1080" y="1731"/>
                </a:cubicBezTo>
                <a:cubicBezTo>
                  <a:pt x="1106" y="1706"/>
                  <a:pt x="1144" y="1731"/>
                  <a:pt x="1169" y="1706"/>
                </a:cubicBezTo>
                <a:cubicBezTo>
                  <a:pt x="1182" y="1680"/>
                  <a:pt x="1208" y="1654"/>
                  <a:pt x="1233" y="1667"/>
                </a:cubicBezTo>
                <a:cubicBezTo>
                  <a:pt x="1271" y="1680"/>
                  <a:pt x="1322" y="1629"/>
                  <a:pt x="1385" y="1603"/>
                </a:cubicBezTo>
                <a:cubicBezTo>
                  <a:pt x="1436" y="1590"/>
                  <a:pt x="1512" y="1488"/>
                  <a:pt x="1576" y="1423"/>
                </a:cubicBezTo>
                <a:cubicBezTo>
                  <a:pt x="1640" y="1346"/>
                  <a:pt x="1728" y="1295"/>
                  <a:pt x="1754" y="1244"/>
                </a:cubicBezTo>
                <a:cubicBezTo>
                  <a:pt x="1779" y="1193"/>
                  <a:pt x="1805" y="1103"/>
                  <a:pt x="1843" y="1064"/>
                </a:cubicBezTo>
                <a:cubicBezTo>
                  <a:pt x="1881" y="1026"/>
                  <a:pt x="1894" y="949"/>
                  <a:pt x="1944" y="949"/>
                </a:cubicBezTo>
                <a:cubicBezTo>
                  <a:pt x="2008" y="949"/>
                  <a:pt x="2008" y="872"/>
                  <a:pt x="2033" y="821"/>
                </a:cubicBezTo>
                <a:cubicBezTo>
                  <a:pt x="2059" y="756"/>
                  <a:pt x="2059" y="667"/>
                  <a:pt x="2059" y="667"/>
                </a:cubicBezTo>
                <a:lnTo>
                  <a:pt x="1957" y="654"/>
                </a:lnTo>
                <a:close/>
                <a:moveTo>
                  <a:pt x="1627" y="1013"/>
                </a:moveTo>
                <a:cubicBezTo>
                  <a:pt x="1614" y="1026"/>
                  <a:pt x="1601" y="1051"/>
                  <a:pt x="1601" y="1064"/>
                </a:cubicBezTo>
                <a:cubicBezTo>
                  <a:pt x="1589" y="1090"/>
                  <a:pt x="1589" y="1116"/>
                  <a:pt x="1538" y="1128"/>
                </a:cubicBezTo>
                <a:cubicBezTo>
                  <a:pt x="1500" y="1128"/>
                  <a:pt x="1474" y="1141"/>
                  <a:pt x="1474" y="1167"/>
                </a:cubicBezTo>
                <a:cubicBezTo>
                  <a:pt x="1474" y="1180"/>
                  <a:pt x="1462" y="1218"/>
                  <a:pt x="1462" y="1218"/>
                </a:cubicBezTo>
                <a:cubicBezTo>
                  <a:pt x="1462" y="1218"/>
                  <a:pt x="1398" y="1167"/>
                  <a:pt x="1385" y="1141"/>
                </a:cubicBezTo>
                <a:cubicBezTo>
                  <a:pt x="1360" y="1116"/>
                  <a:pt x="1335" y="1051"/>
                  <a:pt x="1335" y="1051"/>
                </a:cubicBezTo>
                <a:cubicBezTo>
                  <a:pt x="1335" y="1051"/>
                  <a:pt x="1373" y="1013"/>
                  <a:pt x="1398" y="987"/>
                </a:cubicBezTo>
                <a:cubicBezTo>
                  <a:pt x="1436" y="949"/>
                  <a:pt x="1474" y="936"/>
                  <a:pt x="1487" y="923"/>
                </a:cubicBezTo>
                <a:cubicBezTo>
                  <a:pt x="1512" y="910"/>
                  <a:pt x="1525" y="898"/>
                  <a:pt x="1576" y="936"/>
                </a:cubicBezTo>
                <a:cubicBezTo>
                  <a:pt x="1614" y="987"/>
                  <a:pt x="1640" y="1000"/>
                  <a:pt x="1627" y="1013"/>
                </a:cubicBezTo>
                <a:close/>
              </a:path>
            </a:pathLst>
          </a:custGeom>
          <a:solidFill>
            <a:schemeClr val="accent3"/>
          </a:solidFill>
          <a:ln w="952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 lIns="82878" tIns="41438" rIns="82878" bIns="41438"/>
          <a:lstStyle/>
          <a:p>
            <a:pPr defTabSz="891045"/>
            <a:endParaRPr lang="en-US" sz="1700" dirty="0">
              <a:solidFill>
                <a:srgbClr val="003149"/>
              </a:solidFill>
              <a:cs typeface="Arial" panose="020B0604020202020204" pitchFamily="34" charset="0"/>
            </a:endParaRPr>
          </a:p>
        </p:txBody>
      </p:sp>
      <p:sp>
        <p:nvSpPr>
          <p:cNvPr id="663" name="Freeform 517"/>
          <p:cNvSpPr>
            <a:spLocks noEditPoints="1"/>
          </p:cNvSpPr>
          <p:nvPr/>
        </p:nvSpPr>
        <p:spPr bwMode="gray">
          <a:xfrm>
            <a:off x="1449558" y="2952389"/>
            <a:ext cx="304206" cy="284179"/>
          </a:xfrm>
          <a:custGeom>
            <a:avLst/>
            <a:gdLst>
              <a:gd name="T0" fmla="*/ 252399550 w 2059"/>
              <a:gd name="T1" fmla="*/ 266059786 h 1808"/>
              <a:gd name="T2" fmla="*/ 252399550 w 2059"/>
              <a:gd name="T3" fmla="*/ 266059786 h 1808"/>
              <a:gd name="T4" fmla="*/ 252399550 w 2059"/>
              <a:gd name="T5" fmla="*/ 266059786 h 1808"/>
              <a:gd name="T6" fmla="*/ 252399550 w 2059"/>
              <a:gd name="T7" fmla="*/ 0 h 1808"/>
              <a:gd name="T8" fmla="*/ 252399550 w 2059"/>
              <a:gd name="T9" fmla="*/ 0 h 1808"/>
              <a:gd name="T10" fmla="*/ 252399550 w 2059"/>
              <a:gd name="T11" fmla="*/ 0 h 1808"/>
              <a:gd name="T12" fmla="*/ 252399550 w 2059"/>
              <a:gd name="T13" fmla="*/ 0 h 1808"/>
              <a:gd name="T14" fmla="*/ 252399550 w 2059"/>
              <a:gd name="T15" fmla="*/ 0 h 1808"/>
              <a:gd name="T16" fmla="*/ 252399550 w 2059"/>
              <a:gd name="T17" fmla="*/ 0 h 1808"/>
              <a:gd name="T18" fmla="*/ 252399550 w 2059"/>
              <a:gd name="T19" fmla="*/ 0 h 1808"/>
              <a:gd name="T20" fmla="*/ 252399550 w 2059"/>
              <a:gd name="T21" fmla="*/ 266059786 h 1808"/>
              <a:gd name="T22" fmla="*/ 252399550 w 2059"/>
              <a:gd name="T23" fmla="*/ 266059786 h 1808"/>
              <a:gd name="T24" fmla="*/ 252399550 w 2059"/>
              <a:gd name="T25" fmla="*/ 266059786 h 1808"/>
              <a:gd name="T26" fmla="*/ 252399550 w 2059"/>
              <a:gd name="T27" fmla="*/ 266059786 h 1808"/>
              <a:gd name="T28" fmla="*/ 252399550 w 2059"/>
              <a:gd name="T29" fmla="*/ 266059786 h 1808"/>
              <a:gd name="T30" fmla="*/ 252399550 w 2059"/>
              <a:gd name="T31" fmla="*/ 266059786 h 1808"/>
              <a:gd name="T32" fmla="*/ 0 w 2059"/>
              <a:gd name="T33" fmla="*/ 266059786 h 1808"/>
              <a:gd name="T34" fmla="*/ 0 w 2059"/>
              <a:gd name="T35" fmla="*/ 266059786 h 1808"/>
              <a:gd name="T36" fmla="*/ 0 w 2059"/>
              <a:gd name="T37" fmla="*/ 266059786 h 1808"/>
              <a:gd name="T38" fmla="*/ 0 w 2059"/>
              <a:gd name="T39" fmla="*/ 266059786 h 1808"/>
              <a:gd name="T40" fmla="*/ 0 w 2059"/>
              <a:gd name="T41" fmla="*/ 266059786 h 1808"/>
              <a:gd name="T42" fmla="*/ 0 w 2059"/>
              <a:gd name="T43" fmla="*/ 266059786 h 1808"/>
              <a:gd name="T44" fmla="*/ 0 w 2059"/>
              <a:gd name="T45" fmla="*/ 266059786 h 1808"/>
              <a:gd name="T46" fmla="*/ 0 w 2059"/>
              <a:gd name="T47" fmla="*/ 266059786 h 1808"/>
              <a:gd name="T48" fmla="*/ 0 w 2059"/>
              <a:gd name="T49" fmla="*/ 266059786 h 1808"/>
              <a:gd name="T50" fmla="*/ 252399550 w 2059"/>
              <a:gd name="T51" fmla="*/ 266059786 h 1808"/>
              <a:gd name="T52" fmla="*/ 252399550 w 2059"/>
              <a:gd name="T53" fmla="*/ 266059786 h 1808"/>
              <a:gd name="T54" fmla="*/ 252399550 w 2059"/>
              <a:gd name="T55" fmla="*/ 266059786 h 1808"/>
              <a:gd name="T56" fmla="*/ 252399550 w 2059"/>
              <a:gd name="T57" fmla="*/ 266059786 h 1808"/>
              <a:gd name="T58" fmla="*/ 252399550 w 2059"/>
              <a:gd name="T59" fmla="*/ 266059786 h 1808"/>
              <a:gd name="T60" fmla="*/ 252399550 w 2059"/>
              <a:gd name="T61" fmla="*/ 266059786 h 1808"/>
              <a:gd name="T62" fmla="*/ 252399550 w 2059"/>
              <a:gd name="T63" fmla="*/ 266059786 h 1808"/>
              <a:gd name="T64" fmla="*/ 252399550 w 2059"/>
              <a:gd name="T65" fmla="*/ 266059786 h 1808"/>
              <a:gd name="T66" fmla="*/ 252399550 w 2059"/>
              <a:gd name="T67" fmla="*/ 266059786 h 1808"/>
              <a:gd name="T68" fmla="*/ 252399550 w 2059"/>
              <a:gd name="T69" fmla="*/ 266059786 h 1808"/>
              <a:gd name="T70" fmla="*/ 252399550 w 2059"/>
              <a:gd name="T71" fmla="*/ 266059786 h 1808"/>
              <a:gd name="T72" fmla="*/ 252399550 w 2059"/>
              <a:gd name="T73" fmla="*/ 266059786 h 1808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w 2059"/>
              <a:gd name="T112" fmla="*/ 0 h 1808"/>
              <a:gd name="T113" fmla="*/ 2059 w 2059"/>
              <a:gd name="T114" fmla="*/ 1808 h 1808"/>
            </a:gdLst>
            <a:ahLst/>
            <a:cxnLst>
              <a:cxn ang="T74">
                <a:pos x="T0" y="T1"/>
              </a:cxn>
              <a:cxn ang="T75">
                <a:pos x="T2" y="T3"/>
              </a:cxn>
              <a:cxn ang="T76">
                <a:pos x="T4" y="T5"/>
              </a:cxn>
              <a:cxn ang="T77">
                <a:pos x="T6" y="T7"/>
              </a:cxn>
              <a:cxn ang="T78">
                <a:pos x="T8" y="T9"/>
              </a:cxn>
              <a:cxn ang="T79">
                <a:pos x="T10" y="T11"/>
              </a:cxn>
              <a:cxn ang="T80">
                <a:pos x="T12" y="T13"/>
              </a:cxn>
              <a:cxn ang="T81">
                <a:pos x="T14" y="T15"/>
              </a:cxn>
              <a:cxn ang="T82">
                <a:pos x="T16" y="T17"/>
              </a:cxn>
              <a:cxn ang="T83">
                <a:pos x="T18" y="T19"/>
              </a:cxn>
              <a:cxn ang="T84">
                <a:pos x="T20" y="T21"/>
              </a:cxn>
              <a:cxn ang="T85">
                <a:pos x="T22" y="T23"/>
              </a:cxn>
              <a:cxn ang="T86">
                <a:pos x="T24" y="T25"/>
              </a:cxn>
              <a:cxn ang="T87">
                <a:pos x="T26" y="T27"/>
              </a:cxn>
              <a:cxn ang="T88">
                <a:pos x="T28" y="T29"/>
              </a:cxn>
              <a:cxn ang="T89">
                <a:pos x="T30" y="T31"/>
              </a:cxn>
              <a:cxn ang="T90">
                <a:pos x="T32" y="T33"/>
              </a:cxn>
              <a:cxn ang="T91">
                <a:pos x="T34" y="T35"/>
              </a:cxn>
              <a:cxn ang="T92">
                <a:pos x="T36" y="T37"/>
              </a:cxn>
              <a:cxn ang="T93">
                <a:pos x="T38" y="T39"/>
              </a:cxn>
              <a:cxn ang="T94">
                <a:pos x="T40" y="T41"/>
              </a:cxn>
              <a:cxn ang="T95">
                <a:pos x="T42" y="T43"/>
              </a:cxn>
              <a:cxn ang="T96">
                <a:pos x="T44" y="T45"/>
              </a:cxn>
              <a:cxn ang="T97">
                <a:pos x="T46" y="T47"/>
              </a:cxn>
              <a:cxn ang="T98">
                <a:pos x="T48" y="T49"/>
              </a:cxn>
              <a:cxn ang="T99">
                <a:pos x="T50" y="T51"/>
              </a:cxn>
              <a:cxn ang="T100">
                <a:pos x="T52" y="T53"/>
              </a:cxn>
              <a:cxn ang="T101">
                <a:pos x="T54" y="T55"/>
              </a:cxn>
              <a:cxn ang="T102">
                <a:pos x="T56" y="T57"/>
              </a:cxn>
              <a:cxn ang="T103">
                <a:pos x="T58" y="T59"/>
              </a:cxn>
              <a:cxn ang="T104">
                <a:pos x="T60" y="T61"/>
              </a:cxn>
              <a:cxn ang="T105">
                <a:pos x="T62" y="T63"/>
              </a:cxn>
              <a:cxn ang="T106">
                <a:pos x="T64" y="T65"/>
              </a:cxn>
              <a:cxn ang="T107">
                <a:pos x="T66" y="T67"/>
              </a:cxn>
              <a:cxn ang="T108">
                <a:pos x="T68" y="T69"/>
              </a:cxn>
              <a:cxn ang="T109">
                <a:pos x="T70" y="T71"/>
              </a:cxn>
              <a:cxn ang="T110">
                <a:pos x="T72" y="T73"/>
              </a:cxn>
            </a:cxnLst>
            <a:rect l="T111" t="T112" r="T113" b="T114"/>
            <a:pathLst>
              <a:path w="2059" h="1808">
                <a:moveTo>
                  <a:pt x="1957" y="654"/>
                </a:moveTo>
                <a:cubicBezTo>
                  <a:pt x="1944" y="718"/>
                  <a:pt x="1944" y="718"/>
                  <a:pt x="1944" y="718"/>
                </a:cubicBezTo>
                <a:cubicBezTo>
                  <a:pt x="1944" y="718"/>
                  <a:pt x="1843" y="705"/>
                  <a:pt x="1830" y="680"/>
                </a:cubicBezTo>
                <a:cubicBezTo>
                  <a:pt x="1817" y="654"/>
                  <a:pt x="1779" y="615"/>
                  <a:pt x="1779" y="615"/>
                </a:cubicBezTo>
                <a:cubicBezTo>
                  <a:pt x="1856" y="500"/>
                  <a:pt x="1856" y="500"/>
                  <a:pt x="1856" y="500"/>
                </a:cubicBezTo>
                <a:cubicBezTo>
                  <a:pt x="1856" y="500"/>
                  <a:pt x="1894" y="513"/>
                  <a:pt x="1906" y="526"/>
                </a:cubicBezTo>
                <a:cubicBezTo>
                  <a:pt x="1906" y="538"/>
                  <a:pt x="1932" y="538"/>
                  <a:pt x="1957" y="538"/>
                </a:cubicBezTo>
                <a:cubicBezTo>
                  <a:pt x="1944" y="513"/>
                  <a:pt x="1957" y="462"/>
                  <a:pt x="1957" y="410"/>
                </a:cubicBezTo>
                <a:cubicBezTo>
                  <a:pt x="1957" y="372"/>
                  <a:pt x="1957" y="295"/>
                  <a:pt x="1932" y="256"/>
                </a:cubicBezTo>
                <a:cubicBezTo>
                  <a:pt x="1919" y="231"/>
                  <a:pt x="1881" y="128"/>
                  <a:pt x="1881" y="115"/>
                </a:cubicBezTo>
                <a:cubicBezTo>
                  <a:pt x="1894" y="102"/>
                  <a:pt x="1868" y="38"/>
                  <a:pt x="1868" y="38"/>
                </a:cubicBezTo>
                <a:cubicBezTo>
                  <a:pt x="1856" y="25"/>
                  <a:pt x="1754" y="38"/>
                  <a:pt x="1728" y="38"/>
                </a:cubicBezTo>
                <a:cubicBezTo>
                  <a:pt x="1703" y="25"/>
                  <a:pt x="1614" y="25"/>
                  <a:pt x="1614" y="0"/>
                </a:cubicBezTo>
                <a:cubicBezTo>
                  <a:pt x="1576" y="25"/>
                  <a:pt x="1576" y="25"/>
                  <a:pt x="1576" y="25"/>
                </a:cubicBezTo>
                <a:cubicBezTo>
                  <a:pt x="1576" y="25"/>
                  <a:pt x="1551" y="51"/>
                  <a:pt x="1512" y="64"/>
                </a:cubicBezTo>
                <a:cubicBezTo>
                  <a:pt x="1487" y="64"/>
                  <a:pt x="1474" y="77"/>
                  <a:pt x="1449" y="115"/>
                </a:cubicBezTo>
                <a:cubicBezTo>
                  <a:pt x="1424" y="154"/>
                  <a:pt x="1411" y="179"/>
                  <a:pt x="1373" y="192"/>
                </a:cubicBezTo>
                <a:cubicBezTo>
                  <a:pt x="1322" y="205"/>
                  <a:pt x="1335" y="218"/>
                  <a:pt x="1322" y="256"/>
                </a:cubicBezTo>
                <a:cubicBezTo>
                  <a:pt x="1309" y="308"/>
                  <a:pt x="1309" y="320"/>
                  <a:pt x="1271" y="320"/>
                </a:cubicBezTo>
                <a:cubicBezTo>
                  <a:pt x="1246" y="333"/>
                  <a:pt x="1208" y="359"/>
                  <a:pt x="1195" y="372"/>
                </a:cubicBezTo>
                <a:cubicBezTo>
                  <a:pt x="1182" y="385"/>
                  <a:pt x="1157" y="462"/>
                  <a:pt x="1131" y="487"/>
                </a:cubicBezTo>
                <a:cubicBezTo>
                  <a:pt x="1106" y="526"/>
                  <a:pt x="1068" y="513"/>
                  <a:pt x="1030" y="513"/>
                </a:cubicBezTo>
                <a:cubicBezTo>
                  <a:pt x="992" y="500"/>
                  <a:pt x="953" y="487"/>
                  <a:pt x="915" y="449"/>
                </a:cubicBezTo>
                <a:cubicBezTo>
                  <a:pt x="890" y="410"/>
                  <a:pt x="826" y="436"/>
                  <a:pt x="801" y="487"/>
                </a:cubicBezTo>
                <a:cubicBezTo>
                  <a:pt x="788" y="538"/>
                  <a:pt x="788" y="564"/>
                  <a:pt x="750" y="590"/>
                </a:cubicBezTo>
                <a:cubicBezTo>
                  <a:pt x="699" y="615"/>
                  <a:pt x="661" y="667"/>
                  <a:pt x="636" y="654"/>
                </a:cubicBezTo>
                <a:cubicBezTo>
                  <a:pt x="610" y="641"/>
                  <a:pt x="534" y="667"/>
                  <a:pt x="534" y="667"/>
                </a:cubicBezTo>
                <a:cubicBezTo>
                  <a:pt x="534" y="615"/>
                  <a:pt x="534" y="615"/>
                  <a:pt x="534" y="615"/>
                </a:cubicBezTo>
                <a:cubicBezTo>
                  <a:pt x="534" y="615"/>
                  <a:pt x="534" y="577"/>
                  <a:pt x="560" y="564"/>
                </a:cubicBezTo>
                <a:cubicBezTo>
                  <a:pt x="572" y="551"/>
                  <a:pt x="560" y="538"/>
                  <a:pt x="534" y="487"/>
                </a:cubicBezTo>
                <a:cubicBezTo>
                  <a:pt x="521" y="436"/>
                  <a:pt x="471" y="385"/>
                  <a:pt x="458" y="385"/>
                </a:cubicBezTo>
                <a:cubicBezTo>
                  <a:pt x="471" y="872"/>
                  <a:pt x="471" y="872"/>
                  <a:pt x="471" y="872"/>
                </a:cubicBezTo>
                <a:cubicBezTo>
                  <a:pt x="471" y="872"/>
                  <a:pt x="420" y="898"/>
                  <a:pt x="407" y="898"/>
                </a:cubicBezTo>
                <a:cubicBezTo>
                  <a:pt x="382" y="898"/>
                  <a:pt x="356" y="949"/>
                  <a:pt x="356" y="949"/>
                </a:cubicBezTo>
                <a:cubicBezTo>
                  <a:pt x="356" y="949"/>
                  <a:pt x="331" y="949"/>
                  <a:pt x="305" y="936"/>
                </a:cubicBezTo>
                <a:cubicBezTo>
                  <a:pt x="280" y="923"/>
                  <a:pt x="216" y="949"/>
                  <a:pt x="191" y="936"/>
                </a:cubicBezTo>
                <a:cubicBezTo>
                  <a:pt x="166" y="936"/>
                  <a:pt x="128" y="923"/>
                  <a:pt x="128" y="885"/>
                </a:cubicBezTo>
                <a:cubicBezTo>
                  <a:pt x="128" y="859"/>
                  <a:pt x="102" y="846"/>
                  <a:pt x="89" y="833"/>
                </a:cubicBezTo>
                <a:cubicBezTo>
                  <a:pt x="64" y="808"/>
                  <a:pt x="51" y="859"/>
                  <a:pt x="51" y="872"/>
                </a:cubicBezTo>
                <a:cubicBezTo>
                  <a:pt x="51" y="885"/>
                  <a:pt x="0" y="910"/>
                  <a:pt x="0" y="910"/>
                </a:cubicBezTo>
                <a:cubicBezTo>
                  <a:pt x="0" y="910"/>
                  <a:pt x="89" y="1051"/>
                  <a:pt x="89" y="1090"/>
                </a:cubicBezTo>
                <a:cubicBezTo>
                  <a:pt x="89" y="1128"/>
                  <a:pt x="153" y="1231"/>
                  <a:pt x="178" y="1269"/>
                </a:cubicBezTo>
                <a:cubicBezTo>
                  <a:pt x="191" y="1295"/>
                  <a:pt x="242" y="1385"/>
                  <a:pt x="242" y="1411"/>
                </a:cubicBezTo>
                <a:cubicBezTo>
                  <a:pt x="242" y="1436"/>
                  <a:pt x="255" y="1449"/>
                  <a:pt x="242" y="1488"/>
                </a:cubicBezTo>
                <a:cubicBezTo>
                  <a:pt x="229" y="1526"/>
                  <a:pt x="191" y="1513"/>
                  <a:pt x="191" y="1513"/>
                </a:cubicBezTo>
                <a:cubicBezTo>
                  <a:pt x="204" y="1552"/>
                  <a:pt x="204" y="1552"/>
                  <a:pt x="204" y="1552"/>
                </a:cubicBezTo>
                <a:cubicBezTo>
                  <a:pt x="204" y="1552"/>
                  <a:pt x="204" y="1616"/>
                  <a:pt x="216" y="1641"/>
                </a:cubicBezTo>
                <a:cubicBezTo>
                  <a:pt x="242" y="1654"/>
                  <a:pt x="242" y="1718"/>
                  <a:pt x="242" y="1731"/>
                </a:cubicBezTo>
                <a:cubicBezTo>
                  <a:pt x="242" y="1744"/>
                  <a:pt x="267" y="1718"/>
                  <a:pt x="293" y="1731"/>
                </a:cubicBezTo>
                <a:cubicBezTo>
                  <a:pt x="305" y="1731"/>
                  <a:pt x="331" y="1770"/>
                  <a:pt x="356" y="1782"/>
                </a:cubicBezTo>
                <a:cubicBezTo>
                  <a:pt x="369" y="1795"/>
                  <a:pt x="496" y="1808"/>
                  <a:pt x="547" y="1782"/>
                </a:cubicBezTo>
                <a:cubicBezTo>
                  <a:pt x="598" y="1770"/>
                  <a:pt x="674" y="1731"/>
                  <a:pt x="725" y="1718"/>
                </a:cubicBezTo>
                <a:cubicBezTo>
                  <a:pt x="763" y="1706"/>
                  <a:pt x="852" y="1731"/>
                  <a:pt x="915" y="1731"/>
                </a:cubicBezTo>
                <a:cubicBezTo>
                  <a:pt x="979" y="1731"/>
                  <a:pt x="1055" y="1757"/>
                  <a:pt x="1080" y="1731"/>
                </a:cubicBezTo>
                <a:cubicBezTo>
                  <a:pt x="1106" y="1706"/>
                  <a:pt x="1144" y="1731"/>
                  <a:pt x="1169" y="1706"/>
                </a:cubicBezTo>
                <a:cubicBezTo>
                  <a:pt x="1182" y="1680"/>
                  <a:pt x="1208" y="1654"/>
                  <a:pt x="1233" y="1667"/>
                </a:cubicBezTo>
                <a:cubicBezTo>
                  <a:pt x="1271" y="1680"/>
                  <a:pt x="1322" y="1629"/>
                  <a:pt x="1385" y="1603"/>
                </a:cubicBezTo>
                <a:cubicBezTo>
                  <a:pt x="1436" y="1590"/>
                  <a:pt x="1512" y="1488"/>
                  <a:pt x="1576" y="1423"/>
                </a:cubicBezTo>
                <a:cubicBezTo>
                  <a:pt x="1640" y="1346"/>
                  <a:pt x="1728" y="1295"/>
                  <a:pt x="1754" y="1244"/>
                </a:cubicBezTo>
                <a:cubicBezTo>
                  <a:pt x="1779" y="1193"/>
                  <a:pt x="1805" y="1103"/>
                  <a:pt x="1843" y="1064"/>
                </a:cubicBezTo>
                <a:cubicBezTo>
                  <a:pt x="1881" y="1026"/>
                  <a:pt x="1894" y="949"/>
                  <a:pt x="1944" y="949"/>
                </a:cubicBezTo>
                <a:cubicBezTo>
                  <a:pt x="2008" y="949"/>
                  <a:pt x="2008" y="872"/>
                  <a:pt x="2033" y="821"/>
                </a:cubicBezTo>
                <a:cubicBezTo>
                  <a:pt x="2059" y="756"/>
                  <a:pt x="2059" y="667"/>
                  <a:pt x="2059" y="667"/>
                </a:cubicBezTo>
                <a:lnTo>
                  <a:pt x="1957" y="654"/>
                </a:lnTo>
                <a:close/>
                <a:moveTo>
                  <a:pt x="1627" y="1013"/>
                </a:moveTo>
                <a:cubicBezTo>
                  <a:pt x="1614" y="1026"/>
                  <a:pt x="1601" y="1051"/>
                  <a:pt x="1601" y="1064"/>
                </a:cubicBezTo>
                <a:cubicBezTo>
                  <a:pt x="1589" y="1090"/>
                  <a:pt x="1589" y="1116"/>
                  <a:pt x="1538" y="1128"/>
                </a:cubicBezTo>
                <a:cubicBezTo>
                  <a:pt x="1500" y="1128"/>
                  <a:pt x="1474" y="1141"/>
                  <a:pt x="1474" y="1167"/>
                </a:cubicBezTo>
                <a:cubicBezTo>
                  <a:pt x="1474" y="1180"/>
                  <a:pt x="1462" y="1218"/>
                  <a:pt x="1462" y="1218"/>
                </a:cubicBezTo>
                <a:cubicBezTo>
                  <a:pt x="1462" y="1218"/>
                  <a:pt x="1398" y="1167"/>
                  <a:pt x="1385" y="1141"/>
                </a:cubicBezTo>
                <a:cubicBezTo>
                  <a:pt x="1360" y="1116"/>
                  <a:pt x="1335" y="1051"/>
                  <a:pt x="1335" y="1051"/>
                </a:cubicBezTo>
                <a:cubicBezTo>
                  <a:pt x="1335" y="1051"/>
                  <a:pt x="1373" y="1013"/>
                  <a:pt x="1398" y="987"/>
                </a:cubicBezTo>
                <a:cubicBezTo>
                  <a:pt x="1436" y="949"/>
                  <a:pt x="1474" y="936"/>
                  <a:pt x="1487" y="923"/>
                </a:cubicBezTo>
                <a:cubicBezTo>
                  <a:pt x="1512" y="910"/>
                  <a:pt x="1525" y="898"/>
                  <a:pt x="1576" y="936"/>
                </a:cubicBezTo>
                <a:cubicBezTo>
                  <a:pt x="1614" y="987"/>
                  <a:pt x="1640" y="1000"/>
                  <a:pt x="1627" y="1013"/>
                </a:cubicBezTo>
                <a:close/>
              </a:path>
            </a:pathLst>
          </a:custGeom>
          <a:solidFill>
            <a:schemeClr val="accent3"/>
          </a:solidFill>
          <a:ln w="9525" cap="rnd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 lIns="82878" tIns="41438" rIns="82878" bIns="41438"/>
          <a:lstStyle/>
          <a:p>
            <a:pPr defTabSz="891045"/>
            <a:endParaRPr lang="en-US" sz="1700" dirty="0">
              <a:solidFill>
                <a:srgbClr val="003149"/>
              </a:solidFill>
              <a:cs typeface="Arial" panose="020B0604020202020204" pitchFamily="34" charset="0"/>
            </a:endParaRPr>
          </a:p>
        </p:txBody>
      </p:sp>
      <p:sp>
        <p:nvSpPr>
          <p:cNvPr id="664" name="Freeform 522"/>
          <p:cNvSpPr>
            <a:spLocks/>
          </p:cNvSpPr>
          <p:nvPr/>
        </p:nvSpPr>
        <p:spPr bwMode="gray">
          <a:xfrm>
            <a:off x="2035328" y="2928282"/>
            <a:ext cx="12570" cy="19030"/>
          </a:xfrm>
          <a:custGeom>
            <a:avLst/>
            <a:gdLst>
              <a:gd name="T0" fmla="*/ 0 w 83"/>
              <a:gd name="T1" fmla="*/ 0 h 117"/>
              <a:gd name="T2" fmla="*/ 0 w 83"/>
              <a:gd name="T3" fmla="*/ 0 h 117"/>
              <a:gd name="T4" fmla="*/ 0 w 83"/>
              <a:gd name="T5" fmla="*/ 0 h 117"/>
              <a:gd name="T6" fmla="*/ 0 w 83"/>
              <a:gd name="T7" fmla="*/ 0 h 117"/>
              <a:gd name="T8" fmla="*/ 0 w 83"/>
              <a:gd name="T9" fmla="*/ 0 h 117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83"/>
              <a:gd name="T16" fmla="*/ 0 h 117"/>
              <a:gd name="T17" fmla="*/ 83 w 83"/>
              <a:gd name="T18" fmla="*/ 117 h 117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83" h="117">
                <a:moveTo>
                  <a:pt x="12" y="0"/>
                </a:moveTo>
                <a:cubicBezTo>
                  <a:pt x="36" y="0"/>
                  <a:pt x="59" y="0"/>
                  <a:pt x="71" y="15"/>
                </a:cubicBezTo>
                <a:cubicBezTo>
                  <a:pt x="71" y="15"/>
                  <a:pt x="83" y="44"/>
                  <a:pt x="71" y="59"/>
                </a:cubicBezTo>
                <a:cubicBezTo>
                  <a:pt x="59" y="88"/>
                  <a:pt x="47" y="117"/>
                  <a:pt x="24" y="73"/>
                </a:cubicBezTo>
                <a:cubicBezTo>
                  <a:pt x="12" y="44"/>
                  <a:pt x="0" y="0"/>
                  <a:pt x="12" y="0"/>
                </a:cubicBezTo>
              </a:path>
            </a:pathLst>
          </a:custGeom>
          <a:solidFill>
            <a:schemeClr val="accent3"/>
          </a:solidFill>
          <a:ln w="0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 lIns="82878" tIns="41438" rIns="82878" bIns="41438"/>
          <a:lstStyle/>
          <a:p>
            <a:pPr defTabSz="891045"/>
            <a:endParaRPr lang="en-US" sz="1700" dirty="0">
              <a:solidFill>
                <a:srgbClr val="003149"/>
              </a:solidFill>
              <a:cs typeface="Arial" panose="020B0604020202020204" pitchFamily="34" charset="0"/>
            </a:endParaRPr>
          </a:p>
        </p:txBody>
      </p:sp>
      <p:sp>
        <p:nvSpPr>
          <p:cNvPr id="665" name="Freeform 523"/>
          <p:cNvSpPr>
            <a:spLocks/>
          </p:cNvSpPr>
          <p:nvPr/>
        </p:nvSpPr>
        <p:spPr bwMode="gray">
          <a:xfrm>
            <a:off x="2035328" y="2928282"/>
            <a:ext cx="12570" cy="19030"/>
          </a:xfrm>
          <a:custGeom>
            <a:avLst/>
            <a:gdLst>
              <a:gd name="T0" fmla="*/ 2147483647 w 9"/>
              <a:gd name="T1" fmla="*/ 0 h 12"/>
              <a:gd name="T2" fmla="*/ 2147483647 w 9"/>
              <a:gd name="T3" fmla="*/ 2147483647 h 12"/>
              <a:gd name="T4" fmla="*/ 2147483647 w 9"/>
              <a:gd name="T5" fmla="*/ 2147483647 h 12"/>
              <a:gd name="T6" fmla="*/ 2147483647 w 9"/>
              <a:gd name="T7" fmla="*/ 2147483647 h 12"/>
              <a:gd name="T8" fmla="*/ 2147483647 w 9"/>
              <a:gd name="T9" fmla="*/ 0 h 1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9"/>
              <a:gd name="T16" fmla="*/ 0 h 12"/>
              <a:gd name="T17" fmla="*/ 9 w 9"/>
              <a:gd name="T18" fmla="*/ 12 h 12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9" h="12">
                <a:moveTo>
                  <a:pt x="2" y="0"/>
                </a:moveTo>
                <a:cubicBezTo>
                  <a:pt x="4" y="0"/>
                  <a:pt x="6" y="0"/>
                  <a:pt x="7" y="1"/>
                </a:cubicBezTo>
                <a:cubicBezTo>
                  <a:pt x="7" y="1"/>
                  <a:pt x="9" y="4"/>
                  <a:pt x="7" y="6"/>
                </a:cubicBezTo>
                <a:cubicBezTo>
                  <a:pt x="6" y="9"/>
                  <a:pt x="5" y="12"/>
                  <a:pt x="3" y="7"/>
                </a:cubicBezTo>
                <a:cubicBezTo>
                  <a:pt x="2" y="4"/>
                  <a:pt x="0" y="0"/>
                  <a:pt x="2" y="0"/>
                </a:cubicBezTo>
              </a:path>
            </a:pathLst>
          </a:custGeom>
          <a:solidFill>
            <a:schemeClr val="accent3"/>
          </a:solidFill>
          <a:ln w="3175" cap="rnd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 lIns="82878" tIns="41438" rIns="82878" bIns="41438"/>
          <a:lstStyle/>
          <a:p>
            <a:pPr defTabSz="891045"/>
            <a:endParaRPr lang="en-US" sz="1700" dirty="0">
              <a:solidFill>
                <a:srgbClr val="003149"/>
              </a:solidFill>
              <a:cs typeface="Arial" panose="020B0604020202020204" pitchFamily="34" charset="0"/>
            </a:endParaRPr>
          </a:p>
        </p:txBody>
      </p:sp>
      <p:sp>
        <p:nvSpPr>
          <p:cNvPr id="666" name="Text Box 607"/>
          <p:cNvSpPr txBox="1">
            <a:spLocks noChangeArrowheads="1"/>
          </p:cNvSpPr>
          <p:nvPr/>
        </p:nvSpPr>
        <p:spPr bwMode="gray">
          <a:xfrm>
            <a:off x="946335" y="2580675"/>
            <a:ext cx="453650" cy="15388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defTabSz="891045">
              <a:spcBef>
                <a:spcPct val="50000"/>
              </a:spcBef>
              <a:defRPr/>
            </a:pPr>
            <a:r>
              <a:rPr lang="ru-RU" sz="1000" b="1" dirty="0">
                <a:solidFill>
                  <a:srgbClr val="003149"/>
                </a:solidFill>
                <a:cs typeface="Arial" panose="020B0604020202020204" pitchFamily="34" charset="0"/>
              </a:rPr>
              <a:t>Ангола</a:t>
            </a:r>
            <a:endParaRPr lang="en-US" sz="1000" b="1" dirty="0">
              <a:solidFill>
                <a:srgbClr val="003149"/>
              </a:solidFill>
              <a:cs typeface="Arial" panose="020B0604020202020204" pitchFamily="34" charset="0"/>
            </a:endParaRPr>
          </a:p>
        </p:txBody>
      </p:sp>
      <p:sp>
        <p:nvSpPr>
          <p:cNvPr id="667" name="Text Box 656"/>
          <p:cNvSpPr txBox="1">
            <a:spLocks noChangeArrowheads="1"/>
          </p:cNvSpPr>
          <p:nvPr/>
        </p:nvSpPr>
        <p:spPr bwMode="gray">
          <a:xfrm>
            <a:off x="1248829" y="1334567"/>
            <a:ext cx="496931" cy="15388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defTabSz="891045" eaLnBrk="0" hangingPunct="0">
              <a:spcBef>
                <a:spcPct val="20000"/>
              </a:spcBef>
              <a:buClr>
                <a:srgbClr val="006393"/>
              </a:buClr>
              <a:buSzPct val="90000"/>
            </a:pPr>
            <a:r>
              <a:rPr lang="ru-RU" sz="1000" b="1" dirty="0">
                <a:solidFill>
                  <a:srgbClr val="000000"/>
                </a:solidFill>
                <a:cs typeface="Arial" panose="020B0604020202020204" pitchFamily="34" charset="0"/>
              </a:rPr>
              <a:t>Африка</a:t>
            </a:r>
            <a:endParaRPr lang="en-US" sz="1000" b="1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cxnSp>
        <p:nvCxnSpPr>
          <p:cNvPr id="668" name="AutoShape 661"/>
          <p:cNvCxnSpPr>
            <a:cxnSpLocks noChangeShapeType="1"/>
            <a:stCxn id="677" idx="0"/>
            <a:endCxn id="726" idx="2"/>
          </p:cNvCxnSpPr>
          <p:nvPr/>
        </p:nvCxnSpPr>
        <p:spPr bwMode="gray">
          <a:xfrm rot="5400000" flipH="1" flipV="1">
            <a:off x="1027798" y="3029158"/>
            <a:ext cx="675185" cy="51676"/>
          </a:xfrm>
          <a:prstGeom prst="bentConnector2">
            <a:avLst/>
          </a:prstGeom>
          <a:noFill/>
          <a:ln w="12700">
            <a:solidFill>
              <a:srgbClr val="A0A1A6"/>
            </a:solidFill>
            <a:miter lim="800000"/>
            <a:headEnd/>
            <a:tailEnd/>
          </a:ln>
        </p:spPr>
      </p:cxnSp>
      <p:sp>
        <p:nvSpPr>
          <p:cNvPr id="669" name="Freeform 634"/>
          <p:cNvSpPr>
            <a:spLocks/>
          </p:cNvSpPr>
          <p:nvPr>
            <p:custDataLst>
              <p:tags r:id="rId230"/>
            </p:custDataLst>
          </p:nvPr>
        </p:nvSpPr>
        <p:spPr bwMode="gray">
          <a:xfrm>
            <a:off x="4696135" y="4512262"/>
            <a:ext cx="143304" cy="144627"/>
          </a:xfrm>
          <a:prstGeom prst="ellipse">
            <a:avLst/>
          </a:prstGeom>
          <a:solidFill>
            <a:schemeClr val="accent1">
              <a:lumMod val="50000"/>
            </a:schemeClr>
          </a:solidFill>
          <a:ln w="12700">
            <a:solidFill>
              <a:schemeClr val="bg2"/>
            </a:solidFill>
            <a:round/>
            <a:headEnd/>
            <a:tailEnd/>
          </a:ln>
        </p:spPr>
        <p:txBody>
          <a:bodyPr lIns="0" tIns="0" rIns="0" bIns="0" anchor="ctr"/>
          <a:lstStyle/>
          <a:p>
            <a:pPr algn="ctr" defTabSz="891045"/>
            <a:endParaRPr lang="en-GB" sz="600" b="1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670" name="Rectangle 637"/>
          <p:cNvSpPr>
            <a:spLocks noChangeArrowheads="1"/>
          </p:cNvSpPr>
          <p:nvPr/>
        </p:nvSpPr>
        <p:spPr bwMode="gray">
          <a:xfrm>
            <a:off x="4823258" y="4461999"/>
            <a:ext cx="515227" cy="26835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82878" tIns="41438" rIns="82878" bIns="41438">
            <a:spAutoFit/>
          </a:bodyPr>
          <a:lstStyle/>
          <a:p>
            <a:pPr defTabSz="891045"/>
            <a:r>
              <a:rPr lang="ru-RU" sz="600" dirty="0">
                <a:solidFill>
                  <a:srgbClr val="003149"/>
                </a:solidFill>
                <a:cs typeface="Arial" panose="020B0604020202020204" pitchFamily="34" charset="0"/>
              </a:rPr>
              <a:t>Открытая</a:t>
            </a:r>
          </a:p>
          <a:p>
            <a:pPr defTabSz="891045"/>
            <a:r>
              <a:rPr lang="ru-RU" sz="600" dirty="0">
                <a:solidFill>
                  <a:srgbClr val="003149"/>
                </a:solidFill>
                <a:cs typeface="Arial" panose="020B0604020202020204" pitchFamily="34" charset="0"/>
              </a:rPr>
              <a:t>добыча</a:t>
            </a:r>
            <a:endParaRPr lang="en-US" sz="600" dirty="0">
              <a:solidFill>
                <a:srgbClr val="003149"/>
              </a:solidFill>
              <a:cs typeface="Arial" panose="020B0604020202020204" pitchFamily="34" charset="0"/>
            </a:endParaRPr>
          </a:p>
        </p:txBody>
      </p:sp>
      <p:sp>
        <p:nvSpPr>
          <p:cNvPr id="671" name="Freeform 634"/>
          <p:cNvSpPr>
            <a:spLocks/>
          </p:cNvSpPr>
          <p:nvPr>
            <p:custDataLst>
              <p:tags r:id="rId231"/>
            </p:custDataLst>
          </p:nvPr>
        </p:nvSpPr>
        <p:spPr bwMode="gray">
          <a:xfrm>
            <a:off x="5331719" y="4524867"/>
            <a:ext cx="142047" cy="143358"/>
          </a:xfrm>
          <a:prstGeom prst="ellipse">
            <a:avLst/>
          </a:prstGeom>
          <a:solidFill>
            <a:srgbClr val="00B050"/>
          </a:solidFill>
          <a:ln w="12700">
            <a:solidFill>
              <a:schemeClr val="bg2"/>
            </a:solidFill>
            <a:round/>
            <a:headEnd/>
            <a:tailEnd/>
          </a:ln>
        </p:spPr>
        <p:txBody>
          <a:bodyPr lIns="0" tIns="0" rIns="0" bIns="0" anchor="ctr"/>
          <a:lstStyle/>
          <a:p>
            <a:pPr algn="ctr" defTabSz="891045"/>
            <a:endParaRPr lang="en-GB" sz="600" b="1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672" name="Rectangle 637"/>
          <p:cNvSpPr>
            <a:spLocks noChangeArrowheads="1"/>
          </p:cNvSpPr>
          <p:nvPr/>
        </p:nvSpPr>
        <p:spPr bwMode="gray">
          <a:xfrm>
            <a:off x="5433589" y="4464956"/>
            <a:ext cx="579242" cy="26835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82878" tIns="41438" rIns="82878" bIns="41438">
            <a:spAutoFit/>
          </a:bodyPr>
          <a:lstStyle/>
          <a:p>
            <a:pPr defTabSz="891045"/>
            <a:r>
              <a:rPr lang="ru-RU" sz="600" dirty="0">
                <a:solidFill>
                  <a:srgbClr val="003149"/>
                </a:solidFill>
                <a:cs typeface="Arial" panose="020B0604020202020204" pitchFamily="34" charset="0"/>
              </a:rPr>
              <a:t>Подземная</a:t>
            </a:r>
          </a:p>
          <a:p>
            <a:pPr defTabSz="891045"/>
            <a:r>
              <a:rPr lang="ru-RU" sz="600" dirty="0">
                <a:solidFill>
                  <a:srgbClr val="003149"/>
                </a:solidFill>
                <a:cs typeface="Arial" panose="020B0604020202020204" pitchFamily="34" charset="0"/>
              </a:rPr>
              <a:t>добыча</a:t>
            </a:r>
            <a:endParaRPr lang="en-US" sz="600" dirty="0">
              <a:solidFill>
                <a:srgbClr val="003149"/>
              </a:solidFill>
              <a:cs typeface="Arial" panose="020B0604020202020204" pitchFamily="34" charset="0"/>
            </a:endParaRPr>
          </a:p>
        </p:txBody>
      </p:sp>
      <p:sp>
        <p:nvSpPr>
          <p:cNvPr id="673" name="Freeform 634"/>
          <p:cNvSpPr>
            <a:spLocks/>
          </p:cNvSpPr>
          <p:nvPr>
            <p:custDataLst>
              <p:tags r:id="rId232"/>
            </p:custDataLst>
          </p:nvPr>
        </p:nvSpPr>
        <p:spPr bwMode="gray">
          <a:xfrm>
            <a:off x="6005962" y="4750954"/>
            <a:ext cx="142047" cy="143358"/>
          </a:xfrm>
          <a:prstGeom prst="ellipse">
            <a:avLst/>
          </a:prstGeom>
          <a:solidFill>
            <a:schemeClr val="accent4">
              <a:lumMod val="40000"/>
              <a:lumOff val="60000"/>
            </a:schemeClr>
          </a:solidFill>
          <a:ln w="12700">
            <a:solidFill>
              <a:schemeClr val="bg2"/>
            </a:solidFill>
            <a:round/>
            <a:headEnd/>
            <a:tailEnd/>
          </a:ln>
        </p:spPr>
        <p:txBody>
          <a:bodyPr lIns="0" tIns="0" rIns="0" bIns="0" anchor="ctr"/>
          <a:lstStyle/>
          <a:p>
            <a:pPr algn="ctr" defTabSz="891045"/>
            <a:endParaRPr lang="en-GB" sz="600" b="1" dirty="0">
              <a:solidFill>
                <a:srgbClr val="E0C5FB"/>
              </a:solidFill>
              <a:cs typeface="Arial" panose="020B0604020202020204" pitchFamily="34" charset="0"/>
            </a:endParaRPr>
          </a:p>
        </p:txBody>
      </p:sp>
      <p:sp>
        <p:nvSpPr>
          <p:cNvPr id="674" name="Rectangle 637"/>
          <p:cNvSpPr>
            <a:spLocks noChangeArrowheads="1"/>
          </p:cNvSpPr>
          <p:nvPr/>
        </p:nvSpPr>
        <p:spPr bwMode="gray">
          <a:xfrm>
            <a:off x="6121927" y="4700086"/>
            <a:ext cx="696219" cy="26835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82878" tIns="41438" rIns="82878" bIns="41438">
            <a:spAutoFit/>
          </a:bodyPr>
          <a:lstStyle/>
          <a:p>
            <a:pPr defTabSz="891045"/>
            <a:r>
              <a:rPr lang="ru-RU" sz="600" dirty="0">
                <a:solidFill>
                  <a:srgbClr val="003149"/>
                </a:solidFill>
                <a:cs typeface="Arial" panose="020B0604020202020204" pitchFamily="34" charset="0"/>
              </a:rPr>
              <a:t>Разработка россыпей</a:t>
            </a:r>
            <a:endParaRPr lang="en-US" sz="600" dirty="0">
              <a:solidFill>
                <a:srgbClr val="003149"/>
              </a:solidFill>
              <a:cs typeface="Arial" panose="020B0604020202020204" pitchFamily="34" charset="0"/>
            </a:endParaRPr>
          </a:p>
        </p:txBody>
      </p:sp>
      <p:grpSp>
        <p:nvGrpSpPr>
          <p:cNvPr id="675" name="Group 466"/>
          <p:cNvGrpSpPr>
            <a:grpSpLocks/>
          </p:cNvGrpSpPr>
          <p:nvPr/>
        </p:nvGrpSpPr>
        <p:grpSpPr bwMode="gray">
          <a:xfrm>
            <a:off x="829820" y="3392613"/>
            <a:ext cx="1019467" cy="805433"/>
            <a:chOff x="188" y="2352"/>
            <a:chExt cx="811" cy="471"/>
          </a:xfrm>
        </p:grpSpPr>
        <p:sp>
          <p:nvSpPr>
            <p:cNvPr id="676" name="Rectangle 197"/>
            <p:cNvSpPr>
              <a:spLocks noChangeArrowheads="1"/>
            </p:cNvSpPr>
            <p:nvPr>
              <p:custDataLst>
                <p:tags r:id="rId246"/>
              </p:custDataLst>
            </p:nvPr>
          </p:nvSpPr>
          <p:spPr bwMode="gray">
            <a:xfrm>
              <a:off x="188" y="2483"/>
              <a:ext cx="811" cy="340"/>
            </a:xfrm>
            <a:prstGeom prst="rect">
              <a:avLst/>
            </a:prstGeom>
            <a:solidFill>
              <a:srgbClr val="FFFFFF"/>
            </a:solidFill>
            <a:ln w="12700" algn="ctr">
              <a:solidFill>
                <a:schemeClr val="bg2"/>
              </a:solidFill>
              <a:miter lim="800000"/>
              <a:headEnd/>
              <a:tailEnd/>
            </a:ln>
          </p:spPr>
          <p:txBody>
            <a:bodyPr lIns="45720" rIns="73152" bIns="73152"/>
            <a:lstStyle/>
            <a:p>
              <a:pPr defTabSz="891045" eaLnBrk="0" hangingPunct="0">
                <a:spcAft>
                  <a:spcPct val="35000"/>
                </a:spcAft>
                <a:defRPr/>
              </a:pPr>
              <a:endParaRPr lang="ru-RU" sz="500" dirty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677" name="Rectangle 199"/>
            <p:cNvSpPr>
              <a:spLocks noChangeArrowheads="1"/>
            </p:cNvSpPr>
            <p:nvPr>
              <p:custDataLst>
                <p:tags r:id="rId247"/>
              </p:custDataLst>
            </p:nvPr>
          </p:nvSpPr>
          <p:spPr bwMode="gray">
            <a:xfrm>
              <a:off x="188" y="2352"/>
              <a:ext cx="811" cy="132"/>
            </a:xfrm>
            <a:prstGeom prst="rect">
              <a:avLst/>
            </a:prstGeom>
            <a:solidFill>
              <a:srgbClr val="DEE2E4"/>
            </a:solidFill>
            <a:ln w="12700" algn="ctr">
              <a:solidFill>
                <a:schemeClr val="bg2"/>
              </a:solidFill>
              <a:miter lim="800000"/>
              <a:headEnd/>
              <a:tailEnd/>
            </a:ln>
          </p:spPr>
          <p:txBody>
            <a:bodyPr lIns="9144" tIns="9144" rIns="9144" bIns="9144" anchor="ctr" anchorCtr="1"/>
            <a:lstStyle/>
            <a:p>
              <a:pPr defTabSz="891045" eaLnBrk="0" hangingPunct="0">
                <a:spcAft>
                  <a:spcPct val="35000"/>
                </a:spcAft>
              </a:pPr>
              <a:r>
                <a:rPr lang="ru-RU" sz="600" b="1" dirty="0">
                  <a:solidFill>
                    <a:srgbClr val="003149"/>
                  </a:solidFill>
                  <a:cs typeface="Arial" panose="020B0604020202020204" pitchFamily="34" charset="0"/>
                </a:rPr>
                <a:t>ГРО «</a:t>
              </a:r>
              <a:r>
                <a:rPr lang="ru-RU" sz="600" b="1" dirty="0" err="1">
                  <a:solidFill>
                    <a:srgbClr val="003149"/>
                  </a:solidFill>
                  <a:cs typeface="Arial" panose="020B0604020202020204" pitchFamily="34" charset="0"/>
                </a:rPr>
                <a:t>Катока</a:t>
              </a:r>
              <a:r>
                <a:rPr lang="ru-RU" sz="600" b="1" dirty="0">
                  <a:solidFill>
                    <a:srgbClr val="003149"/>
                  </a:solidFill>
                  <a:cs typeface="Arial" panose="020B0604020202020204" pitchFamily="34" charset="0"/>
                </a:rPr>
                <a:t> Лтд.» </a:t>
              </a:r>
            </a:p>
            <a:p>
              <a:pPr defTabSz="891045" eaLnBrk="0" hangingPunct="0">
                <a:spcAft>
                  <a:spcPct val="35000"/>
                </a:spcAft>
              </a:pPr>
              <a:r>
                <a:rPr lang="ru-RU" sz="600" b="1" dirty="0">
                  <a:solidFill>
                    <a:srgbClr val="003149"/>
                  </a:solidFill>
                  <a:cs typeface="Arial" panose="020B0604020202020204" pitchFamily="34" charset="0"/>
                </a:rPr>
                <a:t>СП «</a:t>
              </a:r>
              <a:r>
                <a:rPr lang="ru-RU" sz="600" b="1" dirty="0" err="1">
                  <a:solidFill>
                    <a:srgbClr val="003149"/>
                  </a:solidFill>
                  <a:cs typeface="Arial" panose="020B0604020202020204" pitchFamily="34" charset="0"/>
                </a:rPr>
                <a:t>Киманг</a:t>
              </a:r>
              <a:r>
                <a:rPr lang="ru-RU" sz="600" b="1" dirty="0">
                  <a:solidFill>
                    <a:srgbClr val="003149"/>
                  </a:solidFill>
                  <a:cs typeface="Arial" panose="020B0604020202020204" pitchFamily="34" charset="0"/>
                </a:rPr>
                <a:t>»</a:t>
              </a:r>
              <a:endParaRPr lang="en-US" sz="600" b="1" dirty="0">
                <a:solidFill>
                  <a:srgbClr val="003149"/>
                </a:solidFill>
                <a:cs typeface="Arial" panose="020B0604020202020204" pitchFamily="34" charset="0"/>
              </a:endParaRPr>
            </a:p>
          </p:txBody>
        </p:sp>
      </p:grpSp>
      <p:sp>
        <p:nvSpPr>
          <p:cNvPr id="678" name="Oval 641"/>
          <p:cNvSpPr>
            <a:spLocks noChangeArrowheads="1"/>
          </p:cNvSpPr>
          <p:nvPr/>
        </p:nvSpPr>
        <p:spPr bwMode="gray">
          <a:xfrm>
            <a:off x="770761" y="3334615"/>
            <a:ext cx="130331" cy="131534"/>
          </a:xfrm>
          <a:prstGeom prst="ellipse">
            <a:avLst/>
          </a:prstGeom>
          <a:solidFill>
            <a:srgbClr val="DEE2E4"/>
          </a:solidFill>
          <a:ln w="19050" algn="ctr">
            <a:solidFill>
              <a:schemeClr val="bg1"/>
            </a:solidFill>
            <a:miter lim="800000"/>
            <a:headEnd/>
            <a:tailEnd/>
          </a:ln>
        </p:spPr>
        <p:txBody>
          <a:bodyPr lIns="8306" tIns="8306" rIns="8306" bIns="8306" anchor="ctr" anchorCtr="1"/>
          <a:lstStyle/>
          <a:p>
            <a:pPr defTabSz="891045" eaLnBrk="0" hangingPunct="0">
              <a:spcAft>
                <a:spcPct val="35000"/>
              </a:spcAft>
            </a:pPr>
            <a:r>
              <a:rPr lang="ru-RU" sz="700" b="1" dirty="0">
                <a:solidFill>
                  <a:srgbClr val="003149"/>
                </a:solidFill>
                <a:cs typeface="Arial" panose="020B0604020202020204" pitchFamily="34" charset="0"/>
              </a:rPr>
              <a:t>7</a:t>
            </a:r>
            <a:endParaRPr lang="en-US" sz="700" b="1" dirty="0">
              <a:solidFill>
                <a:srgbClr val="003149"/>
              </a:solidFill>
              <a:cs typeface="Arial" panose="020B0604020202020204" pitchFamily="34" charset="0"/>
            </a:endParaRPr>
          </a:p>
        </p:txBody>
      </p:sp>
      <p:sp>
        <p:nvSpPr>
          <p:cNvPr id="680" name="Oval 814"/>
          <p:cNvSpPr/>
          <p:nvPr/>
        </p:nvSpPr>
        <p:spPr bwMode="gray">
          <a:xfrm>
            <a:off x="3197973" y="2568176"/>
            <a:ext cx="72406" cy="73074"/>
          </a:xfrm>
          <a:prstGeom prst="ellipse">
            <a:avLst/>
          </a:prstGeom>
          <a:solidFill>
            <a:srgbClr val="000000"/>
          </a:solidFill>
          <a:ln w="9525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82878" tIns="41438" rIns="82878" bIns="41438" numCol="1" rtlCol="0" anchor="t" anchorCtr="0" compatLnSpc="1">
            <a:prstTxWarp prst="textNoShape">
              <a:avLst/>
            </a:prstTxWarp>
          </a:bodyPr>
          <a:lstStyle/>
          <a:p>
            <a:pPr defTabSz="891045" fontAlgn="base">
              <a:spcBef>
                <a:spcPct val="50000"/>
              </a:spcBef>
              <a:spcAft>
                <a:spcPct val="0"/>
              </a:spcAft>
            </a:pPr>
            <a:endParaRPr kumimoji="1" lang="en-GB" sz="900" dirty="0">
              <a:solidFill>
                <a:srgbClr val="003149"/>
              </a:solidFill>
              <a:ea typeface="PMingLiU" pitchFamily="18" charset="-120"/>
              <a:cs typeface="Arial" panose="020B0604020202020204" pitchFamily="34" charset="0"/>
            </a:endParaRPr>
          </a:p>
        </p:txBody>
      </p:sp>
      <p:sp>
        <p:nvSpPr>
          <p:cNvPr id="681" name="Text Box 651"/>
          <p:cNvSpPr txBox="1">
            <a:spLocks noChangeAspect="1" noChangeArrowheads="1"/>
          </p:cNvSpPr>
          <p:nvPr/>
        </p:nvSpPr>
        <p:spPr bwMode="gray">
          <a:xfrm>
            <a:off x="2598789" y="2452261"/>
            <a:ext cx="678986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defTabSz="891045">
              <a:spcBef>
                <a:spcPct val="50000"/>
              </a:spcBef>
              <a:defRPr/>
            </a:pPr>
            <a:r>
              <a:rPr lang="ru-RU" sz="800" i="1" dirty="0">
                <a:solidFill>
                  <a:srgbClr val="003149"/>
                </a:solidFill>
                <a:cs typeface="Arial" panose="020B0604020202020204" pitchFamily="34" charset="0"/>
              </a:rPr>
              <a:t>Архангельск</a:t>
            </a:r>
            <a:endParaRPr lang="en-US" sz="800" i="1" dirty="0">
              <a:solidFill>
                <a:srgbClr val="003149"/>
              </a:solidFill>
              <a:cs typeface="Arial" panose="020B0604020202020204" pitchFamily="34" charset="0"/>
            </a:endParaRPr>
          </a:p>
        </p:txBody>
      </p:sp>
      <p:cxnSp>
        <p:nvCxnSpPr>
          <p:cNvPr id="682" name="AutoShape 661"/>
          <p:cNvCxnSpPr>
            <a:cxnSpLocks noChangeShapeType="1"/>
            <a:stCxn id="685" idx="1"/>
          </p:cNvCxnSpPr>
          <p:nvPr/>
        </p:nvCxnSpPr>
        <p:spPr bwMode="gray">
          <a:xfrm rot="10800000" flipV="1">
            <a:off x="3379065" y="1359589"/>
            <a:ext cx="982965" cy="1138173"/>
          </a:xfrm>
          <a:prstGeom prst="bentConnector2">
            <a:avLst/>
          </a:prstGeom>
          <a:noFill/>
          <a:ln w="12700">
            <a:solidFill>
              <a:srgbClr val="A0A1A6"/>
            </a:solidFill>
            <a:miter lim="800000"/>
            <a:headEnd/>
            <a:tailEnd type="none" w="med" len="med"/>
          </a:ln>
        </p:spPr>
      </p:cxnSp>
      <p:grpSp>
        <p:nvGrpSpPr>
          <p:cNvPr id="683" name="Group 817"/>
          <p:cNvGrpSpPr/>
          <p:nvPr/>
        </p:nvGrpSpPr>
        <p:grpSpPr>
          <a:xfrm>
            <a:off x="4277789" y="1194507"/>
            <a:ext cx="947651" cy="705940"/>
            <a:chOff x="6554220" y="1102602"/>
            <a:chExt cx="1042445" cy="883361"/>
          </a:xfrm>
        </p:grpSpPr>
        <p:sp>
          <p:nvSpPr>
            <p:cNvPr id="684" name="Rectangle 197"/>
            <p:cNvSpPr>
              <a:spLocks noChangeArrowheads="1"/>
            </p:cNvSpPr>
            <p:nvPr>
              <p:custDataLst>
                <p:tags r:id="rId244"/>
              </p:custDataLst>
            </p:nvPr>
          </p:nvSpPr>
          <p:spPr bwMode="gray">
            <a:xfrm>
              <a:off x="6648927" y="1446213"/>
              <a:ext cx="947738" cy="539750"/>
            </a:xfrm>
            <a:prstGeom prst="rect">
              <a:avLst/>
            </a:prstGeom>
            <a:solidFill>
              <a:srgbClr val="FFFFFF"/>
            </a:solidFill>
            <a:ln w="12700" algn="ctr">
              <a:solidFill>
                <a:schemeClr val="bg2"/>
              </a:solidFill>
              <a:miter lim="800000"/>
              <a:headEnd/>
              <a:tailEnd/>
            </a:ln>
          </p:spPr>
          <p:txBody>
            <a:bodyPr lIns="45720" rIns="73152" bIns="73152"/>
            <a:lstStyle/>
            <a:p>
              <a:pPr defTabSz="891045" eaLnBrk="0" hangingPunct="0">
                <a:spcAft>
                  <a:spcPct val="35000"/>
                </a:spcAft>
                <a:defRPr/>
              </a:pPr>
              <a:endParaRPr lang="ru-RU" sz="500" dirty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685" name="Rectangle 199"/>
            <p:cNvSpPr>
              <a:spLocks noChangeArrowheads="1"/>
            </p:cNvSpPr>
            <p:nvPr>
              <p:custDataLst>
                <p:tags r:id="rId245"/>
              </p:custDataLst>
            </p:nvPr>
          </p:nvSpPr>
          <p:spPr bwMode="gray">
            <a:xfrm>
              <a:off x="6646911" y="1170549"/>
              <a:ext cx="947738" cy="277251"/>
            </a:xfrm>
            <a:prstGeom prst="rect">
              <a:avLst/>
            </a:prstGeom>
            <a:solidFill>
              <a:srgbClr val="DEE2E4"/>
            </a:solidFill>
            <a:ln w="12700" algn="ctr">
              <a:solidFill>
                <a:schemeClr val="bg2"/>
              </a:solidFill>
              <a:miter lim="800000"/>
              <a:headEnd/>
              <a:tailEnd/>
            </a:ln>
          </p:spPr>
          <p:txBody>
            <a:bodyPr lIns="9144" tIns="9144" rIns="9144" bIns="9144" anchor="ctr" anchorCtr="1"/>
            <a:lstStyle/>
            <a:p>
              <a:pPr defTabSz="891045" eaLnBrk="0" hangingPunct="0">
                <a:spcAft>
                  <a:spcPct val="35000"/>
                </a:spcAft>
              </a:pPr>
              <a:r>
                <a:rPr lang="az-Cyrl-AZ" sz="600" b="1" dirty="0">
                  <a:solidFill>
                    <a:srgbClr val="003149"/>
                  </a:solidFill>
                  <a:cs typeface="Arial" panose="020B0604020202020204" pitchFamily="34" charset="0"/>
                </a:rPr>
                <a:t>ПАО «Севералмаз»</a:t>
              </a:r>
            </a:p>
            <a:p>
              <a:pPr defTabSz="891045" eaLnBrk="0" hangingPunct="0">
                <a:spcAft>
                  <a:spcPct val="35000"/>
                </a:spcAft>
              </a:pPr>
              <a:r>
                <a:rPr lang="az-Cyrl-AZ" sz="600" b="1" dirty="0">
                  <a:solidFill>
                    <a:srgbClr val="003149"/>
                  </a:solidFill>
                  <a:cs typeface="Arial" panose="020B0604020202020204" pitchFamily="34" charset="0"/>
                </a:rPr>
                <a:t>Поморская ГРЭ</a:t>
              </a:r>
            </a:p>
          </p:txBody>
        </p:sp>
        <p:sp>
          <p:nvSpPr>
            <p:cNvPr id="686" name="Oval 641"/>
            <p:cNvSpPr>
              <a:spLocks noChangeArrowheads="1"/>
            </p:cNvSpPr>
            <p:nvPr/>
          </p:nvSpPr>
          <p:spPr bwMode="gray">
            <a:xfrm>
              <a:off x="6554220" y="1102602"/>
              <a:ext cx="137896" cy="164592"/>
            </a:xfrm>
            <a:prstGeom prst="ellipse">
              <a:avLst/>
            </a:prstGeom>
            <a:solidFill>
              <a:srgbClr val="DEE2E4"/>
            </a:solidFill>
            <a:ln w="19050" algn="ctr">
              <a:solidFill>
                <a:schemeClr val="bg1"/>
              </a:solidFill>
              <a:miter lim="800000"/>
              <a:headEnd/>
              <a:tailEnd/>
            </a:ln>
          </p:spPr>
          <p:txBody>
            <a:bodyPr lIns="9144" tIns="9144" rIns="9144" bIns="9144" anchor="ctr" anchorCtr="1"/>
            <a:lstStyle/>
            <a:p>
              <a:pPr defTabSz="891045" eaLnBrk="0" hangingPunct="0">
                <a:spcAft>
                  <a:spcPct val="35000"/>
                </a:spcAft>
              </a:pPr>
              <a:r>
                <a:rPr lang="ru-RU" sz="700" b="1" dirty="0">
                  <a:solidFill>
                    <a:srgbClr val="003149"/>
                  </a:solidFill>
                  <a:cs typeface="Arial" panose="020B0604020202020204" pitchFamily="34" charset="0"/>
                </a:rPr>
                <a:t>6</a:t>
              </a:r>
              <a:endParaRPr lang="en-US" sz="700" b="1" dirty="0">
                <a:solidFill>
                  <a:srgbClr val="003149"/>
                </a:solidFill>
                <a:cs typeface="Arial" panose="020B0604020202020204" pitchFamily="34" charset="0"/>
              </a:endParaRPr>
            </a:p>
          </p:txBody>
        </p:sp>
      </p:grpSp>
      <p:sp>
        <p:nvSpPr>
          <p:cNvPr id="687" name="Chord 821"/>
          <p:cNvSpPr/>
          <p:nvPr/>
        </p:nvSpPr>
        <p:spPr bwMode="gray">
          <a:xfrm rot="18900000" flipH="1">
            <a:off x="5148872" y="2974765"/>
            <a:ext cx="176621" cy="202509"/>
          </a:xfrm>
          <a:prstGeom prst="chord">
            <a:avLst>
              <a:gd name="adj1" fmla="val 2700000"/>
              <a:gd name="adj2" fmla="val 13392030"/>
            </a:avLst>
          </a:prstGeom>
          <a:solidFill>
            <a:srgbClr val="00B050"/>
          </a:solidFill>
          <a:ln w="12700">
            <a:solidFill>
              <a:schemeClr val="bg2"/>
            </a:solidFill>
            <a:round/>
            <a:headEnd/>
            <a:tailEnd/>
          </a:ln>
        </p:spPr>
        <p:txBody>
          <a:bodyPr lIns="0" tIns="0" rIns="0" bIns="0" anchor="ctr"/>
          <a:lstStyle/>
          <a:p>
            <a:pPr algn="ctr" defTabSz="891045"/>
            <a:endParaRPr lang="en-GB" sz="600" b="1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688" name="Oval 641"/>
          <p:cNvSpPr>
            <a:spLocks noChangeArrowheads="1"/>
          </p:cNvSpPr>
          <p:nvPr/>
        </p:nvSpPr>
        <p:spPr bwMode="gray">
          <a:xfrm>
            <a:off x="5246772" y="2811227"/>
            <a:ext cx="188256" cy="189994"/>
          </a:xfrm>
          <a:prstGeom prst="ellipse">
            <a:avLst/>
          </a:prstGeom>
          <a:solidFill>
            <a:schemeClr val="accent4">
              <a:lumMod val="40000"/>
              <a:lumOff val="60000"/>
            </a:schemeClr>
          </a:solidFill>
          <a:ln w="12700">
            <a:solidFill>
              <a:schemeClr val="bg2"/>
            </a:solidFill>
            <a:round/>
            <a:headEnd/>
            <a:tailEnd/>
          </a:ln>
        </p:spPr>
        <p:txBody>
          <a:bodyPr lIns="0" tIns="0" rIns="0" bIns="0" anchor="ctr"/>
          <a:lstStyle/>
          <a:p>
            <a:pPr algn="ctr" defTabSz="891045"/>
            <a:endParaRPr lang="en-US" sz="600" b="1" dirty="0">
              <a:solidFill>
                <a:srgbClr val="E0C5FB"/>
              </a:solidFill>
              <a:cs typeface="Arial" panose="020B0604020202020204" pitchFamily="34" charset="0"/>
            </a:endParaRPr>
          </a:p>
        </p:txBody>
      </p:sp>
      <p:sp>
        <p:nvSpPr>
          <p:cNvPr id="689" name="Oval 641"/>
          <p:cNvSpPr>
            <a:spLocks noChangeArrowheads="1"/>
          </p:cNvSpPr>
          <p:nvPr/>
        </p:nvSpPr>
        <p:spPr bwMode="gray">
          <a:xfrm>
            <a:off x="5087447" y="2665648"/>
            <a:ext cx="188256" cy="189994"/>
          </a:xfrm>
          <a:prstGeom prst="ellipse">
            <a:avLst/>
          </a:prstGeom>
          <a:solidFill>
            <a:schemeClr val="accent4">
              <a:lumMod val="40000"/>
              <a:lumOff val="60000"/>
            </a:schemeClr>
          </a:solidFill>
          <a:ln w="12700">
            <a:solidFill>
              <a:schemeClr val="bg2"/>
            </a:solidFill>
            <a:round/>
            <a:headEnd/>
            <a:tailEnd/>
          </a:ln>
        </p:spPr>
        <p:txBody>
          <a:bodyPr lIns="0" tIns="0" rIns="0" bIns="0" anchor="ctr"/>
          <a:lstStyle/>
          <a:p>
            <a:pPr algn="ctr" defTabSz="891045"/>
            <a:endParaRPr lang="en-US" sz="600" b="1" dirty="0">
              <a:solidFill>
                <a:srgbClr val="E0C5FB"/>
              </a:solidFill>
              <a:cs typeface="Arial" panose="020B0604020202020204" pitchFamily="34" charset="0"/>
            </a:endParaRPr>
          </a:p>
        </p:txBody>
      </p:sp>
      <p:pic>
        <p:nvPicPr>
          <p:cNvPr id="690" name="Picture 2" descr="P:\ОТДЕЛ по Взаимодействию с Инвесторами\Севералмаз\ФОТО\DSC08146.JPG"/>
          <p:cNvPicPr>
            <a:picLocks noChangeAspect="1" noChangeArrowheads="1"/>
          </p:cNvPicPr>
          <p:nvPr/>
        </p:nvPicPr>
        <p:blipFill rotWithShape="1">
          <a:blip r:embed="rId29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132" t="9491" r="2941" b="6563"/>
          <a:stretch/>
        </p:blipFill>
        <p:spPr bwMode="auto">
          <a:xfrm>
            <a:off x="4382367" y="1495136"/>
            <a:ext cx="824020" cy="3793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91" name="Picture 16"/>
          <p:cNvPicPr>
            <a:picLocks noChangeAspect="1" noChangeArrowheads="1"/>
          </p:cNvPicPr>
          <p:nvPr/>
        </p:nvPicPr>
        <p:blipFill>
          <a:blip r:embed="rId29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9299" y="3647539"/>
            <a:ext cx="969215" cy="3658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92" name="Line 599"/>
          <p:cNvSpPr>
            <a:spLocks noChangeShapeType="1"/>
          </p:cNvSpPr>
          <p:nvPr/>
        </p:nvSpPr>
        <p:spPr bwMode="gray">
          <a:xfrm flipH="1">
            <a:off x="7008027" y="3102779"/>
            <a:ext cx="675871" cy="0"/>
          </a:xfrm>
          <a:prstGeom prst="line">
            <a:avLst/>
          </a:prstGeom>
          <a:noFill/>
          <a:ln w="9525">
            <a:noFill/>
            <a:round/>
            <a:headEnd/>
            <a:tailEnd/>
          </a:ln>
        </p:spPr>
        <p:txBody>
          <a:bodyPr lIns="82878" tIns="41438" rIns="82878" bIns="41438"/>
          <a:lstStyle/>
          <a:p>
            <a:pPr defTabSz="891045"/>
            <a:endParaRPr lang="en-US" sz="1700" dirty="0">
              <a:solidFill>
                <a:srgbClr val="003149"/>
              </a:solidFill>
              <a:cs typeface="Arial" panose="020B0604020202020204" pitchFamily="34" charset="0"/>
            </a:endParaRPr>
          </a:p>
        </p:txBody>
      </p:sp>
      <p:sp>
        <p:nvSpPr>
          <p:cNvPr id="693" name="Rectangle 185"/>
          <p:cNvSpPr>
            <a:spLocks noChangeArrowheads="1"/>
          </p:cNvSpPr>
          <p:nvPr>
            <p:custDataLst>
              <p:tags r:id="rId233"/>
            </p:custDataLst>
          </p:nvPr>
        </p:nvSpPr>
        <p:spPr bwMode="gray">
          <a:xfrm>
            <a:off x="6848370" y="2421154"/>
            <a:ext cx="949038" cy="432611"/>
          </a:xfrm>
          <a:prstGeom prst="rect">
            <a:avLst/>
          </a:prstGeom>
          <a:solidFill>
            <a:srgbClr val="FFFFFF"/>
          </a:solidFill>
          <a:ln w="12700" algn="ctr">
            <a:solidFill>
              <a:schemeClr val="bg2"/>
            </a:solidFill>
            <a:miter lim="800000"/>
            <a:headEnd/>
            <a:tailEnd/>
          </a:ln>
        </p:spPr>
        <p:txBody>
          <a:bodyPr lIns="41438" tIns="41438" rIns="66306" bIns="66306"/>
          <a:lstStyle/>
          <a:p>
            <a:pPr defTabSz="891045" eaLnBrk="0" hangingPunct="0">
              <a:spcAft>
                <a:spcPct val="35000"/>
              </a:spcAft>
              <a:defRPr/>
            </a:pPr>
            <a:endParaRPr lang="ru-RU" sz="500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694" name="Rectangle 193"/>
          <p:cNvSpPr>
            <a:spLocks noChangeArrowheads="1"/>
          </p:cNvSpPr>
          <p:nvPr>
            <p:custDataLst>
              <p:tags r:id="rId234"/>
            </p:custDataLst>
          </p:nvPr>
        </p:nvSpPr>
        <p:spPr bwMode="gray">
          <a:xfrm>
            <a:off x="6848370" y="2061299"/>
            <a:ext cx="949038" cy="333853"/>
          </a:xfrm>
          <a:prstGeom prst="rect">
            <a:avLst/>
          </a:prstGeom>
          <a:solidFill>
            <a:srgbClr val="DEE2E4"/>
          </a:solidFill>
          <a:ln w="12700" algn="ctr">
            <a:solidFill>
              <a:schemeClr val="bg2"/>
            </a:solidFill>
            <a:miter lim="800000"/>
            <a:headEnd/>
            <a:tailEnd/>
          </a:ln>
        </p:spPr>
        <p:txBody>
          <a:bodyPr lIns="8306" tIns="8306" rIns="8306" bIns="8306" anchor="ctr" anchorCtr="1"/>
          <a:lstStyle/>
          <a:p>
            <a:pPr defTabSz="891045" eaLnBrk="0" hangingPunct="0">
              <a:spcAft>
                <a:spcPct val="35000"/>
              </a:spcAft>
            </a:pPr>
            <a:r>
              <a:rPr lang="ru-RU" sz="600" b="1" dirty="0" err="1">
                <a:solidFill>
                  <a:srgbClr val="003149"/>
                </a:solidFill>
                <a:cs typeface="Arial" panose="020B0604020202020204" pitchFamily="34" charset="0"/>
              </a:rPr>
              <a:t>Нюрбинский</a:t>
            </a:r>
            <a:r>
              <a:rPr lang="ru-RU" sz="600" b="1" dirty="0">
                <a:solidFill>
                  <a:srgbClr val="003149"/>
                </a:solidFill>
                <a:cs typeface="Arial" panose="020B0604020202020204" pitchFamily="34" charset="0"/>
              </a:rPr>
              <a:t> ГОК</a:t>
            </a:r>
          </a:p>
          <a:p>
            <a:pPr defTabSz="891045" eaLnBrk="0" hangingPunct="0">
              <a:spcAft>
                <a:spcPct val="35000"/>
              </a:spcAft>
            </a:pPr>
            <a:r>
              <a:rPr lang="ru-RU" sz="600" b="1" dirty="0">
                <a:solidFill>
                  <a:srgbClr val="003149"/>
                </a:solidFill>
                <a:cs typeface="Arial" panose="020B0604020202020204" pitchFamily="34" charset="0"/>
              </a:rPr>
              <a:t>ПАО «АЛРОСА-Нюрба»</a:t>
            </a:r>
            <a:endParaRPr lang="en-GB" sz="600" b="1" dirty="0">
              <a:solidFill>
                <a:srgbClr val="003149"/>
              </a:solidFill>
              <a:cs typeface="Arial" panose="020B0604020202020204" pitchFamily="34" charset="0"/>
            </a:endParaRPr>
          </a:p>
        </p:txBody>
      </p:sp>
      <p:sp>
        <p:nvSpPr>
          <p:cNvPr id="696" name="Rectangle 186"/>
          <p:cNvSpPr>
            <a:spLocks noChangeArrowheads="1"/>
          </p:cNvSpPr>
          <p:nvPr>
            <p:custDataLst>
              <p:tags r:id="rId235"/>
            </p:custDataLst>
          </p:nvPr>
        </p:nvSpPr>
        <p:spPr bwMode="gray">
          <a:xfrm>
            <a:off x="6848370" y="1639455"/>
            <a:ext cx="949038" cy="447654"/>
          </a:xfrm>
          <a:prstGeom prst="rect">
            <a:avLst/>
          </a:prstGeom>
          <a:solidFill>
            <a:srgbClr val="FFFFFF"/>
          </a:solidFill>
          <a:ln w="12700" algn="ctr">
            <a:solidFill>
              <a:schemeClr val="bg2"/>
            </a:solidFill>
            <a:miter lim="800000"/>
            <a:headEnd/>
            <a:tailEnd/>
          </a:ln>
        </p:spPr>
        <p:txBody>
          <a:bodyPr lIns="41438" tIns="41438" rIns="66306" bIns="66306"/>
          <a:lstStyle/>
          <a:p>
            <a:pPr defTabSz="891045" eaLnBrk="0" hangingPunct="0">
              <a:spcAft>
                <a:spcPct val="35000"/>
              </a:spcAft>
              <a:defRPr/>
            </a:pPr>
            <a:endParaRPr lang="ru-RU" sz="500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697" name="Rectangle 188"/>
          <p:cNvSpPr>
            <a:spLocks noChangeArrowheads="1"/>
          </p:cNvSpPr>
          <p:nvPr>
            <p:custDataLst>
              <p:tags r:id="rId236"/>
            </p:custDataLst>
          </p:nvPr>
        </p:nvSpPr>
        <p:spPr bwMode="gray">
          <a:xfrm>
            <a:off x="6848370" y="1129958"/>
            <a:ext cx="949038" cy="509500"/>
          </a:xfrm>
          <a:prstGeom prst="rect">
            <a:avLst/>
          </a:prstGeom>
          <a:solidFill>
            <a:srgbClr val="DEE2E4"/>
          </a:solidFill>
          <a:ln w="12700" algn="ctr">
            <a:solidFill>
              <a:schemeClr val="bg2"/>
            </a:solidFill>
            <a:miter lim="800000"/>
            <a:headEnd/>
            <a:tailEnd/>
          </a:ln>
        </p:spPr>
        <p:txBody>
          <a:bodyPr lIns="8306" tIns="8306" rIns="8306" bIns="8306" anchor="ctr" anchorCtr="1"/>
          <a:lstStyle/>
          <a:p>
            <a:pPr defTabSz="891045" eaLnBrk="0" hangingPunct="0"/>
            <a:r>
              <a:rPr lang="ru-RU" sz="600" b="1" dirty="0" err="1">
                <a:solidFill>
                  <a:srgbClr val="003149"/>
                </a:solidFill>
                <a:cs typeface="Arial" panose="020B0604020202020204" pitchFamily="34" charset="0"/>
              </a:rPr>
              <a:t>Мирнинский</a:t>
            </a:r>
            <a:r>
              <a:rPr lang="ru-RU" sz="600" b="1" dirty="0">
                <a:solidFill>
                  <a:srgbClr val="003149"/>
                </a:solidFill>
                <a:cs typeface="Arial" panose="020B0604020202020204" pitchFamily="34" charset="0"/>
              </a:rPr>
              <a:t> ГОК</a:t>
            </a:r>
          </a:p>
          <a:p>
            <a:pPr defTabSz="891045" eaLnBrk="0" hangingPunct="0"/>
            <a:r>
              <a:rPr lang="ru-RU" sz="600" b="1" dirty="0">
                <a:solidFill>
                  <a:srgbClr val="003149"/>
                </a:solidFill>
                <a:cs typeface="Arial" panose="020B0604020202020204" pitchFamily="34" charset="0"/>
              </a:rPr>
              <a:t>Вилюйская ГРЭ</a:t>
            </a:r>
          </a:p>
          <a:p>
            <a:pPr defTabSz="891045" eaLnBrk="0" hangingPunct="0"/>
            <a:r>
              <a:rPr lang="ru-RU" sz="600" b="1" dirty="0" err="1">
                <a:solidFill>
                  <a:srgbClr val="003149"/>
                </a:solidFill>
                <a:cs typeface="Arial" panose="020B0604020202020204" pitchFamily="34" charset="0"/>
              </a:rPr>
              <a:t>Мирнинская</a:t>
            </a:r>
            <a:r>
              <a:rPr lang="ru-RU" sz="600" b="1" dirty="0">
                <a:solidFill>
                  <a:srgbClr val="003149"/>
                </a:solidFill>
                <a:cs typeface="Arial" panose="020B0604020202020204" pitchFamily="34" charset="0"/>
              </a:rPr>
              <a:t> ГБЭ</a:t>
            </a:r>
          </a:p>
          <a:p>
            <a:pPr defTabSz="891045" eaLnBrk="0" hangingPunct="0"/>
            <a:r>
              <a:rPr lang="ru-RU" sz="600" b="1" dirty="0">
                <a:solidFill>
                  <a:srgbClr val="003149"/>
                </a:solidFill>
                <a:cs typeface="Arial" panose="020B0604020202020204" pitchFamily="34" charset="0"/>
              </a:rPr>
              <a:t>НИГП</a:t>
            </a:r>
            <a:endParaRPr lang="en-GB" sz="600" b="1" dirty="0">
              <a:solidFill>
                <a:srgbClr val="003149"/>
              </a:solidFill>
              <a:cs typeface="Arial" panose="020B0604020202020204" pitchFamily="34" charset="0"/>
            </a:endParaRPr>
          </a:p>
        </p:txBody>
      </p:sp>
      <p:sp>
        <p:nvSpPr>
          <p:cNvPr id="698" name="Oval 641"/>
          <p:cNvSpPr>
            <a:spLocks noChangeArrowheads="1"/>
          </p:cNvSpPr>
          <p:nvPr/>
        </p:nvSpPr>
        <p:spPr bwMode="gray">
          <a:xfrm>
            <a:off x="6783202" y="1076571"/>
            <a:ext cx="148148" cy="131534"/>
          </a:xfrm>
          <a:prstGeom prst="ellipse">
            <a:avLst/>
          </a:prstGeom>
          <a:solidFill>
            <a:srgbClr val="DEE2E4"/>
          </a:solidFill>
          <a:ln w="19050" algn="ctr">
            <a:solidFill>
              <a:schemeClr val="bg1"/>
            </a:solidFill>
            <a:miter lim="800000"/>
            <a:headEnd/>
            <a:tailEnd/>
          </a:ln>
        </p:spPr>
        <p:txBody>
          <a:bodyPr lIns="8306" tIns="8306" rIns="8306" bIns="8306" anchor="ctr" anchorCtr="1"/>
          <a:lstStyle/>
          <a:p>
            <a:pPr defTabSz="891045" eaLnBrk="0" hangingPunct="0">
              <a:spcAft>
                <a:spcPct val="35000"/>
              </a:spcAft>
            </a:pPr>
            <a:r>
              <a:rPr lang="en-US" sz="700" b="1" dirty="0">
                <a:solidFill>
                  <a:srgbClr val="003149"/>
                </a:solidFill>
                <a:cs typeface="Arial" panose="020B0604020202020204" pitchFamily="34" charset="0"/>
              </a:rPr>
              <a:t>1</a:t>
            </a:r>
          </a:p>
        </p:txBody>
      </p:sp>
      <p:sp>
        <p:nvSpPr>
          <p:cNvPr id="699" name="Rectangle 189"/>
          <p:cNvSpPr>
            <a:spLocks noChangeArrowheads="1"/>
          </p:cNvSpPr>
          <p:nvPr>
            <p:custDataLst>
              <p:tags r:id="rId237"/>
            </p:custDataLst>
          </p:nvPr>
        </p:nvSpPr>
        <p:spPr bwMode="gray">
          <a:xfrm>
            <a:off x="6848370" y="3793700"/>
            <a:ext cx="949038" cy="433880"/>
          </a:xfrm>
          <a:prstGeom prst="rect">
            <a:avLst/>
          </a:prstGeom>
          <a:solidFill>
            <a:srgbClr val="FFFFFF"/>
          </a:solidFill>
          <a:ln w="12700" algn="ctr">
            <a:solidFill>
              <a:schemeClr val="bg2"/>
            </a:solidFill>
            <a:miter lim="800000"/>
            <a:headEnd/>
            <a:tailEnd/>
          </a:ln>
        </p:spPr>
        <p:txBody>
          <a:bodyPr lIns="41438" tIns="41438" rIns="66306" bIns="66306"/>
          <a:lstStyle/>
          <a:p>
            <a:pPr defTabSz="891045" eaLnBrk="0" hangingPunct="0">
              <a:spcAft>
                <a:spcPct val="35000"/>
              </a:spcAft>
              <a:defRPr/>
            </a:pPr>
            <a:endParaRPr lang="ru-RU" sz="500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700" name="Rectangle 191"/>
          <p:cNvSpPr>
            <a:spLocks noChangeArrowheads="1"/>
          </p:cNvSpPr>
          <p:nvPr>
            <p:custDataLst>
              <p:tags r:id="rId238"/>
            </p:custDataLst>
          </p:nvPr>
        </p:nvSpPr>
        <p:spPr bwMode="gray">
          <a:xfrm>
            <a:off x="6848370" y="3587582"/>
            <a:ext cx="949038" cy="206127"/>
          </a:xfrm>
          <a:prstGeom prst="rect">
            <a:avLst/>
          </a:prstGeom>
          <a:solidFill>
            <a:srgbClr val="DEE2E4"/>
          </a:solidFill>
          <a:ln w="12700" algn="ctr">
            <a:solidFill>
              <a:schemeClr val="bg2"/>
            </a:solidFill>
            <a:miter lim="800000"/>
            <a:headEnd/>
            <a:tailEnd/>
          </a:ln>
        </p:spPr>
        <p:txBody>
          <a:bodyPr lIns="8306" tIns="8306" rIns="8306" bIns="8306" anchor="ctr" anchorCtr="1"/>
          <a:lstStyle/>
          <a:p>
            <a:pPr defTabSz="891045" eaLnBrk="0" hangingPunct="0">
              <a:spcAft>
                <a:spcPct val="35000"/>
              </a:spcAft>
            </a:pPr>
            <a:r>
              <a:rPr lang="ru-RU" sz="600" b="1" dirty="0" err="1">
                <a:solidFill>
                  <a:srgbClr val="003149"/>
                </a:solidFill>
                <a:cs typeface="Arial" panose="020B0604020202020204" pitchFamily="34" charset="0"/>
              </a:rPr>
              <a:t>Айхальский</a:t>
            </a:r>
            <a:r>
              <a:rPr lang="ru-RU" sz="600" b="1" dirty="0">
                <a:solidFill>
                  <a:srgbClr val="003149"/>
                </a:solidFill>
                <a:cs typeface="Arial" panose="020B0604020202020204" pitchFamily="34" charset="0"/>
              </a:rPr>
              <a:t> ГОК</a:t>
            </a:r>
          </a:p>
        </p:txBody>
      </p:sp>
      <p:sp>
        <p:nvSpPr>
          <p:cNvPr id="701" name="Oval 641"/>
          <p:cNvSpPr>
            <a:spLocks noChangeArrowheads="1"/>
          </p:cNvSpPr>
          <p:nvPr/>
        </p:nvSpPr>
        <p:spPr bwMode="gray">
          <a:xfrm>
            <a:off x="6789287" y="3547885"/>
            <a:ext cx="148148" cy="131534"/>
          </a:xfrm>
          <a:prstGeom prst="ellipse">
            <a:avLst/>
          </a:prstGeom>
          <a:solidFill>
            <a:srgbClr val="DEE2E4"/>
          </a:solidFill>
          <a:ln w="19050" algn="ctr">
            <a:solidFill>
              <a:schemeClr val="bg1"/>
            </a:solidFill>
            <a:miter lim="800000"/>
            <a:headEnd/>
            <a:tailEnd/>
          </a:ln>
        </p:spPr>
        <p:txBody>
          <a:bodyPr lIns="8306" tIns="8306" rIns="8306" bIns="8306" anchor="ctr" anchorCtr="1"/>
          <a:lstStyle/>
          <a:p>
            <a:pPr defTabSz="891045" eaLnBrk="0" hangingPunct="0">
              <a:spcAft>
                <a:spcPct val="35000"/>
              </a:spcAft>
            </a:pPr>
            <a:r>
              <a:rPr lang="en-US" sz="700" b="1" dirty="0">
                <a:solidFill>
                  <a:srgbClr val="003149"/>
                </a:solidFill>
                <a:cs typeface="Arial" panose="020B0604020202020204" pitchFamily="34" charset="0"/>
              </a:rPr>
              <a:t>4</a:t>
            </a:r>
          </a:p>
        </p:txBody>
      </p:sp>
      <p:sp>
        <p:nvSpPr>
          <p:cNvPr id="703" name="Line 608"/>
          <p:cNvSpPr>
            <a:spLocks noChangeAspect="1" noChangeShapeType="1"/>
          </p:cNvSpPr>
          <p:nvPr/>
        </p:nvSpPr>
        <p:spPr bwMode="gray">
          <a:xfrm flipH="1">
            <a:off x="7415518" y="4863507"/>
            <a:ext cx="536760" cy="0"/>
          </a:xfrm>
          <a:prstGeom prst="line">
            <a:avLst/>
          </a:prstGeom>
          <a:noFill/>
          <a:ln w="9525">
            <a:noFill/>
            <a:round/>
            <a:headEnd/>
            <a:tailEnd/>
          </a:ln>
        </p:spPr>
        <p:txBody>
          <a:bodyPr lIns="82878" tIns="41438" rIns="82878" bIns="41438"/>
          <a:lstStyle/>
          <a:p>
            <a:pPr defTabSz="891045"/>
            <a:endParaRPr lang="en-US" sz="1700" dirty="0">
              <a:solidFill>
                <a:srgbClr val="003149"/>
              </a:solidFill>
              <a:cs typeface="Arial" panose="020B0604020202020204" pitchFamily="34" charset="0"/>
            </a:endParaRPr>
          </a:p>
        </p:txBody>
      </p:sp>
      <p:sp>
        <p:nvSpPr>
          <p:cNvPr id="704" name="Rectangle 197"/>
          <p:cNvSpPr>
            <a:spLocks noChangeArrowheads="1"/>
          </p:cNvSpPr>
          <p:nvPr>
            <p:custDataLst>
              <p:tags r:id="rId239"/>
            </p:custDataLst>
          </p:nvPr>
        </p:nvSpPr>
        <p:spPr bwMode="gray">
          <a:xfrm>
            <a:off x="6848370" y="4472250"/>
            <a:ext cx="949038" cy="431343"/>
          </a:xfrm>
          <a:prstGeom prst="rect">
            <a:avLst/>
          </a:prstGeom>
          <a:solidFill>
            <a:srgbClr val="FFFFFF"/>
          </a:solidFill>
          <a:ln w="12700" algn="ctr">
            <a:solidFill>
              <a:schemeClr val="bg2"/>
            </a:solidFill>
            <a:miter lim="800000"/>
            <a:headEnd/>
            <a:tailEnd/>
          </a:ln>
        </p:spPr>
        <p:txBody>
          <a:bodyPr lIns="41438" tIns="41438" rIns="66306" bIns="66306"/>
          <a:lstStyle/>
          <a:p>
            <a:pPr defTabSz="891045" eaLnBrk="0" hangingPunct="0">
              <a:spcAft>
                <a:spcPct val="35000"/>
              </a:spcAft>
              <a:defRPr/>
            </a:pPr>
            <a:endParaRPr lang="ru-RU" sz="500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705" name="Rectangle 199"/>
          <p:cNvSpPr>
            <a:spLocks noChangeArrowheads="1"/>
          </p:cNvSpPr>
          <p:nvPr>
            <p:custDataLst>
              <p:tags r:id="rId240"/>
            </p:custDataLst>
          </p:nvPr>
        </p:nvSpPr>
        <p:spPr bwMode="gray">
          <a:xfrm>
            <a:off x="6848370" y="4256209"/>
            <a:ext cx="949038" cy="217310"/>
          </a:xfrm>
          <a:prstGeom prst="rect">
            <a:avLst/>
          </a:prstGeom>
          <a:solidFill>
            <a:srgbClr val="DEE2E4"/>
          </a:solidFill>
          <a:ln w="12700" algn="ctr">
            <a:solidFill>
              <a:schemeClr val="bg2"/>
            </a:solidFill>
            <a:miter lim="800000"/>
            <a:headEnd/>
            <a:tailEnd/>
          </a:ln>
        </p:spPr>
        <p:txBody>
          <a:bodyPr lIns="8306" tIns="8306" rIns="8306" bIns="8306" anchor="ctr" anchorCtr="1"/>
          <a:lstStyle/>
          <a:p>
            <a:pPr defTabSz="891045" eaLnBrk="0" hangingPunct="0">
              <a:spcAft>
                <a:spcPct val="35000"/>
              </a:spcAft>
            </a:pPr>
            <a:r>
              <a:rPr lang="ru-RU" sz="500" b="1" dirty="0">
                <a:solidFill>
                  <a:srgbClr val="003149"/>
                </a:solidFill>
                <a:cs typeface="Arial" panose="020B0604020202020204" pitchFamily="34" charset="0"/>
              </a:rPr>
              <a:t>АО «Алмазы Анабара»</a:t>
            </a:r>
          </a:p>
        </p:txBody>
      </p:sp>
      <p:sp>
        <p:nvSpPr>
          <p:cNvPr id="706" name="Oval 641"/>
          <p:cNvSpPr>
            <a:spLocks noChangeArrowheads="1"/>
          </p:cNvSpPr>
          <p:nvPr/>
        </p:nvSpPr>
        <p:spPr bwMode="gray">
          <a:xfrm>
            <a:off x="6779135" y="4167054"/>
            <a:ext cx="148148" cy="131534"/>
          </a:xfrm>
          <a:prstGeom prst="ellipse">
            <a:avLst/>
          </a:prstGeom>
          <a:solidFill>
            <a:srgbClr val="DEE2E4"/>
          </a:solidFill>
          <a:ln w="19050" algn="ctr">
            <a:solidFill>
              <a:schemeClr val="bg1"/>
            </a:solidFill>
            <a:miter lim="800000"/>
            <a:headEnd/>
            <a:tailEnd/>
          </a:ln>
        </p:spPr>
        <p:txBody>
          <a:bodyPr lIns="8306" tIns="8306" rIns="8306" bIns="8306" anchor="ctr" anchorCtr="1"/>
          <a:lstStyle/>
          <a:p>
            <a:pPr defTabSz="891045" eaLnBrk="0" hangingPunct="0">
              <a:spcAft>
                <a:spcPct val="35000"/>
              </a:spcAft>
            </a:pPr>
            <a:r>
              <a:rPr lang="en-US" sz="700" b="1" dirty="0">
                <a:solidFill>
                  <a:srgbClr val="003149"/>
                </a:solidFill>
                <a:cs typeface="Arial" panose="020B0604020202020204" pitchFamily="34" charset="0"/>
              </a:rPr>
              <a:t>5</a:t>
            </a:r>
          </a:p>
        </p:txBody>
      </p:sp>
      <p:sp>
        <p:nvSpPr>
          <p:cNvPr id="707" name="Rectangle 194"/>
          <p:cNvSpPr>
            <a:spLocks noChangeArrowheads="1"/>
          </p:cNvSpPr>
          <p:nvPr>
            <p:custDataLst>
              <p:tags r:id="rId241"/>
            </p:custDataLst>
          </p:nvPr>
        </p:nvSpPr>
        <p:spPr bwMode="gray">
          <a:xfrm>
            <a:off x="6848370" y="3105950"/>
            <a:ext cx="949038" cy="432611"/>
          </a:xfrm>
          <a:prstGeom prst="rect">
            <a:avLst/>
          </a:prstGeom>
          <a:solidFill>
            <a:srgbClr val="FFFFFF"/>
          </a:solidFill>
          <a:ln w="12700" algn="ctr">
            <a:solidFill>
              <a:srgbClr val="969696"/>
            </a:solidFill>
            <a:miter lim="800000"/>
            <a:headEnd/>
            <a:tailEnd/>
          </a:ln>
        </p:spPr>
        <p:txBody>
          <a:bodyPr lIns="41438" tIns="41438" rIns="66306" bIns="66306"/>
          <a:lstStyle/>
          <a:p>
            <a:pPr defTabSz="891045" eaLnBrk="0" hangingPunct="0">
              <a:spcAft>
                <a:spcPct val="35000"/>
              </a:spcAft>
              <a:defRPr/>
            </a:pPr>
            <a:endParaRPr lang="ru-RU" sz="500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708" name="Rectangle 196"/>
          <p:cNvSpPr>
            <a:spLocks noChangeArrowheads="1"/>
          </p:cNvSpPr>
          <p:nvPr>
            <p:custDataLst>
              <p:tags r:id="rId242"/>
            </p:custDataLst>
          </p:nvPr>
        </p:nvSpPr>
        <p:spPr bwMode="gray">
          <a:xfrm>
            <a:off x="6848370" y="2942294"/>
            <a:ext cx="949038" cy="167462"/>
          </a:xfrm>
          <a:prstGeom prst="rect">
            <a:avLst/>
          </a:prstGeom>
          <a:solidFill>
            <a:srgbClr val="DEE2E4"/>
          </a:solidFill>
          <a:ln w="12700" algn="ctr">
            <a:solidFill>
              <a:schemeClr val="bg2"/>
            </a:solidFill>
            <a:miter lim="800000"/>
            <a:headEnd/>
            <a:tailEnd/>
          </a:ln>
        </p:spPr>
        <p:txBody>
          <a:bodyPr lIns="8306" tIns="8306" rIns="8306" bIns="8306" anchor="ctr" anchorCtr="1"/>
          <a:lstStyle/>
          <a:p>
            <a:pPr defTabSz="891045" eaLnBrk="0" hangingPunct="0">
              <a:spcAft>
                <a:spcPct val="35000"/>
              </a:spcAft>
            </a:pPr>
            <a:r>
              <a:rPr lang="ru-RU" sz="600" b="1" dirty="0">
                <a:solidFill>
                  <a:srgbClr val="003149"/>
                </a:solidFill>
                <a:cs typeface="Arial" panose="020B0604020202020204" pitchFamily="34" charset="0"/>
              </a:rPr>
              <a:t>Удачнинский ГОК</a:t>
            </a:r>
          </a:p>
        </p:txBody>
      </p:sp>
      <p:sp>
        <p:nvSpPr>
          <p:cNvPr id="709" name="Oval 641"/>
          <p:cNvSpPr>
            <a:spLocks noChangeArrowheads="1"/>
          </p:cNvSpPr>
          <p:nvPr/>
        </p:nvSpPr>
        <p:spPr bwMode="gray">
          <a:xfrm>
            <a:off x="6789287" y="2883361"/>
            <a:ext cx="148148" cy="131534"/>
          </a:xfrm>
          <a:prstGeom prst="ellipse">
            <a:avLst/>
          </a:prstGeom>
          <a:solidFill>
            <a:srgbClr val="DEE2E4"/>
          </a:solidFill>
          <a:ln w="19050" algn="ctr">
            <a:solidFill>
              <a:schemeClr val="bg1"/>
            </a:solidFill>
            <a:miter lim="800000"/>
            <a:headEnd/>
            <a:tailEnd/>
          </a:ln>
        </p:spPr>
        <p:txBody>
          <a:bodyPr lIns="8306" tIns="8306" rIns="8306" bIns="8306" anchor="ctr" anchorCtr="1"/>
          <a:lstStyle/>
          <a:p>
            <a:pPr defTabSz="891045" eaLnBrk="0" hangingPunct="0">
              <a:spcAft>
                <a:spcPct val="35000"/>
              </a:spcAft>
            </a:pPr>
            <a:r>
              <a:rPr lang="en-US" sz="700" b="1" dirty="0">
                <a:solidFill>
                  <a:srgbClr val="003149"/>
                </a:solidFill>
                <a:cs typeface="Arial" panose="020B0604020202020204" pitchFamily="34" charset="0"/>
              </a:rPr>
              <a:t>3</a:t>
            </a:r>
          </a:p>
        </p:txBody>
      </p:sp>
      <p:pic>
        <p:nvPicPr>
          <p:cNvPr id="710" name="Picture 2" descr="P:\ОТДЕЛ по Взаимодействию с Инвесторами\ФОТО месторождений АЛРОСА\Alrosa photogallery 13\Aerial photography Mirnyy\Mirnyy Aerial photography Mirnyy_004.jpg"/>
          <p:cNvPicPr>
            <a:picLocks noChangeAspect="1" noChangeArrowheads="1"/>
          </p:cNvPicPr>
          <p:nvPr/>
        </p:nvPicPr>
        <p:blipFill rotWithShape="1">
          <a:blip r:embed="rId29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997" t="40216" r="17929" b="11398"/>
          <a:stretch/>
        </p:blipFill>
        <p:spPr bwMode="auto">
          <a:xfrm>
            <a:off x="6882310" y="1679876"/>
            <a:ext cx="910454" cy="3525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11" name="Рисунок 6"/>
          <p:cNvPicPr>
            <a:picLocks noChangeAspect="1"/>
          </p:cNvPicPr>
          <p:nvPr/>
        </p:nvPicPr>
        <p:blipFill rotWithShape="1">
          <a:blip r:embed="rId29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643" b="11015"/>
          <a:stretch/>
        </p:blipFill>
        <p:spPr>
          <a:xfrm>
            <a:off x="6882294" y="3823224"/>
            <a:ext cx="910472" cy="360615"/>
          </a:xfrm>
          <a:prstGeom prst="rect">
            <a:avLst/>
          </a:prstGeom>
        </p:spPr>
      </p:pic>
      <p:pic>
        <p:nvPicPr>
          <p:cNvPr id="712" name="Picture 4"/>
          <p:cNvPicPr>
            <a:picLocks noChangeAspect="1" noChangeArrowheads="1"/>
          </p:cNvPicPr>
          <p:nvPr/>
        </p:nvPicPr>
        <p:blipFill>
          <a:blip r:embed="rId29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82295" y="4504866"/>
            <a:ext cx="910472" cy="3571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13" name="Picture 7"/>
          <p:cNvPicPr>
            <a:picLocks noChangeAspect="1" noChangeArrowheads="1"/>
          </p:cNvPicPr>
          <p:nvPr/>
        </p:nvPicPr>
        <p:blipFill>
          <a:blip r:embed="rId29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57061" y="3111048"/>
            <a:ext cx="939183" cy="38622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14" name="Picture 11"/>
          <p:cNvPicPr>
            <a:picLocks noChangeAspect="1" noChangeArrowheads="1"/>
          </p:cNvPicPr>
          <p:nvPr/>
        </p:nvPicPr>
        <p:blipFill>
          <a:blip r:embed="rId29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82294" y="2451135"/>
            <a:ext cx="910472" cy="3710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715" name="AutoShape 661"/>
          <p:cNvCxnSpPr>
            <a:cxnSpLocks noChangeShapeType="1"/>
          </p:cNvCxnSpPr>
          <p:nvPr/>
        </p:nvCxnSpPr>
        <p:spPr bwMode="gray">
          <a:xfrm rot="10800000" flipV="1">
            <a:off x="5627455" y="2700759"/>
            <a:ext cx="1220919" cy="510533"/>
          </a:xfrm>
          <a:prstGeom prst="bentConnector3">
            <a:avLst>
              <a:gd name="adj1" fmla="val 50000"/>
            </a:avLst>
          </a:prstGeom>
          <a:noFill/>
          <a:ln w="12700">
            <a:solidFill>
              <a:srgbClr val="A0A1A6"/>
            </a:solidFill>
            <a:miter lim="800000"/>
            <a:headEnd/>
            <a:tailEnd type="none" w="med" len="med"/>
          </a:ln>
        </p:spPr>
      </p:cxnSp>
      <p:cxnSp>
        <p:nvCxnSpPr>
          <p:cNvPr id="716" name="AutoShape 661"/>
          <p:cNvCxnSpPr>
            <a:cxnSpLocks noChangeShapeType="1"/>
          </p:cNvCxnSpPr>
          <p:nvPr/>
        </p:nvCxnSpPr>
        <p:spPr bwMode="gray">
          <a:xfrm rot="10800000">
            <a:off x="5129430" y="3304195"/>
            <a:ext cx="1718940" cy="381174"/>
          </a:xfrm>
          <a:prstGeom prst="bentConnector2">
            <a:avLst/>
          </a:prstGeom>
          <a:noFill/>
          <a:ln w="12700">
            <a:solidFill>
              <a:srgbClr val="A0A1A6"/>
            </a:solidFill>
            <a:miter lim="800000"/>
            <a:headEnd/>
            <a:tailEnd type="none" w="med" len="med"/>
          </a:ln>
        </p:spPr>
      </p:cxnSp>
      <p:cxnSp>
        <p:nvCxnSpPr>
          <p:cNvPr id="717" name="AutoShape 661"/>
          <p:cNvCxnSpPr>
            <a:cxnSpLocks noChangeShapeType="1"/>
            <a:stCxn id="704" idx="1"/>
          </p:cNvCxnSpPr>
          <p:nvPr/>
        </p:nvCxnSpPr>
        <p:spPr bwMode="gray">
          <a:xfrm rot="10800000">
            <a:off x="5087472" y="2827426"/>
            <a:ext cx="1760921" cy="1860496"/>
          </a:xfrm>
          <a:prstGeom prst="bentConnector3">
            <a:avLst>
              <a:gd name="adj1" fmla="val 50000"/>
            </a:avLst>
          </a:prstGeom>
          <a:noFill/>
          <a:ln w="12700">
            <a:solidFill>
              <a:srgbClr val="A0A1A6"/>
            </a:solidFill>
            <a:miter lim="800000"/>
            <a:headEnd/>
            <a:tailEnd type="none" w="med" len="med"/>
          </a:ln>
        </p:spPr>
      </p:cxnSp>
      <p:cxnSp>
        <p:nvCxnSpPr>
          <p:cNvPr id="718" name="AutoShape 661"/>
          <p:cNvCxnSpPr>
            <a:cxnSpLocks noChangeShapeType="1"/>
          </p:cNvCxnSpPr>
          <p:nvPr/>
        </p:nvCxnSpPr>
        <p:spPr bwMode="gray">
          <a:xfrm rot="10800000">
            <a:off x="5262581" y="2670640"/>
            <a:ext cx="1601597" cy="1781699"/>
          </a:xfrm>
          <a:prstGeom prst="bentConnector3">
            <a:avLst>
              <a:gd name="adj1" fmla="val 112598"/>
            </a:avLst>
          </a:prstGeom>
          <a:noFill/>
          <a:ln w="12700">
            <a:solidFill>
              <a:srgbClr val="A0A1A6"/>
            </a:solidFill>
            <a:miter lim="800000"/>
            <a:headEnd/>
            <a:tailEnd type="none" w="med" len="med"/>
          </a:ln>
        </p:spPr>
      </p:cxnSp>
      <p:sp>
        <p:nvSpPr>
          <p:cNvPr id="723" name="Freeform 634"/>
          <p:cNvSpPr>
            <a:spLocks/>
          </p:cNvSpPr>
          <p:nvPr>
            <p:custDataLst>
              <p:tags r:id="rId243"/>
            </p:custDataLst>
          </p:nvPr>
        </p:nvSpPr>
        <p:spPr bwMode="gray">
          <a:xfrm>
            <a:off x="4721167" y="4741935"/>
            <a:ext cx="142047" cy="143358"/>
          </a:xfrm>
          <a:prstGeom prst="ellipse">
            <a:avLst/>
          </a:prstGeom>
          <a:solidFill>
            <a:srgbClr val="FF0000"/>
          </a:solidFill>
          <a:ln w="12700">
            <a:solidFill>
              <a:schemeClr val="bg2"/>
            </a:solidFill>
            <a:round/>
            <a:headEnd/>
            <a:tailEnd/>
          </a:ln>
        </p:spPr>
        <p:txBody>
          <a:bodyPr lIns="0" tIns="0" rIns="0" bIns="0" anchor="ctr"/>
          <a:lstStyle/>
          <a:p>
            <a:pPr algn="ctr" defTabSz="891045"/>
            <a:endParaRPr lang="en-GB" sz="600" b="1" dirty="0">
              <a:solidFill>
                <a:srgbClr val="E0C5FB"/>
              </a:solidFill>
              <a:cs typeface="Arial" panose="020B0604020202020204" pitchFamily="34" charset="0"/>
            </a:endParaRPr>
          </a:p>
        </p:txBody>
      </p:sp>
      <p:sp>
        <p:nvSpPr>
          <p:cNvPr id="724" name="Rectangle 637"/>
          <p:cNvSpPr>
            <a:spLocks noChangeArrowheads="1"/>
          </p:cNvSpPr>
          <p:nvPr/>
        </p:nvSpPr>
        <p:spPr bwMode="gray">
          <a:xfrm>
            <a:off x="4820202" y="4734397"/>
            <a:ext cx="803767" cy="1760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82878" tIns="41438" rIns="82878" bIns="41438">
            <a:spAutoFit/>
          </a:bodyPr>
          <a:lstStyle/>
          <a:p>
            <a:pPr defTabSz="891045"/>
            <a:r>
              <a:rPr lang="ru-RU" sz="600" dirty="0">
                <a:solidFill>
                  <a:srgbClr val="003149"/>
                </a:solidFill>
                <a:cs typeface="Arial" panose="020B0604020202020204" pitchFamily="34" charset="0"/>
              </a:rPr>
              <a:t>Предприятия ГРК</a:t>
            </a:r>
            <a:endParaRPr lang="en-US" sz="600" dirty="0">
              <a:solidFill>
                <a:srgbClr val="003149"/>
              </a:solidFill>
              <a:cs typeface="Arial" panose="020B0604020202020204" pitchFamily="34" charset="0"/>
            </a:endParaRPr>
          </a:p>
        </p:txBody>
      </p:sp>
      <p:sp>
        <p:nvSpPr>
          <p:cNvPr id="726" name="Oval 641"/>
          <p:cNvSpPr>
            <a:spLocks noChangeArrowheads="1"/>
          </p:cNvSpPr>
          <p:nvPr/>
        </p:nvSpPr>
        <p:spPr bwMode="gray">
          <a:xfrm>
            <a:off x="1391226" y="2649035"/>
            <a:ext cx="127112" cy="136736"/>
          </a:xfrm>
          <a:prstGeom prst="ellipse">
            <a:avLst/>
          </a:prstGeom>
          <a:solidFill>
            <a:schemeClr val="accent2">
              <a:lumMod val="50000"/>
            </a:schemeClr>
          </a:solidFill>
          <a:ln w="12700">
            <a:solidFill>
              <a:schemeClr val="bg2"/>
            </a:solidFill>
            <a:round/>
            <a:headEnd/>
            <a:tailEnd/>
          </a:ln>
        </p:spPr>
        <p:txBody>
          <a:bodyPr lIns="0" tIns="0" rIns="0" bIns="0" anchor="ctr"/>
          <a:lstStyle/>
          <a:p>
            <a:pPr algn="ctr" defTabSz="891045"/>
            <a:endParaRPr lang="en-US" sz="600" b="1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731" name="Пирог 733"/>
          <p:cNvSpPr/>
          <p:nvPr/>
        </p:nvSpPr>
        <p:spPr>
          <a:xfrm rot="7806279">
            <a:off x="5447359" y="3172938"/>
            <a:ext cx="194349" cy="184649"/>
          </a:xfrm>
          <a:prstGeom prst="pie">
            <a:avLst>
              <a:gd name="adj1" fmla="val 8311319"/>
              <a:gd name="adj2" fmla="val 19195304"/>
            </a:avLst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025" tIns="41513" rIns="83025" bIns="41513" rtlCol="0" anchor="ctr"/>
          <a:lstStyle/>
          <a:p>
            <a:pPr algn="ctr" defTabSz="891045"/>
            <a:endParaRPr lang="ru-RU" sz="1700">
              <a:solidFill>
                <a:srgbClr val="003149"/>
              </a:solidFill>
            </a:endParaRPr>
          </a:p>
        </p:txBody>
      </p:sp>
      <p:sp>
        <p:nvSpPr>
          <p:cNvPr id="732" name="Пирог 734"/>
          <p:cNvSpPr/>
          <p:nvPr/>
        </p:nvSpPr>
        <p:spPr>
          <a:xfrm>
            <a:off x="5441675" y="3168684"/>
            <a:ext cx="199144" cy="198980"/>
          </a:xfrm>
          <a:prstGeom prst="pie">
            <a:avLst>
              <a:gd name="adj1" fmla="val 5267539"/>
              <a:gd name="adj2" fmla="val 16200000"/>
            </a:avLst>
          </a:prstGeom>
          <a:solidFill>
            <a:schemeClr val="accent1">
              <a:lumMod val="50000"/>
            </a:schemeClr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025" tIns="41513" rIns="83025" bIns="41513" rtlCol="0" anchor="ctr"/>
          <a:lstStyle/>
          <a:p>
            <a:pPr algn="ctr" defTabSz="891045"/>
            <a:endParaRPr lang="ru-RU" sz="1700">
              <a:solidFill>
                <a:srgbClr val="003149"/>
              </a:solidFill>
            </a:endParaRPr>
          </a:p>
        </p:txBody>
      </p:sp>
      <p:sp>
        <p:nvSpPr>
          <p:cNvPr id="737" name="Пирог 739"/>
          <p:cNvSpPr/>
          <p:nvPr/>
        </p:nvSpPr>
        <p:spPr>
          <a:xfrm rot="7806279">
            <a:off x="5282162" y="3360728"/>
            <a:ext cx="194349" cy="184649"/>
          </a:xfrm>
          <a:prstGeom prst="pie">
            <a:avLst>
              <a:gd name="adj1" fmla="val 8311319"/>
              <a:gd name="adj2" fmla="val 15389119"/>
            </a:avLst>
          </a:prstGeom>
          <a:solidFill>
            <a:schemeClr val="accent4">
              <a:lumMod val="40000"/>
              <a:lumOff val="60000"/>
            </a:schemeClr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025" tIns="41513" rIns="83025" bIns="41513" rtlCol="0" anchor="ctr"/>
          <a:lstStyle/>
          <a:p>
            <a:pPr algn="ctr" defTabSz="891045"/>
            <a:endParaRPr lang="ru-RU" sz="1700">
              <a:solidFill>
                <a:srgbClr val="003149"/>
              </a:solidFill>
            </a:endParaRPr>
          </a:p>
        </p:txBody>
      </p:sp>
      <p:sp>
        <p:nvSpPr>
          <p:cNvPr id="738" name="Пирог 740"/>
          <p:cNvSpPr/>
          <p:nvPr/>
        </p:nvSpPr>
        <p:spPr>
          <a:xfrm>
            <a:off x="5283051" y="3356499"/>
            <a:ext cx="192571" cy="186353"/>
          </a:xfrm>
          <a:prstGeom prst="pie">
            <a:avLst>
              <a:gd name="adj1" fmla="val 8944453"/>
              <a:gd name="adj2" fmla="val 16200000"/>
            </a:avLst>
          </a:prstGeom>
          <a:solidFill>
            <a:srgbClr val="00B050"/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025" tIns="41513" rIns="83025" bIns="41513" rtlCol="0" anchor="ctr"/>
          <a:lstStyle/>
          <a:p>
            <a:pPr algn="ctr" defTabSz="891045"/>
            <a:endParaRPr lang="ru-RU" sz="1700">
              <a:solidFill>
                <a:srgbClr val="003149"/>
              </a:solidFill>
            </a:endParaRPr>
          </a:p>
        </p:txBody>
      </p:sp>
      <p:sp>
        <p:nvSpPr>
          <p:cNvPr id="739" name="Пирог 741"/>
          <p:cNvSpPr/>
          <p:nvPr/>
        </p:nvSpPr>
        <p:spPr>
          <a:xfrm rot="14423786">
            <a:off x="5283783" y="3354386"/>
            <a:ext cx="191098" cy="190738"/>
          </a:xfrm>
          <a:prstGeom prst="pie">
            <a:avLst>
              <a:gd name="adj1" fmla="val 8735202"/>
              <a:gd name="adj2" fmla="val 16146781"/>
            </a:avLst>
          </a:prstGeom>
          <a:solidFill>
            <a:srgbClr val="FF0000"/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025" tIns="41513" rIns="83025" bIns="41513" rtlCol="0" anchor="ctr"/>
          <a:lstStyle/>
          <a:p>
            <a:pPr algn="ctr" defTabSz="891045"/>
            <a:endParaRPr lang="ru-RU" sz="1700">
              <a:solidFill>
                <a:srgbClr val="003149"/>
              </a:solidFill>
            </a:endParaRPr>
          </a:p>
        </p:txBody>
      </p:sp>
      <p:sp>
        <p:nvSpPr>
          <p:cNvPr id="741" name="Oval 641"/>
          <p:cNvSpPr>
            <a:spLocks noChangeArrowheads="1"/>
          </p:cNvSpPr>
          <p:nvPr/>
        </p:nvSpPr>
        <p:spPr bwMode="gray">
          <a:xfrm>
            <a:off x="3297907" y="2508975"/>
            <a:ext cx="188256" cy="193323"/>
          </a:xfrm>
          <a:prstGeom prst="ellipse">
            <a:avLst/>
          </a:prstGeom>
          <a:solidFill>
            <a:schemeClr val="accent1">
              <a:lumMod val="50000"/>
            </a:schemeClr>
          </a:solidFill>
          <a:ln w="12700">
            <a:solidFill>
              <a:schemeClr val="bg2"/>
            </a:solidFill>
            <a:round/>
            <a:headEnd/>
            <a:tailEnd/>
          </a:ln>
        </p:spPr>
        <p:txBody>
          <a:bodyPr lIns="0" tIns="0" rIns="0" bIns="0" anchor="ctr"/>
          <a:lstStyle/>
          <a:p>
            <a:pPr algn="ctr" defTabSz="891045"/>
            <a:endParaRPr lang="en-US" sz="600" b="1" dirty="0">
              <a:solidFill>
                <a:srgbClr val="E0C5FB"/>
              </a:solidFill>
              <a:cs typeface="Arial" panose="020B0604020202020204" pitchFamily="34" charset="0"/>
            </a:endParaRPr>
          </a:p>
        </p:txBody>
      </p:sp>
      <p:sp>
        <p:nvSpPr>
          <p:cNvPr id="742" name="Chord 808"/>
          <p:cNvSpPr/>
          <p:nvPr/>
        </p:nvSpPr>
        <p:spPr bwMode="gray">
          <a:xfrm rot="18900000" flipH="1">
            <a:off x="3317469" y="2520915"/>
            <a:ext cx="176621" cy="183690"/>
          </a:xfrm>
          <a:prstGeom prst="chord">
            <a:avLst>
              <a:gd name="adj1" fmla="val 2700000"/>
              <a:gd name="adj2" fmla="val 13538618"/>
            </a:avLst>
          </a:prstGeom>
          <a:solidFill>
            <a:srgbClr val="FF0000"/>
          </a:solidFill>
          <a:ln w="12700">
            <a:solidFill>
              <a:schemeClr val="bg2"/>
            </a:solidFill>
            <a:round/>
            <a:headEnd/>
            <a:tailEnd/>
          </a:ln>
        </p:spPr>
        <p:txBody>
          <a:bodyPr lIns="0" tIns="0" rIns="0" bIns="0" anchor="ctr"/>
          <a:lstStyle/>
          <a:p>
            <a:pPr algn="ctr" defTabSz="891045"/>
            <a:endParaRPr lang="en-GB" sz="600" b="1" dirty="0">
              <a:solidFill>
                <a:srgbClr val="E0C5FB"/>
              </a:solidFill>
              <a:cs typeface="Arial" panose="020B0604020202020204" pitchFamily="34" charset="0"/>
            </a:endParaRPr>
          </a:p>
        </p:txBody>
      </p:sp>
      <p:cxnSp>
        <p:nvCxnSpPr>
          <p:cNvPr id="743" name="AutoShape 661"/>
          <p:cNvCxnSpPr>
            <a:cxnSpLocks noChangeShapeType="1"/>
          </p:cNvCxnSpPr>
          <p:nvPr/>
        </p:nvCxnSpPr>
        <p:spPr bwMode="gray">
          <a:xfrm rot="5400000">
            <a:off x="5279353" y="1783411"/>
            <a:ext cx="1672527" cy="1465507"/>
          </a:xfrm>
          <a:prstGeom prst="bentConnector3">
            <a:avLst>
              <a:gd name="adj1" fmla="val 6222"/>
            </a:avLst>
          </a:prstGeom>
          <a:noFill/>
          <a:ln w="12700">
            <a:solidFill>
              <a:srgbClr val="A0A1A6"/>
            </a:solidFill>
            <a:miter lim="800000"/>
            <a:headEnd/>
            <a:tailEnd type="none" w="med" len="med"/>
          </a:ln>
        </p:spPr>
      </p:cxnSp>
      <p:sp>
        <p:nvSpPr>
          <p:cNvPr id="744" name="Text Box 652"/>
          <p:cNvSpPr txBox="1">
            <a:spLocks noChangeAspect="1" noChangeArrowheads="1"/>
          </p:cNvSpPr>
          <p:nvPr/>
        </p:nvSpPr>
        <p:spPr bwMode="gray">
          <a:xfrm>
            <a:off x="5090451" y="2702947"/>
            <a:ext cx="1306516" cy="24622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algn="ctr" defTabSz="891045">
              <a:spcBef>
                <a:spcPct val="50000"/>
              </a:spcBef>
            </a:pPr>
            <a:r>
              <a:rPr lang="ru-RU" sz="800" b="1" dirty="0">
                <a:solidFill>
                  <a:srgbClr val="003149"/>
                </a:solidFill>
                <a:cs typeface="Arial" panose="020B0604020202020204" pitchFamily="34" charset="0"/>
              </a:rPr>
              <a:t>Республика Саха</a:t>
            </a:r>
            <a:r>
              <a:rPr lang="en-US" sz="800" b="1" dirty="0">
                <a:solidFill>
                  <a:srgbClr val="003149"/>
                </a:solidFill>
                <a:cs typeface="Arial" panose="020B0604020202020204" pitchFamily="34" charset="0"/>
              </a:rPr>
              <a:t> </a:t>
            </a:r>
            <a:br>
              <a:rPr lang="en-US" sz="800" b="1" dirty="0">
                <a:solidFill>
                  <a:srgbClr val="003149"/>
                </a:solidFill>
                <a:cs typeface="Arial" panose="020B0604020202020204" pitchFamily="34" charset="0"/>
              </a:rPr>
            </a:br>
            <a:r>
              <a:rPr lang="en-US" sz="800" b="1" dirty="0">
                <a:solidFill>
                  <a:srgbClr val="003149"/>
                </a:solidFill>
                <a:cs typeface="Arial" panose="020B0604020202020204" pitchFamily="34" charset="0"/>
              </a:rPr>
              <a:t>(</a:t>
            </a:r>
            <a:r>
              <a:rPr lang="ru-RU" sz="800" b="1" dirty="0">
                <a:solidFill>
                  <a:srgbClr val="003149"/>
                </a:solidFill>
                <a:cs typeface="Arial" panose="020B0604020202020204" pitchFamily="34" charset="0"/>
              </a:rPr>
              <a:t>Якутия</a:t>
            </a:r>
            <a:r>
              <a:rPr lang="en-US" sz="800" b="1" dirty="0">
                <a:solidFill>
                  <a:srgbClr val="003149"/>
                </a:solidFill>
                <a:cs typeface="Arial" panose="020B0604020202020204" pitchFamily="34" charset="0"/>
              </a:rPr>
              <a:t>)</a:t>
            </a:r>
          </a:p>
        </p:txBody>
      </p:sp>
      <p:cxnSp>
        <p:nvCxnSpPr>
          <p:cNvPr id="745" name="AutoShape 661"/>
          <p:cNvCxnSpPr>
            <a:cxnSpLocks noChangeShapeType="1"/>
          </p:cNvCxnSpPr>
          <p:nvPr/>
        </p:nvCxnSpPr>
        <p:spPr bwMode="gray">
          <a:xfrm rot="10800000">
            <a:off x="5340956" y="3085742"/>
            <a:ext cx="1507437" cy="18963"/>
          </a:xfrm>
          <a:prstGeom prst="bentConnector3">
            <a:avLst>
              <a:gd name="adj1" fmla="val -229"/>
            </a:avLst>
          </a:prstGeom>
          <a:noFill/>
          <a:ln w="12700">
            <a:solidFill>
              <a:srgbClr val="A0A1A6"/>
            </a:solidFill>
            <a:miter lim="800000"/>
            <a:headEnd/>
            <a:tailEnd type="none" w="med" len="med"/>
          </a:ln>
        </p:spPr>
      </p:cxnSp>
      <p:sp>
        <p:nvSpPr>
          <p:cNvPr id="746" name="Text Box 656"/>
          <p:cNvSpPr txBox="1">
            <a:spLocks noChangeArrowheads="1"/>
          </p:cNvSpPr>
          <p:nvPr/>
        </p:nvSpPr>
        <p:spPr bwMode="gray">
          <a:xfrm>
            <a:off x="4231824" y="976134"/>
            <a:ext cx="1490793" cy="15388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defTabSz="891045" eaLnBrk="0" hangingPunct="0">
              <a:spcBef>
                <a:spcPct val="20000"/>
              </a:spcBef>
              <a:buClr>
                <a:srgbClr val="006393"/>
              </a:buClr>
              <a:buSzPct val="90000"/>
            </a:pPr>
            <a:r>
              <a:rPr lang="ru-RU" sz="1000" b="1" dirty="0">
                <a:solidFill>
                  <a:srgbClr val="000000"/>
                </a:solidFill>
                <a:cs typeface="Arial" panose="020B0604020202020204" pitchFamily="34" charset="0"/>
              </a:rPr>
              <a:t>Российская Федерация</a:t>
            </a:r>
            <a:endParaRPr lang="en-US" sz="1000" b="1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graphicFrame>
        <p:nvGraphicFramePr>
          <p:cNvPr id="749" name="Диаграмма 748"/>
          <p:cNvGraphicFramePr/>
          <p:nvPr>
            <p:extLst>
              <p:ext uri="{D42A27DB-BD31-4B8C-83A1-F6EECF244321}">
                <p14:modId xmlns:p14="http://schemas.microsoft.com/office/powerpoint/2010/main" val="2925642627"/>
              </p:ext>
            </p:extLst>
          </p:nvPr>
        </p:nvGraphicFramePr>
        <p:xfrm>
          <a:off x="109670" y="4903593"/>
          <a:ext cx="4469760" cy="227079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00"/>
          </a:graphicData>
        </a:graphic>
      </p:graphicFrame>
      <p:sp>
        <p:nvSpPr>
          <p:cNvPr id="752" name="Oval 641"/>
          <p:cNvSpPr>
            <a:spLocks noChangeArrowheads="1"/>
          </p:cNvSpPr>
          <p:nvPr/>
        </p:nvSpPr>
        <p:spPr bwMode="gray">
          <a:xfrm>
            <a:off x="5025310" y="3106720"/>
            <a:ext cx="195674" cy="198721"/>
          </a:xfrm>
          <a:prstGeom prst="ellipse">
            <a:avLst/>
          </a:prstGeom>
          <a:solidFill>
            <a:schemeClr val="accent1">
              <a:lumMod val="50000"/>
            </a:schemeClr>
          </a:solidFill>
          <a:ln w="12700">
            <a:solidFill>
              <a:schemeClr val="bg2"/>
            </a:solidFill>
            <a:round/>
            <a:headEnd/>
            <a:tailEnd/>
          </a:ln>
        </p:spPr>
        <p:txBody>
          <a:bodyPr lIns="0" tIns="0" rIns="0" bIns="0" anchor="ctr"/>
          <a:lstStyle/>
          <a:p>
            <a:pPr algn="ctr" defTabSz="891045"/>
            <a:endParaRPr lang="en-US" sz="600" b="1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751" name="Chord 821"/>
          <p:cNvSpPr/>
          <p:nvPr/>
        </p:nvSpPr>
        <p:spPr bwMode="gray">
          <a:xfrm rot="18900000" flipH="1">
            <a:off x="5040976" y="3103887"/>
            <a:ext cx="176621" cy="202509"/>
          </a:xfrm>
          <a:prstGeom prst="chord">
            <a:avLst>
              <a:gd name="adj1" fmla="val 2700000"/>
              <a:gd name="adj2" fmla="val 13392030"/>
            </a:avLst>
          </a:prstGeom>
          <a:solidFill>
            <a:srgbClr val="00B050"/>
          </a:solidFill>
          <a:ln w="12700">
            <a:solidFill>
              <a:schemeClr val="bg2"/>
            </a:solidFill>
            <a:round/>
            <a:headEnd/>
            <a:tailEnd/>
          </a:ln>
        </p:spPr>
        <p:txBody>
          <a:bodyPr lIns="0" tIns="0" rIns="0" bIns="0" anchor="ctr"/>
          <a:lstStyle/>
          <a:p>
            <a:pPr algn="ctr" defTabSz="891045"/>
            <a:endParaRPr lang="en-GB" sz="600" b="1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679" name="Oval 813"/>
          <p:cNvSpPr/>
          <p:nvPr/>
        </p:nvSpPr>
        <p:spPr bwMode="gray">
          <a:xfrm>
            <a:off x="5748400" y="3189216"/>
            <a:ext cx="72406" cy="73074"/>
          </a:xfrm>
          <a:prstGeom prst="ellipse">
            <a:avLst/>
          </a:prstGeom>
          <a:solidFill>
            <a:srgbClr val="000000"/>
          </a:solidFill>
          <a:ln w="9525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82878" tIns="41438" rIns="82878" bIns="41438" numCol="1" rtlCol="0" anchor="t" anchorCtr="0" compatLnSpc="1">
            <a:prstTxWarp prst="textNoShape">
              <a:avLst/>
            </a:prstTxWarp>
          </a:bodyPr>
          <a:lstStyle/>
          <a:p>
            <a:pPr defTabSz="891045" fontAlgn="base">
              <a:spcBef>
                <a:spcPct val="50000"/>
              </a:spcBef>
              <a:spcAft>
                <a:spcPct val="0"/>
              </a:spcAft>
            </a:pPr>
            <a:endParaRPr kumimoji="1" lang="en-GB" sz="900" dirty="0">
              <a:solidFill>
                <a:srgbClr val="003149"/>
              </a:solidFill>
              <a:ea typeface="PMingLiU" pitchFamily="18" charset="-120"/>
              <a:cs typeface="Arial" panose="020B0604020202020204" pitchFamily="34" charset="0"/>
            </a:endParaRPr>
          </a:p>
        </p:txBody>
      </p:sp>
      <p:sp>
        <p:nvSpPr>
          <p:cNvPr id="758" name="Chord 808"/>
          <p:cNvSpPr/>
          <p:nvPr/>
        </p:nvSpPr>
        <p:spPr bwMode="gray">
          <a:xfrm rot="18900000" flipH="1">
            <a:off x="1400006" y="2655707"/>
            <a:ext cx="130553" cy="132538"/>
          </a:xfrm>
          <a:prstGeom prst="chord">
            <a:avLst>
              <a:gd name="adj1" fmla="val 2700000"/>
              <a:gd name="adj2" fmla="val 13538618"/>
            </a:avLst>
          </a:prstGeom>
          <a:solidFill>
            <a:srgbClr val="FF0000"/>
          </a:solidFill>
          <a:ln w="12700">
            <a:solidFill>
              <a:schemeClr val="bg2"/>
            </a:solidFill>
            <a:round/>
            <a:headEnd/>
            <a:tailEnd/>
          </a:ln>
        </p:spPr>
        <p:txBody>
          <a:bodyPr lIns="0" tIns="0" rIns="0" bIns="0" anchor="ctr"/>
          <a:lstStyle/>
          <a:p>
            <a:pPr algn="ctr" defTabSz="891045"/>
            <a:endParaRPr lang="en-GB" sz="600" b="1" dirty="0">
              <a:solidFill>
                <a:srgbClr val="E0C5FB"/>
              </a:solidFill>
              <a:cs typeface="Arial" panose="020B0604020202020204" pitchFamily="34" charset="0"/>
            </a:endParaRPr>
          </a:p>
        </p:txBody>
      </p:sp>
      <p:sp>
        <p:nvSpPr>
          <p:cNvPr id="695" name="Oval 641"/>
          <p:cNvSpPr>
            <a:spLocks noChangeArrowheads="1"/>
          </p:cNvSpPr>
          <p:nvPr/>
        </p:nvSpPr>
        <p:spPr bwMode="gray">
          <a:xfrm>
            <a:off x="6761271" y="2020185"/>
            <a:ext cx="148148" cy="131534"/>
          </a:xfrm>
          <a:prstGeom prst="ellipse">
            <a:avLst/>
          </a:prstGeom>
          <a:solidFill>
            <a:srgbClr val="DEE2E4"/>
          </a:solidFill>
          <a:ln w="19050" algn="ctr">
            <a:solidFill>
              <a:schemeClr val="bg1"/>
            </a:solidFill>
            <a:miter lim="800000"/>
            <a:headEnd/>
            <a:tailEnd/>
          </a:ln>
        </p:spPr>
        <p:txBody>
          <a:bodyPr lIns="8306" tIns="8306" rIns="8306" bIns="8306" anchor="ctr" anchorCtr="1"/>
          <a:lstStyle/>
          <a:p>
            <a:pPr defTabSz="891045" eaLnBrk="0" hangingPunct="0">
              <a:spcAft>
                <a:spcPct val="35000"/>
              </a:spcAft>
            </a:pPr>
            <a:r>
              <a:rPr lang="en-US" sz="700" b="1" dirty="0">
                <a:solidFill>
                  <a:srgbClr val="003149"/>
                </a:solidFill>
                <a:cs typeface="Arial" panose="020B0604020202020204" pitchFamily="34" charset="0"/>
              </a:rPr>
              <a:t>2</a:t>
            </a:r>
          </a:p>
        </p:txBody>
      </p:sp>
      <p:sp>
        <p:nvSpPr>
          <p:cNvPr id="762" name="Text Box 652"/>
          <p:cNvSpPr txBox="1">
            <a:spLocks noChangeAspect="1" noChangeArrowheads="1"/>
          </p:cNvSpPr>
          <p:nvPr/>
        </p:nvSpPr>
        <p:spPr bwMode="gray">
          <a:xfrm>
            <a:off x="3185147" y="2717674"/>
            <a:ext cx="1306516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algn="ctr" defTabSz="891045">
              <a:spcBef>
                <a:spcPct val="50000"/>
              </a:spcBef>
            </a:pPr>
            <a:r>
              <a:rPr lang="ru-RU" sz="800" b="1" dirty="0">
                <a:solidFill>
                  <a:srgbClr val="003149"/>
                </a:solidFill>
                <a:cs typeface="Arial" panose="020B0604020202020204" pitchFamily="34" charset="0"/>
              </a:rPr>
              <a:t>Архангельская область</a:t>
            </a:r>
            <a:endParaRPr lang="en-US" sz="800" b="1" dirty="0">
              <a:solidFill>
                <a:srgbClr val="003149"/>
              </a:solidFill>
              <a:cs typeface="Arial" panose="020B0604020202020204" pitchFamily="34" charset="0"/>
            </a:endParaRPr>
          </a:p>
        </p:txBody>
      </p:sp>
      <p:sp>
        <p:nvSpPr>
          <p:cNvPr id="735" name="Заголовок 2"/>
          <p:cNvSpPr txBox="1">
            <a:spLocks/>
          </p:cNvSpPr>
          <p:nvPr/>
        </p:nvSpPr>
        <p:spPr bwMode="gray">
          <a:xfrm>
            <a:off x="0" y="204794"/>
            <a:ext cx="8893175" cy="504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65382" bIns="0" numCol="1" anchor="ctr" anchorCtr="0" compatLnSpc="1">
            <a:prstTxWarp prst="textNoShape">
              <a:avLst/>
            </a:prstTxWarp>
          </a:bodyPr>
          <a:lstStyle>
            <a:lvl1pPr algn="l" defTabSz="893014" rtl="0" eaLnBrk="1" latinLnBrk="0" hangingPunct="1">
              <a:spcBef>
                <a:spcPct val="0"/>
              </a:spcBef>
              <a:buNone/>
              <a:defRPr sz="2500" b="1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r"/>
            <a:r>
              <a:rPr lang="ru-RU" sz="2400" b="0" kern="0" dirty="0" smtClean="0">
                <a:solidFill>
                  <a:srgbClr val="92C5EB">
                    <a:lumMod val="75000"/>
                  </a:srgb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География деятельности</a:t>
            </a:r>
            <a:endParaRPr lang="ru-RU" sz="2400" dirty="0">
              <a:solidFill>
                <a:schemeClr val="accent3">
                  <a:lumMod val="7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364108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0" name="BainBulletsConfiguration" hidden="1"/>
          <p:cNvSpPr txBox="1"/>
          <p:nvPr/>
        </p:nvSpPr>
        <p:spPr>
          <a:xfrm>
            <a:off x="11209" y="12068"/>
            <a:ext cx="7846522" cy="83639"/>
          </a:xfrm>
          <a:prstGeom prst="rect">
            <a:avLst/>
          </a:prstGeom>
          <a:noFill/>
        </p:spPr>
        <p:txBody>
          <a:bodyPr vert="horz" wrap="square" lIns="32688" tIns="32688" rIns="32688" bIns="32688" rtlCol="0">
            <a:spAutoFit/>
          </a:bodyPr>
          <a:lstStyle/>
          <a:p>
            <a:pPr defTabSz="891045"/>
            <a:r>
              <a:rPr lang="ru-RU" sz="100" dirty="0">
                <a:solidFill>
                  <a:srgbClr val="FFFFFF"/>
                </a:solidFill>
              </a:rPr>
              <a:t>52_89 7_84 78_88 81_88 49_84</a:t>
            </a:r>
          </a:p>
        </p:txBody>
      </p:sp>
      <p:sp>
        <p:nvSpPr>
          <p:cNvPr id="735" name="Заголовок 2"/>
          <p:cNvSpPr txBox="1">
            <a:spLocks/>
          </p:cNvSpPr>
          <p:nvPr/>
        </p:nvSpPr>
        <p:spPr bwMode="gray">
          <a:xfrm>
            <a:off x="0" y="204794"/>
            <a:ext cx="8893175" cy="504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65382" bIns="0" numCol="1" anchor="ctr" anchorCtr="0" compatLnSpc="1">
            <a:prstTxWarp prst="textNoShape">
              <a:avLst/>
            </a:prstTxWarp>
          </a:bodyPr>
          <a:lstStyle>
            <a:lvl1pPr algn="l" defTabSz="893014" rtl="0" eaLnBrk="1" latinLnBrk="0" hangingPunct="1">
              <a:spcBef>
                <a:spcPct val="0"/>
              </a:spcBef>
              <a:buNone/>
              <a:defRPr sz="2500" b="1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r"/>
            <a:r>
              <a:rPr lang="ru-RU" sz="2400" b="0" kern="0" dirty="0">
                <a:solidFill>
                  <a:srgbClr val="92C5EB">
                    <a:lumMod val="75000"/>
                  </a:srgb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тратегия группы АЛРОСА</a:t>
            </a:r>
            <a:endParaRPr lang="ru-RU" sz="2400" dirty="0">
              <a:solidFill>
                <a:schemeClr val="accent3">
                  <a:lumMod val="7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728" name="Текст 1"/>
          <p:cNvSpPr txBox="1">
            <a:spLocks/>
          </p:cNvSpPr>
          <p:nvPr/>
        </p:nvSpPr>
        <p:spPr>
          <a:xfrm>
            <a:off x="323529" y="4869162"/>
            <a:ext cx="5580112" cy="1368152"/>
          </a:xfrm>
          <a:prstGeom prst="rect">
            <a:avLst/>
          </a:prstGeom>
        </p:spPr>
        <p:txBody>
          <a:bodyPr lIns="91243" tIns="45622" rIns="91243" bIns="45622"/>
          <a:lstStyle>
            <a:lvl1pPr marL="257175" indent="-257175" algn="l" rtl="0" eaLnBrk="1" fontAlgn="base" hangingPunct="1">
              <a:lnSpc>
                <a:spcPct val="110000"/>
              </a:lnSpc>
              <a:spcBef>
                <a:spcPct val="75000"/>
              </a:spcBef>
              <a:spcAft>
                <a:spcPct val="0"/>
              </a:spcAft>
              <a:buClr>
                <a:srgbClr val="3376D9"/>
              </a:buClr>
              <a:buSzPct val="120000"/>
              <a:buFont typeface="Wingdings" pitchFamily="2" charset="2"/>
              <a:buBlip>
                <a:blip r:embed="rId3"/>
              </a:buBlip>
              <a:defRPr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2625" indent="-423863" algn="l" rtl="0" eaLnBrk="1" fontAlgn="base" hangingPunct="1">
              <a:lnSpc>
                <a:spcPct val="110000"/>
              </a:lnSpc>
              <a:spcBef>
                <a:spcPct val="15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buBlip>
                <a:blip r:embed="rId4"/>
              </a:buBlip>
              <a:defRPr sz="1100">
                <a:solidFill>
                  <a:schemeClr val="tx1"/>
                </a:solidFill>
                <a:latin typeface="+mn-lt"/>
                <a:cs typeface="+mn-cs"/>
              </a:defRPr>
            </a:lvl2pPr>
            <a:lvl3pPr marL="977900" indent="-293688" algn="l" rtl="0" eaLnBrk="1" fontAlgn="base" hangingPunct="1">
              <a:lnSpc>
                <a:spcPct val="110000"/>
              </a:lnSpc>
              <a:spcBef>
                <a:spcPct val="15000"/>
              </a:spcBef>
              <a:spcAft>
                <a:spcPct val="0"/>
              </a:spcAft>
              <a:buClr>
                <a:schemeClr val="bg2"/>
              </a:buClr>
              <a:buSzPct val="85000"/>
              <a:buFont typeface="Wingdings 3" pitchFamily="18" charset="2"/>
              <a:buChar char=""/>
              <a:defRPr sz="1100">
                <a:solidFill>
                  <a:schemeClr val="tx1"/>
                </a:solidFill>
                <a:latin typeface="+mn-lt"/>
                <a:cs typeface="+mn-cs"/>
              </a:defRPr>
            </a:lvl3pPr>
            <a:lvl4pPr marL="1262063" indent="-282575" algn="l" rtl="0" eaLnBrk="1" fontAlgn="base" hangingPunct="1">
              <a:lnSpc>
                <a:spcPct val="110000"/>
              </a:lnSpc>
              <a:spcBef>
                <a:spcPct val="1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buChar char="w"/>
              <a:defRPr sz="1600">
                <a:solidFill>
                  <a:schemeClr val="tx1"/>
                </a:solidFill>
                <a:latin typeface="+mn-lt"/>
                <a:cs typeface="+mn-cs"/>
              </a:defRPr>
            </a:lvl4pPr>
            <a:lvl5pPr marL="1506538" indent="-242888" algn="l" rtl="0" eaLnBrk="1" fontAlgn="base" hangingPunct="1">
              <a:lnSpc>
                <a:spcPct val="110000"/>
              </a:lnSpc>
              <a:spcBef>
                <a:spcPct val="15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5pPr>
            <a:lvl6pPr marL="1963738" indent="-242888" algn="l" rtl="0" eaLnBrk="1" fontAlgn="base" hangingPunct="1">
              <a:lnSpc>
                <a:spcPct val="110000"/>
              </a:lnSpc>
              <a:spcBef>
                <a:spcPct val="15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2420938" indent="-242888" algn="l" rtl="0" eaLnBrk="1" fontAlgn="base" hangingPunct="1">
              <a:lnSpc>
                <a:spcPct val="110000"/>
              </a:lnSpc>
              <a:spcBef>
                <a:spcPct val="15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2878138" indent="-242888" algn="l" rtl="0" eaLnBrk="1" fontAlgn="base" hangingPunct="1">
              <a:lnSpc>
                <a:spcPct val="110000"/>
              </a:lnSpc>
              <a:spcBef>
                <a:spcPct val="15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3335338" indent="-242888" algn="l" rtl="0" eaLnBrk="1" fontAlgn="base" hangingPunct="1">
              <a:lnSpc>
                <a:spcPct val="110000"/>
              </a:lnSpc>
              <a:spcBef>
                <a:spcPct val="15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algn="just"/>
            <a:r>
              <a:rPr lang="ru-RU" dirty="0" smtClean="0">
                <a:solidFill>
                  <a:srgbClr val="016EB3">
                    <a:lumMod val="50000"/>
                  </a:srgbClr>
                </a:solidFill>
              </a:rPr>
              <a:t>Развитие </a:t>
            </a:r>
            <a:r>
              <a:rPr lang="ru-RU" dirty="0">
                <a:solidFill>
                  <a:srgbClr val="016EB3">
                    <a:lumMod val="50000"/>
                  </a:srgbClr>
                </a:solidFill>
              </a:rPr>
              <a:t>производственных </a:t>
            </a:r>
            <a:r>
              <a:rPr lang="ru-RU" dirty="0" smtClean="0">
                <a:solidFill>
                  <a:srgbClr val="016EB3">
                    <a:lumMod val="50000"/>
                  </a:srgbClr>
                </a:solidFill>
              </a:rPr>
              <a:t>мощностей.</a:t>
            </a:r>
          </a:p>
          <a:p>
            <a:pPr algn="just"/>
            <a:r>
              <a:rPr lang="ru-RU" b="1" dirty="0" smtClean="0">
                <a:solidFill>
                  <a:srgbClr val="FF0000"/>
                </a:solidFill>
              </a:rPr>
              <a:t>Воспроизводство </a:t>
            </a:r>
            <a:r>
              <a:rPr lang="ru-RU" b="1" dirty="0">
                <a:solidFill>
                  <a:srgbClr val="FF0000"/>
                </a:solidFill>
              </a:rPr>
              <a:t>минерально-сырьевой </a:t>
            </a:r>
            <a:r>
              <a:rPr lang="ru-RU" b="1" dirty="0" smtClean="0">
                <a:solidFill>
                  <a:srgbClr val="FF0000"/>
                </a:solidFill>
              </a:rPr>
              <a:t>базы.</a:t>
            </a:r>
            <a:r>
              <a:rPr lang="ru-RU" dirty="0" smtClean="0">
                <a:solidFill>
                  <a:srgbClr val="FF0000"/>
                </a:solidFill>
              </a:rPr>
              <a:t> </a:t>
            </a:r>
          </a:p>
          <a:p>
            <a:pPr algn="just"/>
            <a:r>
              <a:rPr lang="ru-RU" dirty="0" smtClean="0">
                <a:solidFill>
                  <a:srgbClr val="016EB3">
                    <a:lumMod val="50000"/>
                  </a:srgbClr>
                </a:solidFill>
              </a:rPr>
              <a:t>Повышение </a:t>
            </a:r>
            <a:r>
              <a:rPr lang="ru-RU" dirty="0">
                <a:solidFill>
                  <a:srgbClr val="016EB3">
                    <a:lumMod val="50000"/>
                  </a:srgbClr>
                </a:solidFill>
              </a:rPr>
              <a:t>экономической эффективности </a:t>
            </a:r>
            <a:r>
              <a:rPr lang="ru-RU" dirty="0" smtClean="0">
                <a:solidFill>
                  <a:srgbClr val="016EB3">
                    <a:lumMod val="50000"/>
                  </a:srgbClr>
                </a:solidFill>
              </a:rPr>
              <a:t>производства. </a:t>
            </a:r>
          </a:p>
          <a:p>
            <a:pPr algn="just"/>
            <a:r>
              <a:rPr lang="ru-RU" dirty="0" smtClean="0">
                <a:solidFill>
                  <a:srgbClr val="016EB3">
                    <a:lumMod val="50000"/>
                  </a:srgbClr>
                </a:solidFill>
              </a:rPr>
              <a:t>Развитие </a:t>
            </a:r>
            <a:r>
              <a:rPr lang="ru-RU" dirty="0">
                <a:solidFill>
                  <a:srgbClr val="016EB3">
                    <a:lumMod val="50000"/>
                  </a:srgbClr>
                </a:solidFill>
              </a:rPr>
              <a:t>сбытовой сети и развитие системы социального партнерства</a:t>
            </a:r>
            <a:r>
              <a:rPr lang="ru-RU" dirty="0" smtClean="0">
                <a:solidFill>
                  <a:srgbClr val="016EB3">
                    <a:lumMod val="50000"/>
                  </a:srgbClr>
                </a:solidFill>
              </a:rPr>
              <a:t>.</a:t>
            </a:r>
            <a:endParaRPr lang="ru-RU" kern="0" dirty="0">
              <a:solidFill>
                <a:srgbClr val="016EB3">
                  <a:lumMod val="50000"/>
                </a:srgbClr>
              </a:solidFill>
            </a:endParaRPr>
          </a:p>
        </p:txBody>
      </p:sp>
      <p:sp>
        <p:nvSpPr>
          <p:cNvPr id="729" name="Текст 1"/>
          <p:cNvSpPr txBox="1">
            <a:spLocks/>
          </p:cNvSpPr>
          <p:nvPr/>
        </p:nvSpPr>
        <p:spPr>
          <a:xfrm>
            <a:off x="4572000" y="1412776"/>
            <a:ext cx="4392488" cy="3168352"/>
          </a:xfrm>
          <a:prstGeom prst="rect">
            <a:avLst/>
          </a:prstGeom>
        </p:spPr>
        <p:txBody>
          <a:bodyPr lIns="91243" tIns="45622" rIns="91243" bIns="45622"/>
          <a:lstStyle>
            <a:lvl1pPr marL="257175" indent="-257175" algn="l" rtl="0" eaLnBrk="1" fontAlgn="base" hangingPunct="1">
              <a:lnSpc>
                <a:spcPct val="110000"/>
              </a:lnSpc>
              <a:spcBef>
                <a:spcPct val="75000"/>
              </a:spcBef>
              <a:spcAft>
                <a:spcPct val="0"/>
              </a:spcAft>
              <a:buClr>
                <a:srgbClr val="3376D9"/>
              </a:buClr>
              <a:buSzPct val="120000"/>
              <a:buFont typeface="Wingdings" pitchFamily="2" charset="2"/>
              <a:buBlip>
                <a:blip r:embed="rId3"/>
              </a:buBlip>
              <a:defRPr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2625" indent="-423863" algn="l" rtl="0" eaLnBrk="1" fontAlgn="base" hangingPunct="1">
              <a:lnSpc>
                <a:spcPct val="110000"/>
              </a:lnSpc>
              <a:spcBef>
                <a:spcPct val="15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buBlip>
                <a:blip r:embed="rId4"/>
              </a:buBlip>
              <a:defRPr sz="1100">
                <a:solidFill>
                  <a:schemeClr val="tx1"/>
                </a:solidFill>
                <a:latin typeface="+mn-lt"/>
                <a:cs typeface="+mn-cs"/>
              </a:defRPr>
            </a:lvl2pPr>
            <a:lvl3pPr marL="977900" indent="-293688" algn="l" rtl="0" eaLnBrk="1" fontAlgn="base" hangingPunct="1">
              <a:lnSpc>
                <a:spcPct val="110000"/>
              </a:lnSpc>
              <a:spcBef>
                <a:spcPct val="15000"/>
              </a:spcBef>
              <a:spcAft>
                <a:spcPct val="0"/>
              </a:spcAft>
              <a:buClr>
                <a:schemeClr val="bg2"/>
              </a:buClr>
              <a:buSzPct val="85000"/>
              <a:buFont typeface="Wingdings 3" pitchFamily="18" charset="2"/>
              <a:buChar char=""/>
              <a:defRPr sz="1100">
                <a:solidFill>
                  <a:schemeClr val="tx1"/>
                </a:solidFill>
                <a:latin typeface="+mn-lt"/>
                <a:cs typeface="+mn-cs"/>
              </a:defRPr>
            </a:lvl3pPr>
            <a:lvl4pPr marL="1262063" indent="-282575" algn="l" rtl="0" eaLnBrk="1" fontAlgn="base" hangingPunct="1">
              <a:lnSpc>
                <a:spcPct val="110000"/>
              </a:lnSpc>
              <a:spcBef>
                <a:spcPct val="1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buChar char="w"/>
              <a:defRPr sz="1600">
                <a:solidFill>
                  <a:schemeClr val="tx1"/>
                </a:solidFill>
                <a:latin typeface="+mn-lt"/>
                <a:cs typeface="+mn-cs"/>
              </a:defRPr>
            </a:lvl4pPr>
            <a:lvl5pPr marL="1506538" indent="-242888" algn="l" rtl="0" eaLnBrk="1" fontAlgn="base" hangingPunct="1">
              <a:lnSpc>
                <a:spcPct val="110000"/>
              </a:lnSpc>
              <a:spcBef>
                <a:spcPct val="15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5pPr>
            <a:lvl6pPr marL="1963738" indent="-242888" algn="l" rtl="0" eaLnBrk="1" fontAlgn="base" hangingPunct="1">
              <a:lnSpc>
                <a:spcPct val="110000"/>
              </a:lnSpc>
              <a:spcBef>
                <a:spcPct val="15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2420938" indent="-242888" algn="l" rtl="0" eaLnBrk="1" fontAlgn="base" hangingPunct="1">
              <a:lnSpc>
                <a:spcPct val="110000"/>
              </a:lnSpc>
              <a:spcBef>
                <a:spcPct val="15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2878138" indent="-242888" algn="l" rtl="0" eaLnBrk="1" fontAlgn="base" hangingPunct="1">
              <a:lnSpc>
                <a:spcPct val="110000"/>
              </a:lnSpc>
              <a:spcBef>
                <a:spcPct val="15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3335338" indent="-242888" algn="l" rtl="0" eaLnBrk="1" fontAlgn="base" hangingPunct="1">
              <a:lnSpc>
                <a:spcPct val="110000"/>
              </a:lnSpc>
              <a:spcBef>
                <a:spcPct val="15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algn="just" defTabSz="912468"/>
            <a:r>
              <a:rPr lang="ru-RU" dirty="0" smtClean="0">
                <a:solidFill>
                  <a:srgbClr val="00294F">
                    <a:lumMod val="90000"/>
                    <a:lumOff val="10000"/>
                  </a:srgbClr>
                </a:solidFill>
              </a:rPr>
              <a:t>Концентрация </a:t>
            </a:r>
            <a:r>
              <a:rPr lang="ru-RU" dirty="0">
                <a:solidFill>
                  <a:srgbClr val="00294F">
                    <a:lumMod val="90000"/>
                    <a:lumOff val="10000"/>
                  </a:srgbClr>
                </a:solidFill>
              </a:rPr>
              <a:t>на алмазном бизнесе при поддержании и расширении объема запасов и ресурсов через проведение целенаправленных геологоразведочных работ (ГРР) в перспективных регионах России и Африки. </a:t>
            </a:r>
          </a:p>
          <a:p>
            <a:pPr algn="just"/>
            <a:r>
              <a:rPr lang="ru-RU" dirty="0" smtClean="0">
                <a:solidFill>
                  <a:srgbClr val="00294F">
                    <a:lumMod val="90000"/>
                    <a:lumOff val="10000"/>
                  </a:srgbClr>
                </a:solidFill>
              </a:rPr>
              <a:t>Повышение </a:t>
            </a:r>
            <a:r>
              <a:rPr lang="ru-RU" dirty="0">
                <a:solidFill>
                  <a:srgbClr val="00294F">
                    <a:lumMod val="90000"/>
                    <a:lumOff val="10000"/>
                  </a:srgbClr>
                </a:solidFill>
              </a:rPr>
              <a:t>производительности труда посредством инноваций и непрерывного совершенствования производственных </a:t>
            </a:r>
            <a:r>
              <a:rPr lang="ru-RU" dirty="0" smtClean="0">
                <a:solidFill>
                  <a:srgbClr val="00294F">
                    <a:lumMod val="90000"/>
                    <a:lumOff val="10000"/>
                  </a:srgbClr>
                </a:solidFill>
              </a:rPr>
              <a:t>процессов. Сохранении </a:t>
            </a:r>
            <a:r>
              <a:rPr lang="ru-RU" dirty="0">
                <a:solidFill>
                  <a:srgbClr val="00294F">
                    <a:lumMod val="90000"/>
                    <a:lumOff val="10000"/>
                  </a:srgbClr>
                </a:solidFill>
              </a:rPr>
              <a:t>лидирующих позиций в алмазодобывающей отрасли в Мире и реализации новой модели социальной ответственности на предприятиях Компании в России, призванной обеспечивать жизненно необходимые услуги в отдаленных регионах. </a:t>
            </a:r>
          </a:p>
        </p:txBody>
      </p:sp>
      <p:sp>
        <p:nvSpPr>
          <p:cNvPr id="730" name="Прямоугольник 729"/>
          <p:cNvSpPr/>
          <p:nvPr/>
        </p:nvSpPr>
        <p:spPr>
          <a:xfrm>
            <a:off x="107504" y="4509132"/>
            <a:ext cx="6552728" cy="369134"/>
          </a:xfrm>
          <a:prstGeom prst="rect">
            <a:avLst/>
          </a:prstGeom>
        </p:spPr>
        <p:txBody>
          <a:bodyPr wrap="square" lIns="91243" tIns="45622" rIns="91243" bIns="45622">
            <a:spAutoFit/>
          </a:bodyPr>
          <a:lstStyle/>
          <a:p>
            <a:pPr algn="ctr"/>
            <a:r>
              <a:rPr lang="ru-RU" b="1" dirty="0">
                <a:solidFill>
                  <a:srgbClr val="016EB3">
                    <a:lumMod val="75000"/>
                  </a:srgbClr>
                </a:solidFill>
              </a:rPr>
              <a:t>Основные стратегические задачи Группы </a:t>
            </a:r>
            <a:r>
              <a:rPr lang="ru-RU" b="1" dirty="0" smtClean="0">
                <a:solidFill>
                  <a:srgbClr val="016EB3">
                    <a:lumMod val="75000"/>
                  </a:srgbClr>
                </a:solidFill>
              </a:rPr>
              <a:t>АЛРОСА </a:t>
            </a:r>
            <a:endParaRPr lang="ru-RU" b="1" dirty="0">
              <a:solidFill>
                <a:srgbClr val="016EB3">
                  <a:lumMod val="75000"/>
                </a:srgbClr>
              </a:solidFill>
            </a:endParaRPr>
          </a:p>
        </p:txBody>
      </p:sp>
      <p:pic>
        <p:nvPicPr>
          <p:cNvPr id="733" name="Рисунок 732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070" t="1" r="27118" b="11690"/>
          <a:stretch/>
        </p:blipFill>
        <p:spPr>
          <a:xfrm>
            <a:off x="395536" y="1237402"/>
            <a:ext cx="3816363" cy="3199710"/>
          </a:xfrm>
          <a:prstGeom prst="rect">
            <a:avLst/>
          </a:prstGeom>
        </p:spPr>
      </p:pic>
      <p:pic>
        <p:nvPicPr>
          <p:cNvPr id="734" name="Рисунок 733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725"/>
          <a:stretch/>
        </p:blipFill>
        <p:spPr>
          <a:xfrm>
            <a:off x="6588247" y="4581128"/>
            <a:ext cx="2195385" cy="1557458"/>
          </a:xfrm>
          <a:prstGeom prst="rect">
            <a:avLst/>
          </a:prstGeom>
        </p:spPr>
      </p:pic>
      <p:sp>
        <p:nvSpPr>
          <p:cNvPr id="736" name="Прямоугольник 735"/>
          <p:cNvSpPr/>
          <p:nvPr/>
        </p:nvSpPr>
        <p:spPr>
          <a:xfrm>
            <a:off x="4283968" y="1052745"/>
            <a:ext cx="1935832" cy="369134"/>
          </a:xfrm>
          <a:prstGeom prst="rect">
            <a:avLst/>
          </a:prstGeom>
        </p:spPr>
        <p:txBody>
          <a:bodyPr wrap="square" lIns="91243" tIns="45622" rIns="91243" bIns="45622">
            <a:spAutoFit/>
          </a:bodyPr>
          <a:lstStyle/>
          <a:p>
            <a:pPr algn="ctr"/>
            <a:r>
              <a:rPr lang="ru-RU" b="1" dirty="0" smtClean="0">
                <a:solidFill>
                  <a:srgbClr val="92C5EB">
                    <a:lumMod val="50000"/>
                  </a:srgbClr>
                </a:solidFill>
              </a:rPr>
              <a:t>Стратегия</a:t>
            </a:r>
            <a:endParaRPr lang="ru-RU" b="1" dirty="0">
              <a:solidFill>
                <a:srgbClr val="92C5EB">
                  <a:lumMod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152660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0" name="BainBulletsConfiguration" hidden="1"/>
          <p:cNvSpPr txBox="1"/>
          <p:nvPr/>
        </p:nvSpPr>
        <p:spPr>
          <a:xfrm>
            <a:off x="11209" y="12068"/>
            <a:ext cx="7846522" cy="83639"/>
          </a:xfrm>
          <a:prstGeom prst="rect">
            <a:avLst/>
          </a:prstGeom>
          <a:noFill/>
        </p:spPr>
        <p:txBody>
          <a:bodyPr vert="horz" wrap="square" lIns="32688" tIns="32688" rIns="32688" bIns="32688" rtlCol="0">
            <a:spAutoFit/>
          </a:bodyPr>
          <a:lstStyle/>
          <a:p>
            <a:pPr defTabSz="891045"/>
            <a:r>
              <a:rPr lang="ru-RU" sz="100" dirty="0">
                <a:solidFill>
                  <a:srgbClr val="FFFFFF"/>
                </a:solidFill>
              </a:rPr>
              <a:t>52_89 7_84 78_88 81_88 49_84</a:t>
            </a:r>
          </a:p>
        </p:txBody>
      </p:sp>
      <p:sp>
        <p:nvSpPr>
          <p:cNvPr id="735" name="Заголовок 2"/>
          <p:cNvSpPr txBox="1">
            <a:spLocks/>
          </p:cNvSpPr>
          <p:nvPr/>
        </p:nvSpPr>
        <p:spPr bwMode="gray">
          <a:xfrm>
            <a:off x="0" y="204794"/>
            <a:ext cx="8893175" cy="504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65382" bIns="0" numCol="1" anchor="ctr" anchorCtr="0" compatLnSpc="1">
            <a:prstTxWarp prst="textNoShape">
              <a:avLst/>
            </a:prstTxWarp>
          </a:bodyPr>
          <a:lstStyle>
            <a:lvl1pPr algn="l" defTabSz="893014" rtl="0" eaLnBrk="1" latinLnBrk="0" hangingPunct="1">
              <a:spcBef>
                <a:spcPct val="0"/>
              </a:spcBef>
              <a:buNone/>
              <a:defRPr sz="2500" b="1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r"/>
            <a:r>
              <a:rPr lang="ru-RU" sz="2400" b="0" kern="0" dirty="0">
                <a:solidFill>
                  <a:srgbClr val="92C5EB">
                    <a:lumMod val="75000"/>
                  </a:srgb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Целевая задача геологоразведочного комплекса (ГРК)</a:t>
            </a:r>
            <a:endParaRPr lang="ru-RU" sz="2400" dirty="0">
              <a:solidFill>
                <a:schemeClr val="accent3">
                  <a:lumMod val="7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0" name="Текст 1"/>
          <p:cNvSpPr txBox="1">
            <a:spLocks/>
          </p:cNvSpPr>
          <p:nvPr/>
        </p:nvSpPr>
        <p:spPr>
          <a:xfrm>
            <a:off x="395536" y="1412776"/>
            <a:ext cx="8316000" cy="4467600"/>
          </a:xfrm>
          <a:prstGeom prst="rect">
            <a:avLst/>
          </a:prstGeom>
        </p:spPr>
        <p:txBody>
          <a:bodyPr/>
          <a:lstStyle>
            <a:lvl1pPr marL="246509" marR="0" indent="-246509" algn="l" defTabSz="890891" rtl="0" eaLnBrk="1" fontAlgn="base" latinLnBrk="0" hangingPunct="1">
              <a:lnSpc>
                <a:spcPct val="100000"/>
              </a:lnSpc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ts val="2400"/>
              <a:buFont typeface="Verdana" pitchFamily="34" charset="0"/>
              <a:buChar char="•"/>
              <a:tabLst/>
              <a:defRPr kumimoji="0" lang="en-US" altLang="zh-CN" sz="1800" b="0" i="0" u="none" strike="noStrike" kern="1200" cap="none" spc="0" normalizeH="0" baseline="0" noProof="1">
                <a:ln>
                  <a:noFill/>
                </a:ln>
                <a:solidFill>
                  <a:schemeClr val="accent1">
                    <a:lumMod val="50000"/>
                  </a:schemeClr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  <a:lvl2pPr marL="521850" marR="0" indent="-108117" algn="l" defTabSz="890891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ts val="2200"/>
              <a:buFont typeface="Verdana"/>
              <a:buChar char="-"/>
              <a:tabLst/>
              <a:defRPr lang="en-CA" altLang="zh-CN" sz="1600" kern="1200" baseline="0" noProof="1">
                <a:solidFill>
                  <a:schemeClr val="accent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55762" marR="0" indent="-260926" algn="l" defTabSz="890891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ts val="2200"/>
              <a:buFont typeface="Marlett" pitchFamily="2" charset="2"/>
              <a:buChar char="8"/>
              <a:tabLst/>
              <a:defRPr lang="zh-CN" altLang="en-US" sz="1600" kern="1200" noProof="1">
                <a:solidFill>
                  <a:schemeClr val="accent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20253" marR="0" indent="-190978" algn="l" defTabSz="89112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tx1"/>
              </a:buClr>
              <a:buSzTx/>
              <a:buFont typeface="Verdana" pitchFamily="34" charset="0"/>
              <a:buChar char="-"/>
              <a:tabLst/>
              <a:defRPr lang="en-CA" altLang="zh-CN" sz="1600" kern="1200">
                <a:solidFill>
                  <a:schemeClr val="accent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05035" indent="-222783" algn="l" defTabSz="89112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5pPr>
            <a:lvl6pPr marL="2450597" indent="-222783" algn="l" defTabSz="89112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896161" indent="-222783" algn="l" defTabSz="89112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341724" indent="-222783" algn="l" defTabSz="89112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87284" indent="-222783" algn="l" defTabSz="89112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600" b="1" dirty="0" smtClean="0"/>
              <a:t>Стратегической целью ГРК Компании является экономически эффективное восполнение и повышение качества минерально-сырьевой базы.</a:t>
            </a:r>
            <a:r>
              <a:rPr lang="ru-RU" sz="1600" dirty="0" smtClean="0"/>
              <a:t> </a:t>
            </a:r>
          </a:p>
          <a:p>
            <a:r>
              <a:rPr lang="ru-RU" sz="1600" dirty="0" smtClean="0"/>
              <a:t>Исходя из этой цели, формулируются основные задачи геологоразведочного комплекса Компании:</a:t>
            </a:r>
          </a:p>
          <a:p>
            <a:pPr lvl="1" indent="423863" algn="just"/>
            <a:r>
              <a:rPr lang="ru-RU" sz="1400" dirty="0" smtClean="0"/>
              <a:t>Прирост запасов и прогнозных ресурсов алмазов, получаемых в результате разведки новых и </a:t>
            </a:r>
            <a:r>
              <a:rPr lang="ru-RU" sz="1400" dirty="0" err="1" smtClean="0"/>
              <a:t>доразведки</a:t>
            </a:r>
            <a:r>
              <a:rPr lang="ru-RU" sz="1400" dirty="0" smtClean="0"/>
              <a:t> известных коренных и россыпных месторождений, а также проведения поисково-оценочных работ на новых выявленных объектах;</a:t>
            </a:r>
          </a:p>
          <a:p>
            <a:pPr lvl="1" indent="423863" algn="just"/>
            <a:r>
              <a:rPr lang="ru-RU" sz="1400" dirty="0" smtClean="0"/>
              <a:t>Обеспечение запасами не менее 100% возмещения алмазодобычи в среднесрочной перспективе;</a:t>
            </a:r>
          </a:p>
          <a:p>
            <a:pPr lvl="1" indent="423863" algn="just"/>
            <a:r>
              <a:rPr lang="ru-RU" sz="1400" dirty="0" smtClean="0"/>
              <a:t>Внедрение передовых методик ведения ГРР, усиление роли научного комплекса при формировании подходов и программы ведения геологоразведочных работ.</a:t>
            </a:r>
          </a:p>
          <a:p>
            <a:r>
              <a:rPr lang="ru-RU" sz="1600" dirty="0" smtClean="0">
                <a:solidFill>
                  <a:srgbClr val="00294F"/>
                </a:solidFill>
              </a:rPr>
              <a:t>Ожидаемый эффект: Обеспечение запасами долгосрочных планов Компании по алмазодобыче</a:t>
            </a:r>
          </a:p>
          <a:p>
            <a:pPr marL="0" indent="0">
              <a:buFont typeface="Verdana" pitchFamily="34" charset="0"/>
              <a:buNone/>
            </a:pP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2260951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0" name="BainBulletsConfiguration" hidden="1"/>
          <p:cNvSpPr txBox="1"/>
          <p:nvPr/>
        </p:nvSpPr>
        <p:spPr>
          <a:xfrm>
            <a:off x="11209" y="12068"/>
            <a:ext cx="7846522" cy="83639"/>
          </a:xfrm>
          <a:prstGeom prst="rect">
            <a:avLst/>
          </a:prstGeom>
          <a:noFill/>
        </p:spPr>
        <p:txBody>
          <a:bodyPr vert="horz" wrap="square" lIns="32688" tIns="32688" rIns="32688" bIns="32688" rtlCol="0">
            <a:spAutoFit/>
          </a:bodyPr>
          <a:lstStyle/>
          <a:p>
            <a:pPr defTabSz="891045"/>
            <a:r>
              <a:rPr lang="ru-RU" sz="100" dirty="0">
                <a:solidFill>
                  <a:srgbClr val="FFFFFF"/>
                </a:solidFill>
              </a:rPr>
              <a:t>52_89 7_84 78_88 81_88 49_84</a:t>
            </a:r>
          </a:p>
        </p:txBody>
      </p:sp>
      <p:sp>
        <p:nvSpPr>
          <p:cNvPr id="735" name="Заголовок 2"/>
          <p:cNvSpPr txBox="1">
            <a:spLocks/>
          </p:cNvSpPr>
          <p:nvPr/>
        </p:nvSpPr>
        <p:spPr bwMode="gray">
          <a:xfrm>
            <a:off x="0" y="204794"/>
            <a:ext cx="8893175" cy="504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65382" bIns="0" numCol="1" anchor="ctr" anchorCtr="0" compatLnSpc="1">
            <a:prstTxWarp prst="textNoShape">
              <a:avLst/>
            </a:prstTxWarp>
          </a:bodyPr>
          <a:lstStyle>
            <a:lvl1pPr algn="l" defTabSz="893014" rtl="0" eaLnBrk="1" latinLnBrk="0" hangingPunct="1">
              <a:spcBef>
                <a:spcPct val="0"/>
              </a:spcBef>
              <a:buNone/>
              <a:defRPr sz="2500" b="1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r"/>
            <a:r>
              <a:rPr lang="ru-RU" sz="2400" b="0" kern="0" dirty="0">
                <a:solidFill>
                  <a:srgbClr val="92C5EB">
                    <a:lumMod val="75000"/>
                  </a:srgb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остояние и прогноз запасов алмазов в динамике по годам</a:t>
            </a:r>
          </a:p>
        </p:txBody>
      </p:sp>
      <p:graphicFrame>
        <p:nvGraphicFramePr>
          <p:cNvPr id="5" name="Диаграмма 4"/>
          <p:cNvGraphicFramePr/>
          <p:nvPr>
            <p:extLst>
              <p:ext uri="{D42A27DB-BD31-4B8C-83A1-F6EECF244321}">
                <p14:modId xmlns:p14="http://schemas.microsoft.com/office/powerpoint/2010/main" val="3057279168"/>
              </p:ext>
            </p:extLst>
          </p:nvPr>
        </p:nvGraphicFramePr>
        <p:xfrm>
          <a:off x="488680" y="1525240"/>
          <a:ext cx="8187776" cy="269584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6" name="TextBox 5"/>
          <p:cNvSpPr txBox="1"/>
          <p:nvPr/>
        </p:nvSpPr>
        <p:spPr>
          <a:xfrm>
            <a:off x="107527" y="1255585"/>
            <a:ext cx="1053467" cy="246023"/>
          </a:xfrm>
          <a:prstGeom prst="rect">
            <a:avLst/>
          </a:prstGeom>
          <a:noFill/>
        </p:spPr>
        <p:txBody>
          <a:bodyPr wrap="square" lIns="91243" tIns="45622" rIns="91243" bIns="45622" rtlCol="0">
            <a:spAutoFit/>
          </a:bodyPr>
          <a:lstStyle/>
          <a:p>
            <a:r>
              <a:rPr lang="ru-RU" sz="1000" dirty="0">
                <a:solidFill>
                  <a:srgbClr val="00294F"/>
                </a:solidFill>
              </a:rPr>
              <a:t>млн карат</a:t>
            </a:r>
          </a:p>
        </p:txBody>
      </p:sp>
      <p:sp>
        <p:nvSpPr>
          <p:cNvPr id="8" name="Line 608"/>
          <p:cNvSpPr>
            <a:spLocks noChangeAspect="1" noChangeShapeType="1"/>
          </p:cNvSpPr>
          <p:nvPr/>
        </p:nvSpPr>
        <p:spPr bwMode="gray">
          <a:xfrm flipH="1">
            <a:off x="4647577" y="3749896"/>
            <a:ext cx="854268" cy="1"/>
          </a:xfrm>
          <a:prstGeom prst="line">
            <a:avLst/>
          </a:prstGeom>
          <a:noFill/>
          <a:ln w="9525">
            <a:noFill/>
            <a:round/>
            <a:headEnd/>
            <a:tailEnd/>
          </a:ln>
        </p:spPr>
        <p:txBody>
          <a:bodyPr lIns="82878" tIns="41438" rIns="82878" bIns="41438"/>
          <a:lstStyle/>
          <a:p>
            <a:pPr defTabSz="891045"/>
            <a:endParaRPr lang="en-US" sz="1700" dirty="0">
              <a:solidFill>
                <a:srgbClr val="003149"/>
              </a:solidFill>
              <a:cs typeface="Arial" panose="020B0604020202020204" pitchFamily="34" charset="0"/>
            </a:endParaRPr>
          </a:p>
        </p:txBody>
      </p:sp>
      <p:graphicFrame>
        <p:nvGraphicFramePr>
          <p:cNvPr id="9" name="Диаграмма 8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077610230"/>
              </p:ext>
            </p:extLst>
          </p:nvPr>
        </p:nvGraphicFramePr>
        <p:xfrm>
          <a:off x="499356" y="4581128"/>
          <a:ext cx="7457020" cy="180019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1" name="TextBox 10"/>
          <p:cNvSpPr txBox="1"/>
          <p:nvPr/>
        </p:nvSpPr>
        <p:spPr>
          <a:xfrm>
            <a:off x="488680" y="4437112"/>
            <a:ext cx="6585254" cy="237725"/>
          </a:xfrm>
          <a:prstGeom prst="rect">
            <a:avLst/>
          </a:prstGeom>
          <a:noFill/>
        </p:spPr>
        <p:txBody>
          <a:bodyPr wrap="square" lIns="83025" tIns="41513" rIns="83025" bIns="41513" rtlCol="0">
            <a:spAutoFit/>
          </a:bodyPr>
          <a:lstStyle/>
          <a:p>
            <a:pPr marL="0" marR="0" lvl="0" indent="0" algn="ctr" defTabSz="89104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1" i="0" u="none" strike="noStrike" kern="0" cap="none" spc="0" normalizeH="0" baseline="0" noProof="0" dirty="0" smtClean="0">
                <a:ln>
                  <a:noFill/>
                </a:ln>
                <a:solidFill>
                  <a:srgbClr val="003149"/>
                </a:solidFill>
                <a:effectLst/>
                <a:uLnTx/>
                <a:uFillTx/>
              </a:rPr>
              <a:t>Прогноз объемов алмазодобычи по Группе АЛРОСА 2016-2030, погашение </a:t>
            </a:r>
            <a:r>
              <a:rPr kumimoji="0" lang="ru-RU" sz="1000" b="1" i="0" u="none" strike="noStrike" kern="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</a:rPr>
              <a:t>560</a:t>
            </a:r>
            <a:r>
              <a:rPr kumimoji="0" lang="ru-RU" sz="1000" b="1" i="0" u="none" strike="noStrike" kern="0" cap="none" spc="0" normalizeH="0" baseline="0" noProof="0" dirty="0" smtClean="0">
                <a:ln>
                  <a:noFill/>
                </a:ln>
                <a:solidFill>
                  <a:srgbClr val="003149"/>
                </a:solidFill>
                <a:effectLst/>
                <a:uLnTx/>
                <a:uFillTx/>
              </a:rPr>
              <a:t> млн кар.</a:t>
            </a:r>
          </a:p>
        </p:txBody>
      </p:sp>
    </p:spTree>
    <p:extLst>
      <p:ext uri="{BB962C8B-B14F-4D97-AF65-F5344CB8AC3E}">
        <p14:creationId xmlns:p14="http://schemas.microsoft.com/office/powerpoint/2010/main" val="14384843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" name="Rectangle 29"/>
          <p:cNvSpPr/>
          <p:nvPr>
            <p:custDataLst>
              <p:tags r:id="rId1"/>
            </p:custDataLst>
          </p:nvPr>
        </p:nvSpPr>
        <p:spPr>
          <a:xfrm>
            <a:off x="87902" y="1050381"/>
            <a:ext cx="5970078" cy="5699580"/>
          </a:xfrm>
          <a:prstGeom prst="rect">
            <a:avLst/>
          </a:prstGeom>
          <a:noFill/>
          <a:ln w="12700">
            <a:solidFill>
              <a:srgbClr val="00639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2691" tIns="32691" rIns="32691" bIns="32691" rtlCol="0" anchor="t"/>
          <a:lstStyle/>
          <a:p>
            <a:pPr defTabSz="891127">
              <a:spcBef>
                <a:spcPts val="480"/>
              </a:spcBef>
              <a:buSzPct val="100000"/>
            </a:pPr>
            <a:endParaRPr lang="ru-RU" sz="900" i="1" dirty="0">
              <a:solidFill>
                <a:srgbClr val="003149"/>
              </a:solidFill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71926" y="6627024"/>
            <a:ext cx="6053956" cy="205081"/>
          </a:xfrm>
          <a:prstGeom prst="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2691" tIns="32691" rIns="32691" bIns="32691" rtlCol="0" anchor="ctr"/>
          <a:lstStyle/>
          <a:p>
            <a:pPr algn="ctr" defTabSz="891127"/>
            <a:endParaRPr lang="en-US" sz="1500" dirty="0">
              <a:solidFill>
                <a:srgbClr val="003149"/>
              </a:solidFill>
            </a:endParaRPr>
          </a:p>
        </p:txBody>
      </p:sp>
      <p:graphicFrame>
        <p:nvGraphicFramePr>
          <p:cNvPr id="8" name="Диаграмма 7"/>
          <p:cNvGraphicFramePr/>
          <p:nvPr>
            <p:extLst>
              <p:ext uri="{D42A27DB-BD31-4B8C-83A1-F6EECF244321}">
                <p14:modId xmlns:p14="http://schemas.microsoft.com/office/powerpoint/2010/main" val="3906016683"/>
              </p:ext>
            </p:extLst>
          </p:nvPr>
        </p:nvGraphicFramePr>
        <p:xfrm>
          <a:off x="2734762" y="1134446"/>
          <a:ext cx="3379205" cy="53640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5"/>
          </a:graphicData>
        </a:graphic>
      </p:graphicFrame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168404" y="53600"/>
            <a:ext cx="8869266" cy="834431"/>
          </a:xfrm>
        </p:spPr>
        <p:txBody>
          <a:bodyPr/>
          <a:lstStyle/>
          <a:p>
            <a:pPr algn="r"/>
            <a:r>
              <a:rPr lang="ru-RU" sz="2400" b="0" dirty="0" smtClean="0"/>
              <a:t>Текущее состояние запасов и ресурсов якутской алмазоносной провинции</a:t>
            </a:r>
            <a:endParaRPr lang="ru-RU" sz="2400" b="0" dirty="0"/>
          </a:p>
        </p:txBody>
      </p:sp>
      <p:sp>
        <p:nvSpPr>
          <p:cNvPr id="120" name="BainBulletsConfiguration" hidden="1"/>
          <p:cNvSpPr txBox="1"/>
          <p:nvPr/>
        </p:nvSpPr>
        <p:spPr>
          <a:xfrm>
            <a:off x="11209" y="12068"/>
            <a:ext cx="7846522" cy="83639"/>
          </a:xfrm>
          <a:prstGeom prst="rect">
            <a:avLst/>
          </a:prstGeom>
          <a:noFill/>
        </p:spPr>
        <p:txBody>
          <a:bodyPr vert="horz" wrap="square" lIns="32691" tIns="32691" rIns="32691" bIns="32691" rtlCol="0">
            <a:spAutoFit/>
          </a:bodyPr>
          <a:lstStyle/>
          <a:p>
            <a:pPr defTabSz="891127"/>
            <a:r>
              <a:rPr lang="ru-RU" sz="100" dirty="0">
                <a:solidFill>
                  <a:srgbClr val="FFFFFF"/>
                </a:solidFill>
              </a:rPr>
              <a:t>52_89 7_84 78_88 81_88 49_84</a:t>
            </a:r>
          </a:p>
        </p:txBody>
      </p:sp>
      <p:cxnSp>
        <p:nvCxnSpPr>
          <p:cNvPr id="15" name="Straight Arrow Connector 5"/>
          <p:cNvCxnSpPr/>
          <p:nvPr/>
        </p:nvCxnSpPr>
        <p:spPr>
          <a:xfrm flipV="1">
            <a:off x="4707071" y="2166294"/>
            <a:ext cx="1110255" cy="3034910"/>
          </a:xfrm>
          <a:prstGeom prst="straightConnector1">
            <a:avLst/>
          </a:prstGeom>
          <a:ln w="31750">
            <a:solidFill>
              <a:srgbClr val="C00000"/>
            </a:solidFill>
            <a:prstDash val="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Rectangle 17"/>
          <p:cNvSpPr/>
          <p:nvPr>
            <p:custDataLst>
              <p:tags r:id="rId2"/>
            </p:custDataLst>
          </p:nvPr>
        </p:nvSpPr>
        <p:spPr>
          <a:xfrm>
            <a:off x="6355023" y="1050380"/>
            <a:ext cx="2682647" cy="12541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2691" tIns="32691" rIns="32691" bIns="32691" rtlCol="0" anchor="t">
            <a:noAutofit/>
          </a:bodyPr>
          <a:lstStyle/>
          <a:p>
            <a:pPr marL="165782" indent="-165782" defTabSz="891127">
              <a:spcBef>
                <a:spcPts val="612"/>
              </a:spcBef>
              <a:buSzPct val="100000"/>
              <a:buFont typeface="Verdana" panose="020B0604030504040204" pitchFamily="34" charset="0"/>
              <a:buChar char="•"/>
            </a:pPr>
            <a:r>
              <a:rPr lang="ru-RU" sz="1100" dirty="0">
                <a:solidFill>
                  <a:srgbClr val="003149"/>
                </a:solidFill>
              </a:rPr>
              <a:t>Одна из ключевых задач ГРК – поддерживать </a:t>
            </a:r>
            <a:r>
              <a:rPr lang="ru-RU" sz="1100" b="1" dirty="0">
                <a:solidFill>
                  <a:srgbClr val="003149"/>
                </a:solidFill>
              </a:rPr>
              <a:t>«ресурсную пирамиду» </a:t>
            </a:r>
            <a:r>
              <a:rPr lang="ru-RU" sz="1100" dirty="0">
                <a:solidFill>
                  <a:srgbClr val="003149"/>
                </a:solidFill>
              </a:rPr>
              <a:t>в </a:t>
            </a:r>
            <a:r>
              <a:rPr lang="ru-RU" sz="1100" b="1" dirty="0">
                <a:solidFill>
                  <a:srgbClr val="003149"/>
                </a:solidFill>
              </a:rPr>
              <a:t>сбалансированном состоянии</a:t>
            </a:r>
          </a:p>
          <a:p>
            <a:pPr marL="165782" indent="-165782" defTabSz="891127">
              <a:spcBef>
                <a:spcPts val="612"/>
              </a:spcBef>
              <a:buSzPct val="100000"/>
              <a:buFont typeface="Verdana" panose="020B0604030504040204" pitchFamily="34" charset="0"/>
              <a:buChar char="•"/>
            </a:pPr>
            <a:r>
              <a:rPr lang="ru-RU" sz="1100" dirty="0">
                <a:solidFill>
                  <a:srgbClr val="003149"/>
                </a:solidFill>
              </a:rPr>
              <a:t>Сбалансированная пирамида позволяет обеспечивать </a:t>
            </a:r>
            <a:r>
              <a:rPr lang="ru-RU" sz="1100" b="1" dirty="0">
                <a:solidFill>
                  <a:srgbClr val="003149"/>
                </a:solidFill>
              </a:rPr>
              <a:t>равномерный прирост запасов</a:t>
            </a:r>
            <a:r>
              <a:rPr lang="ru-RU" sz="1100" dirty="0">
                <a:solidFill>
                  <a:srgbClr val="003149"/>
                </a:solidFill>
              </a:rPr>
              <a:t>, провал в какой-либо категории ресурсов сегодня приведет к невозможности поставить запасы на баланс через несколько лет</a:t>
            </a:r>
          </a:p>
          <a:p>
            <a:pPr marL="165782" indent="-165782" defTabSz="891127">
              <a:spcBef>
                <a:spcPts val="612"/>
              </a:spcBef>
              <a:buSzPct val="100000"/>
              <a:buFont typeface="Verdana" panose="020B0604030504040204" pitchFamily="34" charset="0"/>
              <a:buChar char="•"/>
            </a:pPr>
            <a:r>
              <a:rPr lang="ru-RU" sz="1100" b="1" dirty="0">
                <a:solidFill>
                  <a:srgbClr val="003149"/>
                </a:solidFill>
              </a:rPr>
              <a:t>Текущая пирамида </a:t>
            </a:r>
            <a:r>
              <a:rPr lang="ru-RU" sz="1100" dirty="0">
                <a:solidFill>
                  <a:srgbClr val="003149"/>
                </a:solidFill>
              </a:rPr>
              <a:t>компании </a:t>
            </a:r>
            <a:r>
              <a:rPr lang="ru-RU" sz="1100" b="1" dirty="0">
                <a:solidFill>
                  <a:srgbClr val="003149"/>
                </a:solidFill>
              </a:rPr>
              <a:t>неидеальна</a:t>
            </a:r>
            <a:r>
              <a:rPr lang="ru-RU" sz="1100" dirty="0">
                <a:solidFill>
                  <a:srgbClr val="003149"/>
                </a:solidFill>
              </a:rPr>
              <a:t> – потребность в ресурсах категории Р1-2:</a:t>
            </a:r>
          </a:p>
          <a:p>
            <a:pPr marL="407963" lvl="1" indent="-165782" defTabSz="891127">
              <a:spcBef>
                <a:spcPts val="218"/>
              </a:spcBef>
              <a:buSzPct val="100000"/>
              <a:buFont typeface="Verdana" panose="020B0604030504040204" pitchFamily="34" charset="0"/>
              <a:buChar char="-"/>
            </a:pPr>
            <a:r>
              <a:rPr lang="ru-RU" sz="900" b="1" dirty="0">
                <a:solidFill>
                  <a:srgbClr val="003149"/>
                </a:solidFill>
              </a:rPr>
              <a:t>Программа ГРР </a:t>
            </a:r>
            <a:r>
              <a:rPr lang="ru-RU" sz="900" dirty="0">
                <a:solidFill>
                  <a:srgbClr val="003149"/>
                </a:solidFill>
              </a:rPr>
              <a:t>должна быть </a:t>
            </a:r>
            <a:r>
              <a:rPr lang="ru-RU" sz="900" b="1" dirty="0">
                <a:solidFill>
                  <a:srgbClr val="003149"/>
                </a:solidFill>
              </a:rPr>
              <a:t>сфокусирована на </a:t>
            </a:r>
            <a:r>
              <a:rPr lang="ru-RU" sz="900" dirty="0">
                <a:solidFill>
                  <a:srgbClr val="003149"/>
                </a:solidFill>
              </a:rPr>
              <a:t>стадиях </a:t>
            </a:r>
            <a:r>
              <a:rPr lang="ru-RU" sz="900" b="1" dirty="0">
                <a:solidFill>
                  <a:srgbClr val="003149"/>
                </a:solidFill>
              </a:rPr>
              <a:t>ПОИСКИ </a:t>
            </a:r>
            <a:r>
              <a:rPr lang="ru-RU" sz="900" dirty="0">
                <a:solidFill>
                  <a:srgbClr val="003149"/>
                </a:solidFill>
              </a:rPr>
              <a:t>и </a:t>
            </a:r>
            <a:r>
              <a:rPr lang="ru-RU" sz="900" b="1" dirty="0">
                <a:solidFill>
                  <a:srgbClr val="003149"/>
                </a:solidFill>
              </a:rPr>
              <a:t>ОЦЕНКА</a:t>
            </a:r>
          </a:p>
          <a:p>
            <a:pPr marL="407963" lvl="1" indent="-165782" defTabSz="891127">
              <a:spcBef>
                <a:spcPts val="218"/>
              </a:spcBef>
              <a:buSzPct val="100000"/>
              <a:buFont typeface="Verdana" panose="020B0604030504040204" pitchFamily="34" charset="0"/>
              <a:buChar char="-"/>
            </a:pPr>
            <a:r>
              <a:rPr lang="ru-RU" sz="900" b="1" dirty="0">
                <a:solidFill>
                  <a:srgbClr val="003149"/>
                </a:solidFill>
              </a:rPr>
              <a:t>РЕГИОНАЛЬНЫЕ РАБОТЫ </a:t>
            </a:r>
            <a:r>
              <a:rPr lang="ru-RU" sz="900" dirty="0">
                <a:solidFill>
                  <a:srgbClr val="003149"/>
                </a:solidFill>
              </a:rPr>
              <a:t>должны быть </a:t>
            </a:r>
            <a:r>
              <a:rPr lang="ru-RU" sz="900" dirty="0" err="1">
                <a:solidFill>
                  <a:srgbClr val="003149"/>
                </a:solidFill>
              </a:rPr>
              <a:t>деприритизированы</a:t>
            </a:r>
            <a:endParaRPr lang="ru-RU" sz="900" dirty="0">
              <a:solidFill>
                <a:srgbClr val="003149"/>
              </a:solidFill>
            </a:endParaRPr>
          </a:p>
          <a:p>
            <a:pPr marL="407963" lvl="1" indent="-165782" defTabSz="891127">
              <a:spcBef>
                <a:spcPts val="218"/>
              </a:spcBef>
              <a:buSzPct val="100000"/>
              <a:buFont typeface="Verdana" panose="020B0604030504040204" pitchFamily="34" charset="0"/>
              <a:buChar char="-"/>
            </a:pPr>
            <a:r>
              <a:rPr lang="ru-RU" sz="900" b="1" dirty="0">
                <a:solidFill>
                  <a:srgbClr val="003149"/>
                </a:solidFill>
              </a:rPr>
              <a:t>РАЗВЕДКА</a:t>
            </a:r>
            <a:r>
              <a:rPr lang="ru-RU" sz="900" dirty="0">
                <a:solidFill>
                  <a:srgbClr val="003149"/>
                </a:solidFill>
              </a:rPr>
              <a:t> </a:t>
            </a:r>
            <a:r>
              <a:rPr lang="ru-RU" sz="900" b="1" dirty="0">
                <a:solidFill>
                  <a:srgbClr val="003149"/>
                </a:solidFill>
              </a:rPr>
              <a:t>всегда в приоритете </a:t>
            </a:r>
            <a:r>
              <a:rPr lang="ru-RU" sz="900" dirty="0">
                <a:solidFill>
                  <a:srgbClr val="003149"/>
                </a:solidFill>
              </a:rPr>
              <a:t>– непосредственное поддержание добычи в краткосрочной перспективе</a:t>
            </a:r>
            <a:endParaRPr lang="ru-RU" sz="1100" dirty="0">
              <a:solidFill>
                <a:srgbClr val="003149"/>
              </a:solidFill>
            </a:endParaRPr>
          </a:p>
          <a:p>
            <a:pPr marL="165782" indent="-165782" defTabSz="891127">
              <a:spcBef>
                <a:spcPts val="612"/>
              </a:spcBef>
              <a:buSzPct val="100000"/>
              <a:buFont typeface="Verdana" panose="020B0604030504040204" pitchFamily="34" charset="0"/>
              <a:buChar char="•"/>
            </a:pPr>
            <a:r>
              <a:rPr lang="ru-RU" sz="1100" b="1" dirty="0">
                <a:solidFill>
                  <a:srgbClr val="003149"/>
                </a:solidFill>
              </a:rPr>
              <a:t>Запасы компании </a:t>
            </a:r>
            <a:r>
              <a:rPr lang="ru-RU" sz="1100" dirty="0">
                <a:solidFill>
                  <a:srgbClr val="003149"/>
                </a:solidFill>
              </a:rPr>
              <a:t>(кат. </a:t>
            </a:r>
            <a:r>
              <a:rPr lang="ru-RU" sz="1100" dirty="0" smtClean="0">
                <a:solidFill>
                  <a:srgbClr val="003149"/>
                </a:solidFill>
              </a:rPr>
              <a:t>С1-2</a:t>
            </a:r>
            <a:r>
              <a:rPr lang="ru-RU" sz="1100" dirty="0">
                <a:solidFill>
                  <a:srgbClr val="003149"/>
                </a:solidFill>
              </a:rPr>
              <a:t>) по состоянию на 01.01.2018 составляют </a:t>
            </a:r>
            <a:r>
              <a:rPr lang="ru-RU" sz="1100" b="1" dirty="0">
                <a:solidFill>
                  <a:srgbClr val="003149"/>
                </a:solidFill>
              </a:rPr>
              <a:t>1182 млн карат</a:t>
            </a:r>
            <a:r>
              <a:rPr lang="ru-RU" sz="1100" dirty="0">
                <a:solidFill>
                  <a:srgbClr val="003149"/>
                </a:solidFill>
              </a:rPr>
              <a:t> (20-25 лет добычи)</a:t>
            </a:r>
          </a:p>
          <a:p>
            <a:pPr marL="407963" lvl="1" indent="-165782" defTabSz="891127">
              <a:spcBef>
                <a:spcPts val="218"/>
              </a:spcBef>
              <a:buSzPct val="100000"/>
              <a:buFont typeface="Verdana" panose="020B0604030504040204" pitchFamily="34" charset="0"/>
              <a:buChar char="-"/>
            </a:pPr>
            <a:r>
              <a:rPr lang="ru-RU" sz="900" b="1" dirty="0">
                <a:solidFill>
                  <a:srgbClr val="003149"/>
                </a:solidFill>
              </a:rPr>
              <a:t>320 млн карат </a:t>
            </a:r>
            <a:r>
              <a:rPr lang="ru-RU" sz="900" dirty="0">
                <a:solidFill>
                  <a:srgbClr val="003149"/>
                </a:solidFill>
              </a:rPr>
              <a:t>(~30%) являются </a:t>
            </a:r>
            <a:r>
              <a:rPr lang="ru-RU" sz="900" b="1" dirty="0">
                <a:solidFill>
                  <a:srgbClr val="003149"/>
                </a:solidFill>
              </a:rPr>
              <a:t>«сложными к отработке» </a:t>
            </a:r>
            <a:r>
              <a:rPr lang="ru-RU" sz="900" dirty="0">
                <a:solidFill>
                  <a:srgbClr val="003149"/>
                </a:solidFill>
              </a:rPr>
              <a:t>(</a:t>
            </a:r>
            <a:r>
              <a:rPr lang="ru-RU" sz="900" dirty="0" err="1">
                <a:solidFill>
                  <a:srgbClr val="003149"/>
                </a:solidFill>
              </a:rPr>
              <a:t>беднотоварными</a:t>
            </a:r>
            <a:r>
              <a:rPr lang="ru-RU" sz="900" dirty="0">
                <a:solidFill>
                  <a:srgbClr val="003149"/>
                </a:solidFill>
              </a:rPr>
              <a:t>, требующими сложных технических решений и т.д.), что </a:t>
            </a:r>
            <a:r>
              <a:rPr lang="ru-RU" sz="900" b="1" dirty="0">
                <a:solidFill>
                  <a:srgbClr val="003149"/>
                </a:solidFill>
              </a:rPr>
              <a:t>повышает актуальность ГРР </a:t>
            </a:r>
            <a:r>
              <a:rPr lang="ru-RU" sz="900" dirty="0">
                <a:solidFill>
                  <a:srgbClr val="003149"/>
                </a:solidFill>
              </a:rPr>
              <a:t>для поиска высококачественных ресурсов </a:t>
            </a:r>
          </a:p>
        </p:txBody>
      </p:sp>
      <p:sp>
        <p:nvSpPr>
          <p:cNvPr id="4" name="Правая фигурная скобка 3"/>
          <p:cNvSpPr/>
          <p:nvPr/>
        </p:nvSpPr>
        <p:spPr>
          <a:xfrm>
            <a:off x="4198134" y="2797974"/>
            <a:ext cx="103521" cy="1811552"/>
          </a:xfrm>
          <a:prstGeom prst="rightBrace">
            <a:avLst/>
          </a:prstGeom>
          <a:ln w="1270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83032" tIns="41517" rIns="83032" bIns="41517" rtlCol="0" anchor="ctr"/>
          <a:lstStyle/>
          <a:p>
            <a:pPr algn="ctr" defTabSz="891127"/>
            <a:endParaRPr lang="ru-RU" sz="1700">
              <a:solidFill>
                <a:srgbClr val="003149"/>
              </a:solidFill>
            </a:endParaRPr>
          </a:p>
        </p:txBody>
      </p:sp>
      <p:sp>
        <p:nvSpPr>
          <p:cNvPr id="14" name="Прямоугольная выноска 13"/>
          <p:cNvSpPr/>
          <p:nvPr/>
        </p:nvSpPr>
        <p:spPr>
          <a:xfrm>
            <a:off x="4396249" y="2192009"/>
            <a:ext cx="1022679" cy="1032697"/>
          </a:xfrm>
          <a:prstGeom prst="wedgeRectCallout">
            <a:avLst>
              <a:gd name="adj1" fmla="val -51885"/>
              <a:gd name="adj2" fmla="val 93009"/>
            </a:avLst>
          </a:prstGeom>
          <a:solidFill>
            <a:schemeClr val="bg1"/>
          </a:solidFill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2691" tIns="32691" rIns="32691" bIns="32691" rtlCol="0" anchor="ctr"/>
          <a:lstStyle>
            <a:defPPr>
              <a:defRPr lang="en-US"/>
            </a:defPPr>
            <a:lvl1pPr marL="0" algn="l" defTabSz="981334" rtl="0" eaLnBrk="1" latinLnBrk="0" hangingPunct="1">
              <a:defRPr sz="1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90667" algn="l" defTabSz="981334" rtl="0" eaLnBrk="1" latinLnBrk="0" hangingPunct="1">
              <a:defRPr sz="1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81334" algn="l" defTabSz="981334" rtl="0" eaLnBrk="1" latinLnBrk="0" hangingPunct="1">
              <a:defRPr sz="1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472001" algn="l" defTabSz="981334" rtl="0" eaLnBrk="1" latinLnBrk="0" hangingPunct="1">
              <a:defRPr sz="1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962668" algn="l" defTabSz="981334" rtl="0" eaLnBrk="1" latinLnBrk="0" hangingPunct="1">
              <a:defRPr sz="1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453335" algn="l" defTabSz="981334" rtl="0" eaLnBrk="1" latinLnBrk="0" hangingPunct="1">
              <a:defRPr sz="1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944002" algn="l" defTabSz="981334" rtl="0" eaLnBrk="1" latinLnBrk="0" hangingPunct="1">
              <a:defRPr sz="1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434669" algn="l" defTabSz="981334" rtl="0" eaLnBrk="1" latinLnBrk="0" hangingPunct="1">
              <a:defRPr sz="1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925336" algn="l" defTabSz="981334" rtl="0" eaLnBrk="1" latinLnBrk="0" hangingPunct="1">
              <a:defRPr sz="1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800" b="1" dirty="0">
                <a:solidFill>
                  <a:srgbClr val="003149">
                    <a:lumMod val="90000"/>
                    <a:lumOff val="10000"/>
                  </a:srgbClr>
                </a:solidFill>
              </a:rPr>
              <a:t>В портфеле ГРР не хватает ресурсов Р1-2;</a:t>
            </a:r>
          </a:p>
          <a:p>
            <a:pPr algn="ctr"/>
            <a:r>
              <a:rPr lang="ru-RU" sz="800" b="1" dirty="0">
                <a:solidFill>
                  <a:srgbClr val="003149">
                    <a:lumMod val="90000"/>
                    <a:lumOff val="10000"/>
                  </a:srgbClr>
                </a:solidFill>
              </a:rPr>
              <a:t>Фокусом ГРР должны стать «Поиски» и «Оценка»</a:t>
            </a:r>
            <a:endParaRPr lang="en-US" sz="800" dirty="0">
              <a:solidFill>
                <a:srgbClr val="003149">
                  <a:lumMod val="90000"/>
                  <a:lumOff val="10000"/>
                </a:srgbClr>
              </a:solidFill>
            </a:endParaRPr>
          </a:p>
        </p:txBody>
      </p:sp>
      <p:sp>
        <p:nvSpPr>
          <p:cNvPr id="20" name="Прямоугольник 19"/>
          <p:cNvSpPr/>
          <p:nvPr/>
        </p:nvSpPr>
        <p:spPr>
          <a:xfrm>
            <a:off x="3334443" y="1161619"/>
            <a:ext cx="2541955" cy="307622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2691" tIns="32691" rIns="32691" bIns="32691" rtlCol="0" anchor="ctr"/>
          <a:lstStyle>
            <a:defPPr>
              <a:defRPr lang="en-US"/>
            </a:defPPr>
            <a:lvl1pPr marL="0" algn="l" defTabSz="981334" rtl="0" eaLnBrk="1" latinLnBrk="0" hangingPunct="1">
              <a:defRPr sz="1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90667" algn="l" defTabSz="981334" rtl="0" eaLnBrk="1" latinLnBrk="0" hangingPunct="1">
              <a:defRPr sz="1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81334" algn="l" defTabSz="981334" rtl="0" eaLnBrk="1" latinLnBrk="0" hangingPunct="1">
              <a:defRPr sz="1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472001" algn="l" defTabSz="981334" rtl="0" eaLnBrk="1" latinLnBrk="0" hangingPunct="1">
              <a:defRPr sz="1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962668" algn="l" defTabSz="981334" rtl="0" eaLnBrk="1" latinLnBrk="0" hangingPunct="1">
              <a:defRPr sz="1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453335" algn="l" defTabSz="981334" rtl="0" eaLnBrk="1" latinLnBrk="0" hangingPunct="1">
              <a:defRPr sz="1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944002" algn="l" defTabSz="981334" rtl="0" eaLnBrk="1" latinLnBrk="0" hangingPunct="1">
              <a:defRPr sz="1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434669" algn="l" defTabSz="981334" rtl="0" eaLnBrk="1" latinLnBrk="0" hangingPunct="1">
              <a:defRPr sz="1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925336" algn="l" defTabSz="981334" rtl="0" eaLnBrk="1" latinLnBrk="0" hangingPunct="1">
              <a:defRPr sz="1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1100" dirty="0" smtClean="0">
                <a:solidFill>
                  <a:srgbClr val="003149">
                    <a:lumMod val="90000"/>
                    <a:lumOff val="10000"/>
                  </a:srgbClr>
                </a:solidFill>
              </a:rPr>
              <a:t>млн </a:t>
            </a:r>
            <a:r>
              <a:rPr lang="ru-RU" sz="1100" dirty="0">
                <a:solidFill>
                  <a:srgbClr val="003149">
                    <a:lumMod val="90000"/>
                    <a:lumOff val="10000"/>
                  </a:srgbClr>
                </a:solidFill>
              </a:rPr>
              <a:t>карат</a:t>
            </a:r>
            <a:endParaRPr lang="en-US" sz="1100" dirty="0">
              <a:solidFill>
                <a:srgbClr val="003149">
                  <a:lumMod val="90000"/>
                  <a:lumOff val="10000"/>
                </a:srgbClr>
              </a:solidFill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2752167" y="1077565"/>
            <a:ext cx="3717610" cy="5420873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2691" tIns="32691" rIns="32691" bIns="32691" rtlCol="0" anchor="ctr"/>
          <a:lstStyle/>
          <a:p>
            <a:pPr algn="ctr" defTabSz="891127"/>
            <a:endParaRPr lang="ru-RU" sz="1500" dirty="0">
              <a:solidFill>
                <a:srgbClr val="003149"/>
              </a:solidFill>
            </a:endParaRPr>
          </a:p>
        </p:txBody>
      </p:sp>
      <p:sp>
        <p:nvSpPr>
          <p:cNvPr id="21" name="Прямоугольная выноска 20"/>
          <p:cNvSpPr/>
          <p:nvPr/>
        </p:nvSpPr>
        <p:spPr>
          <a:xfrm>
            <a:off x="5178025" y="4418675"/>
            <a:ext cx="722583" cy="782526"/>
          </a:xfrm>
          <a:prstGeom prst="wedgeRectCallout">
            <a:avLst>
              <a:gd name="adj1" fmla="val -45575"/>
              <a:gd name="adj2" fmla="val -113807"/>
            </a:avLst>
          </a:prstGeom>
          <a:solidFill>
            <a:schemeClr val="bg1"/>
          </a:solidFill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2691" tIns="32691" rIns="32691" bIns="32691" rtlCol="0" anchor="ctr"/>
          <a:lstStyle>
            <a:defPPr>
              <a:defRPr lang="en-US"/>
            </a:defPPr>
            <a:lvl1pPr marL="0" algn="l" defTabSz="981334" rtl="0" eaLnBrk="1" latinLnBrk="0" hangingPunct="1">
              <a:defRPr sz="1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90667" algn="l" defTabSz="981334" rtl="0" eaLnBrk="1" latinLnBrk="0" hangingPunct="1">
              <a:defRPr sz="1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81334" algn="l" defTabSz="981334" rtl="0" eaLnBrk="1" latinLnBrk="0" hangingPunct="1">
              <a:defRPr sz="1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472001" algn="l" defTabSz="981334" rtl="0" eaLnBrk="1" latinLnBrk="0" hangingPunct="1">
              <a:defRPr sz="1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962668" algn="l" defTabSz="981334" rtl="0" eaLnBrk="1" latinLnBrk="0" hangingPunct="1">
              <a:defRPr sz="1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453335" algn="l" defTabSz="981334" rtl="0" eaLnBrk="1" latinLnBrk="0" hangingPunct="1">
              <a:defRPr sz="1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944002" algn="l" defTabSz="981334" rtl="0" eaLnBrk="1" latinLnBrk="0" hangingPunct="1">
              <a:defRPr sz="1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434669" algn="l" defTabSz="981334" rtl="0" eaLnBrk="1" latinLnBrk="0" hangingPunct="1">
              <a:defRPr sz="1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925336" algn="l" defTabSz="981334" rtl="0" eaLnBrk="1" latinLnBrk="0" hangingPunct="1">
              <a:defRPr sz="1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800" b="1" dirty="0">
                <a:solidFill>
                  <a:srgbClr val="003149">
                    <a:lumMod val="90000"/>
                    <a:lumOff val="10000"/>
                  </a:srgbClr>
                </a:solidFill>
              </a:rPr>
              <a:t>Контур идеально </a:t>
            </a:r>
            <a:r>
              <a:rPr lang="ru-RU" sz="800" b="1" dirty="0" err="1">
                <a:solidFill>
                  <a:srgbClr val="003149">
                    <a:lumMod val="90000"/>
                    <a:lumOff val="10000"/>
                  </a:srgbClr>
                </a:solidFill>
              </a:rPr>
              <a:t>сбалансиро</a:t>
            </a:r>
            <a:r>
              <a:rPr lang="ru-RU" sz="800" b="1" dirty="0">
                <a:solidFill>
                  <a:srgbClr val="003149">
                    <a:lumMod val="90000"/>
                    <a:lumOff val="10000"/>
                  </a:srgbClr>
                </a:solidFill>
              </a:rPr>
              <a:t>-ванной пирамиды</a:t>
            </a:r>
            <a:endParaRPr lang="en-US" sz="800" dirty="0">
              <a:solidFill>
                <a:srgbClr val="003149">
                  <a:lumMod val="90000"/>
                  <a:lumOff val="10000"/>
                </a:srgbClr>
              </a:solidFill>
            </a:endParaRPr>
          </a:p>
        </p:txBody>
      </p:sp>
      <p:sp>
        <p:nvSpPr>
          <p:cNvPr id="22" name="Прямоугольник 21"/>
          <p:cNvSpPr/>
          <p:nvPr/>
        </p:nvSpPr>
        <p:spPr>
          <a:xfrm>
            <a:off x="3325868" y="5881082"/>
            <a:ext cx="762587" cy="292293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2691" tIns="32691" rIns="32691" bIns="32691" rtlCol="0" anchor="ctr"/>
          <a:lstStyle>
            <a:defPPr>
              <a:defRPr lang="en-US"/>
            </a:defPPr>
            <a:lvl1pPr marL="0" algn="l" defTabSz="981334" rtl="0" eaLnBrk="1" latinLnBrk="0" hangingPunct="1">
              <a:defRPr sz="1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90667" algn="l" defTabSz="981334" rtl="0" eaLnBrk="1" latinLnBrk="0" hangingPunct="1">
              <a:defRPr sz="1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81334" algn="l" defTabSz="981334" rtl="0" eaLnBrk="1" latinLnBrk="0" hangingPunct="1">
              <a:defRPr sz="1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472001" algn="l" defTabSz="981334" rtl="0" eaLnBrk="1" latinLnBrk="0" hangingPunct="1">
              <a:defRPr sz="1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962668" algn="l" defTabSz="981334" rtl="0" eaLnBrk="1" latinLnBrk="0" hangingPunct="1">
              <a:defRPr sz="1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453335" algn="l" defTabSz="981334" rtl="0" eaLnBrk="1" latinLnBrk="0" hangingPunct="1">
              <a:defRPr sz="1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944002" algn="l" defTabSz="981334" rtl="0" eaLnBrk="1" latinLnBrk="0" hangingPunct="1">
              <a:defRPr sz="1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434669" algn="l" defTabSz="981334" rtl="0" eaLnBrk="1" latinLnBrk="0" hangingPunct="1">
              <a:defRPr sz="1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925336" algn="l" defTabSz="981334" rtl="0" eaLnBrk="1" latinLnBrk="0" hangingPunct="1">
              <a:defRPr sz="1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800" b="1" dirty="0">
                <a:solidFill>
                  <a:srgbClr val="003149">
                    <a:lumMod val="90000"/>
                    <a:lumOff val="10000"/>
                  </a:srgbClr>
                </a:solidFill>
              </a:rPr>
              <a:t>Есть проект разработки</a:t>
            </a:r>
            <a:endParaRPr lang="en-US" sz="800" dirty="0">
              <a:solidFill>
                <a:srgbClr val="003149">
                  <a:lumMod val="90000"/>
                  <a:lumOff val="10000"/>
                </a:srgbClr>
              </a:solidFill>
            </a:endParaRPr>
          </a:p>
        </p:txBody>
      </p:sp>
      <p:sp>
        <p:nvSpPr>
          <p:cNvPr id="23" name="Прямоугольник 22"/>
          <p:cNvSpPr/>
          <p:nvPr/>
        </p:nvSpPr>
        <p:spPr>
          <a:xfrm>
            <a:off x="4282893" y="5881082"/>
            <a:ext cx="476617" cy="292293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2691" tIns="32691" rIns="32691" bIns="32691" rtlCol="0" anchor="ctr"/>
          <a:lstStyle>
            <a:defPPr>
              <a:defRPr lang="en-US"/>
            </a:defPPr>
            <a:lvl1pPr marL="0" algn="l" defTabSz="981334" rtl="0" eaLnBrk="1" latinLnBrk="0" hangingPunct="1">
              <a:defRPr sz="1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90667" algn="l" defTabSz="981334" rtl="0" eaLnBrk="1" latinLnBrk="0" hangingPunct="1">
              <a:defRPr sz="1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81334" algn="l" defTabSz="981334" rtl="0" eaLnBrk="1" latinLnBrk="0" hangingPunct="1">
              <a:defRPr sz="1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472001" algn="l" defTabSz="981334" rtl="0" eaLnBrk="1" latinLnBrk="0" hangingPunct="1">
              <a:defRPr sz="1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962668" algn="l" defTabSz="981334" rtl="0" eaLnBrk="1" latinLnBrk="0" hangingPunct="1">
              <a:defRPr sz="1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453335" algn="l" defTabSz="981334" rtl="0" eaLnBrk="1" latinLnBrk="0" hangingPunct="1">
              <a:defRPr sz="1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944002" algn="l" defTabSz="981334" rtl="0" eaLnBrk="1" latinLnBrk="0" hangingPunct="1">
              <a:defRPr sz="1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434669" algn="l" defTabSz="981334" rtl="0" eaLnBrk="1" latinLnBrk="0" hangingPunct="1">
              <a:defRPr sz="1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925336" algn="l" defTabSz="981334" rtl="0" eaLnBrk="1" latinLnBrk="0" hangingPunct="1">
              <a:defRPr sz="1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800" b="1" dirty="0">
                <a:solidFill>
                  <a:srgbClr val="003149">
                    <a:lumMod val="90000"/>
                    <a:lumOff val="10000"/>
                  </a:srgbClr>
                </a:solidFill>
              </a:rPr>
              <a:t>Нет</a:t>
            </a:r>
          </a:p>
          <a:p>
            <a:pPr algn="ctr"/>
            <a:r>
              <a:rPr lang="ru-RU" sz="800" b="1" dirty="0">
                <a:solidFill>
                  <a:srgbClr val="003149">
                    <a:lumMod val="90000"/>
                    <a:lumOff val="10000"/>
                  </a:srgbClr>
                </a:solidFill>
              </a:rPr>
              <a:t>проекта</a:t>
            </a:r>
            <a:endParaRPr lang="en-US" sz="800" dirty="0">
              <a:solidFill>
                <a:srgbClr val="003149">
                  <a:lumMod val="90000"/>
                  <a:lumOff val="10000"/>
                </a:srgbClr>
              </a:solidFill>
            </a:endParaRPr>
          </a:p>
        </p:txBody>
      </p:sp>
      <p:sp>
        <p:nvSpPr>
          <p:cNvPr id="24" name="Прямоугольник 23"/>
          <p:cNvSpPr/>
          <p:nvPr/>
        </p:nvSpPr>
        <p:spPr>
          <a:xfrm>
            <a:off x="4730610" y="5881082"/>
            <a:ext cx="635489" cy="292293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2691" tIns="32691" rIns="32691" bIns="32691" rtlCol="0" anchor="ctr"/>
          <a:lstStyle>
            <a:defPPr>
              <a:defRPr lang="en-US"/>
            </a:defPPr>
            <a:lvl1pPr marL="0" algn="l" defTabSz="981334" rtl="0" eaLnBrk="1" latinLnBrk="0" hangingPunct="1">
              <a:defRPr sz="1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90667" algn="l" defTabSz="981334" rtl="0" eaLnBrk="1" latinLnBrk="0" hangingPunct="1">
              <a:defRPr sz="1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81334" algn="l" defTabSz="981334" rtl="0" eaLnBrk="1" latinLnBrk="0" hangingPunct="1">
              <a:defRPr sz="1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472001" algn="l" defTabSz="981334" rtl="0" eaLnBrk="1" latinLnBrk="0" hangingPunct="1">
              <a:defRPr sz="1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962668" algn="l" defTabSz="981334" rtl="0" eaLnBrk="1" latinLnBrk="0" hangingPunct="1">
              <a:defRPr sz="1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453335" algn="l" defTabSz="981334" rtl="0" eaLnBrk="1" latinLnBrk="0" hangingPunct="1">
              <a:defRPr sz="1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944002" algn="l" defTabSz="981334" rtl="0" eaLnBrk="1" latinLnBrk="0" hangingPunct="1">
              <a:defRPr sz="1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434669" algn="l" defTabSz="981334" rtl="0" eaLnBrk="1" latinLnBrk="0" hangingPunct="1">
              <a:defRPr sz="1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925336" algn="l" defTabSz="981334" rtl="0" eaLnBrk="1" latinLnBrk="0" hangingPunct="1">
              <a:defRPr sz="1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800" b="1" dirty="0">
                <a:solidFill>
                  <a:srgbClr val="003149">
                    <a:lumMod val="90000"/>
                    <a:lumOff val="10000"/>
                  </a:srgbClr>
                </a:solidFill>
              </a:rPr>
              <a:t>Сложные к отработке</a:t>
            </a:r>
            <a:endParaRPr lang="en-US" sz="800" dirty="0">
              <a:solidFill>
                <a:srgbClr val="003149">
                  <a:lumMod val="90000"/>
                  <a:lumOff val="10000"/>
                </a:srgbClr>
              </a:solidFill>
            </a:endParaRPr>
          </a:p>
        </p:txBody>
      </p:sp>
      <p:cxnSp>
        <p:nvCxnSpPr>
          <p:cNvPr id="10" name="Прямая со стрелкой 9"/>
          <p:cNvCxnSpPr/>
          <p:nvPr/>
        </p:nvCxnSpPr>
        <p:spPr>
          <a:xfrm flipV="1">
            <a:off x="3688088" y="5800846"/>
            <a:ext cx="0" cy="102541"/>
          </a:xfrm>
          <a:prstGeom prst="straightConnector1">
            <a:avLst/>
          </a:prstGeom>
          <a:ln w="12700">
            <a:solidFill>
              <a:srgbClr val="00486C"/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Прямая со стрелкой 28"/>
          <p:cNvCxnSpPr/>
          <p:nvPr/>
        </p:nvCxnSpPr>
        <p:spPr>
          <a:xfrm flipV="1">
            <a:off x="4514284" y="5800846"/>
            <a:ext cx="0" cy="102541"/>
          </a:xfrm>
          <a:prstGeom prst="straightConnector1">
            <a:avLst/>
          </a:prstGeom>
          <a:ln w="12700">
            <a:solidFill>
              <a:srgbClr val="00486C"/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Прямая со стрелкой 29"/>
          <p:cNvCxnSpPr/>
          <p:nvPr/>
        </p:nvCxnSpPr>
        <p:spPr>
          <a:xfrm flipV="1">
            <a:off x="5004293" y="5800846"/>
            <a:ext cx="0" cy="102541"/>
          </a:xfrm>
          <a:prstGeom prst="straightConnector1">
            <a:avLst/>
          </a:prstGeom>
          <a:ln w="12700">
            <a:solidFill>
              <a:srgbClr val="00486C"/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1" name="Picture 4"/>
          <p:cNvPicPr>
            <a:picLocks noChangeAspect="1" noChangeArrowheads="1"/>
          </p:cNvPicPr>
          <p:nvPr/>
        </p:nvPicPr>
        <p:blipFill rotWithShape="1"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54" r="83614"/>
          <a:stretch/>
        </p:blipFill>
        <p:spPr bwMode="auto">
          <a:xfrm>
            <a:off x="365262" y="1503266"/>
            <a:ext cx="892930" cy="83102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2" name="Picture 4"/>
          <p:cNvPicPr>
            <a:picLocks noChangeAspect="1" noChangeArrowheads="1"/>
          </p:cNvPicPr>
          <p:nvPr/>
        </p:nvPicPr>
        <p:blipFill rotWithShape="1"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2938" r="50573"/>
          <a:stretch/>
        </p:blipFill>
        <p:spPr bwMode="auto">
          <a:xfrm>
            <a:off x="365262" y="2666376"/>
            <a:ext cx="895098" cy="83057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3" name="Picture 4"/>
          <p:cNvPicPr>
            <a:picLocks noChangeAspect="1" noChangeArrowheads="1"/>
          </p:cNvPicPr>
          <p:nvPr/>
        </p:nvPicPr>
        <p:blipFill rotWithShape="1"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9477" r="33751"/>
          <a:stretch/>
        </p:blipFill>
        <p:spPr bwMode="auto">
          <a:xfrm>
            <a:off x="365262" y="3829057"/>
            <a:ext cx="910488" cy="83057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4" name="Picture 4"/>
          <p:cNvPicPr>
            <a:picLocks noChangeAspect="1" noChangeArrowheads="1"/>
          </p:cNvPicPr>
          <p:nvPr/>
        </p:nvPicPr>
        <p:blipFill rotWithShape="1"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6234" r="16922"/>
          <a:stretch/>
        </p:blipFill>
        <p:spPr bwMode="auto">
          <a:xfrm>
            <a:off x="375041" y="4842025"/>
            <a:ext cx="914362" cy="83057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5" name="Прямоугольник 34"/>
          <p:cNvSpPr/>
          <p:nvPr/>
        </p:nvSpPr>
        <p:spPr>
          <a:xfrm>
            <a:off x="3493670" y="5201201"/>
            <a:ext cx="762587" cy="136721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2691" tIns="32691" rIns="32691" bIns="32691" rtlCol="0" anchor="ctr"/>
          <a:lstStyle>
            <a:defPPr>
              <a:defRPr lang="en-US"/>
            </a:defPPr>
            <a:lvl1pPr marL="0" algn="l" defTabSz="981334" rtl="0" eaLnBrk="1" latinLnBrk="0" hangingPunct="1">
              <a:defRPr sz="1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90667" algn="l" defTabSz="981334" rtl="0" eaLnBrk="1" latinLnBrk="0" hangingPunct="1">
              <a:defRPr sz="1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81334" algn="l" defTabSz="981334" rtl="0" eaLnBrk="1" latinLnBrk="0" hangingPunct="1">
              <a:defRPr sz="1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472001" algn="l" defTabSz="981334" rtl="0" eaLnBrk="1" latinLnBrk="0" hangingPunct="1">
              <a:defRPr sz="1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962668" algn="l" defTabSz="981334" rtl="0" eaLnBrk="1" latinLnBrk="0" hangingPunct="1">
              <a:defRPr sz="1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453335" algn="l" defTabSz="981334" rtl="0" eaLnBrk="1" latinLnBrk="0" hangingPunct="1">
              <a:defRPr sz="1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944002" algn="l" defTabSz="981334" rtl="0" eaLnBrk="1" latinLnBrk="0" hangingPunct="1">
              <a:defRPr sz="1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434669" algn="l" defTabSz="981334" rtl="0" eaLnBrk="1" latinLnBrk="0" hangingPunct="1">
              <a:defRPr sz="1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925336" algn="l" defTabSz="981334" rtl="0" eaLnBrk="1" latinLnBrk="0" hangingPunct="1">
              <a:defRPr sz="1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800" b="1" dirty="0" smtClean="0">
                <a:solidFill>
                  <a:srgbClr val="003149">
                    <a:lumMod val="90000"/>
                    <a:lumOff val="10000"/>
                  </a:srgbClr>
                </a:solidFill>
              </a:rPr>
              <a:t>661</a:t>
            </a:r>
            <a:endParaRPr lang="en-US" sz="800" dirty="0">
              <a:solidFill>
                <a:srgbClr val="003149">
                  <a:lumMod val="90000"/>
                  <a:lumOff val="10000"/>
                </a:srgbClr>
              </a:solidFill>
            </a:endParaRPr>
          </a:p>
        </p:txBody>
      </p:sp>
      <p:sp>
        <p:nvSpPr>
          <p:cNvPr id="36" name="Прямоугольник 35"/>
          <p:cNvSpPr/>
          <p:nvPr/>
        </p:nvSpPr>
        <p:spPr>
          <a:xfrm>
            <a:off x="4314851" y="5201201"/>
            <a:ext cx="476617" cy="136721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2691" tIns="32691" rIns="32691" bIns="32691" rtlCol="0" anchor="ctr"/>
          <a:lstStyle>
            <a:defPPr>
              <a:defRPr lang="en-US"/>
            </a:defPPr>
            <a:lvl1pPr marL="0" algn="l" defTabSz="981334" rtl="0" eaLnBrk="1" latinLnBrk="0" hangingPunct="1">
              <a:defRPr sz="1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90667" algn="l" defTabSz="981334" rtl="0" eaLnBrk="1" latinLnBrk="0" hangingPunct="1">
              <a:defRPr sz="1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81334" algn="l" defTabSz="981334" rtl="0" eaLnBrk="1" latinLnBrk="0" hangingPunct="1">
              <a:defRPr sz="1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472001" algn="l" defTabSz="981334" rtl="0" eaLnBrk="1" latinLnBrk="0" hangingPunct="1">
              <a:defRPr sz="1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962668" algn="l" defTabSz="981334" rtl="0" eaLnBrk="1" latinLnBrk="0" hangingPunct="1">
              <a:defRPr sz="1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453335" algn="l" defTabSz="981334" rtl="0" eaLnBrk="1" latinLnBrk="0" hangingPunct="1">
              <a:defRPr sz="1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944002" algn="l" defTabSz="981334" rtl="0" eaLnBrk="1" latinLnBrk="0" hangingPunct="1">
              <a:defRPr sz="1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434669" algn="l" defTabSz="981334" rtl="0" eaLnBrk="1" latinLnBrk="0" hangingPunct="1">
              <a:defRPr sz="1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925336" algn="l" defTabSz="981334" rtl="0" eaLnBrk="1" latinLnBrk="0" hangingPunct="1">
              <a:defRPr sz="1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800" b="1" dirty="0">
                <a:solidFill>
                  <a:srgbClr val="003149">
                    <a:lumMod val="90000"/>
                    <a:lumOff val="10000"/>
                  </a:srgbClr>
                </a:solidFill>
              </a:rPr>
              <a:t>201</a:t>
            </a:r>
            <a:endParaRPr lang="en-US" sz="800" dirty="0">
              <a:solidFill>
                <a:srgbClr val="003149">
                  <a:lumMod val="90000"/>
                  <a:lumOff val="10000"/>
                </a:srgbClr>
              </a:solidFill>
            </a:endParaRPr>
          </a:p>
        </p:txBody>
      </p:sp>
      <p:sp>
        <p:nvSpPr>
          <p:cNvPr id="37" name="Прямоугольник 36"/>
          <p:cNvSpPr/>
          <p:nvPr/>
        </p:nvSpPr>
        <p:spPr>
          <a:xfrm>
            <a:off x="4834487" y="5201201"/>
            <a:ext cx="317744" cy="136721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2691" tIns="32691" rIns="32691" bIns="32691" rtlCol="0" anchor="ctr"/>
          <a:lstStyle>
            <a:defPPr>
              <a:defRPr lang="en-US"/>
            </a:defPPr>
            <a:lvl1pPr marL="0" algn="l" defTabSz="981334" rtl="0" eaLnBrk="1" latinLnBrk="0" hangingPunct="1">
              <a:defRPr sz="1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90667" algn="l" defTabSz="981334" rtl="0" eaLnBrk="1" latinLnBrk="0" hangingPunct="1">
              <a:defRPr sz="1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81334" algn="l" defTabSz="981334" rtl="0" eaLnBrk="1" latinLnBrk="0" hangingPunct="1">
              <a:defRPr sz="1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472001" algn="l" defTabSz="981334" rtl="0" eaLnBrk="1" latinLnBrk="0" hangingPunct="1">
              <a:defRPr sz="1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962668" algn="l" defTabSz="981334" rtl="0" eaLnBrk="1" latinLnBrk="0" hangingPunct="1">
              <a:defRPr sz="1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453335" algn="l" defTabSz="981334" rtl="0" eaLnBrk="1" latinLnBrk="0" hangingPunct="1">
              <a:defRPr sz="1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944002" algn="l" defTabSz="981334" rtl="0" eaLnBrk="1" latinLnBrk="0" hangingPunct="1">
              <a:defRPr sz="1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434669" algn="l" defTabSz="981334" rtl="0" eaLnBrk="1" latinLnBrk="0" hangingPunct="1">
              <a:defRPr sz="1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925336" algn="l" defTabSz="981334" rtl="0" eaLnBrk="1" latinLnBrk="0" hangingPunct="1">
              <a:defRPr sz="1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800" b="1" dirty="0">
                <a:solidFill>
                  <a:srgbClr val="003149">
                    <a:lumMod val="90000"/>
                    <a:lumOff val="10000"/>
                  </a:srgbClr>
                </a:solidFill>
              </a:rPr>
              <a:t>320</a:t>
            </a:r>
            <a:endParaRPr lang="en-US" sz="800" dirty="0">
              <a:solidFill>
                <a:srgbClr val="003149">
                  <a:lumMod val="90000"/>
                  <a:lumOff val="10000"/>
                </a:srgbClr>
              </a:solidFill>
            </a:endParaRPr>
          </a:p>
        </p:txBody>
      </p:sp>
      <p:sp>
        <p:nvSpPr>
          <p:cNvPr id="38" name="Прямоугольник 37"/>
          <p:cNvSpPr/>
          <p:nvPr/>
        </p:nvSpPr>
        <p:spPr>
          <a:xfrm>
            <a:off x="3509107" y="3972327"/>
            <a:ext cx="349519" cy="136721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2691" tIns="32691" rIns="32691" bIns="32691" rtlCol="0" anchor="ctr"/>
          <a:lstStyle>
            <a:defPPr>
              <a:defRPr lang="en-US"/>
            </a:defPPr>
            <a:lvl1pPr marL="0" algn="l" defTabSz="981334" rtl="0" eaLnBrk="1" latinLnBrk="0" hangingPunct="1">
              <a:defRPr sz="1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90667" algn="l" defTabSz="981334" rtl="0" eaLnBrk="1" latinLnBrk="0" hangingPunct="1">
              <a:defRPr sz="1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81334" algn="l" defTabSz="981334" rtl="0" eaLnBrk="1" latinLnBrk="0" hangingPunct="1">
              <a:defRPr sz="1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472001" algn="l" defTabSz="981334" rtl="0" eaLnBrk="1" latinLnBrk="0" hangingPunct="1">
              <a:defRPr sz="1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962668" algn="l" defTabSz="981334" rtl="0" eaLnBrk="1" latinLnBrk="0" hangingPunct="1">
              <a:defRPr sz="1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453335" algn="l" defTabSz="981334" rtl="0" eaLnBrk="1" latinLnBrk="0" hangingPunct="1">
              <a:defRPr sz="1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944002" algn="l" defTabSz="981334" rtl="0" eaLnBrk="1" latinLnBrk="0" hangingPunct="1">
              <a:defRPr sz="1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434669" algn="l" defTabSz="981334" rtl="0" eaLnBrk="1" latinLnBrk="0" hangingPunct="1">
              <a:defRPr sz="1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925336" algn="l" defTabSz="981334" rtl="0" eaLnBrk="1" latinLnBrk="0" hangingPunct="1">
              <a:defRPr sz="1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800" b="1" dirty="0">
                <a:solidFill>
                  <a:srgbClr val="003149">
                    <a:lumMod val="90000"/>
                    <a:lumOff val="10000"/>
                  </a:srgbClr>
                </a:solidFill>
              </a:rPr>
              <a:t>449</a:t>
            </a:r>
            <a:endParaRPr lang="en-US" sz="800" dirty="0">
              <a:solidFill>
                <a:srgbClr val="003149">
                  <a:lumMod val="90000"/>
                  <a:lumOff val="10000"/>
                </a:srgbClr>
              </a:solidFill>
            </a:endParaRPr>
          </a:p>
        </p:txBody>
      </p:sp>
      <p:sp>
        <p:nvSpPr>
          <p:cNvPr id="39" name="Прямоугольник 38"/>
          <p:cNvSpPr/>
          <p:nvPr/>
        </p:nvSpPr>
        <p:spPr>
          <a:xfrm>
            <a:off x="3324778" y="2743453"/>
            <a:ext cx="254196" cy="136721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2691" tIns="32691" rIns="32691" bIns="32691" rtlCol="0" anchor="ctr"/>
          <a:lstStyle>
            <a:defPPr>
              <a:defRPr lang="en-US"/>
            </a:defPPr>
            <a:lvl1pPr marL="0" algn="l" defTabSz="981334" rtl="0" eaLnBrk="1" latinLnBrk="0" hangingPunct="1">
              <a:defRPr sz="1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90667" algn="l" defTabSz="981334" rtl="0" eaLnBrk="1" latinLnBrk="0" hangingPunct="1">
              <a:defRPr sz="1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81334" algn="l" defTabSz="981334" rtl="0" eaLnBrk="1" latinLnBrk="0" hangingPunct="1">
              <a:defRPr sz="1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472001" algn="l" defTabSz="981334" rtl="0" eaLnBrk="1" latinLnBrk="0" hangingPunct="1">
              <a:defRPr sz="1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962668" algn="l" defTabSz="981334" rtl="0" eaLnBrk="1" latinLnBrk="0" hangingPunct="1">
              <a:defRPr sz="1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453335" algn="l" defTabSz="981334" rtl="0" eaLnBrk="1" latinLnBrk="0" hangingPunct="1">
              <a:defRPr sz="1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944002" algn="l" defTabSz="981334" rtl="0" eaLnBrk="1" latinLnBrk="0" hangingPunct="1">
              <a:defRPr sz="1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434669" algn="l" defTabSz="981334" rtl="0" eaLnBrk="1" latinLnBrk="0" hangingPunct="1">
              <a:defRPr sz="1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925336" algn="l" defTabSz="981334" rtl="0" eaLnBrk="1" latinLnBrk="0" hangingPunct="1">
              <a:defRPr sz="1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800" b="1" dirty="0">
                <a:solidFill>
                  <a:srgbClr val="003149">
                    <a:lumMod val="90000"/>
                    <a:lumOff val="10000"/>
                  </a:srgbClr>
                </a:solidFill>
              </a:rPr>
              <a:t>147</a:t>
            </a:r>
            <a:endParaRPr lang="en-US" sz="800" dirty="0">
              <a:solidFill>
                <a:srgbClr val="003149">
                  <a:lumMod val="90000"/>
                  <a:lumOff val="10000"/>
                </a:srgbClr>
              </a:solidFill>
            </a:endParaRPr>
          </a:p>
        </p:txBody>
      </p:sp>
      <p:sp>
        <p:nvSpPr>
          <p:cNvPr id="40" name="Прямоугольник 39"/>
          <p:cNvSpPr/>
          <p:nvPr/>
        </p:nvSpPr>
        <p:spPr>
          <a:xfrm>
            <a:off x="4203645" y="1512128"/>
            <a:ext cx="349519" cy="136721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2691" tIns="32691" rIns="32691" bIns="32691" rtlCol="0" anchor="ctr"/>
          <a:lstStyle>
            <a:defPPr>
              <a:defRPr lang="en-US"/>
            </a:defPPr>
            <a:lvl1pPr marL="0" algn="l" defTabSz="981334" rtl="0" eaLnBrk="1" latinLnBrk="0" hangingPunct="1">
              <a:defRPr sz="1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90667" algn="l" defTabSz="981334" rtl="0" eaLnBrk="1" latinLnBrk="0" hangingPunct="1">
              <a:defRPr sz="1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81334" algn="l" defTabSz="981334" rtl="0" eaLnBrk="1" latinLnBrk="0" hangingPunct="1">
              <a:defRPr sz="1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472001" algn="l" defTabSz="981334" rtl="0" eaLnBrk="1" latinLnBrk="0" hangingPunct="1">
              <a:defRPr sz="1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962668" algn="l" defTabSz="981334" rtl="0" eaLnBrk="1" latinLnBrk="0" hangingPunct="1">
              <a:defRPr sz="1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453335" algn="l" defTabSz="981334" rtl="0" eaLnBrk="1" latinLnBrk="0" hangingPunct="1">
              <a:defRPr sz="1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944002" algn="l" defTabSz="981334" rtl="0" eaLnBrk="1" latinLnBrk="0" hangingPunct="1">
              <a:defRPr sz="1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434669" algn="l" defTabSz="981334" rtl="0" eaLnBrk="1" latinLnBrk="0" hangingPunct="1">
              <a:defRPr sz="1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925336" algn="l" defTabSz="981334" rtl="0" eaLnBrk="1" latinLnBrk="0" hangingPunct="1">
              <a:defRPr sz="1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800" b="1" dirty="0">
                <a:solidFill>
                  <a:srgbClr val="003149">
                    <a:lumMod val="90000"/>
                    <a:lumOff val="10000"/>
                  </a:srgbClr>
                </a:solidFill>
              </a:rPr>
              <a:t>1242</a:t>
            </a:r>
            <a:endParaRPr lang="en-US" sz="800" dirty="0">
              <a:solidFill>
                <a:srgbClr val="003149">
                  <a:lumMod val="90000"/>
                  <a:lumOff val="10000"/>
                </a:srgbClr>
              </a:solidFill>
            </a:endParaRPr>
          </a:p>
        </p:txBody>
      </p:sp>
      <p:sp>
        <p:nvSpPr>
          <p:cNvPr id="41" name="Isosceles Triangle 124"/>
          <p:cNvSpPr/>
          <p:nvPr/>
        </p:nvSpPr>
        <p:spPr>
          <a:xfrm rot="5400000">
            <a:off x="3482474" y="3693813"/>
            <a:ext cx="5448056" cy="161237"/>
          </a:xfrm>
          <a:prstGeom prst="triangle">
            <a:avLst/>
          </a:prstGeom>
          <a:solidFill>
            <a:schemeClr val="tx1">
              <a:lumMod val="75000"/>
              <a:lumOff val="25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2691" tIns="32691" rIns="32691" bIns="32691" rtlCol="0" anchor="ctr"/>
          <a:lstStyle/>
          <a:p>
            <a:pPr algn="ctr" defTabSz="891127"/>
            <a:endParaRPr lang="en-US" sz="1500" dirty="0">
              <a:solidFill>
                <a:srgbClr val="FFFFFF"/>
              </a:solidFill>
            </a:endParaRPr>
          </a:p>
        </p:txBody>
      </p:sp>
      <p:cxnSp>
        <p:nvCxnSpPr>
          <p:cNvPr id="9" name="Прямая соединительная линия 8"/>
          <p:cNvCxnSpPr/>
          <p:nvPr/>
        </p:nvCxnSpPr>
        <p:spPr>
          <a:xfrm>
            <a:off x="353403" y="2466023"/>
            <a:ext cx="2918077" cy="0"/>
          </a:xfrm>
          <a:prstGeom prst="line">
            <a:avLst/>
          </a:prstGeom>
          <a:ln w="12700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Прямая соединительная линия 41"/>
          <p:cNvCxnSpPr/>
          <p:nvPr/>
        </p:nvCxnSpPr>
        <p:spPr>
          <a:xfrm>
            <a:off x="353403" y="3663540"/>
            <a:ext cx="2918077" cy="0"/>
          </a:xfrm>
          <a:prstGeom prst="line">
            <a:avLst/>
          </a:prstGeom>
          <a:ln w="12700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Прямая соединительная линия 42"/>
          <p:cNvCxnSpPr/>
          <p:nvPr/>
        </p:nvCxnSpPr>
        <p:spPr>
          <a:xfrm>
            <a:off x="353403" y="4861056"/>
            <a:ext cx="2918077" cy="0"/>
          </a:xfrm>
          <a:prstGeom prst="line">
            <a:avLst/>
          </a:prstGeom>
          <a:ln w="12700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Прямая соединительная линия 43"/>
          <p:cNvCxnSpPr/>
          <p:nvPr/>
        </p:nvCxnSpPr>
        <p:spPr>
          <a:xfrm>
            <a:off x="353403" y="6496945"/>
            <a:ext cx="2918077" cy="0"/>
          </a:xfrm>
          <a:prstGeom prst="line">
            <a:avLst/>
          </a:prstGeom>
          <a:ln w="12700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Rectangle 17"/>
          <p:cNvSpPr/>
          <p:nvPr>
            <p:custDataLst>
              <p:tags r:id="rId3"/>
            </p:custDataLst>
          </p:nvPr>
        </p:nvSpPr>
        <p:spPr>
          <a:xfrm>
            <a:off x="1367105" y="1510560"/>
            <a:ext cx="1385066" cy="88868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2691" tIns="32691" rIns="32691" bIns="32691" rtlCol="0" anchor="t">
            <a:noAutofit/>
          </a:bodyPr>
          <a:lstStyle/>
          <a:p>
            <a:pPr defTabSz="891127">
              <a:spcBef>
                <a:spcPts val="612"/>
              </a:spcBef>
              <a:buSzPct val="100000"/>
            </a:pPr>
            <a:r>
              <a:rPr lang="ru-RU" sz="900" dirty="0">
                <a:solidFill>
                  <a:srgbClr val="003149"/>
                </a:solidFill>
              </a:rPr>
              <a:t>Фокус – прирост </a:t>
            </a:r>
            <a:r>
              <a:rPr lang="ru-RU" sz="900" b="1" dirty="0">
                <a:solidFill>
                  <a:srgbClr val="003149"/>
                </a:solidFill>
              </a:rPr>
              <a:t>ресурсов</a:t>
            </a:r>
            <a:r>
              <a:rPr lang="ru-RU" sz="900" dirty="0">
                <a:solidFill>
                  <a:srgbClr val="003149"/>
                </a:solidFill>
              </a:rPr>
              <a:t> </a:t>
            </a:r>
            <a:r>
              <a:rPr lang="ru-RU" sz="900" b="1" dirty="0">
                <a:solidFill>
                  <a:srgbClr val="003149"/>
                </a:solidFill>
              </a:rPr>
              <a:t>категории Р3</a:t>
            </a:r>
          </a:p>
          <a:p>
            <a:pPr defTabSz="891127">
              <a:spcBef>
                <a:spcPts val="612"/>
              </a:spcBef>
              <a:buSzPct val="100000"/>
            </a:pPr>
            <a:r>
              <a:rPr lang="ru-RU" sz="900" dirty="0">
                <a:solidFill>
                  <a:srgbClr val="003149"/>
                </a:solidFill>
              </a:rPr>
              <a:t>Задача – уточнение контуров перспективных площадей</a:t>
            </a:r>
          </a:p>
        </p:txBody>
      </p:sp>
      <p:sp>
        <p:nvSpPr>
          <p:cNvPr id="47" name="Rectangle 17"/>
          <p:cNvSpPr/>
          <p:nvPr>
            <p:custDataLst>
              <p:tags r:id="rId4"/>
            </p:custDataLst>
          </p:nvPr>
        </p:nvSpPr>
        <p:spPr>
          <a:xfrm>
            <a:off x="1367106" y="2745147"/>
            <a:ext cx="1461624" cy="881937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2691" tIns="32691" rIns="32691" bIns="32691" rtlCol="0" anchor="t">
            <a:noAutofit/>
          </a:bodyPr>
          <a:lstStyle/>
          <a:p>
            <a:pPr defTabSz="891127">
              <a:spcBef>
                <a:spcPts val="612"/>
              </a:spcBef>
              <a:buSzPct val="100000"/>
            </a:pPr>
            <a:r>
              <a:rPr lang="ru-RU" sz="900" dirty="0">
                <a:solidFill>
                  <a:srgbClr val="003149"/>
                </a:solidFill>
              </a:rPr>
              <a:t>Фокус – прирост </a:t>
            </a:r>
            <a:r>
              <a:rPr lang="ru-RU" sz="900" b="1" dirty="0">
                <a:solidFill>
                  <a:srgbClr val="003149"/>
                </a:solidFill>
              </a:rPr>
              <a:t>ресурсов категории Р2</a:t>
            </a:r>
          </a:p>
          <a:p>
            <a:pPr defTabSz="891127">
              <a:spcBef>
                <a:spcPts val="612"/>
              </a:spcBef>
              <a:buSzPct val="100000"/>
            </a:pPr>
            <a:r>
              <a:rPr lang="ru-RU" sz="900" dirty="0">
                <a:solidFill>
                  <a:srgbClr val="003149"/>
                </a:solidFill>
              </a:rPr>
              <a:t>Задача – выявление прогнозных полей и кустов кимберлитовых тел</a:t>
            </a:r>
          </a:p>
        </p:txBody>
      </p:sp>
      <p:sp>
        <p:nvSpPr>
          <p:cNvPr id="48" name="Rectangle 17"/>
          <p:cNvSpPr/>
          <p:nvPr>
            <p:custDataLst>
              <p:tags r:id="rId5"/>
            </p:custDataLst>
          </p:nvPr>
        </p:nvSpPr>
        <p:spPr>
          <a:xfrm>
            <a:off x="1367105" y="3899673"/>
            <a:ext cx="1385066" cy="97208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2691" tIns="32691" rIns="32691" bIns="32691" rtlCol="0" anchor="t">
            <a:noAutofit/>
          </a:bodyPr>
          <a:lstStyle/>
          <a:p>
            <a:pPr defTabSz="891127">
              <a:spcBef>
                <a:spcPts val="612"/>
              </a:spcBef>
              <a:buSzPct val="100000"/>
            </a:pPr>
            <a:r>
              <a:rPr lang="ru-RU" sz="900" dirty="0">
                <a:solidFill>
                  <a:srgbClr val="003149"/>
                </a:solidFill>
              </a:rPr>
              <a:t>Фокус – прирост </a:t>
            </a:r>
            <a:r>
              <a:rPr lang="ru-RU" sz="900" b="1" dirty="0">
                <a:solidFill>
                  <a:srgbClr val="003149"/>
                </a:solidFill>
              </a:rPr>
              <a:t>ресурсов категории Р1</a:t>
            </a:r>
          </a:p>
          <a:p>
            <a:pPr defTabSz="891127">
              <a:spcBef>
                <a:spcPts val="273"/>
              </a:spcBef>
              <a:buSzPct val="100000"/>
            </a:pPr>
            <a:r>
              <a:rPr lang="ru-RU" sz="900" dirty="0">
                <a:solidFill>
                  <a:srgbClr val="003149"/>
                </a:solidFill>
              </a:rPr>
              <a:t>Задача – предварительная оценка потенциала месторождения </a:t>
            </a:r>
          </a:p>
        </p:txBody>
      </p:sp>
      <p:sp>
        <p:nvSpPr>
          <p:cNvPr id="49" name="Rectangle 17"/>
          <p:cNvSpPr/>
          <p:nvPr>
            <p:custDataLst>
              <p:tags r:id="rId6"/>
            </p:custDataLst>
          </p:nvPr>
        </p:nvSpPr>
        <p:spPr>
          <a:xfrm>
            <a:off x="1367128" y="6102966"/>
            <a:ext cx="1485595" cy="32399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2691" tIns="32691" rIns="32691" bIns="32691" rtlCol="0" anchor="t">
            <a:noAutofit/>
          </a:bodyPr>
          <a:lstStyle/>
          <a:p>
            <a:pPr defTabSz="891127">
              <a:spcBef>
                <a:spcPts val="612"/>
              </a:spcBef>
              <a:buSzPct val="100000"/>
            </a:pPr>
            <a:r>
              <a:rPr lang="ru-RU" sz="900" dirty="0">
                <a:solidFill>
                  <a:srgbClr val="003149"/>
                </a:solidFill>
              </a:rPr>
              <a:t>Фокус – прирост </a:t>
            </a:r>
            <a:r>
              <a:rPr lang="ru-RU" sz="900" b="1" dirty="0">
                <a:solidFill>
                  <a:srgbClr val="003149"/>
                </a:solidFill>
              </a:rPr>
              <a:t>запасов категории </a:t>
            </a:r>
            <a:r>
              <a:rPr lang="en-US" sz="900" b="1" dirty="0" smtClean="0">
                <a:solidFill>
                  <a:srgbClr val="003149"/>
                </a:solidFill>
              </a:rPr>
              <a:t>B</a:t>
            </a:r>
            <a:r>
              <a:rPr lang="ru-RU" sz="900" b="1" dirty="0" smtClean="0">
                <a:solidFill>
                  <a:srgbClr val="003149"/>
                </a:solidFill>
              </a:rPr>
              <a:t>С1</a:t>
            </a:r>
            <a:endParaRPr lang="ru-RU" sz="900" b="1" dirty="0">
              <a:solidFill>
                <a:srgbClr val="003149"/>
              </a:solidFill>
            </a:endParaRPr>
          </a:p>
        </p:txBody>
      </p:sp>
      <p:pic>
        <p:nvPicPr>
          <p:cNvPr id="52" name="Picture 4"/>
          <p:cNvPicPr>
            <a:picLocks noChangeAspect="1" noChangeArrowheads="1"/>
          </p:cNvPicPr>
          <p:nvPr/>
        </p:nvPicPr>
        <p:blipFill rotWithShape="1"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3130"/>
          <a:stretch/>
        </p:blipFill>
        <p:spPr bwMode="auto">
          <a:xfrm>
            <a:off x="393768" y="5663089"/>
            <a:ext cx="915777" cy="83057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3" name="Rectangle 17"/>
          <p:cNvSpPr/>
          <p:nvPr>
            <p:custDataLst>
              <p:tags r:id="rId7"/>
            </p:custDataLst>
          </p:nvPr>
        </p:nvSpPr>
        <p:spPr>
          <a:xfrm>
            <a:off x="1373698" y="5078842"/>
            <a:ext cx="1479025" cy="366935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2691" tIns="32691" rIns="32691" bIns="32691" rtlCol="0" anchor="t">
            <a:noAutofit/>
          </a:bodyPr>
          <a:lstStyle/>
          <a:p>
            <a:pPr defTabSz="891127">
              <a:spcBef>
                <a:spcPts val="612"/>
              </a:spcBef>
              <a:buSzPct val="100000"/>
            </a:pPr>
            <a:r>
              <a:rPr lang="ru-RU" sz="900" dirty="0">
                <a:solidFill>
                  <a:srgbClr val="003149"/>
                </a:solidFill>
              </a:rPr>
              <a:t>Фокус – прирост </a:t>
            </a:r>
            <a:r>
              <a:rPr lang="ru-RU" sz="900" b="1" dirty="0">
                <a:solidFill>
                  <a:srgbClr val="003149"/>
                </a:solidFill>
              </a:rPr>
              <a:t>запасов категории С1+С2</a:t>
            </a:r>
          </a:p>
          <a:p>
            <a:pPr defTabSz="891127">
              <a:spcBef>
                <a:spcPts val="612"/>
              </a:spcBef>
              <a:buSzPct val="100000"/>
            </a:pPr>
            <a:r>
              <a:rPr lang="ru-RU" sz="900" dirty="0">
                <a:solidFill>
                  <a:srgbClr val="003149"/>
                </a:solidFill>
              </a:rPr>
              <a:t>Задача – подготовка ТЭО освоения месторождения</a:t>
            </a:r>
          </a:p>
        </p:txBody>
      </p:sp>
      <p:sp>
        <p:nvSpPr>
          <p:cNvPr id="57" name="Line 2815"/>
          <p:cNvSpPr>
            <a:spLocks noChangeShapeType="1"/>
          </p:cNvSpPr>
          <p:nvPr/>
        </p:nvSpPr>
        <p:spPr bwMode="auto">
          <a:xfrm>
            <a:off x="254210" y="1251482"/>
            <a:ext cx="0" cy="5185741"/>
          </a:xfrm>
          <a:prstGeom prst="line">
            <a:avLst/>
          </a:prstGeom>
          <a:noFill/>
          <a:ln w="15875">
            <a:solidFill>
              <a:srgbClr val="777777"/>
            </a:solidFill>
            <a:prstDash val="solid"/>
            <a:round/>
            <a:headEnd type="none"/>
            <a:tailEnd type="triangle" w="med" len="med"/>
          </a:ln>
        </p:spPr>
        <p:txBody>
          <a:bodyPr lIns="39492" tIns="39492" rIns="39492" bIns="39492" anchor="ctr"/>
          <a:lstStyle/>
          <a:p>
            <a:pPr algn="ctr" defTabSz="891127"/>
            <a:endParaRPr lang="ru-RU" sz="1000" dirty="0">
              <a:solidFill>
                <a:srgbClr val="003149"/>
              </a:solidFill>
              <a:cs typeface="Arial" pitchFamily="34" charset="0"/>
            </a:endParaRPr>
          </a:p>
        </p:txBody>
      </p:sp>
      <p:sp>
        <p:nvSpPr>
          <p:cNvPr id="58" name="TextBox 57"/>
          <p:cNvSpPr txBox="1"/>
          <p:nvPr/>
        </p:nvSpPr>
        <p:spPr>
          <a:xfrm rot="16200000">
            <a:off x="-1356596" y="3591298"/>
            <a:ext cx="3216081" cy="184482"/>
          </a:xfrm>
          <a:prstGeom prst="rect">
            <a:avLst/>
          </a:prstGeom>
          <a:solidFill>
            <a:schemeClr val="bg1"/>
          </a:solidFill>
        </p:spPr>
        <p:txBody>
          <a:bodyPr wrap="none" lIns="30389" tIns="30389" rIns="30389" bIns="30389" rtlCol="0">
            <a:spAutoFit/>
          </a:bodyPr>
          <a:lstStyle/>
          <a:p>
            <a:pPr algn="ctr" defTabSz="891127"/>
            <a:r>
              <a:rPr lang="ru-RU" sz="800" b="1" i="1" dirty="0">
                <a:solidFill>
                  <a:srgbClr val="003149"/>
                </a:solidFill>
              </a:rPr>
              <a:t>Стадийность работ ГРР    /    Снижение неопределенности</a:t>
            </a:r>
            <a:endParaRPr lang="en-US" sz="800" b="1" i="1" dirty="0">
              <a:solidFill>
                <a:srgbClr val="003149"/>
              </a:solidFill>
            </a:endParaRPr>
          </a:p>
        </p:txBody>
      </p:sp>
      <p:sp>
        <p:nvSpPr>
          <p:cNvPr id="50" name="Rectangle 17"/>
          <p:cNvSpPr/>
          <p:nvPr>
            <p:custDataLst>
              <p:tags r:id="rId8"/>
            </p:custDataLst>
          </p:nvPr>
        </p:nvSpPr>
        <p:spPr>
          <a:xfrm>
            <a:off x="661606" y="1280907"/>
            <a:ext cx="1901911" cy="215163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2691" tIns="32691" rIns="32691" bIns="32691" rtlCol="0" anchor="t">
            <a:noAutofit/>
          </a:bodyPr>
          <a:lstStyle/>
          <a:p>
            <a:pPr algn="ctr" defTabSz="891127">
              <a:spcBef>
                <a:spcPts val="612"/>
              </a:spcBef>
              <a:buSzPct val="100000"/>
            </a:pPr>
            <a:r>
              <a:rPr lang="ru-RU" sz="900" b="1" dirty="0">
                <a:solidFill>
                  <a:srgbClr val="003149"/>
                </a:solidFill>
              </a:rPr>
              <a:t>РЕГИОНАЛЬНЫЕ РАБОТЫ</a:t>
            </a:r>
          </a:p>
        </p:txBody>
      </p:sp>
      <p:sp>
        <p:nvSpPr>
          <p:cNvPr id="54" name="Rectangle 17"/>
          <p:cNvSpPr/>
          <p:nvPr>
            <p:custDataLst>
              <p:tags r:id="rId9"/>
            </p:custDataLst>
          </p:nvPr>
        </p:nvSpPr>
        <p:spPr>
          <a:xfrm>
            <a:off x="429879" y="2482283"/>
            <a:ext cx="1901911" cy="215163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2691" tIns="32691" rIns="32691" bIns="32691" rtlCol="0" anchor="t">
            <a:noAutofit/>
          </a:bodyPr>
          <a:lstStyle/>
          <a:p>
            <a:pPr algn="ctr" defTabSz="891127">
              <a:spcBef>
                <a:spcPts val="612"/>
              </a:spcBef>
              <a:buSzPct val="100000"/>
            </a:pPr>
            <a:r>
              <a:rPr lang="ru-RU" sz="900" b="1" dirty="0">
                <a:solidFill>
                  <a:srgbClr val="003149"/>
                </a:solidFill>
              </a:rPr>
              <a:t>ПОИСКИ</a:t>
            </a:r>
          </a:p>
        </p:txBody>
      </p:sp>
      <p:sp>
        <p:nvSpPr>
          <p:cNvPr id="59" name="Rectangle 17"/>
          <p:cNvSpPr/>
          <p:nvPr>
            <p:custDataLst>
              <p:tags r:id="rId10"/>
            </p:custDataLst>
          </p:nvPr>
        </p:nvSpPr>
        <p:spPr>
          <a:xfrm>
            <a:off x="429879" y="3685682"/>
            <a:ext cx="1901911" cy="215163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2691" tIns="32691" rIns="32691" bIns="32691" rtlCol="0" anchor="t">
            <a:noAutofit/>
          </a:bodyPr>
          <a:lstStyle/>
          <a:p>
            <a:pPr algn="ctr" defTabSz="891127">
              <a:spcBef>
                <a:spcPts val="612"/>
              </a:spcBef>
              <a:buSzPct val="100000"/>
            </a:pPr>
            <a:r>
              <a:rPr lang="ru-RU" sz="900" b="1" dirty="0">
                <a:solidFill>
                  <a:srgbClr val="003149"/>
                </a:solidFill>
              </a:rPr>
              <a:t>ОЦЕНКА</a:t>
            </a:r>
          </a:p>
        </p:txBody>
      </p:sp>
      <p:sp>
        <p:nvSpPr>
          <p:cNvPr id="60" name="Rectangle 17"/>
          <p:cNvSpPr/>
          <p:nvPr>
            <p:custDataLst>
              <p:tags r:id="rId11"/>
            </p:custDataLst>
          </p:nvPr>
        </p:nvSpPr>
        <p:spPr>
          <a:xfrm>
            <a:off x="429879" y="4880846"/>
            <a:ext cx="1901911" cy="215163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2691" tIns="32691" rIns="32691" bIns="32691" rtlCol="0" anchor="t">
            <a:noAutofit/>
          </a:bodyPr>
          <a:lstStyle/>
          <a:p>
            <a:pPr algn="ctr" defTabSz="891127">
              <a:spcBef>
                <a:spcPts val="612"/>
              </a:spcBef>
              <a:buSzPct val="100000"/>
            </a:pPr>
            <a:r>
              <a:rPr lang="ru-RU" sz="900" b="1" dirty="0">
                <a:solidFill>
                  <a:srgbClr val="003149"/>
                </a:solidFill>
              </a:rPr>
              <a:t>РАЗВЕДКА</a:t>
            </a:r>
          </a:p>
        </p:txBody>
      </p:sp>
      <p:sp>
        <p:nvSpPr>
          <p:cNvPr id="62" name="Rectangle 17"/>
          <p:cNvSpPr/>
          <p:nvPr>
            <p:custDataLst>
              <p:tags r:id="rId12"/>
            </p:custDataLst>
          </p:nvPr>
        </p:nvSpPr>
        <p:spPr>
          <a:xfrm>
            <a:off x="469831" y="5832684"/>
            <a:ext cx="1901911" cy="215163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2691" tIns="32691" rIns="32691" bIns="32691" rtlCol="0" anchor="t">
            <a:noAutofit/>
          </a:bodyPr>
          <a:lstStyle/>
          <a:p>
            <a:pPr algn="ctr" defTabSz="891127">
              <a:spcBef>
                <a:spcPts val="612"/>
              </a:spcBef>
              <a:buSzPct val="100000"/>
            </a:pPr>
            <a:r>
              <a:rPr lang="ru-RU" sz="900" b="1" dirty="0">
                <a:solidFill>
                  <a:srgbClr val="003149"/>
                </a:solidFill>
              </a:rPr>
              <a:t>ЭКСПЛОРАЗВЕДКА</a:t>
            </a:r>
          </a:p>
        </p:txBody>
      </p:sp>
      <p:sp>
        <p:nvSpPr>
          <p:cNvPr id="63" name="Gray1"/>
          <p:cNvSpPr>
            <a:spLocks noChangeAspect="1"/>
          </p:cNvSpPr>
          <p:nvPr/>
        </p:nvSpPr>
        <p:spPr bwMode="auto">
          <a:xfrm>
            <a:off x="6299770" y="1853774"/>
            <a:ext cx="216713" cy="233121"/>
          </a:xfrm>
          <a:prstGeom prst="ellipse">
            <a:avLst/>
          </a:prstGeom>
          <a:solidFill>
            <a:schemeClr val="tx2">
              <a:lumMod val="65000"/>
              <a:lumOff val="35000"/>
            </a:schemeClr>
          </a:solidFill>
          <a:ln w="3175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0" tIns="0" rIns="0" bIns="0" anchor="ctr"/>
          <a:lstStyle/>
          <a:p>
            <a:pPr algn="ctr" defTabSz="891127" eaLnBrk="0" hangingPunct="0">
              <a:defRPr/>
            </a:pPr>
            <a:r>
              <a:rPr lang="en-GB" sz="1200" b="1" dirty="0">
                <a:solidFill>
                  <a:srgbClr val="FFFFFF"/>
                </a:solidFill>
                <a:latin typeface="Verdana" pitchFamily="34" charset="0"/>
              </a:rPr>
              <a:t>1</a:t>
            </a:r>
          </a:p>
        </p:txBody>
      </p:sp>
      <p:sp>
        <p:nvSpPr>
          <p:cNvPr id="64" name="Gray1"/>
          <p:cNvSpPr>
            <a:spLocks noChangeAspect="1"/>
          </p:cNvSpPr>
          <p:nvPr/>
        </p:nvSpPr>
        <p:spPr bwMode="auto">
          <a:xfrm>
            <a:off x="6299770" y="3132776"/>
            <a:ext cx="216713" cy="233121"/>
          </a:xfrm>
          <a:prstGeom prst="ellipse">
            <a:avLst/>
          </a:prstGeom>
          <a:solidFill>
            <a:schemeClr val="tx2">
              <a:lumMod val="65000"/>
              <a:lumOff val="35000"/>
            </a:schemeClr>
          </a:solidFill>
          <a:ln w="3175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0" tIns="0" rIns="0" bIns="0" anchor="ctr"/>
          <a:lstStyle/>
          <a:p>
            <a:pPr algn="ctr" defTabSz="891127" eaLnBrk="0" hangingPunct="0">
              <a:defRPr/>
            </a:pPr>
            <a:r>
              <a:rPr lang="ru-RU" sz="1200" b="1" dirty="0">
                <a:solidFill>
                  <a:srgbClr val="FFFFFF"/>
                </a:solidFill>
                <a:latin typeface="Verdana" pitchFamily="34" charset="0"/>
              </a:rPr>
              <a:t>2</a:t>
            </a:r>
            <a:endParaRPr lang="en-GB" sz="1200" b="1" dirty="0">
              <a:solidFill>
                <a:srgbClr val="FFFFFF"/>
              </a:solidFill>
              <a:latin typeface="Verdana" pitchFamily="34" charset="0"/>
            </a:endParaRPr>
          </a:p>
        </p:txBody>
      </p:sp>
      <p:sp>
        <p:nvSpPr>
          <p:cNvPr id="65" name="Gray1"/>
          <p:cNvSpPr>
            <a:spLocks noChangeAspect="1"/>
          </p:cNvSpPr>
          <p:nvPr/>
        </p:nvSpPr>
        <p:spPr bwMode="auto">
          <a:xfrm>
            <a:off x="6299770" y="4968103"/>
            <a:ext cx="216713" cy="233121"/>
          </a:xfrm>
          <a:prstGeom prst="ellipse">
            <a:avLst/>
          </a:prstGeom>
          <a:solidFill>
            <a:schemeClr val="tx2">
              <a:lumMod val="65000"/>
              <a:lumOff val="35000"/>
            </a:schemeClr>
          </a:solidFill>
          <a:ln w="3175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0" tIns="0" rIns="0" bIns="0" anchor="ctr"/>
          <a:lstStyle/>
          <a:p>
            <a:pPr algn="ctr" defTabSz="891127" eaLnBrk="0" hangingPunct="0">
              <a:defRPr/>
            </a:pPr>
            <a:r>
              <a:rPr lang="ru-RU" sz="1200" b="1" dirty="0">
                <a:solidFill>
                  <a:srgbClr val="FFFFFF"/>
                </a:solidFill>
                <a:latin typeface="Verdana" pitchFamily="34" charset="0"/>
              </a:rPr>
              <a:t>3</a:t>
            </a:r>
            <a:endParaRPr lang="en-GB" sz="1200" b="1" dirty="0">
              <a:solidFill>
                <a:srgbClr val="FFFFFF"/>
              </a:solidFill>
              <a:latin typeface="Verdana" pitchFamily="34" charset="0"/>
            </a:endParaRPr>
          </a:p>
        </p:txBody>
      </p:sp>
      <p:sp>
        <p:nvSpPr>
          <p:cNvPr id="66" name="Gray1"/>
          <p:cNvSpPr>
            <a:spLocks noChangeAspect="1"/>
          </p:cNvSpPr>
          <p:nvPr/>
        </p:nvSpPr>
        <p:spPr bwMode="auto">
          <a:xfrm>
            <a:off x="5220674" y="4122766"/>
            <a:ext cx="216713" cy="233121"/>
          </a:xfrm>
          <a:prstGeom prst="ellipse">
            <a:avLst/>
          </a:prstGeom>
          <a:solidFill>
            <a:schemeClr val="tx2">
              <a:lumMod val="65000"/>
              <a:lumOff val="35000"/>
            </a:schemeClr>
          </a:solidFill>
          <a:ln w="3175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0" tIns="0" rIns="0" bIns="0" anchor="ctr"/>
          <a:lstStyle/>
          <a:p>
            <a:pPr algn="ctr" defTabSz="891127" eaLnBrk="0" hangingPunct="0">
              <a:defRPr/>
            </a:pPr>
            <a:r>
              <a:rPr lang="en-GB" sz="1200" b="1" dirty="0">
                <a:solidFill>
                  <a:srgbClr val="FFFFFF"/>
                </a:solidFill>
                <a:latin typeface="Verdana" pitchFamily="34" charset="0"/>
              </a:rPr>
              <a:t>1</a:t>
            </a:r>
          </a:p>
        </p:txBody>
      </p:sp>
      <p:sp>
        <p:nvSpPr>
          <p:cNvPr id="67" name="Gray1"/>
          <p:cNvSpPr>
            <a:spLocks noChangeAspect="1"/>
          </p:cNvSpPr>
          <p:nvPr/>
        </p:nvSpPr>
        <p:spPr bwMode="auto">
          <a:xfrm>
            <a:off x="4417167" y="3329222"/>
            <a:ext cx="216713" cy="233121"/>
          </a:xfrm>
          <a:prstGeom prst="ellipse">
            <a:avLst/>
          </a:prstGeom>
          <a:solidFill>
            <a:schemeClr val="tx2">
              <a:lumMod val="65000"/>
              <a:lumOff val="35000"/>
            </a:schemeClr>
          </a:solidFill>
          <a:ln w="3175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0" tIns="0" rIns="0" bIns="0" anchor="ctr"/>
          <a:lstStyle/>
          <a:p>
            <a:pPr algn="ctr" defTabSz="891127" eaLnBrk="0" hangingPunct="0">
              <a:defRPr/>
            </a:pPr>
            <a:r>
              <a:rPr lang="ru-RU" sz="1200" b="1" dirty="0">
                <a:solidFill>
                  <a:srgbClr val="FFFFFF"/>
                </a:solidFill>
                <a:latin typeface="Verdana" pitchFamily="34" charset="0"/>
              </a:rPr>
              <a:t>2</a:t>
            </a:r>
            <a:endParaRPr lang="en-GB" sz="1200" b="1" dirty="0">
              <a:solidFill>
                <a:srgbClr val="FFFFFF"/>
              </a:solidFill>
              <a:latin typeface="Verdana" pitchFamily="34" charset="0"/>
            </a:endParaRPr>
          </a:p>
        </p:txBody>
      </p:sp>
      <p:sp>
        <p:nvSpPr>
          <p:cNvPr id="68" name="Gray1"/>
          <p:cNvSpPr>
            <a:spLocks noChangeAspect="1"/>
          </p:cNvSpPr>
          <p:nvPr/>
        </p:nvSpPr>
        <p:spPr bwMode="auto">
          <a:xfrm>
            <a:off x="5285430" y="5448174"/>
            <a:ext cx="216713" cy="233121"/>
          </a:xfrm>
          <a:prstGeom prst="ellipse">
            <a:avLst/>
          </a:prstGeom>
          <a:solidFill>
            <a:schemeClr val="tx2">
              <a:lumMod val="65000"/>
              <a:lumOff val="35000"/>
            </a:schemeClr>
          </a:solidFill>
          <a:ln w="3175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0" tIns="0" rIns="0" bIns="0" anchor="ctr"/>
          <a:lstStyle/>
          <a:p>
            <a:pPr algn="ctr" defTabSz="891127" eaLnBrk="0" hangingPunct="0">
              <a:defRPr/>
            </a:pPr>
            <a:r>
              <a:rPr lang="ru-RU" sz="1200" b="1" dirty="0">
                <a:solidFill>
                  <a:srgbClr val="FFFFFF"/>
                </a:solidFill>
                <a:latin typeface="Verdana" pitchFamily="34" charset="0"/>
              </a:rPr>
              <a:t>3</a:t>
            </a:r>
            <a:endParaRPr lang="en-GB" sz="1200" b="1" dirty="0">
              <a:solidFill>
                <a:srgbClr val="FFFFFF"/>
              </a:solidFill>
              <a:latin typeface="Verdan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770344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168404" y="53600"/>
            <a:ext cx="8869266" cy="834431"/>
          </a:xfrm>
        </p:spPr>
        <p:txBody>
          <a:bodyPr/>
          <a:lstStyle/>
          <a:p>
            <a:pPr algn="r"/>
            <a:r>
              <a:rPr lang="ru-RU" sz="2400" b="0" dirty="0"/>
              <a:t>Районирование территории Якутской алмазоносной провинции по условиям </a:t>
            </a:r>
            <a:r>
              <a:rPr lang="ru-RU" sz="2400" b="0" dirty="0" smtClean="0"/>
              <a:t>ведения поисковых работ</a:t>
            </a:r>
            <a:endParaRPr lang="ru-RU" sz="2400" b="0" dirty="0"/>
          </a:p>
        </p:txBody>
      </p:sp>
      <p:sp>
        <p:nvSpPr>
          <p:cNvPr id="120" name="BainBulletsConfiguration" hidden="1"/>
          <p:cNvSpPr txBox="1"/>
          <p:nvPr/>
        </p:nvSpPr>
        <p:spPr>
          <a:xfrm>
            <a:off x="11209" y="12068"/>
            <a:ext cx="7846522" cy="83639"/>
          </a:xfrm>
          <a:prstGeom prst="rect">
            <a:avLst/>
          </a:prstGeom>
          <a:noFill/>
        </p:spPr>
        <p:txBody>
          <a:bodyPr vert="horz" wrap="square" lIns="32691" tIns="32691" rIns="32691" bIns="32691" rtlCol="0">
            <a:spAutoFit/>
          </a:bodyPr>
          <a:lstStyle/>
          <a:p>
            <a:pPr defTabSz="891127"/>
            <a:r>
              <a:rPr lang="ru-RU" sz="100" dirty="0">
                <a:solidFill>
                  <a:srgbClr val="FFFFFF"/>
                </a:solidFill>
              </a:rPr>
              <a:t>52_89 7_84 78_88 81_88 49_84</a:t>
            </a:r>
          </a:p>
        </p:txBody>
      </p:sp>
      <p:sp>
        <p:nvSpPr>
          <p:cNvPr id="7" name="Прямоугольник 6"/>
          <p:cNvSpPr/>
          <p:nvPr/>
        </p:nvSpPr>
        <p:spPr>
          <a:xfrm>
            <a:off x="2752167" y="1077565"/>
            <a:ext cx="3717610" cy="5420873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2691" tIns="32691" rIns="32691" bIns="32691" rtlCol="0" anchor="ctr"/>
          <a:lstStyle/>
          <a:p>
            <a:pPr algn="ctr" defTabSz="891127"/>
            <a:endParaRPr lang="ru-RU" sz="1500" dirty="0">
              <a:solidFill>
                <a:srgbClr val="003149"/>
              </a:solidFill>
            </a:endParaRPr>
          </a:p>
        </p:txBody>
      </p:sp>
      <p:pic>
        <p:nvPicPr>
          <p:cNvPr id="70" name="Рисунок 69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716" t="1622" r="2126" b="1982"/>
          <a:stretch/>
        </p:blipFill>
        <p:spPr>
          <a:xfrm>
            <a:off x="179511" y="1204523"/>
            <a:ext cx="3346561" cy="5248813"/>
          </a:xfrm>
          <a:prstGeom prst="rect">
            <a:avLst/>
          </a:prstGeom>
        </p:spPr>
      </p:pic>
      <p:pic>
        <p:nvPicPr>
          <p:cNvPr id="71" name="Рисунок 70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3528" y="5157192"/>
            <a:ext cx="1062643" cy="914480"/>
          </a:xfrm>
          <a:prstGeom prst="rect">
            <a:avLst/>
          </a:prstGeom>
        </p:spPr>
      </p:pic>
      <p:graphicFrame>
        <p:nvGraphicFramePr>
          <p:cNvPr id="72" name="Таблица 7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00264036"/>
              </p:ext>
            </p:extLst>
          </p:nvPr>
        </p:nvGraphicFramePr>
        <p:xfrm>
          <a:off x="3866637" y="4437112"/>
          <a:ext cx="4896544" cy="2016224"/>
        </p:xfrm>
        <a:graphic>
          <a:graphicData uri="http://schemas.openxmlformats.org/drawingml/2006/table">
            <a:tbl>
              <a:tblPr/>
              <a:tblGrid>
                <a:gridCol w="3020664"/>
                <a:gridCol w="994595"/>
                <a:gridCol w="881285"/>
              </a:tblGrid>
              <a:tr h="265942">
                <a:tc rowSpan="2">
                  <a:txBody>
                    <a:bodyPr/>
                    <a:lstStyle/>
                    <a:p>
                      <a:pPr indent="30480"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b="1" dirty="0" err="1">
                          <a:solidFill>
                            <a:schemeClr val="bg1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Геотипы</a:t>
                      </a:r>
                      <a:r>
                        <a:rPr lang="ru-RU" sz="1000" b="1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 площадей</a:t>
                      </a:r>
                      <a:endParaRPr lang="ru-RU" sz="1000" dirty="0">
                        <a:solidFill>
                          <a:schemeClr val="bg1"/>
                        </a:solidFill>
                        <a:effectLst/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0530" marR="6053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668A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just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000" b="1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Площадь ЯАП</a:t>
                      </a:r>
                      <a:endParaRPr lang="ru-RU" sz="1000" dirty="0">
                        <a:solidFill>
                          <a:schemeClr val="bg1"/>
                        </a:solidFill>
                        <a:effectLst/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0530" marR="6053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668A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456909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chemeClr val="bg1"/>
                          </a:solidFill>
                          <a:effectLst/>
                          <a:latin typeface="Times New Roman"/>
                          <a:ea typeface="Times New Roman"/>
                          <a:cs typeface="Times New Roman"/>
                        </a:rPr>
                        <a:t>тыс. км</a:t>
                      </a:r>
                      <a:r>
                        <a:rPr lang="ru-RU" sz="1000" baseline="30000" dirty="0">
                          <a:solidFill>
                            <a:schemeClr val="bg1"/>
                          </a:solidFill>
                          <a:effectLst/>
                          <a:latin typeface="Times New Roman"/>
                          <a:ea typeface="Times New Roman"/>
                          <a:cs typeface="Times New Roman"/>
                        </a:rPr>
                        <a:t>2</a:t>
                      </a:r>
                      <a:endParaRPr lang="ru-RU" sz="1000" dirty="0">
                        <a:solidFill>
                          <a:schemeClr val="bg1"/>
                        </a:solidFill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0530" marR="6053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668A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chemeClr val="bg1"/>
                          </a:solidFill>
                          <a:effectLst/>
                          <a:latin typeface="Times New Roman"/>
                          <a:ea typeface="Times New Roman"/>
                          <a:cs typeface="Times New Roman"/>
                        </a:rPr>
                        <a:t> в %</a:t>
                      </a:r>
                    </a:p>
                  </a:txBody>
                  <a:tcPr marL="60530" marR="6053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668A"/>
                    </a:solidFill>
                  </a:tcPr>
                </a:tc>
              </a:tr>
              <a:tr h="177295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000" b="1" dirty="0">
                          <a:effectLst/>
                          <a:latin typeface="Times New Roman"/>
                          <a:ea typeface="Times New Roman"/>
                          <a:cs typeface="Times New Roman"/>
                        </a:rPr>
                        <a:t>Всего </a:t>
                      </a:r>
                      <a:endParaRPr lang="ru-RU" sz="1000" dirty="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0530" marR="6053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9EAF5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  <a:tabLst>
                          <a:tab pos="240665" algn="l"/>
                        </a:tabLst>
                      </a:pPr>
                      <a:r>
                        <a:rPr lang="ru-RU" sz="1000" b="1" dirty="0">
                          <a:effectLst/>
                          <a:latin typeface="Times New Roman"/>
                          <a:ea typeface="Times New Roman"/>
                          <a:cs typeface="Times New Roman"/>
                        </a:rPr>
                        <a:t>1100</a:t>
                      </a:r>
                    </a:p>
                  </a:txBody>
                  <a:tcPr marL="60530" marR="6053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9EAF5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  <a:tabLst>
                          <a:tab pos="-62230" algn="l"/>
                        </a:tabLst>
                      </a:pPr>
                      <a:r>
                        <a:rPr lang="ru-RU" sz="1000" b="1" dirty="0">
                          <a:effectLst/>
                          <a:latin typeface="Times New Roman"/>
                          <a:ea typeface="Times New Roman"/>
                          <a:cs typeface="Times New Roman"/>
                        </a:rPr>
                        <a:t>100</a:t>
                      </a:r>
                    </a:p>
                  </a:txBody>
                  <a:tcPr marL="60530" marR="6053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9EAF5"/>
                    </a:solidFill>
                  </a:tcPr>
                </a:tc>
              </a:tr>
              <a:tr h="177295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000" b="1" i="1" dirty="0">
                          <a:effectLst/>
                          <a:latin typeface="Times New Roman"/>
                          <a:ea typeface="Times New Roman"/>
                          <a:cs typeface="Times New Roman"/>
                        </a:rPr>
                        <a:t>Открытые</a:t>
                      </a:r>
                      <a:endParaRPr lang="ru-RU" sz="1000" dirty="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0530" marR="6053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  <a:tabLst>
                          <a:tab pos="240665" algn="l"/>
                        </a:tabLst>
                      </a:pPr>
                      <a:r>
                        <a:rPr lang="ru-RU" sz="1000" b="1" dirty="0">
                          <a:effectLst/>
                          <a:latin typeface="Times New Roman"/>
                          <a:ea typeface="Times New Roman"/>
                          <a:cs typeface="Times New Roman"/>
                        </a:rPr>
                        <a:t>440</a:t>
                      </a:r>
                    </a:p>
                  </a:txBody>
                  <a:tcPr marL="60530" marR="6053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  <a:tabLst>
                          <a:tab pos="240665" algn="l"/>
                        </a:tabLst>
                      </a:pPr>
                      <a:r>
                        <a:rPr lang="ru-RU" sz="1000" b="1" dirty="0">
                          <a:effectLst/>
                          <a:latin typeface="Times New Roman"/>
                          <a:ea typeface="Times New Roman"/>
                          <a:cs typeface="Times New Roman"/>
                        </a:rPr>
                        <a:t>40</a:t>
                      </a:r>
                    </a:p>
                  </a:txBody>
                  <a:tcPr marL="60530" marR="6053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</a:tr>
              <a:tr h="177295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000" b="1" i="1" dirty="0">
                          <a:effectLst/>
                          <a:latin typeface="Times New Roman"/>
                          <a:ea typeface="Times New Roman"/>
                          <a:cs typeface="Times New Roman"/>
                        </a:rPr>
                        <a:t>Закрытые, в </a:t>
                      </a:r>
                      <a:r>
                        <a:rPr lang="ru-RU" sz="1000" b="1" i="1" dirty="0" err="1">
                          <a:effectLst/>
                          <a:latin typeface="Times New Roman"/>
                          <a:ea typeface="Times New Roman"/>
                          <a:cs typeface="Times New Roman"/>
                        </a:rPr>
                        <a:t>т.ч</a:t>
                      </a:r>
                      <a:r>
                        <a:rPr lang="ru-RU" sz="1000" b="1" i="1" dirty="0">
                          <a:effectLst/>
                          <a:latin typeface="Times New Roman"/>
                          <a:ea typeface="Times New Roman"/>
                          <a:cs typeface="Times New Roman"/>
                        </a:rPr>
                        <a:t>.:</a:t>
                      </a:r>
                      <a:endParaRPr lang="ru-RU" sz="1000" dirty="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0530" marR="6053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  <a:tabLst>
                          <a:tab pos="240665" algn="l"/>
                        </a:tabLst>
                      </a:pPr>
                      <a:r>
                        <a:rPr lang="ru-RU" sz="1000" b="1" dirty="0">
                          <a:effectLst/>
                          <a:latin typeface="Times New Roman"/>
                          <a:ea typeface="Times New Roman"/>
                          <a:cs typeface="Times New Roman"/>
                        </a:rPr>
                        <a:t>660</a:t>
                      </a:r>
                    </a:p>
                  </a:txBody>
                  <a:tcPr marL="60530" marR="6053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  <a:tabLst>
                          <a:tab pos="240665" algn="l"/>
                        </a:tabLst>
                      </a:pPr>
                      <a:r>
                        <a:rPr lang="ru-RU" sz="1000" b="1" dirty="0">
                          <a:effectLst/>
                          <a:latin typeface="Times New Roman"/>
                          <a:ea typeface="Times New Roman"/>
                          <a:cs typeface="Times New Roman"/>
                        </a:rPr>
                        <a:t>60</a:t>
                      </a:r>
                    </a:p>
                  </a:txBody>
                  <a:tcPr marL="60530" marR="6053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</a:tr>
              <a:tr h="398839"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000" b="1" dirty="0">
                          <a:effectLst/>
                          <a:latin typeface="Times New Roman"/>
                          <a:ea typeface="Times New Roman"/>
                          <a:cs typeface="Times New Roman"/>
                        </a:rPr>
                        <a:t>доступные для поисков </a:t>
                      </a:r>
                      <a:r>
                        <a:rPr lang="ru-RU" sz="1000" b="1" dirty="0" smtClean="0">
                          <a:effectLst/>
                          <a:latin typeface="Times New Roman"/>
                          <a:ea typeface="Times New Roman"/>
                          <a:cs typeface="Times New Roman"/>
                        </a:rPr>
                        <a:t>месторождений</a:t>
                      </a:r>
                      <a:endParaRPr lang="ru-RU" sz="1000" b="1" dirty="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0530" marR="6053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  <a:tabLst>
                          <a:tab pos="240665" algn="l"/>
                        </a:tabLst>
                      </a:pPr>
                      <a:r>
                        <a:rPr lang="ru-RU" sz="1000" b="1">
                          <a:effectLst/>
                          <a:latin typeface="Times New Roman"/>
                          <a:ea typeface="Times New Roman"/>
                          <a:cs typeface="Times New Roman"/>
                        </a:rPr>
                        <a:t>290</a:t>
                      </a:r>
                    </a:p>
                  </a:txBody>
                  <a:tcPr marL="60530" marR="6053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  <a:tabLst>
                          <a:tab pos="240665" algn="l"/>
                        </a:tabLst>
                      </a:pPr>
                      <a:r>
                        <a:rPr lang="ru-RU" sz="1000" b="1" dirty="0">
                          <a:effectLst/>
                          <a:latin typeface="Times New Roman"/>
                          <a:ea typeface="Times New Roman"/>
                          <a:cs typeface="Times New Roman"/>
                        </a:rPr>
                        <a:t>26</a:t>
                      </a:r>
                    </a:p>
                  </a:txBody>
                  <a:tcPr marL="60530" marR="6053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62649"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000" b="1" dirty="0" smtClean="0">
                          <a:effectLst/>
                          <a:latin typeface="Times New Roman"/>
                          <a:ea typeface="Times New Roman"/>
                          <a:cs typeface="Times New Roman"/>
                        </a:rPr>
                        <a:t>нецелесообразные </a:t>
                      </a:r>
                      <a:r>
                        <a:rPr lang="ru-RU" sz="1000" b="1" dirty="0">
                          <a:effectLst/>
                          <a:latin typeface="Times New Roman"/>
                          <a:ea typeface="Times New Roman"/>
                          <a:cs typeface="Times New Roman"/>
                        </a:rPr>
                        <a:t>для поисков </a:t>
                      </a:r>
                      <a:r>
                        <a:rPr lang="ru-RU" sz="1000" b="1" dirty="0" smtClean="0">
                          <a:effectLst/>
                          <a:latin typeface="Times New Roman"/>
                          <a:ea typeface="Times New Roman"/>
                          <a:cs typeface="Times New Roman"/>
                        </a:rPr>
                        <a:t>месторождений</a:t>
                      </a:r>
                      <a:endParaRPr lang="ru-RU" sz="1000" b="1" dirty="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0530" marR="6053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  <a:tabLst>
                          <a:tab pos="240665" algn="l"/>
                        </a:tabLst>
                      </a:pPr>
                      <a:r>
                        <a:rPr lang="ru-RU" sz="1000" b="1" dirty="0">
                          <a:effectLst/>
                          <a:latin typeface="Times New Roman"/>
                          <a:ea typeface="Times New Roman"/>
                          <a:cs typeface="Times New Roman"/>
                        </a:rPr>
                        <a:t>370</a:t>
                      </a:r>
                    </a:p>
                  </a:txBody>
                  <a:tcPr marL="60530" marR="6053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  <a:tabLst>
                          <a:tab pos="240665" algn="l"/>
                        </a:tabLst>
                      </a:pPr>
                      <a:r>
                        <a:rPr lang="ru-RU" sz="1000" b="1" dirty="0">
                          <a:effectLst/>
                          <a:latin typeface="Times New Roman"/>
                          <a:ea typeface="Times New Roman"/>
                          <a:cs typeface="Times New Roman"/>
                        </a:rPr>
                        <a:t>34</a:t>
                      </a:r>
                    </a:p>
                  </a:txBody>
                  <a:tcPr marL="60530" marR="6053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sp>
        <p:nvSpPr>
          <p:cNvPr id="73" name="Rectangle 1"/>
          <p:cNvSpPr>
            <a:spLocks noChangeArrowheads="1"/>
          </p:cNvSpPr>
          <p:nvPr/>
        </p:nvSpPr>
        <p:spPr bwMode="auto">
          <a:xfrm>
            <a:off x="4093513" y="4014040"/>
            <a:ext cx="4752528" cy="4383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3163" tIns="41582" rIns="83163" bIns="41582" numCol="1" anchor="ctr" anchorCtr="0" compatLnSpc="1">
            <a:prstTxWarp prst="textNoShape">
              <a:avLst/>
            </a:prstTxWarp>
            <a:spAutoFit/>
          </a:bodyPr>
          <a:lstStyle/>
          <a:p>
            <a:pPr algn="ctr" defTabSz="831645" fontAlgn="base">
              <a:spcBef>
                <a:spcPct val="0"/>
              </a:spcBef>
              <a:spcAft>
                <a:spcPct val="0"/>
              </a:spcAft>
              <a:tabLst>
                <a:tab pos="219463" algn="l"/>
              </a:tabLst>
            </a:pPr>
            <a:r>
              <a:rPr lang="ru-RU" sz="1100" dirty="0">
                <a:solidFill>
                  <a:srgbClr val="000066"/>
                </a:solidFill>
                <a:latin typeface="Arial" charset="0"/>
                <a:ea typeface="Times New Roman" pitchFamily="18" charset="0"/>
                <a:cs typeface="Times New Roman" pitchFamily="18" charset="0"/>
              </a:rPr>
              <a:t>Распределение площадей ЯАП по </a:t>
            </a:r>
          </a:p>
          <a:p>
            <a:pPr algn="ctr" defTabSz="831645" fontAlgn="base">
              <a:spcBef>
                <a:spcPct val="0"/>
              </a:spcBef>
              <a:spcAft>
                <a:spcPct val="0"/>
              </a:spcAft>
              <a:tabLst>
                <a:tab pos="219463" algn="l"/>
              </a:tabLst>
            </a:pPr>
            <a:r>
              <a:rPr lang="ru-RU" sz="1100" dirty="0">
                <a:solidFill>
                  <a:srgbClr val="000066"/>
                </a:solidFill>
                <a:latin typeface="Arial" charset="0"/>
                <a:ea typeface="Times New Roman" pitchFamily="18" charset="0"/>
                <a:cs typeface="Times New Roman" pitchFamily="18" charset="0"/>
              </a:rPr>
              <a:t>условиям поисков</a:t>
            </a:r>
            <a:endParaRPr lang="ru-RU" sz="1100" dirty="0">
              <a:solidFill>
                <a:srgbClr val="000066"/>
              </a:solidFill>
              <a:latin typeface="Arial" charset="0"/>
              <a:cs typeface="Times New Roman" pitchFamily="18" charset="0"/>
            </a:endParaRPr>
          </a:p>
        </p:txBody>
      </p:sp>
      <p:pic>
        <p:nvPicPr>
          <p:cNvPr id="74" name="Picture 2" descr="Разрез"/>
          <p:cNvPicPr>
            <a:picLocks noChangeAspect="1" noChangeArrowheads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102" t="15022" r="6374" b="22548"/>
          <a:stretch/>
        </p:blipFill>
        <p:spPr bwMode="auto">
          <a:xfrm>
            <a:off x="3566901" y="1196752"/>
            <a:ext cx="5496017" cy="2877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5" name="TextBox 74"/>
          <p:cNvSpPr txBox="1"/>
          <p:nvPr/>
        </p:nvSpPr>
        <p:spPr>
          <a:xfrm>
            <a:off x="3944586" y="888488"/>
            <a:ext cx="5077509" cy="220012"/>
          </a:xfrm>
          <a:prstGeom prst="rect">
            <a:avLst/>
          </a:prstGeom>
          <a:noFill/>
        </p:spPr>
        <p:txBody>
          <a:bodyPr wrap="square" lIns="32742" tIns="32742" rIns="32742" bIns="32742" rtlCol="0">
            <a:spAutoFit/>
          </a:bodyPr>
          <a:lstStyle/>
          <a:p>
            <a:pPr algn="ctr" defTabSz="913896" fontAlgn="base">
              <a:spcBef>
                <a:spcPct val="0"/>
              </a:spcBef>
              <a:spcAft>
                <a:spcPct val="0"/>
              </a:spcAft>
            </a:pPr>
            <a:r>
              <a:rPr lang="ru-RU" sz="1000" b="1" dirty="0" smtClean="0">
                <a:solidFill>
                  <a:srgbClr val="000066"/>
                </a:solidFill>
                <a:latin typeface="Arial" charset="0"/>
                <a:cs typeface="Times New Roman" pitchFamily="18" charset="0"/>
              </a:rPr>
              <a:t>Геологические условия </a:t>
            </a:r>
            <a:r>
              <a:rPr lang="ru-RU" sz="1000" b="1" dirty="0">
                <a:solidFill>
                  <a:srgbClr val="000066"/>
                </a:solidFill>
                <a:latin typeface="Arial" charset="0"/>
                <a:cs typeface="Times New Roman" pitchFamily="18" charset="0"/>
              </a:rPr>
              <a:t>поисков месторождений алмазов </a:t>
            </a:r>
          </a:p>
        </p:txBody>
      </p:sp>
    </p:spTree>
    <p:extLst>
      <p:ext uri="{BB962C8B-B14F-4D97-AF65-F5344CB8AC3E}">
        <p14:creationId xmlns:p14="http://schemas.microsoft.com/office/powerpoint/2010/main" val="41080304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Рисунок 5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8414"/>
          <a:stretch/>
        </p:blipFill>
        <p:spPr>
          <a:xfrm>
            <a:off x="49476" y="1216344"/>
            <a:ext cx="3408979" cy="4750407"/>
          </a:xfrm>
          <a:prstGeom prst="rect">
            <a:avLst/>
          </a:prstGeom>
          <a:solidFill>
            <a:schemeClr val="bg1"/>
          </a:solidFill>
          <a:ln>
            <a:noFill/>
          </a:ln>
        </p:spPr>
      </p:pic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168404" y="53594"/>
            <a:ext cx="8869266" cy="834431"/>
          </a:xfrm>
        </p:spPr>
        <p:txBody>
          <a:bodyPr/>
          <a:lstStyle/>
          <a:p>
            <a:pPr algn="r"/>
            <a:r>
              <a:rPr lang="ru-RU" sz="2400" b="0" dirty="0" smtClean="0"/>
              <a:t>Направление геологоразведочных работ на поиски коренных месторождений алмазов</a:t>
            </a:r>
            <a:endParaRPr lang="ru-RU" sz="2400" b="0" dirty="0"/>
          </a:p>
        </p:txBody>
      </p:sp>
      <p:sp>
        <p:nvSpPr>
          <p:cNvPr id="120" name="BainBulletsConfiguration" hidden="1"/>
          <p:cNvSpPr txBox="1"/>
          <p:nvPr/>
        </p:nvSpPr>
        <p:spPr>
          <a:xfrm>
            <a:off x="11209" y="12068"/>
            <a:ext cx="7846522" cy="83639"/>
          </a:xfrm>
          <a:prstGeom prst="rect">
            <a:avLst/>
          </a:prstGeom>
          <a:noFill/>
        </p:spPr>
        <p:txBody>
          <a:bodyPr vert="horz" wrap="square" lIns="32709" tIns="32709" rIns="32709" bIns="32709" rtlCol="0">
            <a:spAutoFit/>
          </a:bodyPr>
          <a:lstStyle/>
          <a:p>
            <a:pPr defTabSz="891619"/>
            <a:r>
              <a:rPr lang="ru-RU" sz="100" dirty="0">
                <a:solidFill>
                  <a:srgbClr val="FFFFFF"/>
                </a:solidFill>
              </a:rPr>
              <a:t>52_89 7_84 78_88 81_88 49_84</a:t>
            </a:r>
          </a:p>
        </p:txBody>
      </p:sp>
      <p:sp>
        <p:nvSpPr>
          <p:cNvPr id="9" name="Oval 119"/>
          <p:cNvSpPr/>
          <p:nvPr/>
        </p:nvSpPr>
        <p:spPr>
          <a:xfrm>
            <a:off x="1879311" y="4914820"/>
            <a:ext cx="190647" cy="205081"/>
          </a:xfrm>
          <a:prstGeom prst="ellipse">
            <a:avLst/>
          </a:prstGeom>
          <a:solidFill>
            <a:schemeClr val="accent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>
            <a:outerShdw blurRad="38100" dist="12700" dir="2700000" algn="tl" rotWithShape="0">
              <a:prstClr val="black">
                <a:alpha val="70000"/>
              </a:prstClr>
            </a:outerShdw>
          </a:effectLst>
        </p:spPr>
        <p:txBody>
          <a:bodyPr wrap="none" lIns="0" tIns="0" rIns="0" bIns="0" anchor="ctr"/>
          <a:lstStyle/>
          <a:p>
            <a:pPr algn="ctr" defTabSz="891619" eaLnBrk="0" hangingPunct="0"/>
            <a:r>
              <a:rPr lang="ru-RU" sz="1100" b="1" dirty="0">
                <a:solidFill>
                  <a:srgbClr val="FFFFFF"/>
                </a:solidFill>
              </a:rPr>
              <a:t>1</a:t>
            </a:r>
            <a:endParaRPr lang="en-US" sz="1100" b="1" dirty="0">
              <a:solidFill>
                <a:srgbClr val="FFFFFF"/>
              </a:solidFill>
            </a:endParaRPr>
          </a:p>
        </p:txBody>
      </p:sp>
      <p:sp>
        <p:nvSpPr>
          <p:cNvPr id="11" name="Oval 121"/>
          <p:cNvSpPr/>
          <p:nvPr/>
        </p:nvSpPr>
        <p:spPr>
          <a:xfrm>
            <a:off x="1396820" y="3435075"/>
            <a:ext cx="190647" cy="205081"/>
          </a:xfrm>
          <a:prstGeom prst="ellipse">
            <a:avLst/>
          </a:prstGeom>
          <a:solidFill>
            <a:schemeClr val="accent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>
            <a:outerShdw blurRad="38100" dist="12700" dir="2700000" algn="tl" rotWithShape="0">
              <a:prstClr val="black">
                <a:alpha val="70000"/>
              </a:prstClr>
            </a:outerShdw>
          </a:effectLst>
        </p:spPr>
        <p:txBody>
          <a:bodyPr wrap="none" lIns="0" tIns="0" rIns="0" bIns="0" anchor="ctr"/>
          <a:lstStyle/>
          <a:p>
            <a:pPr algn="ctr" defTabSz="891619" eaLnBrk="0" hangingPunct="0"/>
            <a:r>
              <a:rPr lang="ru-RU" sz="1100" b="1" dirty="0">
                <a:solidFill>
                  <a:srgbClr val="FFFFFF"/>
                </a:solidFill>
              </a:rPr>
              <a:t>3</a:t>
            </a:r>
            <a:endParaRPr lang="en-US" sz="1100" b="1" dirty="0">
              <a:solidFill>
                <a:srgbClr val="FFFFFF"/>
              </a:solidFill>
            </a:endParaRPr>
          </a:p>
        </p:txBody>
      </p:sp>
      <p:sp>
        <p:nvSpPr>
          <p:cNvPr id="12" name="Oval 122"/>
          <p:cNvSpPr/>
          <p:nvPr/>
        </p:nvSpPr>
        <p:spPr>
          <a:xfrm>
            <a:off x="2144053" y="4119339"/>
            <a:ext cx="190647" cy="205081"/>
          </a:xfrm>
          <a:prstGeom prst="ellipse">
            <a:avLst/>
          </a:prstGeom>
          <a:solidFill>
            <a:schemeClr val="accent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>
            <a:outerShdw blurRad="38100" dist="12700" dir="2700000" algn="tl" rotWithShape="0">
              <a:prstClr val="black">
                <a:alpha val="70000"/>
              </a:prstClr>
            </a:outerShdw>
          </a:effectLst>
        </p:spPr>
        <p:txBody>
          <a:bodyPr wrap="none" lIns="0" tIns="0" rIns="0" bIns="0" anchor="ctr"/>
          <a:lstStyle/>
          <a:p>
            <a:pPr algn="ctr" defTabSz="891619" eaLnBrk="0" hangingPunct="0"/>
            <a:r>
              <a:rPr lang="ru-RU" sz="1100" b="1" dirty="0">
                <a:solidFill>
                  <a:srgbClr val="FFFFFF"/>
                </a:solidFill>
              </a:rPr>
              <a:t>5</a:t>
            </a:r>
            <a:endParaRPr lang="en-US" sz="1100" b="1" dirty="0">
              <a:solidFill>
                <a:srgbClr val="FFFFFF"/>
              </a:solidFill>
            </a:endParaRPr>
          </a:p>
        </p:txBody>
      </p:sp>
      <p:sp>
        <p:nvSpPr>
          <p:cNvPr id="24" name="Oval 122"/>
          <p:cNvSpPr/>
          <p:nvPr/>
        </p:nvSpPr>
        <p:spPr>
          <a:xfrm>
            <a:off x="2290837" y="3759041"/>
            <a:ext cx="190647" cy="205081"/>
          </a:xfrm>
          <a:prstGeom prst="ellipse">
            <a:avLst/>
          </a:prstGeom>
          <a:solidFill>
            <a:schemeClr val="accent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>
            <a:outerShdw blurRad="38100" dist="12700" dir="2700000" algn="tl" rotWithShape="0">
              <a:prstClr val="black">
                <a:alpha val="70000"/>
              </a:prstClr>
            </a:outerShdw>
          </a:effectLst>
        </p:spPr>
        <p:txBody>
          <a:bodyPr wrap="none" lIns="0" tIns="0" rIns="0" bIns="0" anchor="ctr"/>
          <a:lstStyle/>
          <a:p>
            <a:pPr algn="ctr" defTabSz="891619" eaLnBrk="0" hangingPunct="0"/>
            <a:r>
              <a:rPr lang="ru-RU" sz="1100" b="1" dirty="0">
                <a:solidFill>
                  <a:srgbClr val="FFFFFF"/>
                </a:solidFill>
              </a:rPr>
              <a:t>2</a:t>
            </a:r>
            <a:endParaRPr lang="en-US" sz="1100" b="1" dirty="0">
              <a:solidFill>
                <a:srgbClr val="FFFFFF"/>
              </a:solidFill>
            </a:endParaRPr>
          </a:p>
        </p:txBody>
      </p:sp>
      <p:sp>
        <p:nvSpPr>
          <p:cNvPr id="40" name="Isosceles Triangle 124"/>
          <p:cNvSpPr/>
          <p:nvPr/>
        </p:nvSpPr>
        <p:spPr>
          <a:xfrm rot="5400000">
            <a:off x="1306332" y="3244676"/>
            <a:ext cx="4503004" cy="198758"/>
          </a:xfrm>
          <a:prstGeom prst="triangle">
            <a:avLst/>
          </a:prstGeom>
          <a:solidFill>
            <a:srgbClr val="006393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2709" tIns="32709" rIns="32709" bIns="32709" rtlCol="0" anchor="ctr"/>
          <a:lstStyle/>
          <a:p>
            <a:pPr algn="ctr" defTabSz="891619"/>
            <a:endParaRPr lang="en-US" sz="1500" dirty="0">
              <a:solidFill>
                <a:srgbClr val="FFFFFF"/>
              </a:solidFill>
            </a:endParaRPr>
          </a:p>
        </p:txBody>
      </p:sp>
      <p:graphicFrame>
        <p:nvGraphicFramePr>
          <p:cNvPr id="16" name="Table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26510253"/>
              </p:ext>
            </p:extLst>
          </p:nvPr>
        </p:nvGraphicFramePr>
        <p:xfrm>
          <a:off x="3766732" y="1011592"/>
          <a:ext cx="5258044" cy="3835071"/>
        </p:xfrm>
        <a:graphic>
          <a:graphicData uri="http://schemas.openxmlformats.org/drawingml/2006/table">
            <a:tbl>
              <a:tblPr>
                <a:tableStyleId>{21E4AEA4-8DFA-4A89-87EB-49C32662AFE0}</a:tableStyleId>
              </a:tblPr>
              <a:tblGrid>
                <a:gridCol w="206777"/>
                <a:gridCol w="802452"/>
                <a:gridCol w="615447"/>
                <a:gridCol w="463813"/>
                <a:gridCol w="530135"/>
                <a:gridCol w="778426"/>
                <a:gridCol w="1860994"/>
              </a:tblGrid>
              <a:tr h="617845"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"/>
                        </a:rPr>
                        <a:t>Ранг</a:t>
                      </a:r>
                      <a:endParaRPr lang="en-US" sz="800" b="1" i="0" u="none" strike="noStrike" dirty="0">
                        <a:solidFill>
                          <a:schemeClr val="bg1"/>
                        </a:solidFill>
                        <a:effectLst/>
                        <a:latin typeface="Arial"/>
                      </a:endParaRPr>
                    </a:p>
                  </a:txBody>
                  <a:tcPr marL="7665" marR="7665" marT="8245" marB="0" vert="vert27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"/>
                        </a:rPr>
                        <a:t>Район</a:t>
                      </a:r>
                      <a:endParaRPr lang="en-US" sz="800" b="1" i="0" u="none" strike="noStrike" dirty="0">
                        <a:solidFill>
                          <a:schemeClr val="bg1"/>
                        </a:solidFill>
                        <a:effectLst/>
                        <a:latin typeface="Arial"/>
                      </a:endParaRPr>
                    </a:p>
                  </a:txBody>
                  <a:tcPr marL="7665" marR="7665" marT="8245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"/>
                        </a:rPr>
                        <a:t>Геол.</a:t>
                      </a:r>
                    </a:p>
                    <a:p>
                      <a:pPr algn="ctr" fontAlgn="b"/>
                      <a:r>
                        <a:rPr lang="ru-RU" sz="8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"/>
                        </a:rPr>
                        <a:t> риски</a:t>
                      </a:r>
                      <a:endParaRPr lang="en-US" sz="800" b="1" i="0" u="none" strike="noStrike" dirty="0">
                        <a:solidFill>
                          <a:schemeClr val="bg1"/>
                        </a:solidFill>
                        <a:effectLst/>
                        <a:latin typeface="Arial"/>
                      </a:endParaRPr>
                    </a:p>
                  </a:txBody>
                  <a:tcPr marL="7665" marR="7665" marT="8245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"/>
                        </a:rPr>
                        <a:t>Качество алмазов,</a:t>
                      </a:r>
                    </a:p>
                    <a:p>
                      <a:pPr algn="ctr" fontAlgn="b"/>
                      <a:r>
                        <a:rPr lang="en-US" sz="8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"/>
                        </a:rPr>
                        <a:t>$</a:t>
                      </a:r>
                      <a:r>
                        <a:rPr lang="en-US" sz="800" b="1" i="0" u="none" strike="noStrike" baseline="0" dirty="0" smtClean="0">
                          <a:solidFill>
                            <a:schemeClr val="bg1"/>
                          </a:solidFill>
                          <a:effectLst/>
                          <a:latin typeface="Arial"/>
                        </a:rPr>
                        <a:t> / </a:t>
                      </a:r>
                      <a:r>
                        <a:rPr lang="ru-RU" sz="800" b="1" i="0" u="none" strike="noStrike" baseline="0" dirty="0" smtClean="0">
                          <a:solidFill>
                            <a:schemeClr val="bg1"/>
                          </a:solidFill>
                          <a:effectLst/>
                          <a:latin typeface="Arial"/>
                        </a:rPr>
                        <a:t>карат</a:t>
                      </a:r>
                      <a:endParaRPr lang="en-US" sz="800" b="1" i="0" u="none" strike="noStrike" dirty="0">
                        <a:solidFill>
                          <a:schemeClr val="bg1"/>
                        </a:solidFill>
                        <a:effectLst/>
                        <a:latin typeface="Arial"/>
                      </a:endParaRPr>
                    </a:p>
                  </a:txBody>
                  <a:tcPr marL="7665" marR="7665" marT="8245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"/>
                        </a:rPr>
                        <a:t>Качество руды,</a:t>
                      </a:r>
                    </a:p>
                    <a:p>
                      <a:pPr algn="ctr" fontAlgn="b"/>
                      <a:r>
                        <a:rPr lang="en-US" sz="8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"/>
                        </a:rPr>
                        <a:t>$</a:t>
                      </a:r>
                      <a:r>
                        <a:rPr lang="ru-RU" sz="8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"/>
                        </a:rPr>
                        <a:t> </a:t>
                      </a:r>
                      <a:r>
                        <a:rPr lang="en-US" sz="8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"/>
                        </a:rPr>
                        <a:t>/</a:t>
                      </a:r>
                      <a:r>
                        <a:rPr lang="ru-RU" sz="8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"/>
                        </a:rPr>
                        <a:t> т</a:t>
                      </a:r>
                      <a:r>
                        <a:rPr lang="ru-RU" sz="800" b="1" i="0" u="none" strike="noStrike" baseline="0" dirty="0" smtClean="0">
                          <a:solidFill>
                            <a:schemeClr val="bg1"/>
                          </a:solidFill>
                          <a:effectLst/>
                          <a:latin typeface="Arial"/>
                        </a:rPr>
                        <a:t> </a:t>
                      </a:r>
                    </a:p>
                  </a:txBody>
                  <a:tcPr marL="7665" marR="7665" marT="8245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"/>
                        </a:rPr>
                        <a:t>Инфра-структура</a:t>
                      </a:r>
                      <a:endParaRPr lang="en-US" sz="800" b="1" i="0" u="none" strike="noStrike" dirty="0">
                        <a:solidFill>
                          <a:schemeClr val="bg1"/>
                        </a:solidFill>
                        <a:effectLst/>
                        <a:latin typeface="Arial"/>
                      </a:endParaRPr>
                    </a:p>
                  </a:txBody>
                  <a:tcPr marL="7665" marR="7665" marT="8245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 baseline="0" dirty="0" smtClean="0">
                          <a:solidFill>
                            <a:schemeClr val="bg1"/>
                          </a:solidFill>
                          <a:effectLst/>
                          <a:latin typeface="Arial"/>
                        </a:rPr>
                        <a:t>Типы объектов</a:t>
                      </a:r>
                      <a:endParaRPr lang="en-US" sz="800" b="1" i="0" u="none" strike="noStrike" dirty="0">
                        <a:solidFill>
                          <a:schemeClr val="bg1"/>
                        </a:solidFill>
                        <a:effectLst/>
                        <a:latin typeface="Arial"/>
                      </a:endParaRPr>
                    </a:p>
                  </a:txBody>
                  <a:tcPr marL="7665" marR="7665" marT="8245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50000"/>
                      </a:schemeClr>
                    </a:solidFill>
                  </a:tcPr>
                </a:tc>
              </a:tr>
              <a:tr h="374005">
                <a:tc>
                  <a:txBody>
                    <a:bodyPr/>
                    <a:lstStyle/>
                    <a:p>
                      <a:pPr marL="0" marR="0" lvl="0" indent="0" algn="ctr" defTabSz="981334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8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6393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1</a:t>
                      </a:r>
                    </a:p>
                  </a:txBody>
                  <a:tcPr marL="63549" marR="63549" marT="824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81334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8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6393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Мало-</a:t>
                      </a:r>
                    </a:p>
                    <a:p>
                      <a:pPr marL="0" marR="0" lvl="0" indent="0" algn="l" defTabSz="981334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800" b="1" i="0" u="none" strike="noStrike" kern="1200" cap="none" spc="0" normalizeH="0" baseline="0" noProof="0" dirty="0" err="1" smtClean="0">
                          <a:ln>
                            <a:noFill/>
                          </a:ln>
                          <a:solidFill>
                            <a:srgbClr val="006393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ботуобинский</a:t>
                      </a:r>
                      <a:endParaRPr kumimoji="0" lang="ru-RU" sz="800" b="1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6393">
                            <a:lumMod val="50000"/>
                          </a:srgbClr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49" marR="63549" marT="824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81334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8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6393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ниже среднего</a:t>
                      </a:r>
                    </a:p>
                  </a:txBody>
                  <a:tcPr marL="63549" marR="63549" marT="824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81334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8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6393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130-140</a:t>
                      </a:r>
                    </a:p>
                  </a:txBody>
                  <a:tcPr marL="63549" marR="63549" marT="824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81334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8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6393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554</a:t>
                      </a:r>
                    </a:p>
                  </a:txBody>
                  <a:tcPr marL="63549" marR="63549" marT="824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81334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8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6393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Мирнинский ГОК</a:t>
                      </a:r>
                    </a:p>
                  </a:txBody>
                  <a:tcPr marL="63549" marR="63549" marT="824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81334" rtl="0" eaLnBrk="1" fontAlgn="b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ru-RU" sz="8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6393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Пропущенная трубка типа Интернациональной </a:t>
                      </a:r>
                      <a:r>
                        <a:rPr kumimoji="0" lang="ru-RU" sz="8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6393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(~70 млн карат)</a:t>
                      </a:r>
                    </a:p>
                  </a:txBody>
                  <a:tcPr marL="63549" marR="63549" marT="824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815965">
                <a:tc>
                  <a:txBody>
                    <a:bodyPr/>
                    <a:lstStyle/>
                    <a:p>
                      <a:pPr marL="0" marR="0" lvl="0" indent="0" algn="ctr" defTabSz="981334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8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6393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2</a:t>
                      </a:r>
                    </a:p>
                  </a:txBody>
                  <a:tcPr marL="63549" marR="63549" marT="824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81334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8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6393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Средне-</a:t>
                      </a:r>
                      <a:r>
                        <a:rPr kumimoji="0" lang="ru-RU" sz="800" b="1" i="0" u="none" strike="noStrike" kern="1200" cap="none" spc="0" normalizeH="0" baseline="0" noProof="0" dirty="0" err="1" smtClean="0">
                          <a:ln>
                            <a:noFill/>
                          </a:ln>
                          <a:solidFill>
                            <a:srgbClr val="006393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мархинский</a:t>
                      </a:r>
                      <a:endParaRPr kumimoji="0" lang="ru-RU" sz="800" b="1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6393">
                            <a:lumMod val="50000"/>
                          </a:srgbClr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49" marR="63549" marT="824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81334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8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6393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ниже среднего</a:t>
                      </a:r>
                    </a:p>
                  </a:txBody>
                  <a:tcPr marL="63549" marR="63549" marT="824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81334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8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6393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100-120</a:t>
                      </a:r>
                    </a:p>
                  </a:txBody>
                  <a:tcPr marL="63549" marR="63549" marT="824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81334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8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6393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427</a:t>
                      </a:r>
                    </a:p>
                  </a:txBody>
                  <a:tcPr marL="63549" marR="63549" marT="824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81334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8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6393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Нюрбинский ГОК</a:t>
                      </a:r>
                    </a:p>
                  </a:txBody>
                  <a:tcPr marL="63549" marR="63549" marT="824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81334" rtl="0" eaLnBrk="1" fontAlgn="b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ru-RU" sz="8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6393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тела типа Майского на Накынском поле </a:t>
                      </a:r>
                      <a:r>
                        <a:rPr kumimoji="0" lang="ru-RU" sz="8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6393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(~15 млн карат) </a:t>
                      </a:r>
                    </a:p>
                    <a:p>
                      <a:pPr marL="171450" marR="0" lvl="0" indent="-171450" algn="l" defTabSz="981334" rtl="0" eaLnBrk="1" fontAlgn="b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ru-RU" sz="8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6393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Новые поля к северу и югу от </a:t>
                      </a:r>
                      <a:r>
                        <a:rPr kumimoji="0" lang="ru-RU" sz="800" b="0" i="0" u="none" strike="noStrike" kern="1200" cap="none" spc="0" normalizeH="0" baseline="0" noProof="0" dirty="0" err="1" smtClean="0">
                          <a:ln>
                            <a:noFill/>
                          </a:ln>
                          <a:solidFill>
                            <a:srgbClr val="006393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Накынского</a:t>
                      </a:r>
                      <a:r>
                        <a:rPr kumimoji="0" lang="ru-RU" sz="8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6393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поля </a:t>
                      </a:r>
                      <a:r>
                        <a:rPr kumimoji="0" lang="ru-RU" sz="8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6393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(до 300 млн карат)</a:t>
                      </a:r>
                    </a:p>
                  </a:txBody>
                  <a:tcPr marL="63549" marR="63549" marT="824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495925">
                <a:tc>
                  <a:txBody>
                    <a:bodyPr/>
                    <a:lstStyle/>
                    <a:p>
                      <a:pPr marL="0" marR="0" lvl="0" indent="0" algn="ctr" defTabSz="981334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8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6393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3</a:t>
                      </a:r>
                    </a:p>
                  </a:txBody>
                  <a:tcPr marL="63549" marR="63549" marT="824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81334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800" b="1" i="0" u="none" strike="noStrike" kern="1200" cap="none" spc="0" normalizeH="0" baseline="0" noProof="0" dirty="0" err="1" smtClean="0">
                          <a:ln>
                            <a:noFill/>
                          </a:ln>
                          <a:solidFill>
                            <a:srgbClr val="006393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Далдыно-Алакитский</a:t>
                      </a:r>
                      <a:endParaRPr kumimoji="0" lang="ru-RU" sz="800" b="1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6393">
                            <a:lumMod val="50000"/>
                          </a:srgbClr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49" marR="63549" marT="824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81334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8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6393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средние</a:t>
                      </a:r>
                    </a:p>
                  </a:txBody>
                  <a:tcPr marL="63549" marR="63549" marT="824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81334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8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6393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90-110</a:t>
                      </a:r>
                    </a:p>
                  </a:txBody>
                  <a:tcPr marL="63549" marR="63549" marT="824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81334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8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6393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118</a:t>
                      </a:r>
                    </a:p>
                  </a:txBody>
                  <a:tcPr marL="63549" marR="63549" marT="824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81334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800" b="0" i="0" u="none" strike="noStrike" kern="1200" cap="none" spc="0" normalizeH="0" baseline="0" noProof="0" dirty="0" err="1" smtClean="0">
                          <a:ln>
                            <a:noFill/>
                          </a:ln>
                          <a:solidFill>
                            <a:srgbClr val="006393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Удачнинский</a:t>
                      </a:r>
                      <a:r>
                        <a:rPr kumimoji="0" lang="ru-RU" sz="8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6393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ГОК, </a:t>
                      </a:r>
                      <a:r>
                        <a:rPr kumimoji="0" lang="ru-RU" sz="800" b="0" i="0" u="none" strike="noStrike" kern="1200" cap="none" spc="0" normalizeH="0" baseline="0" noProof="0" dirty="0" err="1" smtClean="0">
                          <a:ln>
                            <a:noFill/>
                          </a:ln>
                          <a:solidFill>
                            <a:srgbClr val="006393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Айхальский</a:t>
                      </a:r>
                      <a:r>
                        <a:rPr kumimoji="0" lang="ru-RU" sz="8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6393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ГОК</a:t>
                      </a:r>
                    </a:p>
                  </a:txBody>
                  <a:tcPr marL="63549" marR="63549" marT="824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81334" rtl="0" eaLnBrk="1" fontAlgn="b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ru-RU" sz="8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6393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Новые тела на слабоизученных флангах кимберлитовых полей </a:t>
                      </a:r>
                      <a:r>
                        <a:rPr kumimoji="0" lang="ru-RU" sz="8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6393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(~20-30 млн карат)</a:t>
                      </a:r>
                    </a:p>
                  </a:txBody>
                  <a:tcPr marL="63549" marR="63549" marT="824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648072">
                <a:tc>
                  <a:txBody>
                    <a:bodyPr/>
                    <a:lstStyle/>
                    <a:p>
                      <a:pPr algn="ctr"/>
                      <a:r>
                        <a:rPr lang="ru-RU" sz="800" b="1" i="0" u="none" strike="noStrike" kern="1200" baseline="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</a:t>
                      </a:r>
                      <a:endParaRPr lang="en-US" sz="800" b="1" i="0" u="none" strike="noStrike" kern="1200" baseline="0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49" marR="63549" marT="824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81334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8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6393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Мунский</a:t>
                      </a:r>
                    </a:p>
                  </a:txBody>
                  <a:tcPr marL="63549" marR="63549" marT="824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81334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8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6393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средние</a:t>
                      </a:r>
                    </a:p>
                  </a:txBody>
                  <a:tcPr marL="63549" marR="63549" marT="824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81334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8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6393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90-120</a:t>
                      </a:r>
                    </a:p>
                  </a:txBody>
                  <a:tcPr marL="63549" marR="63549" marT="824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81334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8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6393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70</a:t>
                      </a:r>
                    </a:p>
                  </a:txBody>
                  <a:tcPr marL="63549" marR="63549" marT="824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81334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8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6393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В-</a:t>
                      </a:r>
                      <a:r>
                        <a:rPr kumimoji="0" lang="ru-RU" sz="800" b="0" i="0" u="none" strike="noStrike" kern="1200" cap="none" spc="0" normalizeH="0" baseline="0" noProof="0" dirty="0" err="1" smtClean="0">
                          <a:ln>
                            <a:noFill/>
                          </a:ln>
                          <a:solidFill>
                            <a:srgbClr val="006393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Мунский</a:t>
                      </a:r>
                      <a:r>
                        <a:rPr kumimoji="0" lang="ru-RU" sz="8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6393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карьер</a:t>
                      </a:r>
                    </a:p>
                  </a:txBody>
                  <a:tcPr marL="63549" marR="63549" marT="824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81334" rtl="0" eaLnBrk="1" fontAlgn="b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ru-RU" sz="8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6393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Новые тела в </a:t>
                      </a:r>
                      <a:r>
                        <a:rPr kumimoji="0" lang="ru-RU" sz="800" b="0" i="0" u="none" strike="noStrike" kern="1200" cap="none" spc="0" normalizeH="0" baseline="0" noProof="0" dirty="0" err="1" smtClean="0">
                          <a:ln>
                            <a:noFill/>
                          </a:ln>
                          <a:solidFill>
                            <a:srgbClr val="006393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Мунском</a:t>
                      </a:r>
                      <a:r>
                        <a:rPr kumimoji="0" lang="ru-RU" sz="8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6393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поле </a:t>
                      </a:r>
                      <a:r>
                        <a:rPr kumimoji="0" lang="ru-RU" sz="8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6393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(~10 млн карат)</a:t>
                      </a:r>
                    </a:p>
                    <a:p>
                      <a:pPr marL="171450" marR="0" lvl="0" indent="-171450" algn="l" defTabSz="981334" rtl="0" eaLnBrk="1" fontAlgn="b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ru-RU" sz="8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6393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Перспективные аномалии в бассейне р. Муна – потенциально – новое рудное поле </a:t>
                      </a:r>
                      <a:r>
                        <a:rPr kumimoji="0" lang="ru-RU" sz="8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6393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(до 100 млн карат)</a:t>
                      </a:r>
                    </a:p>
                  </a:txBody>
                  <a:tcPr marL="63549" marR="63549" marT="824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357683">
                <a:tc>
                  <a:txBody>
                    <a:bodyPr/>
                    <a:lstStyle/>
                    <a:p>
                      <a:pPr lvl="0" algn="ctr"/>
                      <a:r>
                        <a:rPr lang="ru-RU" sz="800" b="1" i="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</a:rPr>
                        <a:t>5</a:t>
                      </a:r>
                      <a:endParaRPr lang="en-US" sz="800" b="1" i="0" dirty="0">
                        <a:solidFill>
                          <a:schemeClr val="accent1">
                            <a:lumMod val="50000"/>
                          </a:schemeClr>
                        </a:solidFill>
                      </a:endParaRPr>
                    </a:p>
                  </a:txBody>
                  <a:tcPr marL="63549" marR="63549" marT="824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81334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800" b="1" i="0" u="none" strike="noStrike" kern="1200" cap="none" spc="0" normalizeH="0" baseline="0" noProof="0" dirty="0" err="1" smtClean="0">
                          <a:ln>
                            <a:noFill/>
                          </a:ln>
                          <a:solidFill>
                            <a:srgbClr val="006393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Ыгыат</a:t>
                      </a:r>
                      <a:r>
                        <a:rPr kumimoji="0" lang="ru-RU" sz="8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6393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-</a:t>
                      </a:r>
                    </a:p>
                    <a:p>
                      <a:pPr marL="0" marR="0" lvl="0" indent="0" algn="l" defTabSz="981334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800" b="1" i="0" u="none" strike="noStrike" kern="1200" cap="none" spc="0" normalizeH="0" baseline="0" noProof="0" dirty="0" err="1" smtClean="0">
                          <a:ln>
                            <a:noFill/>
                          </a:ln>
                          <a:solidFill>
                            <a:srgbClr val="006393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тинский</a:t>
                      </a:r>
                      <a:endParaRPr kumimoji="0" lang="ru-RU" sz="800" b="1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6393">
                            <a:lumMod val="50000"/>
                          </a:srgbClr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49" marR="63549" marT="824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81334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8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6393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выше среднего</a:t>
                      </a:r>
                    </a:p>
                  </a:txBody>
                  <a:tcPr marL="63549" marR="63549" marT="824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81334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8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6393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90-140</a:t>
                      </a:r>
                    </a:p>
                  </a:txBody>
                  <a:tcPr marL="63549" marR="63549" marT="824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81334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8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6393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45</a:t>
                      </a:r>
                    </a:p>
                  </a:txBody>
                  <a:tcPr marL="63549" marR="63549" marT="824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81334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8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6393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отсутствует</a:t>
                      </a:r>
                    </a:p>
                  </a:txBody>
                  <a:tcPr marL="63549" marR="63549" marT="824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81334" rtl="0" eaLnBrk="1" fontAlgn="b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ru-RU" sz="8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6393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Новые тела в </a:t>
                      </a:r>
                      <a:r>
                        <a:rPr kumimoji="0" lang="ru-RU" sz="800" b="0" i="0" u="none" strike="noStrike" kern="1200" cap="none" spc="0" normalizeH="0" baseline="0" noProof="0" dirty="0" err="1" smtClean="0">
                          <a:ln>
                            <a:noFill/>
                          </a:ln>
                          <a:solidFill>
                            <a:srgbClr val="006393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Сюльдюкарском</a:t>
                      </a:r>
                      <a:r>
                        <a:rPr kumimoji="0" lang="ru-RU" sz="8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6393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поле </a:t>
                      </a:r>
                      <a:r>
                        <a:rPr kumimoji="0" lang="ru-RU" sz="8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6393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(~30-40 млн карат)</a:t>
                      </a:r>
                    </a:p>
                  </a:txBody>
                  <a:tcPr marL="63549" marR="63549" marT="824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357683">
                <a:tc gridSpan="7">
                  <a:txBody>
                    <a:bodyPr/>
                    <a:lstStyle/>
                    <a:p>
                      <a:pPr lvl="0" algn="ctr"/>
                      <a:r>
                        <a:rPr lang="ru-RU" sz="900" b="1" i="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</a:rPr>
                        <a:t>Геологоразведочные проекты в других районах полностью остановлены</a:t>
                      </a:r>
                      <a:endParaRPr lang="en-US" sz="900" b="1" i="0" dirty="0">
                        <a:solidFill>
                          <a:schemeClr val="accent1">
                            <a:lumMod val="50000"/>
                          </a:schemeClr>
                        </a:solidFill>
                      </a:endParaRPr>
                    </a:p>
                  </a:txBody>
                  <a:tcPr marL="63549" marR="63549" marT="824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981334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800" b="1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6393">
                            <a:lumMod val="50000"/>
                          </a:srgbClr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2000" marR="72000" marT="868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81334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8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6393">
                            <a:lumMod val="50000"/>
                          </a:srgbClr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2000" marR="72000" marT="868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81334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8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6393">
                            <a:lumMod val="50000"/>
                          </a:srgbClr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2000" marR="72000" marT="868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ctr" defTabSz="981334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8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6393">
                            <a:lumMod val="50000"/>
                          </a:srgbClr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2000" marR="72000" marT="868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171450" marR="0" lvl="0" indent="-171450" algn="l" defTabSz="981334" rtl="0" eaLnBrk="1" fontAlgn="b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kumimoji="0" lang="ru-RU" sz="800" b="1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6393">
                            <a:lumMod val="50000"/>
                          </a:srgbClr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2000" marR="72000" marT="8684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</a:tbl>
          </a:graphicData>
        </a:graphic>
      </p:graphicFrame>
      <p:sp>
        <p:nvSpPr>
          <p:cNvPr id="25" name="Oval 121"/>
          <p:cNvSpPr/>
          <p:nvPr/>
        </p:nvSpPr>
        <p:spPr>
          <a:xfrm>
            <a:off x="1947807" y="3013308"/>
            <a:ext cx="190647" cy="205081"/>
          </a:xfrm>
          <a:prstGeom prst="ellipse">
            <a:avLst/>
          </a:prstGeom>
          <a:solidFill>
            <a:schemeClr val="accent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>
            <a:outerShdw blurRad="38100" dist="12700" dir="2700000" algn="tl" rotWithShape="0">
              <a:prstClr val="black">
                <a:alpha val="70000"/>
              </a:prstClr>
            </a:outerShdw>
          </a:effectLst>
        </p:spPr>
        <p:txBody>
          <a:bodyPr wrap="none" lIns="0" tIns="0" rIns="0" bIns="0" anchor="ctr"/>
          <a:lstStyle/>
          <a:p>
            <a:pPr algn="ctr" defTabSz="891619" eaLnBrk="0" hangingPunct="0"/>
            <a:r>
              <a:rPr lang="ru-RU" sz="1100" b="1" dirty="0" smtClean="0">
                <a:solidFill>
                  <a:srgbClr val="FFFFFF"/>
                </a:solidFill>
              </a:rPr>
              <a:t>4</a:t>
            </a:r>
            <a:endParaRPr lang="en-US" sz="1100" b="1" dirty="0">
              <a:solidFill>
                <a:srgbClr val="FFFFFF"/>
              </a:solidFill>
            </a:endParaRPr>
          </a:p>
        </p:txBody>
      </p:sp>
      <p:sp>
        <p:nvSpPr>
          <p:cNvPr id="31" name="Прямоугольник 30"/>
          <p:cNvSpPr/>
          <p:nvPr/>
        </p:nvSpPr>
        <p:spPr>
          <a:xfrm>
            <a:off x="223236" y="1096713"/>
            <a:ext cx="3161003" cy="239262"/>
          </a:xfrm>
          <a:prstGeom prst="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2709" tIns="32709" rIns="32709" bIns="32709" rtlCol="0" anchor="ctr"/>
          <a:lstStyle/>
          <a:p>
            <a:pPr algn="ctr" defTabSz="891619"/>
            <a:r>
              <a:rPr lang="ru-RU" sz="1000" dirty="0">
                <a:solidFill>
                  <a:srgbClr val="003149"/>
                </a:solidFill>
              </a:rPr>
              <a:t>Республика Саха (Якутия)</a:t>
            </a:r>
          </a:p>
        </p:txBody>
      </p:sp>
      <p:cxnSp>
        <p:nvCxnSpPr>
          <p:cNvPr id="5" name="Прямая соединительная линия 4"/>
          <p:cNvCxnSpPr/>
          <p:nvPr/>
        </p:nvCxnSpPr>
        <p:spPr>
          <a:xfrm flipV="1">
            <a:off x="200161" y="1344280"/>
            <a:ext cx="3184074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457216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WIDTH" val="15.62504"/>
  <p:tag name="DEFAULTHEIGHT" val="14.12504"/>
  <p:tag name="DEFAULTTOP" val="215.5"/>
  <p:tag name="DEFAULTLEFT" val="246.5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WIDTH" val="48.12504"/>
  <p:tag name="DEFAULTHEIGHT" val="15.75"/>
  <p:tag name="DEFAULTTOP" val="231.75"/>
  <p:tag name="DEFAULTLEFT" val="337.75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WIDTH" val="20.75"/>
  <p:tag name="DEFAULTHEIGHT" val="2"/>
  <p:tag name="DEFAULTTOP" val="214.375"/>
  <p:tag name="DEFAULTLEFT" val="643.25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WIDTH" val="23.12496"/>
  <p:tag name="DEFAULTHEIGHT" val="18"/>
  <p:tag name="DEFAULTTOP" val="231.625"/>
  <p:tag name="DEFAULTLEFT" val="233.125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WIDTH" val="1"/>
  <p:tag name="DEFAULTHEIGHT" val="1"/>
  <p:tag name="DEFAULTTOP" val="151.125"/>
  <p:tag name="DEFAULTLEFT" val="393.125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WIDTH" val="0.8750394"/>
  <p:tag name="DEFAULTHEIGHT" val="0.75"/>
  <p:tag name="DEFAULTTOP" val="141.375"/>
  <p:tag name="DEFAULTLEFT" val="362.25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WIDTH" val="4.62504"/>
  <p:tag name="DEFAULTHEIGHT" val="3.124961"/>
  <p:tag name="DEFAULTTOP" val="170.375"/>
  <p:tag name="DEFAULTLEFT" val="425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WIDTH" val="1.874961"/>
  <p:tag name="DEFAULTHEIGHT" val="1.624961"/>
  <p:tag name="DEFAULTTOP" val="165.875"/>
  <p:tag name="DEFAULTLEFT" val="428.125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WIDTH" val="0.5"/>
  <p:tag name="DEFAULTHEIGHT" val="0.75"/>
  <p:tag name="DEFAULTTOP" val="166"/>
  <p:tag name="DEFAULTLEFT" val="427.125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WIDTH" val="2.5"/>
  <p:tag name="DEFAULTHEIGHT" val="1.375039"/>
  <p:tag name="DEFAULTTOP" val="168.25"/>
  <p:tag name="DEFAULTLEFT" val="422.875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WIDTH" val="5.25"/>
  <p:tag name="DEFAULTHEIGHT" val="3.875039"/>
  <p:tag name="DEFAULTTOP" val="169.25"/>
  <p:tag name="DEFAULTLEFT" val="419.625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WIDTH" val="2.75"/>
  <p:tag name="DEFAULTHEIGHT" val="1.125039"/>
  <p:tag name="DEFAULTTOP" val="162.25"/>
  <p:tag name="DEFAULTLEFT" val="423.625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WIDTH" val="1.125039"/>
  <p:tag name="DEFAULTHEIGHT" val="1.124961"/>
  <p:tag name="DEFAULTTOP" val="164.875"/>
  <p:tag name="DEFAULTLEFT" val="422.75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WIDTH" val="1.374961"/>
  <p:tag name="DEFAULTHEIGHT" val="1"/>
  <p:tag name="DEFAULTTOP" val="164.875"/>
  <p:tag name="DEFAULTLEFT" val="420.375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WIDTH" val="0.5"/>
  <p:tag name="DEFAULTHEIGHT" val="1"/>
  <p:tag name="DEFAULTTOP" val="166.375"/>
  <p:tag name="DEFAULTLEFT" val="420.875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WIDTH" val="1.624961"/>
  <p:tag name="DEFAULTHEIGHT" val="1.125039"/>
  <p:tag name="DEFAULTTOP" val="167.75"/>
  <p:tag name="DEFAULTLEFT" val="419.625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WIDTH" val="0.5"/>
  <p:tag name="DEFAULTHEIGHT" val="0.75"/>
  <p:tag name="DEFAULTTOP" val="169.25"/>
  <p:tag name="DEFAULTLEFT" val="419.5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WIDTH" val="1"/>
  <p:tag name="DEFAULTHEIGHT" val="0.8750394"/>
  <p:tag name="DEFAULTTOP" val="168.25"/>
  <p:tag name="DEFAULTLEFT" val="418.125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WIDTH" val="1.374961"/>
  <p:tag name="DEFAULTHEIGHT" val="1.25"/>
  <p:tag name="DEFAULTTOP" val="166.625"/>
  <p:tag name="DEFAULTLEFT" val="416.375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WIDTH" val="2.874961"/>
  <p:tag name="DEFAULTHEIGHT" val="4.75"/>
  <p:tag name="DEFAULTTOP" val="163.125"/>
  <p:tag name="DEFAULTLEFT" val="416.625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WIDTH" val="0.75"/>
  <p:tag name="DEFAULTHEIGHT" val="0.75"/>
  <p:tag name="DEFAULTTOP" val="168.125"/>
  <p:tag name="DEFAULTLEFT" val="414.125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WIDTH" val="0.8750394"/>
  <p:tag name="DEFAULTHEIGHT" val="1"/>
  <p:tag name="DEFAULTTOP" val="166.375"/>
  <p:tag name="DEFAULTLEFT" val="414.75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WIDTH" val="1.375039"/>
  <p:tag name="DEFAULTHEIGHT" val="2.624961"/>
  <p:tag name="DEFAULTTOP" val="164.875"/>
  <p:tag name="DEFAULTLEFT" val="419.25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WIDTH" val="1.375039"/>
  <p:tag name="DEFAULTHEIGHT" val="1.75"/>
  <p:tag name="DEFAULTTOP" val="162.75"/>
  <p:tag name="DEFAULTLEFT" val="421.75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WIDTH" val="3.25"/>
  <p:tag name="DEFAULTHEIGHT" val="1.875039"/>
  <p:tag name="DEFAULTTOP" val="163"/>
  <p:tag name="DEFAULTLEFT" val="418.75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WIDTH" val="2"/>
  <p:tag name="DEFAULTHEIGHT" val="2.124961"/>
  <p:tag name="DEFAULTTOP" val="164.125"/>
  <p:tag name="DEFAULTLEFT" val="415.625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WIDTH" val="1.25"/>
  <p:tag name="DEFAULTHEIGHT" val="1.125039"/>
  <p:tag name="DEFAULTTOP" val="165.5"/>
  <p:tag name="DEFAULTLEFT" val="413.5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WIDTH" val="2.625039"/>
  <p:tag name="DEFAULTHEIGHT" val="2.124961"/>
  <p:tag name="DEFAULTTOP" val="165.625"/>
  <p:tag name="DEFAULTLEFT" val="410.5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WIDTH" val="2"/>
  <p:tag name="DEFAULTHEIGHT" val="1.75"/>
  <p:tag name="DEFAULTTOP" val="165.25"/>
  <p:tag name="DEFAULTLEFT" val="407.125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WIDTH" val="1.374961"/>
  <p:tag name="DEFAULTHEIGHT" val="0.8749606"/>
  <p:tag name="DEFAULTTOP" val="159.375"/>
  <p:tag name="DEFAULTLEFT" val="413.125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WIDTH" val="0.75"/>
  <p:tag name="DEFAULTHEIGHT" val="0.6250394"/>
  <p:tag name="DEFAULTTOP" val="163.5"/>
  <p:tag name="DEFAULTLEFT" val="407.875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WIDTH" val="8.75"/>
  <p:tag name="DEFAULTHEIGHT" val="3.875039"/>
  <p:tag name="DEFAULTTOP" val="159.5"/>
  <p:tag name="DEFAULTLEFT" val="404.375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WIDTH" val="5"/>
  <p:tag name="DEFAULTHEIGHT" val="4"/>
  <p:tag name="DEFAULTTOP" val="156.5"/>
  <p:tag name="DEFAULTLEFT" val="405.125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WIDTH" val="1.75"/>
  <p:tag name="DEFAULTHEIGHT" val="1.5"/>
  <p:tag name="DEFAULTTOP" val="173.125"/>
  <p:tag name="DEFAULTLEFT" val="417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WIDTH" val="2.875039"/>
  <p:tag name="DEFAULTHEIGHT" val="3.25"/>
  <p:tag name="DEFAULTTOP" val="169.125"/>
  <p:tag name="DEFAULTLEFT" val="416.25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WIDTH" val="2.375039"/>
  <p:tag name="DEFAULTHEIGHT" val="2"/>
  <p:tag name="DEFAULTTOP" val="169.125"/>
  <p:tag name="DEFAULTLEFT" val="414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WIDTH" val="1"/>
  <p:tag name="DEFAULTHEIGHT" val="1"/>
  <p:tag name="DEFAULTTOP" val="164.625"/>
  <p:tag name="DEFAULTLEFT" val="413.125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WIDTH" val="1.124961"/>
  <p:tag name="DEFAULTHEIGHT" val="0.75"/>
  <p:tag name="DEFAULTTOP" val="132.375"/>
  <p:tag name="DEFAULTLEFT" val="689.8751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WIDTH" val="1"/>
  <p:tag name="DEFAULTHEIGHT" val="0.75"/>
  <p:tag name="DEFAULTTOP" val="130.875"/>
  <p:tag name="DEFAULTLEFT" val="690.75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WIDTH" val="19.75"/>
  <p:tag name="DEFAULTHEIGHT" val="4.62496"/>
  <p:tag name="DEFAULTTOP" val="214.375"/>
  <p:tag name="DEFAULTLEFT" val="170.125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WIDTH" val="14.37504"/>
  <p:tag name="DEFAULTHEIGHT" val="19"/>
  <p:tag name="DEFAULTTOP" val="158.125"/>
  <p:tag name="DEFAULTLEFT" val="307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WIDTH" val="26.37496"/>
  <p:tag name="DEFAULTHEIGHT" val="33.37504"/>
  <p:tag name="DEFAULTTOP" val="413.25"/>
  <p:tag name="DEFAULTLEFT" val="632.3751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WIDTH" val="174"/>
  <p:tag name="DEFAULTHEIGHT" val="69.62496"/>
  <p:tag name="DEFAULTTOP" val="389.625"/>
  <p:tag name="DEFAULTLEFT" val="417.75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WIDTH" val="19.12504"/>
  <p:tag name="DEFAULTHEIGHT" val="26.37504"/>
  <p:tag name="DEFAULTTOP" val="342.25"/>
  <p:tag name="DEFAULTLEFT" val="626.25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WIDTH" val="17.75"/>
  <p:tag name="DEFAULTHEIGHT" val="2.124961"/>
  <p:tag name="DEFAULTTOP" val="368.625"/>
  <p:tag name="DEFAULTLEFT" val="634.5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WIDTH" val="47"/>
  <p:tag name="DEFAULTHEIGHT" val="9"/>
  <p:tag name="DEFAULTTOP" val="329.25"/>
  <p:tag name="DEFAULTLEFT" val="565.1251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WIDTH" val="15.5"/>
  <p:tag name="DEFAULTHEIGHT" val="26.5"/>
  <p:tag name="DEFAULTTOP" val="277.125"/>
  <p:tag name="DEFAULTLEFT" val="607.5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WIDTH" val="2.25"/>
  <p:tag name="DEFAULTHEIGHT" val="7.37504"/>
  <p:tag name="DEFAULTTOP" val="269.75"/>
  <p:tag name="DEFAULTLEFT" val="617.8751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WIDTH" val="12.37504"/>
  <p:tag name="DEFAULTHEIGHT" val="5.25"/>
  <p:tag name="DEFAULTTOP" val="265.625"/>
  <p:tag name="DEFAULTLEFT" val="620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WIDTH" val="17.75"/>
  <p:tag name="DEFAULTHEIGHT" val="10.62504"/>
  <p:tag name="DEFAULTTOP" val="264.75"/>
  <p:tag name="DEFAULTLEFT" val="632.3751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WIDTH" val="12.12496"/>
  <p:tag name="DEFAULTHEIGHT" val="26.5"/>
  <p:tag name="DEFAULTTOP" val="239.125"/>
  <p:tag name="DEFAULTLEFT" val="625.6251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WIDTH" val="15.37504"/>
  <p:tag name="DEFAULTHEIGHT" val="12.5"/>
  <p:tag name="DEFAULTTOP" val="214.375"/>
  <p:tag name="DEFAULTLEFT" val="664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WIDTH" val="36.75"/>
  <p:tag name="DEFAULTHEIGHT" val="19.37504"/>
  <p:tag name="DEFAULTTOP" val="195"/>
  <p:tag name="DEFAULTLEFT" val="664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WIDTH" val="14.37496"/>
  <p:tag name="DEFAULTHEIGHT" val="22.87496"/>
  <p:tag name="DEFAULTTOP" val="192.375"/>
  <p:tag name="DEFAULTLEFT" val="628.8751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WIDTH" val="6.37496"/>
  <p:tag name="DEFAULTHEIGHT" val="25.62496"/>
  <p:tag name="DEFAULTTOP" val="303.625"/>
  <p:tag name="DEFAULTLEFT" val="605.8751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WIDTH" val="9"/>
  <p:tag name="DEFAULTHEIGHT" val="23.87504"/>
  <p:tag name="DEFAULTTOP" val="215.25"/>
  <p:tag name="DEFAULTLEFT" val="634.25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WIDTH" val="20.75"/>
  <p:tag name="DEFAULTHEIGHT" val="2"/>
  <p:tag name="DEFAULTTOP" val="214.375"/>
  <p:tag name="DEFAULTLEFT" val="643.25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WIDTH" val="31.37504"/>
  <p:tag name="DEFAULTHEIGHT" val="14.75"/>
  <p:tag name="DEFAULTTOP" val="327.875"/>
  <p:tag name="DEFAULTLEFT" val="612.25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WIDTH" val="20.75"/>
  <p:tag name="DEFAULTHEIGHT" val="22.12504"/>
  <p:tag name="DEFAULTTOP" val="355.25"/>
  <p:tag name="DEFAULTLEFT" val="658.3751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WIDTH" val="2.874961"/>
  <p:tag name="DEFAULTHEIGHT" val="5.12496"/>
  <p:tag name="DEFAULTTOP" val="368.625"/>
  <p:tag name="DEFAULTLEFT" val="631.6251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WIDTH" val="16.87496"/>
  <p:tag name="DEFAULTHEIGHT" val="9.375039"/>
  <p:tag name="DEFAULTTOP" val="380"/>
  <p:tag name="DEFAULTLEFT" val="542.3751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WIDTH" val="37.62496"/>
  <p:tag name="DEFAULTHEIGHT" val="53.62504"/>
  <p:tag name="DEFAULTTOP" val="342.25"/>
  <p:tag name="DEFAULTLEFT" val="519.1251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WIDTH" val="72.87496"/>
  <p:tag name="DEFAULTHEIGHT" val="48.75"/>
  <p:tag name="DEFAULTTOP" val="340.125"/>
  <p:tag name="DEFAULTLEFT" val="478.875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WIDTH" val="5.87504"/>
  <p:tag name="DEFAULTHEIGHT" val="15.12496"/>
  <p:tag name="DEFAULTTOP" val="327.125"/>
  <p:tag name="DEFAULTLEFT" val="552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WIDTH" val="16.5"/>
  <p:tag name="DEFAULTHEIGHT" val="41.62504"/>
  <p:tag name="DEFAULTTOP" val="294.75"/>
  <p:tag name="DEFAULTLEFT" val="494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WIDTH" val="52.5"/>
  <p:tag name="DEFAULTHEIGHT" val="14.87496"/>
  <p:tag name="DEFAULTTOP" val="256.375"/>
  <p:tag name="DEFAULTLEFT" val="446.75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WIDTH" val="31.12496"/>
  <p:tag name="DEFAULTHEIGHT" val="40.12496"/>
  <p:tag name="DEFAULTTOP" val="331.875"/>
  <p:tag name="DEFAULTLEFT" val="462.875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WIDTH" val="31.75"/>
  <p:tag name="DEFAULTHEIGHT" val="24.62504"/>
  <p:tag name="DEFAULTTOP" val="231.75"/>
  <p:tag name="DEFAULTLEFT" val="306.25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WIDTH" val="10.12496"/>
  <p:tag name="DEFAULTHEIGHT" val="11"/>
  <p:tag name="DEFAULTTOP" val="220.75"/>
  <p:tag name="DEFAULTLEFT" val="327.625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WIDTH" val="14.75"/>
  <p:tag name="DEFAULTHEIGHT" val="12.87504"/>
  <p:tag name="DEFAULTTOP" val="272.25"/>
  <p:tag name="DEFAULTLEFT" val="311.375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WIDTH" val="10.12496"/>
  <p:tag name="DEFAULTHEIGHT" val="16.25"/>
  <p:tag name="DEFAULTTOP" val="316.25"/>
  <p:tag name="DEFAULTLEFT" val="339.625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WIDTH" val="34.5"/>
  <p:tag name="DEFAULTHEIGHT" val="16"/>
  <p:tag name="DEFAULTTOP" val="305"/>
  <p:tag name="DEFAULTLEFT" val="350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WIDTH" val="11.5"/>
  <p:tag name="DEFAULTHEIGHT" val="5.12496"/>
  <p:tag name="DEFAULTTOP" val="311.125"/>
  <p:tag name="DEFAULTLEFT" val="329.125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WIDTH" val="10.25"/>
  <p:tag name="DEFAULTHEIGHT" val="11.25"/>
  <p:tag name="DEFAULTTOP" val="305"/>
  <p:tag name="DEFAULTLEFT" val="340.625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WIDTH" val="1.5"/>
  <p:tag name="DEFAULTHEIGHT" val="8.25"/>
  <p:tag name="DEFAULTTOP" val="324.5"/>
  <p:tag name="DEFAULTLEFT" val="383.25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WIDTH" val="15.62504"/>
  <p:tag name="DEFAULTHEIGHT" val="33"/>
  <p:tag name="DEFAULTTOP" val="315.375"/>
  <p:tag name="DEFAULTLEFT" val="423.5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WIDTH" val="10.62496"/>
  <p:tag name="DEFAULTHEIGHT" val="18.87504"/>
  <p:tag name="DEFAULTTOP" val="332.75"/>
  <p:tag name="DEFAULTLEFT" val="373.875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WIDTH" val="30.37504"/>
  <p:tag name="DEFAULTHEIGHT" val="15.62496"/>
  <p:tag name="DEFAULTTOP" val="332.875"/>
  <p:tag name="DEFAULTLEFT" val="384.5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WIDTH" val="4.37504"/>
  <p:tag name="DEFAULTHEIGHT" val="6"/>
  <p:tag name="DEFAULTTOP" val="378.875"/>
  <p:tag name="DEFAULTLEFT" val="424.25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WIDTH" val="8.375039"/>
  <p:tag name="DEFAULTHEIGHT" val="22.87496"/>
  <p:tag name="DEFAULTTOP" val="356.375"/>
  <p:tag name="DEFAULTLEFT" val="425.75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WIDTH" val="4"/>
  <p:tag name="DEFAULTHEIGHT" val="11.62496"/>
  <p:tag name="DEFAULTTOP" val="383.875"/>
  <p:tag name="DEFAULTLEFT" val="428.625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WIDTH" val="3.5"/>
  <p:tag name="DEFAULTHEIGHT" val="6.12504"/>
  <p:tag name="DEFAULTTOP" val="377"/>
  <p:tag name="DEFAULTLEFT" val="475.75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WIDTH" val="12.37496"/>
  <p:tag name="DEFAULTHEIGHT" val="5.12496"/>
  <p:tag name="DEFAULTTOP" val="371.875"/>
  <p:tag name="DEFAULTLEFT" val="466.625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WIDTH" val="48.12504"/>
  <p:tag name="DEFAULTHEIGHT" val="15.75"/>
  <p:tag name="DEFAULTTOP" val="231.75"/>
  <p:tag name="DEFAULTLEFT" val="337.75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WIDTH" val="63"/>
  <p:tag name="DEFAULTHEIGHT" val="48.12496"/>
  <p:tag name="DEFAULTTOP" val="257.875"/>
  <p:tag name="DEFAULTLEFT" val="363.75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WIDTH" val="6.87504"/>
  <p:tag name="DEFAULTHEIGHT" val="30"/>
  <p:tag name="DEFAULTTOP" val="275"/>
  <p:tag name="DEFAULTLEFT" val="343.5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WIDTH" val="6.12504"/>
  <p:tag name="DEFAULTHEIGHT" val="17.62504"/>
  <p:tag name="DEFAULTTOP" val="311.5"/>
  <p:tag name="DEFAULTLEFT" val="323.25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WIDTH" val="12.37504"/>
  <p:tag name="DEFAULTHEIGHT" val="5.37496"/>
  <p:tag name="DEFAULTTOP" val="306.125"/>
  <p:tag name="DEFAULTLEFT" val="316.75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WIDTH" val="15.62496"/>
  <p:tag name="DEFAULTHEIGHT" val="6"/>
  <p:tag name="DEFAULTTOP" val="265.25"/>
  <p:tag name="DEFAULTLEFT" val="431.125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WIDTH" val="4.12496"/>
  <p:tag name="DEFAULTHEIGHT" val="8.124961"/>
  <p:tag name="DEFAULTTOP" val="348.375"/>
  <p:tag name="DEFAULTLEFT" val="432.875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BODYINDENTATION" val="0;21.37504;35.87496;45.25;60.25;82.87504;97.92001;114.48;"/>
  <p:tag name="VCT-BULLETVISIBILITY" val="G****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WIDTH" val="18.87496"/>
  <p:tag name="DEFAULTHEIGHT" val="0.8749606"/>
  <p:tag name="DEFAULTTOP" val="347.625"/>
  <p:tag name="DEFAULTLEFT" val="414.875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WIDTH" val="35.5"/>
  <p:tag name="DEFAULTHEIGHT" val="5.12504"/>
  <p:tag name="DEFAULTTOP" val="357"/>
  <p:tag name="DEFAULTLEFT" val="380.75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WIDTH" val="1"/>
  <p:tag name="DEFAULTHEIGHT" val="12.25"/>
  <p:tag name="DEFAULTTOP" val="348.125"/>
  <p:tag name="DEFAULTLEFT" val="414.875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WIDTH" val="9"/>
  <p:tag name="DEFAULTHEIGHT" val="10.5"/>
  <p:tag name="DEFAULTTOP" val="272.875"/>
  <p:tag name="DEFAULTLEFT" val="281.625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WIDTH" val="12.62504"/>
  <p:tag name="DEFAULTHEIGHT" val="13.12504"/>
  <p:tag name="DEFAULTTOP" val="214.75"/>
  <p:tag name="DEFAULTLEFT" val="285.25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WIDTH" val="10.87504"/>
  <p:tag name="DEFAULTHEIGHT" val="11.25"/>
  <p:tag name="DEFAULTTOP" val="295.5"/>
  <p:tag name="DEFAULTLEFT" val="287.75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WIDTH" val="1.5"/>
  <p:tag name="DEFAULTHEIGHT" val="6.5"/>
  <p:tag name="DEFAULTTOP" val="283.75"/>
  <p:tag name="DEFAULTLEFT" val="289.75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WIDTH" val="9.75"/>
  <p:tag name="DEFAULTHEIGHT" val="2.25"/>
  <p:tag name="DEFAULTTOP" val="282.5"/>
  <p:tag name="DEFAULTLEFT" val="280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WIDTH" val="7.5"/>
  <p:tag name="DEFAULTHEIGHT" val="11.37504"/>
  <p:tag name="DEFAULTTOP" val="270"/>
  <p:tag name="DEFAULTLEFT" val="311.25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WIDTH" val="10.75"/>
  <p:tag name="DEFAULTHEIGHT" val="13.87504"/>
  <p:tag name="DEFAULTTOP" val="281.25"/>
  <p:tag name="DEFAULTLEFT" val="300.5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VCT_Marker"/>
  <p:tag name="DATE" val="2/17/2012 11:08:10 AM"/>
  <p:tag name="VCT-TEMPLATE" val="Bain A4.potx"/>
  <p:tag name="VCTMASTER" val="Bain A4"/>
  <p:tag name="VCTORDER" val="1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WIDTH" val="21.5"/>
  <p:tag name="DEFAULTHEIGHT" val="17.5"/>
  <p:tag name="DEFAULTTOP" val="265.625"/>
  <p:tag name="DEFAULTLEFT" val="268.375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WIDTH" val="18.12496"/>
  <p:tag name="DEFAULTHEIGHT" val="11.12504"/>
  <p:tag name="DEFAULTTOP" val="279"/>
  <p:tag name="DEFAULTLEFT" val="291.375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WIDTH" val="11.62504"/>
  <p:tag name="DEFAULTHEIGHT" val="8.875039"/>
  <p:tag name="DEFAULTTOP" val="295.25"/>
  <p:tag name="DEFAULTLEFT" val="300.5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WIDTH" val="8.624961"/>
  <p:tag name="DEFAULTHEIGHT" val="5.62504"/>
  <p:tag name="DEFAULTTOP" val="290"/>
  <p:tag name="DEFAULTLEFT" val="290.125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WIDTH" val="1.874961"/>
  <p:tag name="DEFAULTHEIGHT" val="1.5"/>
  <p:tag name="DEFAULTTOP" val="295.125"/>
  <p:tag name="DEFAULTLEFT" val="298.625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WIDTH" val="12.62504"/>
  <p:tag name="DEFAULTHEIGHT" val="16.62504"/>
  <p:tag name="DEFAULTTOP" val="316.25"/>
  <p:tag name="DEFAULTLEFT" val="286.75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WIDTH" val="5.75"/>
  <p:tag name="DEFAULTHEIGHT" val="9.625039"/>
  <p:tag name="DEFAULTTOP" val="215.5"/>
  <p:tag name="DEFAULTLEFT" val="240.75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WIDTH" val="10.12504"/>
  <p:tag name="DEFAULTHEIGHT" val="7.25"/>
  <p:tag name="DEFAULTTOP" val="267.375"/>
  <p:tag name="DEFAULTLEFT" val="239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WIDTH" val="7"/>
  <p:tag name="DEFAULTHEIGHT" val="11.12496"/>
  <p:tag name="DEFAULTTOP" val="271.375"/>
  <p:tag name="DEFAULTLEFT" val="216.75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WIDTH" val="6.12504"/>
  <p:tag name="DEFAULTHEIGHT" val="12.62496"/>
  <p:tag name="DEFAULTTOP" val="257.125"/>
  <p:tag name="DEFAULTLEFT" val="220.5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LLOWANCHOR" val="true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WIDTH" val="2.125039"/>
  <p:tag name="DEFAULTHEIGHT" val="8.75"/>
  <p:tag name="DEFAULTTOP" val="255"/>
  <p:tag name="DEFAULTLEFT" val="231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WIDTH" val="6.87496"/>
  <p:tag name="DEFAULTHEIGHT" val="2.624961"/>
  <p:tag name="DEFAULTTOP" val="263.625"/>
  <p:tag name="DEFAULTLEFT" val="232.375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WIDTH" val="6.5"/>
  <p:tag name="DEFAULTHEIGHT" val="4.5"/>
  <p:tag name="DEFAULTTOP" val="263.625"/>
  <p:tag name="DEFAULTLEFT" val="225.875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WIDTH" val="6"/>
  <p:tag name="DEFAULTHEIGHT" val="5.25"/>
  <p:tag name="DEFAULTTOP" val="293.875"/>
  <p:tag name="DEFAULTLEFT" val="257.25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WIDTH" val="15.5"/>
  <p:tag name="DEFAULTHEIGHT" val="4.62504"/>
  <p:tag name="DEFAULTTOP" val="294.5"/>
  <p:tag name="DEFAULTLEFT" val="263.25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WIDTH" val="15.62504"/>
  <p:tag name="DEFAULTHEIGHT" val="14.12504"/>
  <p:tag name="DEFAULTTOP" val="215.5"/>
  <p:tag name="DEFAULTLEFT" val="246.5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WIDTH" val="2"/>
  <p:tag name="DEFAULTHEIGHT" val="6"/>
  <p:tag name="DEFAULTTOP" val="229.625"/>
  <p:tag name="DEFAULTLEFT" val="261.625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WIDTH" val="23.12496"/>
  <p:tag name="DEFAULTHEIGHT" val="18"/>
  <p:tag name="DEFAULTTOP" val="231.625"/>
  <p:tag name="DEFAULTLEFT" val="233.125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WIDTH" val="8.874961"/>
  <p:tag name="DEFAULTHEIGHT" val="8"/>
  <p:tag name="DEFAULTTOP" val="241.625"/>
  <p:tag name="DEFAULTLEFT" val="256.375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WIDTH" val="13.62496"/>
  <p:tag name="DEFAULTHEIGHT" val="14.75"/>
  <p:tag name="DEFAULTTOP" val="245.625"/>
  <p:tag name="DEFAULTLEFT" val="239.875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WIDTH" val="4"/>
  <p:tag name="DEFAULTHEIGHT" val="10.62496"/>
  <p:tag name="DEFAULTTOP" val="249.625"/>
  <p:tag name="DEFAULTLEFT" val="252.375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WIDTH" val="9"/>
  <p:tag name="DEFAULTHEIGHT" val="3.75"/>
  <p:tag name="DEFAULTTOP" val="248.875"/>
  <p:tag name="DEFAULTLEFT" val="265.75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WIDTH" val="7.25"/>
  <p:tag name="DEFAULTHEIGHT" val="13.75"/>
  <p:tag name="DEFAULTTOP" val="243.375"/>
  <p:tag name="DEFAULTLEFT" val="220.375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WIDTH" val="19.87496"/>
  <p:tag name="DEFAULTHEIGHT" val="9.374961"/>
  <p:tag name="DEFAULTTOP" val="302.125"/>
  <p:tag name="DEFAULTLEFT" val="266.375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WIDTH" val="2.875039"/>
  <p:tag name="DEFAULTHEIGHT" val="3"/>
  <p:tag name="DEFAULTTOP" val="282.875"/>
  <p:tag name="DEFAULTLEFT" val="268.25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WIDTH" val="7.5"/>
  <p:tag name="DEFAULTHEIGHT" val="6.5"/>
  <p:tag name="DEFAULTTOP" val="295.625"/>
  <p:tag name="DEFAULTLEFT" val="278.75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WIDTH" val="9.374961"/>
  <p:tag name="DEFAULTHEIGHT" val="3.5"/>
  <p:tag name="DEFAULTTOP" val="283.25"/>
  <p:tag name="DEFAULTLEFT" val="270.875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WIDTH" val="5.5"/>
  <p:tag name="DEFAULTHEIGHT" val="13.37504"/>
  <p:tag name="DEFAULTTOP" val="293.75"/>
  <p:tag name="DEFAULTLEFT" val="195.75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WIDTH" val="8.124961"/>
  <p:tag name="DEFAULTHEIGHT" val="11.12504"/>
  <p:tag name="DEFAULTTOP" val="300.25"/>
  <p:tag name="DEFAULTLEFT" val="182.875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WIDTH" val="13"/>
  <p:tag name="DEFAULTHEIGHT" val="5.37496"/>
  <p:tag name="DEFAULTTOP" val="310.375"/>
  <p:tag name="DEFAULTLEFT" val="206.75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WIDTH" val="6.5"/>
  <p:tag name="DEFAULTHEIGHT" val="3.624961"/>
  <p:tag name="DEFAULTTOP" val="307.125"/>
  <p:tag name="DEFAULTLEFT" val="219.625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WIDTH" val="2.624961"/>
  <p:tag name="DEFAULTHEIGHT" val="6.62496"/>
  <p:tag name="DEFAULTTOP" val="313.625"/>
  <p:tag name="DEFAULTLEFT" val="192.875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WIDTH" val="4.25"/>
  <p:tag name="DEFAULTHEIGHT" val="6.75"/>
  <p:tag name="DEFAULTTOP" val="320.25"/>
  <p:tag name="DEFAULTLEFT" val="195.125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WIDTH" val="7.62496"/>
  <p:tag name="DEFAULTHEIGHT" val="4.25"/>
  <p:tag name="DEFAULTTOP" val="330"/>
  <p:tag name="DEFAULTLEFT" val="192.125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WIDTH" val="1.5"/>
  <p:tag name="DEFAULTHEIGHT" val="0.6249606"/>
  <p:tag name="DEFAULTTOP" val="330.375"/>
  <p:tag name="DEFAULTLEFT" val="201.25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WIDTH" val="1.5"/>
  <p:tag name="DEFAULTHEIGHT" val="0.6249606"/>
  <p:tag name="DEFAULTTOP" val="330.375"/>
  <p:tag name="DEFAULTLEFT" val="199.75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WIDTH" val="1.874961"/>
  <p:tag name="DEFAULTHEIGHT" val="3.375039"/>
  <p:tag name="DEFAULTTOP" val="327"/>
  <p:tag name="DEFAULTLEFT" val="199.375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WIDTH" val="5.25"/>
  <p:tag name="DEFAULTHEIGHT" val="4.25"/>
  <p:tag name="DEFAULTTOP" val="249.625"/>
  <p:tag name="DEFAULTLEFT" val="256.5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WIDTH" val="3.375039"/>
  <p:tag name="DEFAULTHEIGHT" val="7.37496"/>
  <p:tag name="DEFAULTTOP" val="260.375"/>
  <p:tag name="DEFAULTLEFT" val="252.75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WIDTH" val="21.5"/>
  <p:tag name="DEFAULTHEIGHT" val="4.5"/>
  <p:tag name="DEFAULTTOP" val="241.75"/>
  <p:tag name="DEFAULTLEFT" val="221.5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BODYINDENTATION" val="0;21.37504;35.87496;45.25;60.25;82.87504;97.92001;114.48;"/>
  <p:tag name="VCT-BULLETVISIBILITY" val="G****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WIDTH" val="16"/>
  <p:tag name="DEFAULTHEIGHT" val="1.124961"/>
  <p:tag name="DEFAULTTOP" val="253.875"/>
  <p:tag name="DEFAULTLEFT" val="226.5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WIDTH" val="10.25"/>
  <p:tag name="DEFAULTHEIGHT" val="8"/>
  <p:tag name="DEFAULTTOP" val="263.375"/>
  <p:tag name="DEFAULTLEFT" val="213.5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WIDTH" val="2.875039"/>
  <p:tag name="DEFAULTHEIGHT" val="1.625039"/>
  <p:tag name="DEFAULTTOP" val="269.75"/>
  <p:tag name="DEFAULTLEFT" val="223.75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WIDTH" val="3.5"/>
  <p:tag name="DEFAULTHEIGHT" val="10.37496"/>
  <p:tag name="DEFAULTTOP" val="253.625"/>
  <p:tag name="DEFAULTLEFT" val="261.125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WIDTH" val="11.75"/>
  <p:tag name="DEFAULTHEIGHT" val="10.87504"/>
  <p:tag name="DEFAULTTOP" val="252.75"/>
  <p:tag name="DEFAULTLEFT" val="261.875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WIDTH" val="6.62496"/>
  <p:tag name="DEFAULTHEIGHT" val="7.75"/>
  <p:tag name="DEFAULTTOP" val="259.625"/>
  <p:tag name="DEFAULTLEFT" val="238.875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WIDTH" val="5.12496"/>
  <p:tag name="DEFAULTHEIGHT" val="18.37496"/>
  <p:tag name="DEFAULTTOP" val="267.375"/>
  <p:tag name="DEFAULTLEFT" val="233.875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WIDTH" val="7.5"/>
  <p:tag name="DEFAULTHEIGHT" val="6"/>
  <p:tag name="DEFAULTTOP" val="269.75"/>
  <p:tag name="DEFAULTLEFT" val="226.625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WIDTH" val="21.5"/>
  <p:tag name="DEFAULTHEIGHT" val="17.5"/>
  <p:tag name="DEFAULTTOP" val="265.625"/>
  <p:tag name="DEFAULTLEFT" val="268.375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WIDTH" val="5.37496"/>
  <p:tag name="DEFAULTHEIGHT" val="2.125039"/>
  <p:tag name="DEFAULTTOP" val="283"/>
  <p:tag name="DEFAULTLEFT" val="263.125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VCT_Marker"/>
  <p:tag name="DATE" val="2/17/2012 11:08:10 AM"/>
  <p:tag name="VCT-TEMPLATE" val="Bain A4.potx"/>
  <p:tag name="VCTMASTER" val="Bain A4"/>
  <p:tag name="VCTORDER" val="1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WIDTH" val="13.75"/>
  <p:tag name="DEFAULTHEIGHT" val="10"/>
  <p:tag name="DEFAULTTOP" val="283.875"/>
  <p:tag name="DEFAULTLEFT" val="243.625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WIDTH" val="3.875039"/>
  <p:tag name="DEFAULTHEIGHT" val="12"/>
  <p:tag name="DEFAULTTOP" val="299.125"/>
  <p:tag name="DEFAULTLEFT" val="263.25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WIDTH" val="5.12504"/>
  <p:tag name="DEFAULTHEIGHT" val="8.25"/>
  <p:tag name="DEFAULTTOP" val="275"/>
  <p:tag name="DEFAULTLEFT" val="275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WIDTH" val="1.624961"/>
  <p:tag name="DEFAULTHEIGHT" val="9.75"/>
  <p:tag name="DEFAULTTOP" val="306.5"/>
  <p:tag name="DEFAULTLEFT" val="286.625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WIDTH" val="1.5"/>
  <p:tag name="DEFAULTHEIGHT" val="4.37496"/>
  <p:tag name="DEFAULTTOP" val="302.375"/>
  <p:tag name="DEFAULTLEFT" val="286.25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WIDTH" val="8"/>
  <p:tag name="DEFAULTHEIGHT" val="9.75"/>
  <p:tag name="DEFAULTTOP" val="285.875"/>
  <p:tag name="DEFAULTLEFT" val="270.75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WIDTH" val="13.25"/>
  <p:tag name="DEFAULTHEIGHT" val="22.75"/>
  <p:tag name="DEFAULTTOP" val="288.375"/>
  <p:tag name="DEFAULTLEFT" val="212.5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WIDTH" val="10.25"/>
  <p:tag name="DEFAULTHEIGHT" val="5.25"/>
  <p:tag name="DEFAULTTOP" val="307.75"/>
  <p:tag name="DEFAULTLEFT" val="226.125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WIDTH" val="6.87496"/>
  <p:tag name="DEFAULTHEIGHT" val="22.12504"/>
  <p:tag name="DEFAULTTOP" val="309"/>
  <p:tag name="DEFAULTLEFT" val="221.875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WIDTH" val="9.375039"/>
  <p:tag name="DEFAULTHEIGHT" val="2.625039"/>
  <p:tag name="DEFAULTTOP" val="319"/>
  <p:tag name="DEFAULTLEFT" val="185.75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LLOWANCHOR" val="true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WIDTH" val="9.75"/>
  <p:tag name="DEFAULTHEIGHT" val="2.5"/>
  <p:tag name="DEFAULTTOP" val="327"/>
  <p:tag name="DEFAULTLEFT" val="189.625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WIDTH" val="4.62496"/>
  <p:tag name="DEFAULTHEIGHT" val="5.12504"/>
  <p:tag name="DEFAULTTOP" val="331"/>
  <p:tag name="DEFAULTLEFT" val="195.125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WIDTH" val="9.75"/>
  <p:tag name="DEFAULTHEIGHT" val="9.125039"/>
  <p:tag name="DEFAULTTOP" val="331"/>
  <p:tag name="DEFAULTLEFT" val="195.875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WIDTH" val="7.75"/>
  <p:tag name="DEFAULTHEIGHT" val="6.12496"/>
  <p:tag name="DEFAULTTOP" val="324.875"/>
  <p:tag name="DEFAULTLEFT" val="202.75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WIDTH" val="9"/>
  <p:tag name="DEFAULTHEIGHT" val="4"/>
  <p:tag name="DEFAULTTOP" val="223.875"/>
  <p:tag name="DEFAULTLEFT" val="276.125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WIDTH" val="1.125039"/>
  <p:tag name="DEFAULTHEIGHT" val="7.5"/>
  <p:tag name="DEFAULTTOP" val="208"/>
  <p:tag name="DEFAULTLEFT" val="246.5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WIDTH" val="14.12496"/>
  <p:tag name="DEFAULTHEIGHT" val="25.62496"/>
  <p:tag name="DEFAULTTOP" val="204.375"/>
  <p:tag name="DEFAULTLEFT" val="262.125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WIDTH" val="14.12496"/>
  <p:tag name="DEFAULTHEIGHT" val="25.62496"/>
  <p:tag name="DEFAULTTOP" val="204.375"/>
  <p:tag name="DEFAULTLEFT" val="262.125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WIDTH" val="21.12496"/>
  <p:tag name="DEFAULTHEIGHT" val="26.37496"/>
  <p:tag name="DEFAULTTOP" val="227.875"/>
  <p:tag name="DEFAULTLEFT" val="282.875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WIDTH" val="11.5"/>
  <p:tag name="DEFAULTHEIGHT" val="28.5"/>
  <p:tag name="DEFAULTTOP" val="186"/>
  <p:tag name="DEFAULTLEFT" val="297.625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BODYINDENTATION" val="0;21.37504;35.87496;45.25;60.25;82.87504;97.92001;114.48;"/>
  <p:tag name="VCT-BULLETVISIBILITY" val="G****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VICE" val="Xerox 5799"/>
  <p:tag name="FILLFORECOLOR" val="Color Chart Line 4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VICE" val="Xerox 5799"/>
  <p:tag name="FILLFORECOLOR" val="Color Chart Line 4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VICE" val="Xerox 5799"/>
  <p:tag name="FILLFORECOLOR" val="Color Chart Line 4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VICE" val="Xerox 5799"/>
  <p:tag name="FILLFORECOLOR" val="Color Chart Line 4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CHORPOINT" val="NO VALUE"/>
  <p:tag name="CHARTLIBVERSION" val="NO VALUE"/>
  <p:tag name="DDVERSION" val="2.0"/>
  <p:tag name="FONTCOLOR" val="NO VALUE"/>
  <p:tag name="LINECOLOR" val="NO VALUE"/>
  <p:tag name="PLACEHOLDERSIZE" val="NO VALUE"/>
  <p:tag name="SOURCE" val="NO VALUE"/>
  <p:tag name="OBJECTID" val="AnnotationBox"/>
  <p:tag name="LINEWEIGHT" val="0.25"/>
  <p:tag name="TOP" val="294.25"/>
  <p:tag name="LEFT" val="359.125"/>
  <p:tag name="WIDTH" val="73.875"/>
  <p:tag name="HEIGHT" val="23.625"/>
  <p:tag name="DEVICE" val="Xerox 5799"/>
  <p:tag name="TYPE" val="Annotation Box"/>
  <p:tag name="SUBOBJECTID" val="AnnotationBox"/>
  <p:tag name="FILLFORECOLOR" val="Annotation Box Fill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CHORPOINT" val="NO VALUE"/>
  <p:tag name="CHARTLIBVERSION" val="NO VALUE"/>
  <p:tag name="DDVERSION" val="2.0"/>
  <p:tag name="FONTCOLOR" val="NO VALUE"/>
  <p:tag name="LINECOLOR" val="NO VALUE"/>
  <p:tag name="PLACEHOLDERSIZE" val="NO VALUE"/>
  <p:tag name="SOURCE" val="NO VALUE"/>
  <p:tag name="OBJECTID" val="AnnotationBox"/>
  <p:tag name="LINEWEIGHT" val="0.25"/>
  <p:tag name="TOP" val="294.25"/>
  <p:tag name="LEFT" val="359.125"/>
  <p:tag name="WIDTH" val="73.875"/>
  <p:tag name="HEIGHT" val="23.625"/>
  <p:tag name="DEVICE" val="Xerox 5799"/>
  <p:tag name="FILLFORECOLOR" val="Color 4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CHORPOINT" val="NO VALUE"/>
  <p:tag name="CHARTLIBVERSION" val="NO VALUE"/>
  <p:tag name="DDVERSION" val="2.0"/>
  <p:tag name="FONTCOLOR" val="NO VALUE"/>
  <p:tag name="LINECOLOR" val="NO VALUE"/>
  <p:tag name="PLACEHOLDERSIZE" val="NO VALUE"/>
  <p:tag name="SOURCE" val="NO VALUE"/>
  <p:tag name="OBJECTID" val="AnnotationBox"/>
  <p:tag name="LINEWEIGHT" val="0.25"/>
  <p:tag name="TOP" val="294.25"/>
  <p:tag name="LEFT" val="359.125"/>
  <p:tag name="WIDTH" val="73.875"/>
  <p:tag name="HEIGHT" val="23.625"/>
  <p:tag name="DEVICE" val="Xerox 5799"/>
  <p:tag name="TYPE" val="Annotation Box"/>
  <p:tag name="SUBOBJECTID" val="AnnotationBox"/>
  <p:tag name="FILLFORECOLOR" val="Annotation Box Fill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CHORPOINT" val="NO VALUE"/>
  <p:tag name="CHARTLIBVERSION" val="NO VALUE"/>
  <p:tag name="DDVERSION" val="2.0"/>
  <p:tag name="FONTCOLOR" val="NO VALUE"/>
  <p:tag name="LINECOLOR" val="NO VALUE"/>
  <p:tag name="PLACEHOLDERSIZE" val="NO VALUE"/>
  <p:tag name="SOURCE" val="NO VALUE"/>
  <p:tag name="OBJECTID" val="AnnotationBox"/>
  <p:tag name="LINEWEIGHT" val="0.25"/>
  <p:tag name="TOP" val="294.25"/>
  <p:tag name="LEFT" val="359.125"/>
  <p:tag name="WIDTH" val="73.875"/>
  <p:tag name="HEIGHT" val="23.625"/>
  <p:tag name="DEVICE" val="Xerox 5799"/>
  <p:tag name="FILLFORECOLOR" val="Color 6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CHORPOINT" val="NO VALUE"/>
  <p:tag name="CHARTLIBVERSION" val="NO VALUE"/>
  <p:tag name="DDVERSION" val="2.0"/>
  <p:tag name="FONTCOLOR" val="NO VALUE"/>
  <p:tag name="LINECOLOR" val="NO VALUE"/>
  <p:tag name="PLACEHOLDERSIZE" val="NO VALUE"/>
  <p:tag name="SOURCE" val="NO VALUE"/>
  <p:tag name="OBJECTID" val="AnnotationBox"/>
  <p:tag name="LINEWEIGHT" val="0.25"/>
  <p:tag name="TOP" val="294.25"/>
  <p:tag name="LEFT" val="359.125"/>
  <p:tag name="WIDTH" val="73.875"/>
  <p:tag name="HEIGHT" val="23.625"/>
  <p:tag name="DEVICE" val="Xerox 5799"/>
  <p:tag name="TYPE" val="Annotation Box"/>
  <p:tag name="SUBOBJECTID" val="AnnotationBox"/>
  <p:tag name="FILLFORECOLOR" val="Annotation Box Fill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CHORPOINT" val="NO VALUE"/>
  <p:tag name="CHARTLIBVERSION" val="NO VALUE"/>
  <p:tag name="DDVERSION" val="2.0"/>
  <p:tag name="FONTCOLOR" val="NO VALUE"/>
  <p:tag name="LINECOLOR" val="NO VALUE"/>
  <p:tag name="PLACEHOLDERSIZE" val="NO VALUE"/>
  <p:tag name="SOURCE" val="NO VALUE"/>
  <p:tag name="OBJECTID" val="AnnotationBox"/>
  <p:tag name="LINEWEIGHT" val="0.25"/>
  <p:tag name="TOP" val="294.25"/>
  <p:tag name="LEFT" val="359.125"/>
  <p:tag name="WIDTH" val="73.875"/>
  <p:tag name="HEIGHT" val="23.625"/>
  <p:tag name="DEVICE" val="Xerox 5799"/>
  <p:tag name="FILLFORECOLOR" val="Color 5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VCT_Marker"/>
  <p:tag name="DATE" val="2/17/2012 11:08:10 AM"/>
  <p:tag name="VCT-TEMPLATE" val="Bain A4.potx"/>
  <p:tag name="VCTMASTER" val="Bain A4"/>
  <p:tag name="VCTORDER" val="1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CHORPOINT" val="NO VALUE"/>
  <p:tag name="CHARTLIBVERSION" val="NO VALUE"/>
  <p:tag name="DDVERSION" val="2.0"/>
  <p:tag name="FONTCOLOR" val="NO VALUE"/>
  <p:tag name="LINECOLOR" val="NO VALUE"/>
  <p:tag name="PLACEHOLDERSIZE" val="NO VALUE"/>
  <p:tag name="SOURCE" val="NO VALUE"/>
  <p:tag name="OBJECTID" val="AnnotationBox"/>
  <p:tag name="LINEWEIGHT" val="0.25"/>
  <p:tag name="TOP" val="294.25"/>
  <p:tag name="LEFT" val="359.125"/>
  <p:tag name="WIDTH" val="73.875"/>
  <p:tag name="HEIGHT" val="23.625"/>
  <p:tag name="DEVICE" val="Xerox 5799"/>
  <p:tag name="TYPE" val="Annotation Box"/>
  <p:tag name="SUBOBJECTID" val="AnnotationBox"/>
  <p:tag name="FILLFORECOLOR" val="Annotation Box Fill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CHORPOINT" val="NO VALUE"/>
  <p:tag name="CHARTLIBVERSION" val="NO VALUE"/>
  <p:tag name="DDVERSION" val="2.0"/>
  <p:tag name="FONTCOLOR" val="NO VALUE"/>
  <p:tag name="LINECOLOR" val="NO VALUE"/>
  <p:tag name="PLACEHOLDERSIZE" val="NO VALUE"/>
  <p:tag name="SOURCE" val="NO VALUE"/>
  <p:tag name="OBJECTID" val="AnnotationBox"/>
  <p:tag name="LINEWEIGHT" val="0.25"/>
  <p:tag name="TOP" val="294.25"/>
  <p:tag name="LEFT" val="359.125"/>
  <p:tag name="WIDTH" val="73.875"/>
  <p:tag name="HEIGHT" val="23.625"/>
  <p:tag name="DEVICE" val="Xerox 5799"/>
  <p:tag name="FILLFORECOLOR" val="Color 3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CHORPOINT" val="NO VALUE"/>
  <p:tag name="CHARTLIBVERSION" val="NO VALUE"/>
  <p:tag name="DDVERSION" val="2.0"/>
  <p:tag name="FONTCOLOR" val="NO VALUE"/>
  <p:tag name="LINECOLOR" val="NO VALUE"/>
  <p:tag name="PLACEHOLDERSIZE" val="NO VALUE"/>
  <p:tag name="SOURCE" val="NO VALUE"/>
  <p:tag name="OBJECTID" val="AnnotationBox"/>
  <p:tag name="LINEWEIGHT" val="0.25"/>
  <p:tag name="TOP" val="294.25"/>
  <p:tag name="LEFT" val="359.125"/>
  <p:tag name="WIDTH" val="73.875"/>
  <p:tag name="HEIGHT" val="23.625"/>
  <p:tag name="DEVICE" val="Xerox 5799"/>
  <p:tag name="TYPE" val="Annotation Box"/>
  <p:tag name="SUBOBJECTID" val="AnnotationBox"/>
  <p:tag name="FILLFORECOLOR" val="Annotation Box Fill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CHORPOINT" val="NO VALUE"/>
  <p:tag name="CHARTLIBVERSION" val="NO VALUE"/>
  <p:tag name="DDVERSION" val="2.0"/>
  <p:tag name="FONTCOLOR" val="NO VALUE"/>
  <p:tag name="LINECOLOR" val="NO VALUE"/>
  <p:tag name="PLACEHOLDERSIZE" val="NO VALUE"/>
  <p:tag name="SOURCE" val="NO VALUE"/>
  <p:tag name="OBJECTID" val="AnnotationBox"/>
  <p:tag name="LINEWEIGHT" val="0.25"/>
  <p:tag name="TOP" val="294.25"/>
  <p:tag name="LEFT" val="359.125"/>
  <p:tag name="WIDTH" val="73.875"/>
  <p:tag name="HEIGHT" val="23.625"/>
  <p:tag name="DEVICE" val="Xerox 5799"/>
  <p:tag name="FILLFORECOLOR" val="Color 2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VICE" val="Xerox 5799"/>
  <p:tag name="FILLFORECOLOR" val="Color Chart Line 4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CHORPOINT" val="NO VALUE"/>
  <p:tag name="CHARTLIBVERSION" val="NO VALUE"/>
  <p:tag name="DDVERSION" val="2.0"/>
  <p:tag name="FONTCOLOR" val="NO VALUE"/>
  <p:tag name="LINECOLOR" val="NO VALUE"/>
  <p:tag name="PLACEHOLDERSIZE" val="NO VALUE"/>
  <p:tag name="SOURCE" val="NO VALUE"/>
  <p:tag name="OBJECTID" val="AnnotationBox"/>
  <p:tag name="LINEWEIGHT" val="0.25"/>
  <p:tag name="TOP" val="294.25"/>
  <p:tag name="LEFT" val="359.125"/>
  <p:tag name="WIDTH" val="73.875"/>
  <p:tag name="HEIGHT" val="23.625"/>
  <p:tag name="DEVICE" val="Xerox 5799"/>
  <p:tag name="TYPE" val="Annotation Box"/>
  <p:tag name="SUBOBJECTID" val="AnnotationBox"/>
  <p:tag name="FILLFORECOLOR" val="Annotation Box Fill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CHORPOINT" val="NO VALUE"/>
  <p:tag name="CHARTLIBVERSION" val="NO VALUE"/>
  <p:tag name="DDVERSION" val="2.0"/>
  <p:tag name="FONTCOLOR" val="NO VALUE"/>
  <p:tag name="LINECOLOR" val="NO VALUE"/>
  <p:tag name="PLACEHOLDERSIZE" val="NO VALUE"/>
  <p:tag name="SOURCE" val="NO VALUE"/>
  <p:tag name="OBJECTID" val="AnnotationBox"/>
  <p:tag name="LINEWEIGHT" val="0.25"/>
  <p:tag name="TOP" val="294.25"/>
  <p:tag name="LEFT" val="359.125"/>
  <p:tag name="WIDTH" val="73.875"/>
  <p:tag name="HEIGHT" val="23.625"/>
  <p:tag name="DEVICE" val="Xerox 5799"/>
  <p:tag name="FILLFORECOLOR" val="Color 3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CHORPOINT" val="NO VALUE"/>
  <p:tag name="CHARTLIBVERSION" val="NO VALUE"/>
  <p:tag name="DDVERSION" val="2.0"/>
  <p:tag name="FONTCOLOR" val="NO VALUE"/>
  <p:tag name="LINECOLOR" val="NO VALUE"/>
  <p:tag name="PLACEHOLDERSIZE" val="NO VALUE"/>
  <p:tag name="SOURCE" val="NO VALUE"/>
  <p:tag name="OBJECTID" val="AnnotationBox"/>
  <p:tag name="LINEWEIGHT" val="0.25"/>
  <p:tag name="TOP" val="294.25"/>
  <p:tag name="LEFT" val="359.125"/>
  <p:tag name="WIDTH" val="73.875"/>
  <p:tag name="HEIGHT" val="23.625"/>
  <p:tag name="DEVICE" val="Xerox 5799"/>
  <p:tag name="TYPE" val="Annotation Box"/>
  <p:tag name="SUBOBJECTID" val="AnnotationBox"/>
  <p:tag name="FILLFORECOLOR" val="Annotation Box Fill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CHORPOINT" val="NO VALUE"/>
  <p:tag name="CHARTLIBVERSION" val="NO VALUE"/>
  <p:tag name="DDVERSION" val="2.0"/>
  <p:tag name="FONTCOLOR" val="NO VALUE"/>
  <p:tag name="LINECOLOR" val="NO VALUE"/>
  <p:tag name="PLACEHOLDERSIZE" val="NO VALUE"/>
  <p:tag name="SOURCE" val="NO VALUE"/>
  <p:tag name="OBJECTID" val="AnnotationBox"/>
  <p:tag name="LINEWEIGHT" val="0.25"/>
  <p:tag name="TOP" val="294.25"/>
  <p:tag name="LEFT" val="359.125"/>
  <p:tag name="WIDTH" val="73.875"/>
  <p:tag name="HEIGHT" val="23.625"/>
  <p:tag name="DEVICE" val="Xerox 5799"/>
  <p:tag name="FILLFORECOLOR" val="Color 3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WIDTH" val="18.75"/>
  <p:tag name="DEFAULTHEIGHT" val="20.62504"/>
  <p:tag name="DEFAULTTOP" val="337.5"/>
  <p:tag name="DEFAULTLEFT" val="565.1251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LLOWANCHOR" val="true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WIDTH" val="47.75"/>
  <p:tag name="DEFAULTHEIGHT" val="36.75"/>
  <p:tag name="DEFAULTTOP" val="294.75"/>
  <p:tag name="DEFAULTLEFT" val="510.125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WIDTH" val="7.37504"/>
  <p:tag name="DEFAULTHEIGHT" val="10.37496"/>
  <p:tag name="DEFAULTTOP" val="327.125"/>
  <p:tag name="DEFAULTLEFT" val="557.75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WIDTH" val="3.625039"/>
  <p:tag name="DEFAULTHEIGHT" val="8.125039"/>
  <p:tag name="DEFAULTTOP" val="228.5"/>
  <p:tag name="DEFAULTLEFT" val="505.25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WIDTH" val="15.5"/>
  <p:tag name="DEFAULTHEIGHT" val="23.37496"/>
  <p:tag name="DEFAULTTOP" val="236.625"/>
  <p:tag name="DEFAULTLEFT" val="499.25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WIDTH" val="11.25"/>
  <p:tag name="DEFAULTHEIGHT" val="35.5"/>
  <p:tag name="DEFAULTTOP" val="260"/>
  <p:tag name="DEFAULTLEFT" val="498.875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WIDTH" val="3.624961"/>
  <p:tag name="DEFAULTHEIGHT" val="5.37504"/>
  <p:tag name="DEFAULTTOP" val="240.25"/>
  <p:tag name="DEFAULTLEFT" val="385.875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WIDTH" val="17"/>
  <p:tag name="DEFAULTHEIGHT" val="4.87504"/>
  <p:tag name="DEFAULTTOP" val="271.5"/>
  <p:tag name="DEFAULTLEFT" val="326.125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WIDTH" val="43.25"/>
  <p:tag name="DEFAULTHEIGHT" val="30.5"/>
  <p:tag name="DEFAULTTOP" val="245.625"/>
  <p:tag name="DEFAULTLEFT" val="342.875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WIDTH" val="28.25"/>
  <p:tag name="DEFAULTHEIGHT" val="21.12504"/>
  <p:tag name="DEFAULTTOP" val="315.75"/>
  <p:tag name="DEFAULTLEFT" val="355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WIDTH" val="41"/>
  <p:tag name="DEFAULTHEIGHT" val="15.87496"/>
  <p:tag name="DEFAULTTOP" val="308.625"/>
  <p:tag name="DEFAULTLEFT" val="383.25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WIDTH" val="11.87504"/>
  <p:tag name="DEFAULTHEIGHT" val="50.37504"/>
  <p:tag name="DEFAULTTOP" val="264.75"/>
  <p:tag name="DEFAULTLEFT" val="424.25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WIDTH" val="10.75"/>
  <p:tag name="DEFAULTHEIGHT" val="6.5"/>
  <p:tag name="DEFAULTTOP" val="265.875"/>
  <p:tag name="DEFAULTLEFT" val="315.25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WIDTH" val="30.87496"/>
  <p:tag name="DEFAULTHEIGHT" val="27.37504"/>
  <p:tag name="DEFAULTTOP" val="276"/>
  <p:tag name="DEFAULTLEFT" val="312.125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WIDTH" val="43.25"/>
  <p:tag name="DEFAULTHEIGHT" val="30.5"/>
  <p:tag name="DEFAULTTOP" val="245.625"/>
  <p:tag name="DEFAULTLEFT" val="342.875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WIDTH" val="11.87504"/>
  <p:tag name="DEFAULTHEIGHT" val="50.37504"/>
  <p:tag name="DEFAULTTOP" val="264.75"/>
  <p:tag name="DEFAULTLEFT" val="424.25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WIDTH" val="43.25"/>
  <p:tag name="DEFAULTHEIGHT" val="30.5"/>
  <p:tag name="DEFAULTTOP" val="245.625"/>
  <p:tag name="DEFAULTLEFT" val="342.875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WIDTH" val="41"/>
  <p:tag name="DEFAULTHEIGHT" val="15.87496"/>
  <p:tag name="DEFAULTTOP" val="308.625"/>
  <p:tag name="DEFAULTLEFT" val="383.25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WIDTH" val="34.25"/>
  <p:tag name="DEFAULTHEIGHT" val="25.25"/>
  <p:tag name="DEFAULTTOP" val="235.5"/>
  <p:tag name="DEFAULTLEFT" val="262.375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WIDTH" val="2.5"/>
  <p:tag name="DEFAULTHEIGHT" val="2"/>
  <p:tag name="DEFAULTTOP" val="254"/>
  <p:tag name="DEFAULTLEFT" val="304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WIDTH" val="9"/>
  <p:tag name="DEFAULTHEIGHT" val="5.12504"/>
  <p:tag name="DEFAULTTOP" val="260.75"/>
  <p:tag name="DEFAULTLEFT" val="287.75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WIDTH" val="3.25"/>
  <p:tag name="DEFAULTHEIGHT" val="4.62504"/>
  <p:tag name="DEFAULTTOP" val="330.75"/>
  <p:tag name="DEFAULTLEFT" val="299.375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WIDTH" val="5.25"/>
  <p:tag name="DEFAULTHEIGHT" val="4.87504"/>
  <p:tag name="DEFAULTTOP" val="303.5"/>
  <p:tag name="DEFAULTLEFT" val="311.5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WIDTH" val="18.12496"/>
  <p:tag name="DEFAULTHEIGHT" val="22.75"/>
  <p:tag name="DEFAULTTOP" val="308"/>
  <p:tag name="DEFAULTLEFT" val="299.375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WIDTH" val="7.5"/>
  <p:tag name="DEFAULTHEIGHT" val="6.62504"/>
  <p:tag name="DEFAULTTOP" val="254"/>
  <p:tag name="DEFAULTLEFT" val="296.625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WIDTH" val="13.75"/>
  <p:tag name="DEFAULTHEIGHT" val="14.12504"/>
  <p:tag name="DEFAULTTOP" val="255.75"/>
  <p:tag name="DEFAULTLEFT" val="301.5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WIDTH" val="7.5"/>
  <p:tag name="DEFAULTHEIGHT" val="6.62504"/>
  <p:tag name="DEFAULTTOP" val="225"/>
  <p:tag name="DEFAULTLEFT" val="233.125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WIDTH" val="3.875039"/>
  <p:tag name="DEFAULTHEIGHT" val="6.12504"/>
  <p:tag name="DEFAULTTOP" val="235.5"/>
  <p:tag name="DEFAULTLEFT" val="262.25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WIDTH" val="9"/>
  <p:tag name="DEFAULTHEIGHT" val="20"/>
  <p:tag name="DEFAULTTOP" val="288.625"/>
  <p:tag name="DEFAULTLEFT" val="236.75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WIDTH" val="7.62496"/>
  <p:tag name="DEFAULTHEIGHT" val="5.12496"/>
  <p:tag name="DEFAULTTOP" val="307.125"/>
  <p:tag name="DEFAULTLEFT" val="199.875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WIDTH" val="6.37504"/>
  <p:tag name="DEFAULTHEIGHT" val="6.75"/>
  <p:tag name="DEFAULTTOP" val="307.125"/>
  <p:tag name="DEFAULTLEFT" val="193.5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BODYINDENTATION" val="0;21.37504;35.87496;45.25;60.25;82.87504;97.92001;114.48;"/>
  <p:tag name="VCT-BULLETVISIBILITY" val="G****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WIDTH" val="11"/>
  <p:tag name="DEFAULTHEIGHT" val="3.25"/>
  <p:tag name="DEFAULTTOP" val="311.125"/>
  <p:tag name="DEFAULTLEFT" val="182.375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WIDTH" val="18.37504"/>
  <p:tag name="DEFAULTHEIGHT" val="3.25"/>
  <p:tag name="DEFAULTTOP" val="285.375"/>
  <p:tag name="DEFAULTLEFT" val="218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WIDTH" val="8.75"/>
  <p:tag name="DEFAULTHEIGHT" val="1.75"/>
  <p:tag name="DEFAULTTOP" val="263.125"/>
  <p:tag name="DEFAULTLEFT" val="264.75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WIDTH" val="14.37504"/>
  <p:tag name="DEFAULTHEIGHT" val="3"/>
  <p:tag name="DEFAULTTOP" val="262.625"/>
  <p:tag name="DEFAULTLEFT" val="273.5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WIDTH" val="2.375039"/>
  <p:tag name="DEFAULTHEIGHT" val="1.624961"/>
  <p:tag name="DEFAULTTOP" val="230.125"/>
  <p:tag name="DEFAULTLEFT" val="231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WIDTH" val="21.87496"/>
  <p:tag name="DEFAULTHEIGHT" val="10.62504"/>
  <p:tag name="DEFAULTTOP" val="225"/>
  <p:tag name="DEFAULTLEFT" val="240.625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WIDTH" val="20.75"/>
  <p:tag name="DEFAULTHEIGHT" val="21"/>
  <p:tag name="DEFAULTTOP" val="267.625"/>
  <p:tag name="DEFAULTLEFT" val="236.625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WIDTH" val="8.625039"/>
  <p:tag name="DEFAULTHEIGHT" val="3.874961"/>
  <p:tag name="DEFAULTTOP" val="263.875"/>
  <p:tag name="DEFAULTLEFT" val="256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WIDTH" val="20.75"/>
  <p:tag name="DEFAULTHEIGHT" val="21"/>
  <p:tag name="DEFAULTTOP" val="267.625"/>
  <p:tag name="DEFAULTLEFT" val="236.625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WIDTH" val="20.75"/>
  <p:tag name="DEFAULTHEIGHT" val="21"/>
  <p:tag name="DEFAULTTOP" val="267.625"/>
  <p:tag name="DEFAULTLEFT" val="236.625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VCT_Marker"/>
  <p:tag name="DATE" val="2/17/2012 11:08:10 AM"/>
  <p:tag name="VCT-TEMPLATE" val="Bain A4.potx"/>
  <p:tag name="VCTMASTER" val="Bain A4"/>
  <p:tag name="VCTORDER" val="1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WIDTH" val="3.624961"/>
  <p:tag name="DEFAULTHEIGHT" val="7.87504"/>
  <p:tag name="DEFAULTTOP" val="325.25"/>
  <p:tag name="DEFAULTLEFT" val="210.375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WIDTH" val="3"/>
  <p:tag name="DEFAULTHEIGHT" val="13.12496"/>
  <p:tag name="DEFAULTTOP" val="312.125"/>
  <p:tag name="DEFAULTLEFT" val="207.375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ACTIVATED" val="False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ACTIVATED" val="True"/>
  <p:tag name="BAINBULLETSLINESPACING" val="0"/>
  <p:tag name="BAINBULLETSLEVELSFINGERPRINT" val="1221007789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ACTIVATED" val="True"/>
  <p:tag name="BAINBULLETSLINESPACING" val="0"/>
  <p:tag name="BAINBULLETSLEVELSFINGERPRINT" val="1221007789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ACTIVATED" val="True"/>
  <p:tag name="BAINBULLETSLINESPACING" val="0"/>
  <p:tag name="BAINBULLETSLEVELSFINGERPRINT" val="1221007789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ACTIVATED" val="True"/>
  <p:tag name="BAINBULLETSLINESPACING" val="0"/>
  <p:tag name="BAINBULLETSLEVELSFINGERPRINT" val="1221007789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ACTIVATED" val="True"/>
  <p:tag name="BAINBULLETSLINESPACING" val="0"/>
  <p:tag name="BAINBULLETSLEVELSFINGERPRINT" val="1221007789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ACTIVATED" val="True"/>
  <p:tag name="BAINBULLETSLINESPACING" val="0"/>
  <p:tag name="BAINBULLETSLEVELSFINGERPRINT" val="1221007789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ACTIVATED" val="True"/>
  <p:tag name="BAINBULLETSLINESPACING" val="0"/>
  <p:tag name="BAINBULLETSLEVELSFINGERPRINT" val="1221007789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LLOWANCHOR" val="true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ACTIVATED" val="True"/>
  <p:tag name="BAINBULLETSLINESPACING" val="0"/>
  <p:tag name="BAINBULLETSLEVELSFINGERPRINT" val="1221007789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ACTIVATED" val="True"/>
  <p:tag name="BAINBULLETSLINESPACING" val="0"/>
  <p:tag name="BAINBULLETSLEVELSFINGERPRINT" val="1221007789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ACTIVATED" val="True"/>
  <p:tag name="BAINBULLETSLINESPACING" val="0"/>
  <p:tag name="BAINBULLETSLEVELSFINGERPRINT" val="1221007789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ACTIVATED" val="True"/>
  <p:tag name="BAINBULLETSLINESPACING" val="0"/>
  <p:tag name="BAINBULLETSLEVELSFINGERPRINT" val="1221007789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ACTIVATED" val="True"/>
  <p:tag name="BAINBULLETSLINESPACING" val="0"/>
  <p:tag name="BAINBULLETSLEVELSFINGERPRINT" val="-295330631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ACTIVATED" val="True"/>
  <p:tag name="BAINBULLETSLINESPACING" val="0"/>
  <p:tag name="BAINBULLETSLEVELSFINGERPRINT" val="-295330631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ACTIVATED" val="True"/>
  <p:tag name="BAINBULLETSLINESPACING" val="0"/>
  <p:tag name="BAINBULLETSLEVELSFINGERPRINT" val="-295330631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ACTIVATED" val="True"/>
  <p:tag name="BAINBULLETSLINESPACING" val="0"/>
  <p:tag name="BAINBULLETSLEVELSFINGERPRINT" val="-295330631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ACTIVATED" val="True"/>
  <p:tag name="BAINBULLETSLINESPACING" val="0"/>
  <p:tag name="BAINBULLETSLEVELSFINGERPRINT" val="-295330631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ACTIVATED" val="True"/>
  <p:tag name="BAINBULLETSLINESPACING" val="0"/>
  <p:tag name="BAINBULLETSLEVELSFINGERPRINT" val="-295330631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BODYINDENTATION" val="0;21.37504;35.87496;45.25;60.25;82.87504;97.92001;114.48;"/>
  <p:tag name="VCT-BULLETVISIBILITY" val="G****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HEADERBOX" val="True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HEADERBOX" val="True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LINESPACING" val="2"/>
  <p:tag name="BAINBULLETSACTIVATED" val="True"/>
  <p:tag name="BAINBULLETSLEVELSFINGERPRINT" val="-1868511727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LINESPACING" val="2"/>
  <p:tag name="BAINBULLETSACTIVATED" val="True"/>
  <p:tag name="BAINBULLETSLEVELSFINGERPRINT" val="-1868511727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VCT_Marker"/>
  <p:tag name="DATE" val="2/17/2012 11:08:10 AM"/>
  <p:tag name="VCT-TEMPLATE" val="Bain A4.potx"/>
  <p:tag name="VCTMASTER" val="Bain A4"/>
  <p:tag name="VCTORDER" val="1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LLOWANCHOR" val="tru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WIDTH" val="11.25"/>
  <p:tag name="DEFAULTHEIGHT" val="35.5"/>
  <p:tag name="DEFAULTTOP" val="260"/>
  <p:tag name="DEFAULTLEFT" val="498.875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WIDTH" val="20.75"/>
  <p:tag name="DEFAULTHEIGHT" val="22.12504"/>
  <p:tag name="DEFAULTTOP" val="355.25"/>
  <p:tag name="DEFAULTLEFT" val="658.3751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WIDTH" val="31.37504"/>
  <p:tag name="DEFAULTHEIGHT" val="14.75"/>
  <p:tag name="DEFAULTTOP" val="327.875"/>
  <p:tag name="DEFAULTLEFT" val="612.25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WIDTH" val="17.75"/>
  <p:tag name="DEFAULTHEIGHT" val="10.62504"/>
  <p:tag name="DEFAULTTOP" val="264.75"/>
  <p:tag name="DEFAULTLEFT" val="632.3751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WIDTH" val="9"/>
  <p:tag name="DEFAULTHEIGHT" val="23.87504"/>
  <p:tag name="DEFAULTTOP" val="215.25"/>
  <p:tag name="DEFAULTLEFT" val="634.25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WIDTH" val="5.87504"/>
  <p:tag name="DEFAULTHEIGHT" val="15.12496"/>
  <p:tag name="DEFAULTTOP" val="327.125"/>
  <p:tag name="DEFAULTLEFT" val="552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WIDTH" val="16.5"/>
  <p:tag name="DEFAULTHEIGHT" val="41.62504"/>
  <p:tag name="DEFAULTTOP" val="294.75"/>
  <p:tag name="DEFAULTLEFT" val="494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WIDTH" val="3.5"/>
  <p:tag name="DEFAULTHEIGHT" val="6.12504"/>
  <p:tag name="DEFAULTTOP" val="377"/>
  <p:tag name="DEFAULTLEFT" val="475.75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WIDTH" val="8.375039"/>
  <p:tag name="DEFAULTHEIGHT" val="22.87496"/>
  <p:tag name="DEFAULTTOP" val="356.375"/>
  <p:tag name="DEFAULTLEFT" val="425.75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WIDTH" val="4"/>
  <p:tag name="DEFAULTHEIGHT" val="11.62496"/>
  <p:tag name="DEFAULTTOP" val="383.875"/>
  <p:tag name="DEFAULTLEFT" val="428.625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WIDTH" val="35.5"/>
  <p:tag name="DEFAULTHEIGHT" val="5.12504"/>
  <p:tag name="DEFAULTTOP" val="357"/>
  <p:tag name="DEFAULTLEFT" val="380.75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WIDTH" val="18.87496"/>
  <p:tag name="DEFAULTHEIGHT" val="0.8749606"/>
  <p:tag name="DEFAULTTOP" val="347.625"/>
  <p:tag name="DEFAULTLEFT" val="414.875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WIDTH" val="43.25"/>
  <p:tag name="DEFAULTHEIGHT" val="30.5"/>
  <p:tag name="DEFAULTTOP" val="245.625"/>
  <p:tag name="DEFAULTLEFT" val="342.875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WIDTH" val="11.87504"/>
  <p:tag name="DEFAULTHEIGHT" val="50.37504"/>
  <p:tag name="DEFAULTTOP" val="264.75"/>
  <p:tag name="DEFAULTLEFT" val="424.25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WIDTH" val="41"/>
  <p:tag name="DEFAULTHEIGHT" val="15.87496"/>
  <p:tag name="DEFAULTTOP" val="308.625"/>
  <p:tag name="DEFAULTLEFT" val="383.25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WIDTH" val="52.5"/>
  <p:tag name="DEFAULTHEIGHT" val="14.87496"/>
  <p:tag name="DEFAULTTOP" val="256.375"/>
  <p:tag name="DEFAULTLEFT" val="446.75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WIDTH" val="10.25"/>
  <p:tag name="DEFAULTHEIGHT" val="11.25"/>
  <p:tag name="DEFAULTTOP" val="305"/>
  <p:tag name="DEFAULTLEFT" val="340.625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WIDTH" val="6.12504"/>
  <p:tag name="DEFAULTHEIGHT" val="17.62504"/>
  <p:tag name="DEFAULTTOP" val="311.5"/>
  <p:tag name="DEFAULTLEFT" val="323.25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WIDTH" val="43.25"/>
  <p:tag name="DEFAULTHEIGHT" val="30.5"/>
  <p:tag name="DEFAULTTOP" val="245.625"/>
  <p:tag name="DEFAULTLEFT" val="342.875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WIDTH" val="7.5"/>
  <p:tag name="DEFAULTHEIGHT" val="11.37504"/>
  <p:tag name="DEFAULTTOP" val="270"/>
  <p:tag name="DEFAULTLEFT" val="311.25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WIDTH" val="12.37504"/>
  <p:tag name="DEFAULTHEIGHT" val="5.37496"/>
  <p:tag name="DEFAULTTOP" val="306.125"/>
  <p:tag name="DEFAULTLEFT" val="316.75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WIDTH" val="1.874961"/>
  <p:tag name="DEFAULTHEIGHT" val="1.5"/>
  <p:tag name="DEFAULTTOP" val="295.125"/>
  <p:tag name="DEFAULTLEFT" val="298.625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WIDTH" val="12.62504"/>
  <p:tag name="DEFAULTHEIGHT" val="16.62504"/>
  <p:tag name="DEFAULTTOP" val="316.25"/>
  <p:tag name="DEFAULTLEFT" val="286.75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WIDTH" val="13.75"/>
  <p:tag name="DEFAULTHEIGHT" val="10"/>
  <p:tag name="DEFAULTTOP" val="283.875"/>
  <p:tag name="DEFAULTLEFT" val="243.625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WIDTH" val="15.5"/>
  <p:tag name="DEFAULTHEIGHT" val="4.62504"/>
  <p:tag name="DEFAULTTOP" val="294.5"/>
  <p:tag name="DEFAULTLEFT" val="263.25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WIDTH" val="18.12496"/>
  <p:tag name="DEFAULTHEIGHT" val="11.12504"/>
  <p:tag name="DEFAULTTOP" val="279"/>
  <p:tag name="DEFAULTLEFT" val="291.375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WIDTH" val="9.75"/>
  <p:tag name="DEFAULTHEIGHT" val="2.25"/>
  <p:tag name="DEFAULTTOP" val="282.5"/>
  <p:tag name="DEFAULTLEFT" val="280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WIDTH" val="2.875039"/>
  <p:tag name="DEFAULTHEIGHT" val="3"/>
  <p:tag name="DEFAULTTOP" val="282.875"/>
  <p:tag name="DEFAULTLEFT" val="268.25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WIDTH" val="20.75"/>
  <p:tag name="DEFAULTHEIGHT" val="21"/>
  <p:tag name="DEFAULTTOP" val="267.625"/>
  <p:tag name="DEFAULTLEFT" val="236.625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WIDTH" val="21.5"/>
  <p:tag name="DEFAULTHEIGHT" val="17.5"/>
  <p:tag name="DEFAULTTOP" val="265.625"/>
  <p:tag name="DEFAULTLEFT" val="268.375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WIDTH" val="21.5"/>
  <p:tag name="DEFAULTHEIGHT" val="17.5"/>
  <p:tag name="DEFAULTTOP" val="265.625"/>
  <p:tag name="DEFAULTLEFT" val="268.375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WIDTH" val="21.5"/>
  <p:tag name="DEFAULTHEIGHT" val="17.5"/>
  <p:tag name="DEFAULTTOP" val="265.625"/>
  <p:tag name="DEFAULTLEFT" val="268.375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WIDTH" val="13.75"/>
  <p:tag name="DEFAULTHEIGHT" val="14.12504"/>
  <p:tag name="DEFAULTTOP" val="255.75"/>
  <p:tag name="DEFAULTLEFT" val="301.5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WIDTH" val="7.75"/>
  <p:tag name="DEFAULTHEIGHT" val="6.12496"/>
  <p:tag name="DEFAULTTOP" val="324.875"/>
  <p:tag name="DEFAULTLEFT" val="202.75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WIDTH" val="1.5"/>
  <p:tag name="DEFAULTHEIGHT" val="0.6249606"/>
  <p:tag name="DEFAULTTOP" val="330.375"/>
  <p:tag name="DEFAULTLEFT" val="201.25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WIDTH" val="7.62496"/>
  <p:tag name="DEFAULTHEIGHT" val="4.25"/>
  <p:tag name="DEFAULTTOP" val="330"/>
  <p:tag name="DEFAULTLEFT" val="192.125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WIDTH" val="1.5"/>
  <p:tag name="DEFAULTHEIGHT" val="0.6249606"/>
  <p:tag name="DEFAULTTOP" val="330.375"/>
  <p:tag name="DEFAULTLEFT" val="199.75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WIDTH" val="9.75"/>
  <p:tag name="DEFAULTHEIGHT" val="2.5"/>
  <p:tag name="DEFAULTTOP" val="327"/>
  <p:tag name="DEFAULTLEFT" val="189.625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WIDTH" val="11"/>
  <p:tag name="DEFAULTHEIGHT" val="3.25"/>
  <p:tag name="DEFAULTTOP" val="311.125"/>
  <p:tag name="DEFAULTLEFT" val="182.375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WIDTH" val="7.75"/>
  <p:tag name="DEFAULTHEIGHT" val="6.12496"/>
  <p:tag name="DEFAULTTOP" val="324.875"/>
  <p:tag name="DEFAULTLEFT" val="202.75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WIDTH" val="6.5"/>
  <p:tag name="DEFAULTHEIGHT" val="3.624961"/>
  <p:tag name="DEFAULTTOP" val="307.125"/>
  <p:tag name="DEFAULTLEFT" val="219.625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WIDTH" val="18.37504"/>
  <p:tag name="DEFAULTHEIGHT" val="3.25"/>
  <p:tag name="DEFAULTTOP" val="285.375"/>
  <p:tag name="DEFAULTLEFT" val="218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WIDTH" val="34.25"/>
  <p:tag name="DEFAULTHEIGHT" val="25.25"/>
  <p:tag name="DEFAULTTOP" val="235.5"/>
  <p:tag name="DEFAULTLEFT" val="262.375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WIDTH" val="10.25"/>
  <p:tag name="DEFAULTHEIGHT" val="8"/>
  <p:tag name="DEFAULTTOP" val="263.375"/>
  <p:tag name="DEFAULTLEFT" val="213.5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WIDTH" val="7.5"/>
  <p:tag name="DEFAULTHEIGHT" val="6"/>
  <p:tag name="DEFAULTTOP" val="269.75"/>
  <p:tag name="DEFAULTLEFT" val="226.625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WIDTH" val="20.75"/>
  <p:tag name="DEFAULTHEIGHT" val="21"/>
  <p:tag name="DEFAULTTOP" val="267.625"/>
  <p:tag name="DEFAULTLEFT" val="236.625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WIDTH" val="5.12496"/>
  <p:tag name="DEFAULTHEIGHT" val="18.37496"/>
  <p:tag name="DEFAULTTOP" val="267.375"/>
  <p:tag name="DEFAULTLEFT" val="233.875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WIDTH" val="7.25"/>
  <p:tag name="DEFAULTHEIGHT" val="13.75"/>
  <p:tag name="DEFAULTTOP" val="243.375"/>
  <p:tag name="DEFAULTLEFT" val="220.375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WIDTH" val="16"/>
  <p:tag name="DEFAULTHEIGHT" val="1.124961"/>
  <p:tag name="DEFAULTTOP" val="253.875"/>
  <p:tag name="DEFAULTLEFT" val="226.5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WIDTH" val="13.62496"/>
  <p:tag name="DEFAULTHEIGHT" val="14.75"/>
  <p:tag name="DEFAULTTOP" val="245.625"/>
  <p:tag name="DEFAULTLEFT" val="239.875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WIDTH" val="11.75"/>
  <p:tag name="DEFAULTHEIGHT" val="10.87504"/>
  <p:tag name="DEFAULTTOP" val="252.75"/>
  <p:tag name="DEFAULTLEFT" val="261.875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WIDTH" val="34.25"/>
  <p:tag name="DEFAULTHEIGHT" val="25.25"/>
  <p:tag name="DEFAULTTOP" val="235.5"/>
  <p:tag name="DEFAULTLEFT" val="262.375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WIDTH" val="7.25"/>
  <p:tag name="DEFAULTHEIGHT" val="13.75"/>
  <p:tag name="DEFAULTTOP" val="243.375"/>
  <p:tag name="DEFAULTLEFT" val="220.375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WIDTH" val="7.25"/>
  <p:tag name="DEFAULTHEIGHT" val="13.75"/>
  <p:tag name="DEFAULTTOP" val="243.375"/>
  <p:tag name="DEFAULTLEFT" val="220.375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WIDTH" val="21.5"/>
  <p:tag name="DEFAULTHEIGHT" val="4.5"/>
  <p:tag name="DEFAULTTOP" val="241.75"/>
  <p:tag name="DEFAULTLEFT" val="221.5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WIDTH" val="21.87496"/>
  <p:tag name="DEFAULTHEIGHT" val="10.62504"/>
  <p:tag name="DEFAULTTOP" val="225"/>
  <p:tag name="DEFAULTLEFT" val="240.625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WIDTH" val="9"/>
  <p:tag name="DEFAULTHEIGHT" val="4"/>
  <p:tag name="DEFAULTTOP" val="223.875"/>
  <p:tag name="DEFAULTLEFT" val="276.125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WIDTH" val="1.125039"/>
  <p:tag name="DEFAULTHEIGHT" val="7.5"/>
  <p:tag name="DEFAULTTOP" val="208"/>
  <p:tag name="DEFAULTLEFT" val="246.5"/>
</p:tagLst>
</file>

<file path=ppt/theme/theme1.xml><?xml version="1.0" encoding="utf-8"?>
<a:theme xmlns:a="http://schemas.openxmlformats.org/drawingml/2006/main" name="Минимализм">
  <a:themeElements>
    <a:clrScheme name="BRANDBOOK">
      <a:dk1>
        <a:srgbClr val="00294F"/>
      </a:dk1>
      <a:lt1>
        <a:srgbClr val="FFFFFF"/>
      </a:lt1>
      <a:dk2>
        <a:srgbClr val="007AC2"/>
      </a:dk2>
      <a:lt2>
        <a:srgbClr val="999B9E"/>
      </a:lt2>
      <a:accent1>
        <a:srgbClr val="DEE2E4"/>
      </a:accent1>
      <a:accent2>
        <a:srgbClr val="016EB3"/>
      </a:accent2>
      <a:accent3>
        <a:srgbClr val="92C5EB"/>
      </a:accent3>
      <a:accent4>
        <a:srgbClr val="333132"/>
      </a:accent4>
      <a:accent5>
        <a:srgbClr val="D1D3D4"/>
      </a:accent5>
      <a:accent6>
        <a:srgbClr val="ED1C24"/>
      </a:accent6>
      <a:hlink>
        <a:srgbClr val="47C2FF"/>
      </a:hlink>
      <a:folHlink>
        <a:srgbClr val="0E6ABE"/>
      </a:folHlink>
    </a:clrScheme>
    <a:fontScheme name="Другая 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1" lang="en-US" sz="1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ahoma" pitchFamily="34" charset="0"/>
            <a:ea typeface="PMingLiU" pitchFamily="18" charset="-12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1" lang="en-US" sz="1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ahoma" pitchFamily="34" charset="0"/>
            <a:ea typeface="PMingLiU" pitchFamily="18" charset="-120"/>
          </a:defRPr>
        </a:defPPr>
      </a:lstStyle>
    </a:lnDef>
  </a:objectDefaults>
  <a:extraClrSchemeLst>
    <a:extraClrScheme>
      <a:clrScheme name="1_EPS_Custom_print 1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0000"/>
        </a:accent1>
        <a:accent2>
          <a:srgbClr val="000000"/>
        </a:accent2>
        <a:accent3>
          <a:srgbClr val="FFFFFF"/>
        </a:accent3>
        <a:accent4>
          <a:srgbClr val="000000"/>
        </a:accent4>
        <a:accent5>
          <a:srgbClr val="AAAAAA"/>
        </a:accent5>
        <a:accent6>
          <a:srgbClr val="000000"/>
        </a:accent6>
        <a:hlink>
          <a:srgbClr val="000000"/>
        </a:hlink>
        <a:folHlink>
          <a:srgbClr val="00FFC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3">
        <a:dk1>
          <a:srgbClr val="808080"/>
        </a:dk1>
        <a:lt1>
          <a:srgbClr val="FFFFFF"/>
        </a:lt1>
        <a:dk2>
          <a:srgbClr val="000000"/>
        </a:dk2>
        <a:lt2>
          <a:srgbClr val="FFFFFF"/>
        </a:lt2>
        <a:accent1>
          <a:srgbClr val="FF0000"/>
        </a:accent1>
        <a:accent2>
          <a:srgbClr val="FFFF00"/>
        </a:accent2>
        <a:accent3>
          <a:srgbClr val="AAAAAA"/>
        </a:accent3>
        <a:accent4>
          <a:srgbClr val="DADADA"/>
        </a:accent4>
        <a:accent5>
          <a:srgbClr val="FFAAAA"/>
        </a:accent5>
        <a:accent6>
          <a:srgbClr val="E7E700"/>
        </a:accent6>
        <a:hlink>
          <a:srgbClr val="FF0000"/>
        </a:hlink>
        <a:folHlink>
          <a:srgbClr val="0080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EPS_Custom_print 4">
        <a:dk1>
          <a:srgbClr val="000000"/>
        </a:dk1>
        <a:lt1>
          <a:srgbClr val="FFFFFF"/>
        </a:lt1>
        <a:dk2>
          <a:srgbClr val="000000"/>
        </a:dk2>
        <a:lt2>
          <a:srgbClr val="4D4D4D"/>
        </a:lt2>
        <a:accent1>
          <a:srgbClr val="287AC8"/>
        </a:accent1>
        <a:accent2>
          <a:srgbClr val="000000"/>
        </a:accent2>
        <a:accent3>
          <a:srgbClr val="FFFFFF"/>
        </a:accent3>
        <a:accent4>
          <a:srgbClr val="000000"/>
        </a:accent4>
        <a:accent5>
          <a:srgbClr val="ACBEE0"/>
        </a:accent5>
        <a:accent6>
          <a:srgbClr val="000000"/>
        </a:accent6>
        <a:hlink>
          <a:srgbClr val="287AC8"/>
        </a:hlink>
        <a:folHlink>
          <a:srgbClr val="CFFFA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5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287AC8"/>
        </a:accent1>
        <a:accent2>
          <a:srgbClr val="000000"/>
        </a:accent2>
        <a:accent3>
          <a:srgbClr val="FFFFFF"/>
        </a:accent3>
        <a:accent4>
          <a:srgbClr val="000000"/>
        </a:accent4>
        <a:accent5>
          <a:srgbClr val="ACBEE0"/>
        </a:accent5>
        <a:accent6>
          <a:srgbClr val="000000"/>
        </a:accent6>
        <a:hlink>
          <a:srgbClr val="287AC8"/>
        </a:hlink>
        <a:folHlink>
          <a:srgbClr val="CFFFA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6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00A1FA"/>
        </a:accent1>
        <a:accent2>
          <a:srgbClr val="008000"/>
        </a:accent2>
        <a:accent3>
          <a:srgbClr val="FFFFFF"/>
        </a:accent3>
        <a:accent4>
          <a:srgbClr val="000000"/>
        </a:accent4>
        <a:accent5>
          <a:srgbClr val="AACDFC"/>
        </a:accent5>
        <a:accent6>
          <a:srgbClr val="007300"/>
        </a:accent6>
        <a:hlink>
          <a:srgbClr val="E4BE00"/>
        </a:hlink>
        <a:folHlink>
          <a:srgbClr val="AF070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7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4B6EC0"/>
        </a:accent1>
        <a:accent2>
          <a:srgbClr val="C6E2FE"/>
        </a:accent2>
        <a:accent3>
          <a:srgbClr val="FFFFFF"/>
        </a:accent3>
        <a:accent4>
          <a:srgbClr val="000000"/>
        </a:accent4>
        <a:accent5>
          <a:srgbClr val="B1BADC"/>
        </a:accent5>
        <a:accent6>
          <a:srgbClr val="B3CDE6"/>
        </a:accent6>
        <a:hlink>
          <a:srgbClr val="FFCC66"/>
        </a:hlink>
        <a:folHlink>
          <a:srgbClr val="93FF9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8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4B6EC0"/>
        </a:accent1>
        <a:accent2>
          <a:srgbClr val="C6E2FE"/>
        </a:accent2>
        <a:accent3>
          <a:srgbClr val="FFFFFF"/>
        </a:accent3>
        <a:accent4>
          <a:srgbClr val="000000"/>
        </a:accent4>
        <a:accent5>
          <a:srgbClr val="B1BADC"/>
        </a:accent5>
        <a:accent6>
          <a:srgbClr val="B3CDE6"/>
        </a:accent6>
        <a:hlink>
          <a:srgbClr val="FFCC66"/>
        </a:hlink>
        <a:folHlink>
          <a:srgbClr val="0B817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9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4B6EC0"/>
        </a:accent1>
        <a:accent2>
          <a:srgbClr val="C6E2FE"/>
        </a:accent2>
        <a:accent3>
          <a:srgbClr val="FFFFFF"/>
        </a:accent3>
        <a:accent4>
          <a:srgbClr val="000000"/>
        </a:accent4>
        <a:accent5>
          <a:srgbClr val="B1BADC"/>
        </a:accent5>
        <a:accent6>
          <a:srgbClr val="B3CDE6"/>
        </a:accent6>
        <a:hlink>
          <a:srgbClr val="FFCC66"/>
        </a:hlink>
        <a:folHlink>
          <a:srgbClr val="BC002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0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4B6EC0"/>
        </a:accent1>
        <a:accent2>
          <a:srgbClr val="C6E2FE"/>
        </a:accent2>
        <a:accent3>
          <a:srgbClr val="FFFFFF"/>
        </a:accent3>
        <a:accent4>
          <a:srgbClr val="000000"/>
        </a:accent4>
        <a:accent5>
          <a:srgbClr val="B1BADC"/>
        </a:accent5>
        <a:accent6>
          <a:srgbClr val="B3CDE6"/>
        </a:accent6>
        <a:hlink>
          <a:srgbClr val="FFCC66"/>
        </a:hlink>
        <a:folHlink>
          <a:srgbClr val="26267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1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4B6EC0"/>
        </a:accent1>
        <a:accent2>
          <a:srgbClr val="C6E2FE"/>
        </a:accent2>
        <a:accent3>
          <a:srgbClr val="FFFFFF"/>
        </a:accent3>
        <a:accent4>
          <a:srgbClr val="000000"/>
        </a:accent4>
        <a:accent5>
          <a:srgbClr val="B1BADC"/>
        </a:accent5>
        <a:accent6>
          <a:srgbClr val="B3CDE6"/>
        </a:accent6>
        <a:hlink>
          <a:srgbClr val="FFCC66"/>
        </a:hlink>
        <a:folHlink>
          <a:srgbClr val="08406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2">
        <a:dk1>
          <a:srgbClr val="000000"/>
        </a:dk1>
        <a:lt1>
          <a:srgbClr val="FFFFFF"/>
        </a:lt1>
        <a:dk2>
          <a:srgbClr val="4B6EC0"/>
        </a:dk2>
        <a:lt2>
          <a:srgbClr val="4D4D4D"/>
        </a:lt2>
        <a:accent1>
          <a:srgbClr val="CDE5FE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3F0FE"/>
        </a:accent5>
        <a:accent6>
          <a:srgbClr val="E7B95C"/>
        </a:accent6>
        <a:hlink>
          <a:srgbClr val="08406E"/>
        </a:hlink>
        <a:folHlink>
          <a:srgbClr val="08406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3">
        <a:dk1>
          <a:srgbClr val="000000"/>
        </a:dk1>
        <a:lt1>
          <a:srgbClr val="FFFFFF"/>
        </a:lt1>
        <a:dk2>
          <a:srgbClr val="4B6EC0"/>
        </a:dk2>
        <a:lt2>
          <a:srgbClr val="4D4D4D"/>
        </a:lt2>
        <a:accent1>
          <a:srgbClr val="CDE5FE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3F0FE"/>
        </a:accent5>
        <a:accent6>
          <a:srgbClr val="E7B95C"/>
        </a:accent6>
        <a:hlink>
          <a:srgbClr val="104058"/>
        </a:hlink>
        <a:folHlink>
          <a:srgbClr val="08406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4">
        <a:dk1>
          <a:srgbClr val="000000"/>
        </a:dk1>
        <a:lt1>
          <a:srgbClr val="FFFFFF"/>
        </a:lt1>
        <a:dk2>
          <a:srgbClr val="4B6EC0"/>
        </a:dk2>
        <a:lt2>
          <a:srgbClr val="4D4D4D"/>
        </a:lt2>
        <a:accent1>
          <a:srgbClr val="CDE5FE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3F0FE"/>
        </a:accent5>
        <a:accent6>
          <a:srgbClr val="E7B95C"/>
        </a:accent6>
        <a:hlink>
          <a:srgbClr val="364068"/>
        </a:hlink>
        <a:folHlink>
          <a:srgbClr val="08406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5">
        <a:dk1>
          <a:srgbClr val="000000"/>
        </a:dk1>
        <a:lt1>
          <a:srgbClr val="FFFFFF"/>
        </a:lt1>
        <a:dk2>
          <a:srgbClr val="4B6EC0"/>
        </a:dk2>
        <a:lt2>
          <a:srgbClr val="4D4D4D"/>
        </a:lt2>
        <a:accent1>
          <a:srgbClr val="CDE5FE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3F0FE"/>
        </a:accent5>
        <a:accent6>
          <a:srgbClr val="E7B95C"/>
        </a:accent6>
        <a:hlink>
          <a:srgbClr val="273D6F"/>
        </a:hlink>
        <a:folHlink>
          <a:srgbClr val="99FF9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6">
        <a:dk1>
          <a:srgbClr val="000000"/>
        </a:dk1>
        <a:lt1>
          <a:srgbClr val="FFFFFF"/>
        </a:lt1>
        <a:dk2>
          <a:srgbClr val="4B6EC0"/>
        </a:dk2>
        <a:lt2>
          <a:srgbClr val="4D4D4D"/>
        </a:lt2>
        <a:accent1>
          <a:srgbClr val="CDE5FE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3F0FE"/>
        </a:accent5>
        <a:accent6>
          <a:srgbClr val="E7B95C"/>
        </a:accent6>
        <a:hlink>
          <a:srgbClr val="273D6F"/>
        </a:hlink>
        <a:folHlink>
          <a:srgbClr val="CCFFCC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0.xml><?xml version="1.0" encoding="utf-8"?>
<a:theme xmlns:a="http://schemas.openxmlformats.org/drawingml/2006/main" name="12_EPS_Custom_print">
  <a:themeElements>
    <a:clrScheme name="BRANDBOOK">
      <a:dk1>
        <a:srgbClr val="00294F"/>
      </a:dk1>
      <a:lt1>
        <a:srgbClr val="FFFFFF"/>
      </a:lt1>
      <a:dk2>
        <a:srgbClr val="007AC2"/>
      </a:dk2>
      <a:lt2>
        <a:srgbClr val="999B9E"/>
      </a:lt2>
      <a:accent1>
        <a:srgbClr val="DEE2E4"/>
      </a:accent1>
      <a:accent2>
        <a:srgbClr val="016EB3"/>
      </a:accent2>
      <a:accent3>
        <a:srgbClr val="92C5EB"/>
      </a:accent3>
      <a:accent4>
        <a:srgbClr val="333132"/>
      </a:accent4>
      <a:accent5>
        <a:srgbClr val="D1D3D4"/>
      </a:accent5>
      <a:accent6>
        <a:srgbClr val="ED1C24"/>
      </a:accent6>
      <a:hlink>
        <a:srgbClr val="47C2FF"/>
      </a:hlink>
      <a:folHlink>
        <a:srgbClr val="0E6ABE"/>
      </a:folHlink>
    </a:clrScheme>
    <a:fontScheme name="Классическая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1" lang="en-US" sz="1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ahoma" pitchFamily="34" charset="0"/>
            <a:ea typeface="PMingLiU" pitchFamily="18" charset="-12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1" lang="en-US" sz="1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ahoma" pitchFamily="34" charset="0"/>
            <a:ea typeface="PMingLiU" pitchFamily="18" charset="-120"/>
          </a:defRPr>
        </a:defPPr>
      </a:lstStyle>
    </a:lnDef>
  </a:objectDefaults>
  <a:extraClrSchemeLst>
    <a:extraClrScheme>
      <a:clrScheme name="1_EPS_Custom_print 1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0000"/>
        </a:accent1>
        <a:accent2>
          <a:srgbClr val="000000"/>
        </a:accent2>
        <a:accent3>
          <a:srgbClr val="FFFFFF"/>
        </a:accent3>
        <a:accent4>
          <a:srgbClr val="000000"/>
        </a:accent4>
        <a:accent5>
          <a:srgbClr val="AAAAAA"/>
        </a:accent5>
        <a:accent6>
          <a:srgbClr val="000000"/>
        </a:accent6>
        <a:hlink>
          <a:srgbClr val="000000"/>
        </a:hlink>
        <a:folHlink>
          <a:srgbClr val="00FFC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3">
        <a:dk1>
          <a:srgbClr val="808080"/>
        </a:dk1>
        <a:lt1>
          <a:srgbClr val="FFFFFF"/>
        </a:lt1>
        <a:dk2>
          <a:srgbClr val="000000"/>
        </a:dk2>
        <a:lt2>
          <a:srgbClr val="FFFFFF"/>
        </a:lt2>
        <a:accent1>
          <a:srgbClr val="FF0000"/>
        </a:accent1>
        <a:accent2>
          <a:srgbClr val="FFFF00"/>
        </a:accent2>
        <a:accent3>
          <a:srgbClr val="AAAAAA"/>
        </a:accent3>
        <a:accent4>
          <a:srgbClr val="DADADA"/>
        </a:accent4>
        <a:accent5>
          <a:srgbClr val="FFAAAA"/>
        </a:accent5>
        <a:accent6>
          <a:srgbClr val="E7E700"/>
        </a:accent6>
        <a:hlink>
          <a:srgbClr val="FF0000"/>
        </a:hlink>
        <a:folHlink>
          <a:srgbClr val="0080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EPS_Custom_print 4">
        <a:dk1>
          <a:srgbClr val="000000"/>
        </a:dk1>
        <a:lt1>
          <a:srgbClr val="FFFFFF"/>
        </a:lt1>
        <a:dk2>
          <a:srgbClr val="000000"/>
        </a:dk2>
        <a:lt2>
          <a:srgbClr val="4D4D4D"/>
        </a:lt2>
        <a:accent1>
          <a:srgbClr val="287AC8"/>
        </a:accent1>
        <a:accent2>
          <a:srgbClr val="000000"/>
        </a:accent2>
        <a:accent3>
          <a:srgbClr val="FFFFFF"/>
        </a:accent3>
        <a:accent4>
          <a:srgbClr val="000000"/>
        </a:accent4>
        <a:accent5>
          <a:srgbClr val="ACBEE0"/>
        </a:accent5>
        <a:accent6>
          <a:srgbClr val="000000"/>
        </a:accent6>
        <a:hlink>
          <a:srgbClr val="287AC8"/>
        </a:hlink>
        <a:folHlink>
          <a:srgbClr val="CFFFA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5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287AC8"/>
        </a:accent1>
        <a:accent2>
          <a:srgbClr val="000000"/>
        </a:accent2>
        <a:accent3>
          <a:srgbClr val="FFFFFF"/>
        </a:accent3>
        <a:accent4>
          <a:srgbClr val="000000"/>
        </a:accent4>
        <a:accent5>
          <a:srgbClr val="ACBEE0"/>
        </a:accent5>
        <a:accent6>
          <a:srgbClr val="000000"/>
        </a:accent6>
        <a:hlink>
          <a:srgbClr val="287AC8"/>
        </a:hlink>
        <a:folHlink>
          <a:srgbClr val="CFFFA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6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00A1FA"/>
        </a:accent1>
        <a:accent2>
          <a:srgbClr val="008000"/>
        </a:accent2>
        <a:accent3>
          <a:srgbClr val="FFFFFF"/>
        </a:accent3>
        <a:accent4>
          <a:srgbClr val="000000"/>
        </a:accent4>
        <a:accent5>
          <a:srgbClr val="AACDFC"/>
        </a:accent5>
        <a:accent6>
          <a:srgbClr val="007300"/>
        </a:accent6>
        <a:hlink>
          <a:srgbClr val="E4BE00"/>
        </a:hlink>
        <a:folHlink>
          <a:srgbClr val="AF070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7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4B6EC0"/>
        </a:accent1>
        <a:accent2>
          <a:srgbClr val="C6E2FE"/>
        </a:accent2>
        <a:accent3>
          <a:srgbClr val="FFFFFF"/>
        </a:accent3>
        <a:accent4>
          <a:srgbClr val="000000"/>
        </a:accent4>
        <a:accent5>
          <a:srgbClr val="B1BADC"/>
        </a:accent5>
        <a:accent6>
          <a:srgbClr val="B3CDE6"/>
        </a:accent6>
        <a:hlink>
          <a:srgbClr val="FFCC66"/>
        </a:hlink>
        <a:folHlink>
          <a:srgbClr val="93FF9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8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4B6EC0"/>
        </a:accent1>
        <a:accent2>
          <a:srgbClr val="C6E2FE"/>
        </a:accent2>
        <a:accent3>
          <a:srgbClr val="FFFFFF"/>
        </a:accent3>
        <a:accent4>
          <a:srgbClr val="000000"/>
        </a:accent4>
        <a:accent5>
          <a:srgbClr val="B1BADC"/>
        </a:accent5>
        <a:accent6>
          <a:srgbClr val="B3CDE6"/>
        </a:accent6>
        <a:hlink>
          <a:srgbClr val="FFCC66"/>
        </a:hlink>
        <a:folHlink>
          <a:srgbClr val="0B817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9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4B6EC0"/>
        </a:accent1>
        <a:accent2>
          <a:srgbClr val="C6E2FE"/>
        </a:accent2>
        <a:accent3>
          <a:srgbClr val="FFFFFF"/>
        </a:accent3>
        <a:accent4>
          <a:srgbClr val="000000"/>
        </a:accent4>
        <a:accent5>
          <a:srgbClr val="B1BADC"/>
        </a:accent5>
        <a:accent6>
          <a:srgbClr val="B3CDE6"/>
        </a:accent6>
        <a:hlink>
          <a:srgbClr val="FFCC66"/>
        </a:hlink>
        <a:folHlink>
          <a:srgbClr val="BC002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0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4B6EC0"/>
        </a:accent1>
        <a:accent2>
          <a:srgbClr val="C6E2FE"/>
        </a:accent2>
        <a:accent3>
          <a:srgbClr val="FFFFFF"/>
        </a:accent3>
        <a:accent4>
          <a:srgbClr val="000000"/>
        </a:accent4>
        <a:accent5>
          <a:srgbClr val="B1BADC"/>
        </a:accent5>
        <a:accent6>
          <a:srgbClr val="B3CDE6"/>
        </a:accent6>
        <a:hlink>
          <a:srgbClr val="FFCC66"/>
        </a:hlink>
        <a:folHlink>
          <a:srgbClr val="26267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1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4B6EC0"/>
        </a:accent1>
        <a:accent2>
          <a:srgbClr val="C6E2FE"/>
        </a:accent2>
        <a:accent3>
          <a:srgbClr val="FFFFFF"/>
        </a:accent3>
        <a:accent4>
          <a:srgbClr val="000000"/>
        </a:accent4>
        <a:accent5>
          <a:srgbClr val="B1BADC"/>
        </a:accent5>
        <a:accent6>
          <a:srgbClr val="B3CDE6"/>
        </a:accent6>
        <a:hlink>
          <a:srgbClr val="FFCC66"/>
        </a:hlink>
        <a:folHlink>
          <a:srgbClr val="08406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2">
        <a:dk1>
          <a:srgbClr val="000000"/>
        </a:dk1>
        <a:lt1>
          <a:srgbClr val="FFFFFF"/>
        </a:lt1>
        <a:dk2>
          <a:srgbClr val="4B6EC0"/>
        </a:dk2>
        <a:lt2>
          <a:srgbClr val="4D4D4D"/>
        </a:lt2>
        <a:accent1>
          <a:srgbClr val="CDE5FE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3F0FE"/>
        </a:accent5>
        <a:accent6>
          <a:srgbClr val="E7B95C"/>
        </a:accent6>
        <a:hlink>
          <a:srgbClr val="08406E"/>
        </a:hlink>
        <a:folHlink>
          <a:srgbClr val="08406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3">
        <a:dk1>
          <a:srgbClr val="000000"/>
        </a:dk1>
        <a:lt1>
          <a:srgbClr val="FFFFFF"/>
        </a:lt1>
        <a:dk2>
          <a:srgbClr val="4B6EC0"/>
        </a:dk2>
        <a:lt2>
          <a:srgbClr val="4D4D4D"/>
        </a:lt2>
        <a:accent1>
          <a:srgbClr val="CDE5FE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3F0FE"/>
        </a:accent5>
        <a:accent6>
          <a:srgbClr val="E7B95C"/>
        </a:accent6>
        <a:hlink>
          <a:srgbClr val="104058"/>
        </a:hlink>
        <a:folHlink>
          <a:srgbClr val="08406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4">
        <a:dk1>
          <a:srgbClr val="000000"/>
        </a:dk1>
        <a:lt1>
          <a:srgbClr val="FFFFFF"/>
        </a:lt1>
        <a:dk2>
          <a:srgbClr val="4B6EC0"/>
        </a:dk2>
        <a:lt2>
          <a:srgbClr val="4D4D4D"/>
        </a:lt2>
        <a:accent1>
          <a:srgbClr val="CDE5FE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3F0FE"/>
        </a:accent5>
        <a:accent6>
          <a:srgbClr val="E7B95C"/>
        </a:accent6>
        <a:hlink>
          <a:srgbClr val="364068"/>
        </a:hlink>
        <a:folHlink>
          <a:srgbClr val="08406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5">
        <a:dk1>
          <a:srgbClr val="000000"/>
        </a:dk1>
        <a:lt1>
          <a:srgbClr val="FFFFFF"/>
        </a:lt1>
        <a:dk2>
          <a:srgbClr val="4B6EC0"/>
        </a:dk2>
        <a:lt2>
          <a:srgbClr val="4D4D4D"/>
        </a:lt2>
        <a:accent1>
          <a:srgbClr val="CDE5FE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3F0FE"/>
        </a:accent5>
        <a:accent6>
          <a:srgbClr val="E7B95C"/>
        </a:accent6>
        <a:hlink>
          <a:srgbClr val="273D6F"/>
        </a:hlink>
        <a:folHlink>
          <a:srgbClr val="99FF9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6">
        <a:dk1>
          <a:srgbClr val="000000"/>
        </a:dk1>
        <a:lt1>
          <a:srgbClr val="FFFFFF"/>
        </a:lt1>
        <a:dk2>
          <a:srgbClr val="4B6EC0"/>
        </a:dk2>
        <a:lt2>
          <a:srgbClr val="4D4D4D"/>
        </a:lt2>
        <a:accent1>
          <a:srgbClr val="CDE5FE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3F0FE"/>
        </a:accent5>
        <a:accent6>
          <a:srgbClr val="E7B95C"/>
        </a:accent6>
        <a:hlink>
          <a:srgbClr val="273D6F"/>
        </a:hlink>
        <a:folHlink>
          <a:srgbClr val="CCFFCC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1.xml><?xml version="1.0" encoding="utf-8"?>
<a:theme xmlns:a="http://schemas.openxmlformats.org/drawingml/2006/main" name="13_EPS_Custom_print">
  <a:themeElements>
    <a:clrScheme name="BRANDBOOK">
      <a:dk1>
        <a:srgbClr val="00294F"/>
      </a:dk1>
      <a:lt1>
        <a:srgbClr val="FFFFFF"/>
      </a:lt1>
      <a:dk2>
        <a:srgbClr val="007AC2"/>
      </a:dk2>
      <a:lt2>
        <a:srgbClr val="999B9E"/>
      </a:lt2>
      <a:accent1>
        <a:srgbClr val="DEE2E4"/>
      </a:accent1>
      <a:accent2>
        <a:srgbClr val="016EB3"/>
      </a:accent2>
      <a:accent3>
        <a:srgbClr val="92C5EB"/>
      </a:accent3>
      <a:accent4>
        <a:srgbClr val="333132"/>
      </a:accent4>
      <a:accent5>
        <a:srgbClr val="D1D3D4"/>
      </a:accent5>
      <a:accent6>
        <a:srgbClr val="ED1C24"/>
      </a:accent6>
      <a:hlink>
        <a:srgbClr val="47C2FF"/>
      </a:hlink>
      <a:folHlink>
        <a:srgbClr val="0E6ABE"/>
      </a:folHlink>
    </a:clrScheme>
    <a:fontScheme name="Классическая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1" lang="en-US" sz="1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ahoma" pitchFamily="34" charset="0"/>
            <a:ea typeface="PMingLiU" pitchFamily="18" charset="-12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1" lang="en-US" sz="1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ahoma" pitchFamily="34" charset="0"/>
            <a:ea typeface="PMingLiU" pitchFamily="18" charset="-120"/>
          </a:defRPr>
        </a:defPPr>
      </a:lstStyle>
    </a:lnDef>
  </a:objectDefaults>
  <a:extraClrSchemeLst>
    <a:extraClrScheme>
      <a:clrScheme name="1_EPS_Custom_print 1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0000"/>
        </a:accent1>
        <a:accent2>
          <a:srgbClr val="000000"/>
        </a:accent2>
        <a:accent3>
          <a:srgbClr val="FFFFFF"/>
        </a:accent3>
        <a:accent4>
          <a:srgbClr val="000000"/>
        </a:accent4>
        <a:accent5>
          <a:srgbClr val="AAAAAA"/>
        </a:accent5>
        <a:accent6>
          <a:srgbClr val="000000"/>
        </a:accent6>
        <a:hlink>
          <a:srgbClr val="000000"/>
        </a:hlink>
        <a:folHlink>
          <a:srgbClr val="00FFC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3">
        <a:dk1>
          <a:srgbClr val="808080"/>
        </a:dk1>
        <a:lt1>
          <a:srgbClr val="FFFFFF"/>
        </a:lt1>
        <a:dk2>
          <a:srgbClr val="000000"/>
        </a:dk2>
        <a:lt2>
          <a:srgbClr val="FFFFFF"/>
        </a:lt2>
        <a:accent1>
          <a:srgbClr val="FF0000"/>
        </a:accent1>
        <a:accent2>
          <a:srgbClr val="FFFF00"/>
        </a:accent2>
        <a:accent3>
          <a:srgbClr val="AAAAAA"/>
        </a:accent3>
        <a:accent4>
          <a:srgbClr val="DADADA"/>
        </a:accent4>
        <a:accent5>
          <a:srgbClr val="FFAAAA"/>
        </a:accent5>
        <a:accent6>
          <a:srgbClr val="E7E700"/>
        </a:accent6>
        <a:hlink>
          <a:srgbClr val="FF0000"/>
        </a:hlink>
        <a:folHlink>
          <a:srgbClr val="0080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EPS_Custom_print 4">
        <a:dk1>
          <a:srgbClr val="000000"/>
        </a:dk1>
        <a:lt1>
          <a:srgbClr val="FFFFFF"/>
        </a:lt1>
        <a:dk2>
          <a:srgbClr val="000000"/>
        </a:dk2>
        <a:lt2>
          <a:srgbClr val="4D4D4D"/>
        </a:lt2>
        <a:accent1>
          <a:srgbClr val="287AC8"/>
        </a:accent1>
        <a:accent2>
          <a:srgbClr val="000000"/>
        </a:accent2>
        <a:accent3>
          <a:srgbClr val="FFFFFF"/>
        </a:accent3>
        <a:accent4>
          <a:srgbClr val="000000"/>
        </a:accent4>
        <a:accent5>
          <a:srgbClr val="ACBEE0"/>
        </a:accent5>
        <a:accent6>
          <a:srgbClr val="000000"/>
        </a:accent6>
        <a:hlink>
          <a:srgbClr val="287AC8"/>
        </a:hlink>
        <a:folHlink>
          <a:srgbClr val="CFFFA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5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287AC8"/>
        </a:accent1>
        <a:accent2>
          <a:srgbClr val="000000"/>
        </a:accent2>
        <a:accent3>
          <a:srgbClr val="FFFFFF"/>
        </a:accent3>
        <a:accent4>
          <a:srgbClr val="000000"/>
        </a:accent4>
        <a:accent5>
          <a:srgbClr val="ACBEE0"/>
        </a:accent5>
        <a:accent6>
          <a:srgbClr val="000000"/>
        </a:accent6>
        <a:hlink>
          <a:srgbClr val="287AC8"/>
        </a:hlink>
        <a:folHlink>
          <a:srgbClr val="CFFFA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6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00A1FA"/>
        </a:accent1>
        <a:accent2>
          <a:srgbClr val="008000"/>
        </a:accent2>
        <a:accent3>
          <a:srgbClr val="FFFFFF"/>
        </a:accent3>
        <a:accent4>
          <a:srgbClr val="000000"/>
        </a:accent4>
        <a:accent5>
          <a:srgbClr val="AACDFC"/>
        </a:accent5>
        <a:accent6>
          <a:srgbClr val="007300"/>
        </a:accent6>
        <a:hlink>
          <a:srgbClr val="E4BE00"/>
        </a:hlink>
        <a:folHlink>
          <a:srgbClr val="AF070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7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4B6EC0"/>
        </a:accent1>
        <a:accent2>
          <a:srgbClr val="C6E2FE"/>
        </a:accent2>
        <a:accent3>
          <a:srgbClr val="FFFFFF"/>
        </a:accent3>
        <a:accent4>
          <a:srgbClr val="000000"/>
        </a:accent4>
        <a:accent5>
          <a:srgbClr val="B1BADC"/>
        </a:accent5>
        <a:accent6>
          <a:srgbClr val="B3CDE6"/>
        </a:accent6>
        <a:hlink>
          <a:srgbClr val="FFCC66"/>
        </a:hlink>
        <a:folHlink>
          <a:srgbClr val="93FF9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8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4B6EC0"/>
        </a:accent1>
        <a:accent2>
          <a:srgbClr val="C6E2FE"/>
        </a:accent2>
        <a:accent3>
          <a:srgbClr val="FFFFFF"/>
        </a:accent3>
        <a:accent4>
          <a:srgbClr val="000000"/>
        </a:accent4>
        <a:accent5>
          <a:srgbClr val="B1BADC"/>
        </a:accent5>
        <a:accent6>
          <a:srgbClr val="B3CDE6"/>
        </a:accent6>
        <a:hlink>
          <a:srgbClr val="FFCC66"/>
        </a:hlink>
        <a:folHlink>
          <a:srgbClr val="0B817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9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4B6EC0"/>
        </a:accent1>
        <a:accent2>
          <a:srgbClr val="C6E2FE"/>
        </a:accent2>
        <a:accent3>
          <a:srgbClr val="FFFFFF"/>
        </a:accent3>
        <a:accent4>
          <a:srgbClr val="000000"/>
        </a:accent4>
        <a:accent5>
          <a:srgbClr val="B1BADC"/>
        </a:accent5>
        <a:accent6>
          <a:srgbClr val="B3CDE6"/>
        </a:accent6>
        <a:hlink>
          <a:srgbClr val="FFCC66"/>
        </a:hlink>
        <a:folHlink>
          <a:srgbClr val="BC002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0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4B6EC0"/>
        </a:accent1>
        <a:accent2>
          <a:srgbClr val="C6E2FE"/>
        </a:accent2>
        <a:accent3>
          <a:srgbClr val="FFFFFF"/>
        </a:accent3>
        <a:accent4>
          <a:srgbClr val="000000"/>
        </a:accent4>
        <a:accent5>
          <a:srgbClr val="B1BADC"/>
        </a:accent5>
        <a:accent6>
          <a:srgbClr val="B3CDE6"/>
        </a:accent6>
        <a:hlink>
          <a:srgbClr val="FFCC66"/>
        </a:hlink>
        <a:folHlink>
          <a:srgbClr val="26267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1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4B6EC0"/>
        </a:accent1>
        <a:accent2>
          <a:srgbClr val="C6E2FE"/>
        </a:accent2>
        <a:accent3>
          <a:srgbClr val="FFFFFF"/>
        </a:accent3>
        <a:accent4>
          <a:srgbClr val="000000"/>
        </a:accent4>
        <a:accent5>
          <a:srgbClr val="B1BADC"/>
        </a:accent5>
        <a:accent6>
          <a:srgbClr val="B3CDE6"/>
        </a:accent6>
        <a:hlink>
          <a:srgbClr val="FFCC66"/>
        </a:hlink>
        <a:folHlink>
          <a:srgbClr val="08406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2">
        <a:dk1>
          <a:srgbClr val="000000"/>
        </a:dk1>
        <a:lt1>
          <a:srgbClr val="FFFFFF"/>
        </a:lt1>
        <a:dk2>
          <a:srgbClr val="4B6EC0"/>
        </a:dk2>
        <a:lt2>
          <a:srgbClr val="4D4D4D"/>
        </a:lt2>
        <a:accent1>
          <a:srgbClr val="CDE5FE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3F0FE"/>
        </a:accent5>
        <a:accent6>
          <a:srgbClr val="E7B95C"/>
        </a:accent6>
        <a:hlink>
          <a:srgbClr val="08406E"/>
        </a:hlink>
        <a:folHlink>
          <a:srgbClr val="08406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3">
        <a:dk1>
          <a:srgbClr val="000000"/>
        </a:dk1>
        <a:lt1>
          <a:srgbClr val="FFFFFF"/>
        </a:lt1>
        <a:dk2>
          <a:srgbClr val="4B6EC0"/>
        </a:dk2>
        <a:lt2>
          <a:srgbClr val="4D4D4D"/>
        </a:lt2>
        <a:accent1>
          <a:srgbClr val="CDE5FE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3F0FE"/>
        </a:accent5>
        <a:accent6>
          <a:srgbClr val="E7B95C"/>
        </a:accent6>
        <a:hlink>
          <a:srgbClr val="104058"/>
        </a:hlink>
        <a:folHlink>
          <a:srgbClr val="08406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4">
        <a:dk1>
          <a:srgbClr val="000000"/>
        </a:dk1>
        <a:lt1>
          <a:srgbClr val="FFFFFF"/>
        </a:lt1>
        <a:dk2>
          <a:srgbClr val="4B6EC0"/>
        </a:dk2>
        <a:lt2>
          <a:srgbClr val="4D4D4D"/>
        </a:lt2>
        <a:accent1>
          <a:srgbClr val="CDE5FE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3F0FE"/>
        </a:accent5>
        <a:accent6>
          <a:srgbClr val="E7B95C"/>
        </a:accent6>
        <a:hlink>
          <a:srgbClr val="364068"/>
        </a:hlink>
        <a:folHlink>
          <a:srgbClr val="08406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5">
        <a:dk1>
          <a:srgbClr val="000000"/>
        </a:dk1>
        <a:lt1>
          <a:srgbClr val="FFFFFF"/>
        </a:lt1>
        <a:dk2>
          <a:srgbClr val="4B6EC0"/>
        </a:dk2>
        <a:lt2>
          <a:srgbClr val="4D4D4D"/>
        </a:lt2>
        <a:accent1>
          <a:srgbClr val="CDE5FE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3F0FE"/>
        </a:accent5>
        <a:accent6>
          <a:srgbClr val="E7B95C"/>
        </a:accent6>
        <a:hlink>
          <a:srgbClr val="273D6F"/>
        </a:hlink>
        <a:folHlink>
          <a:srgbClr val="99FF9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6">
        <a:dk1>
          <a:srgbClr val="000000"/>
        </a:dk1>
        <a:lt1>
          <a:srgbClr val="FFFFFF"/>
        </a:lt1>
        <a:dk2>
          <a:srgbClr val="4B6EC0"/>
        </a:dk2>
        <a:lt2>
          <a:srgbClr val="4D4D4D"/>
        </a:lt2>
        <a:accent1>
          <a:srgbClr val="CDE5FE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3F0FE"/>
        </a:accent5>
        <a:accent6>
          <a:srgbClr val="E7B95C"/>
        </a:accent6>
        <a:hlink>
          <a:srgbClr val="273D6F"/>
        </a:hlink>
        <a:folHlink>
          <a:srgbClr val="CCFFCC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2.xml><?xml version="1.0" encoding="utf-8"?>
<a:theme xmlns:a="http://schemas.openxmlformats.org/drawingml/2006/main" name="14_EPS_Custom_print">
  <a:themeElements>
    <a:clrScheme name="BRANDBOOK">
      <a:dk1>
        <a:srgbClr val="00294F"/>
      </a:dk1>
      <a:lt1>
        <a:srgbClr val="FFFFFF"/>
      </a:lt1>
      <a:dk2>
        <a:srgbClr val="007AC2"/>
      </a:dk2>
      <a:lt2>
        <a:srgbClr val="999B9E"/>
      </a:lt2>
      <a:accent1>
        <a:srgbClr val="DEE2E4"/>
      </a:accent1>
      <a:accent2>
        <a:srgbClr val="016EB3"/>
      </a:accent2>
      <a:accent3>
        <a:srgbClr val="92C5EB"/>
      </a:accent3>
      <a:accent4>
        <a:srgbClr val="333132"/>
      </a:accent4>
      <a:accent5>
        <a:srgbClr val="D1D3D4"/>
      </a:accent5>
      <a:accent6>
        <a:srgbClr val="ED1C24"/>
      </a:accent6>
      <a:hlink>
        <a:srgbClr val="47C2FF"/>
      </a:hlink>
      <a:folHlink>
        <a:srgbClr val="0E6ABE"/>
      </a:folHlink>
    </a:clrScheme>
    <a:fontScheme name="Классическая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1" lang="en-US" sz="1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ahoma" pitchFamily="34" charset="0"/>
            <a:ea typeface="PMingLiU" pitchFamily="18" charset="-12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1" lang="en-US" sz="1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ahoma" pitchFamily="34" charset="0"/>
            <a:ea typeface="PMingLiU" pitchFamily="18" charset="-120"/>
          </a:defRPr>
        </a:defPPr>
      </a:lstStyle>
    </a:lnDef>
  </a:objectDefaults>
  <a:extraClrSchemeLst>
    <a:extraClrScheme>
      <a:clrScheme name="1_EPS_Custom_print 1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0000"/>
        </a:accent1>
        <a:accent2>
          <a:srgbClr val="000000"/>
        </a:accent2>
        <a:accent3>
          <a:srgbClr val="FFFFFF"/>
        </a:accent3>
        <a:accent4>
          <a:srgbClr val="000000"/>
        </a:accent4>
        <a:accent5>
          <a:srgbClr val="AAAAAA"/>
        </a:accent5>
        <a:accent6>
          <a:srgbClr val="000000"/>
        </a:accent6>
        <a:hlink>
          <a:srgbClr val="000000"/>
        </a:hlink>
        <a:folHlink>
          <a:srgbClr val="00FFC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3">
        <a:dk1>
          <a:srgbClr val="808080"/>
        </a:dk1>
        <a:lt1>
          <a:srgbClr val="FFFFFF"/>
        </a:lt1>
        <a:dk2>
          <a:srgbClr val="000000"/>
        </a:dk2>
        <a:lt2>
          <a:srgbClr val="FFFFFF"/>
        </a:lt2>
        <a:accent1>
          <a:srgbClr val="FF0000"/>
        </a:accent1>
        <a:accent2>
          <a:srgbClr val="FFFF00"/>
        </a:accent2>
        <a:accent3>
          <a:srgbClr val="AAAAAA"/>
        </a:accent3>
        <a:accent4>
          <a:srgbClr val="DADADA"/>
        </a:accent4>
        <a:accent5>
          <a:srgbClr val="FFAAAA"/>
        </a:accent5>
        <a:accent6>
          <a:srgbClr val="E7E700"/>
        </a:accent6>
        <a:hlink>
          <a:srgbClr val="FF0000"/>
        </a:hlink>
        <a:folHlink>
          <a:srgbClr val="0080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EPS_Custom_print 4">
        <a:dk1>
          <a:srgbClr val="000000"/>
        </a:dk1>
        <a:lt1>
          <a:srgbClr val="FFFFFF"/>
        </a:lt1>
        <a:dk2>
          <a:srgbClr val="000000"/>
        </a:dk2>
        <a:lt2>
          <a:srgbClr val="4D4D4D"/>
        </a:lt2>
        <a:accent1>
          <a:srgbClr val="287AC8"/>
        </a:accent1>
        <a:accent2>
          <a:srgbClr val="000000"/>
        </a:accent2>
        <a:accent3>
          <a:srgbClr val="FFFFFF"/>
        </a:accent3>
        <a:accent4>
          <a:srgbClr val="000000"/>
        </a:accent4>
        <a:accent5>
          <a:srgbClr val="ACBEE0"/>
        </a:accent5>
        <a:accent6>
          <a:srgbClr val="000000"/>
        </a:accent6>
        <a:hlink>
          <a:srgbClr val="287AC8"/>
        </a:hlink>
        <a:folHlink>
          <a:srgbClr val="CFFFA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5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287AC8"/>
        </a:accent1>
        <a:accent2>
          <a:srgbClr val="000000"/>
        </a:accent2>
        <a:accent3>
          <a:srgbClr val="FFFFFF"/>
        </a:accent3>
        <a:accent4>
          <a:srgbClr val="000000"/>
        </a:accent4>
        <a:accent5>
          <a:srgbClr val="ACBEE0"/>
        </a:accent5>
        <a:accent6>
          <a:srgbClr val="000000"/>
        </a:accent6>
        <a:hlink>
          <a:srgbClr val="287AC8"/>
        </a:hlink>
        <a:folHlink>
          <a:srgbClr val="CFFFA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6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00A1FA"/>
        </a:accent1>
        <a:accent2>
          <a:srgbClr val="008000"/>
        </a:accent2>
        <a:accent3>
          <a:srgbClr val="FFFFFF"/>
        </a:accent3>
        <a:accent4>
          <a:srgbClr val="000000"/>
        </a:accent4>
        <a:accent5>
          <a:srgbClr val="AACDFC"/>
        </a:accent5>
        <a:accent6>
          <a:srgbClr val="007300"/>
        </a:accent6>
        <a:hlink>
          <a:srgbClr val="E4BE00"/>
        </a:hlink>
        <a:folHlink>
          <a:srgbClr val="AF070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7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4B6EC0"/>
        </a:accent1>
        <a:accent2>
          <a:srgbClr val="C6E2FE"/>
        </a:accent2>
        <a:accent3>
          <a:srgbClr val="FFFFFF"/>
        </a:accent3>
        <a:accent4>
          <a:srgbClr val="000000"/>
        </a:accent4>
        <a:accent5>
          <a:srgbClr val="B1BADC"/>
        </a:accent5>
        <a:accent6>
          <a:srgbClr val="B3CDE6"/>
        </a:accent6>
        <a:hlink>
          <a:srgbClr val="FFCC66"/>
        </a:hlink>
        <a:folHlink>
          <a:srgbClr val="93FF9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8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4B6EC0"/>
        </a:accent1>
        <a:accent2>
          <a:srgbClr val="C6E2FE"/>
        </a:accent2>
        <a:accent3>
          <a:srgbClr val="FFFFFF"/>
        </a:accent3>
        <a:accent4>
          <a:srgbClr val="000000"/>
        </a:accent4>
        <a:accent5>
          <a:srgbClr val="B1BADC"/>
        </a:accent5>
        <a:accent6>
          <a:srgbClr val="B3CDE6"/>
        </a:accent6>
        <a:hlink>
          <a:srgbClr val="FFCC66"/>
        </a:hlink>
        <a:folHlink>
          <a:srgbClr val="0B817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9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4B6EC0"/>
        </a:accent1>
        <a:accent2>
          <a:srgbClr val="C6E2FE"/>
        </a:accent2>
        <a:accent3>
          <a:srgbClr val="FFFFFF"/>
        </a:accent3>
        <a:accent4>
          <a:srgbClr val="000000"/>
        </a:accent4>
        <a:accent5>
          <a:srgbClr val="B1BADC"/>
        </a:accent5>
        <a:accent6>
          <a:srgbClr val="B3CDE6"/>
        </a:accent6>
        <a:hlink>
          <a:srgbClr val="FFCC66"/>
        </a:hlink>
        <a:folHlink>
          <a:srgbClr val="BC002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0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4B6EC0"/>
        </a:accent1>
        <a:accent2>
          <a:srgbClr val="C6E2FE"/>
        </a:accent2>
        <a:accent3>
          <a:srgbClr val="FFFFFF"/>
        </a:accent3>
        <a:accent4>
          <a:srgbClr val="000000"/>
        </a:accent4>
        <a:accent5>
          <a:srgbClr val="B1BADC"/>
        </a:accent5>
        <a:accent6>
          <a:srgbClr val="B3CDE6"/>
        </a:accent6>
        <a:hlink>
          <a:srgbClr val="FFCC66"/>
        </a:hlink>
        <a:folHlink>
          <a:srgbClr val="26267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1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4B6EC0"/>
        </a:accent1>
        <a:accent2>
          <a:srgbClr val="C6E2FE"/>
        </a:accent2>
        <a:accent3>
          <a:srgbClr val="FFFFFF"/>
        </a:accent3>
        <a:accent4>
          <a:srgbClr val="000000"/>
        </a:accent4>
        <a:accent5>
          <a:srgbClr val="B1BADC"/>
        </a:accent5>
        <a:accent6>
          <a:srgbClr val="B3CDE6"/>
        </a:accent6>
        <a:hlink>
          <a:srgbClr val="FFCC66"/>
        </a:hlink>
        <a:folHlink>
          <a:srgbClr val="08406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2">
        <a:dk1>
          <a:srgbClr val="000000"/>
        </a:dk1>
        <a:lt1>
          <a:srgbClr val="FFFFFF"/>
        </a:lt1>
        <a:dk2>
          <a:srgbClr val="4B6EC0"/>
        </a:dk2>
        <a:lt2>
          <a:srgbClr val="4D4D4D"/>
        </a:lt2>
        <a:accent1>
          <a:srgbClr val="CDE5FE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3F0FE"/>
        </a:accent5>
        <a:accent6>
          <a:srgbClr val="E7B95C"/>
        </a:accent6>
        <a:hlink>
          <a:srgbClr val="08406E"/>
        </a:hlink>
        <a:folHlink>
          <a:srgbClr val="08406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3">
        <a:dk1>
          <a:srgbClr val="000000"/>
        </a:dk1>
        <a:lt1>
          <a:srgbClr val="FFFFFF"/>
        </a:lt1>
        <a:dk2>
          <a:srgbClr val="4B6EC0"/>
        </a:dk2>
        <a:lt2>
          <a:srgbClr val="4D4D4D"/>
        </a:lt2>
        <a:accent1>
          <a:srgbClr val="CDE5FE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3F0FE"/>
        </a:accent5>
        <a:accent6>
          <a:srgbClr val="E7B95C"/>
        </a:accent6>
        <a:hlink>
          <a:srgbClr val="104058"/>
        </a:hlink>
        <a:folHlink>
          <a:srgbClr val="08406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4">
        <a:dk1>
          <a:srgbClr val="000000"/>
        </a:dk1>
        <a:lt1>
          <a:srgbClr val="FFFFFF"/>
        </a:lt1>
        <a:dk2>
          <a:srgbClr val="4B6EC0"/>
        </a:dk2>
        <a:lt2>
          <a:srgbClr val="4D4D4D"/>
        </a:lt2>
        <a:accent1>
          <a:srgbClr val="CDE5FE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3F0FE"/>
        </a:accent5>
        <a:accent6>
          <a:srgbClr val="E7B95C"/>
        </a:accent6>
        <a:hlink>
          <a:srgbClr val="364068"/>
        </a:hlink>
        <a:folHlink>
          <a:srgbClr val="08406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5">
        <a:dk1>
          <a:srgbClr val="000000"/>
        </a:dk1>
        <a:lt1>
          <a:srgbClr val="FFFFFF"/>
        </a:lt1>
        <a:dk2>
          <a:srgbClr val="4B6EC0"/>
        </a:dk2>
        <a:lt2>
          <a:srgbClr val="4D4D4D"/>
        </a:lt2>
        <a:accent1>
          <a:srgbClr val="CDE5FE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3F0FE"/>
        </a:accent5>
        <a:accent6>
          <a:srgbClr val="E7B95C"/>
        </a:accent6>
        <a:hlink>
          <a:srgbClr val="273D6F"/>
        </a:hlink>
        <a:folHlink>
          <a:srgbClr val="99FF9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6">
        <a:dk1>
          <a:srgbClr val="000000"/>
        </a:dk1>
        <a:lt1>
          <a:srgbClr val="FFFFFF"/>
        </a:lt1>
        <a:dk2>
          <a:srgbClr val="4B6EC0"/>
        </a:dk2>
        <a:lt2>
          <a:srgbClr val="4D4D4D"/>
        </a:lt2>
        <a:accent1>
          <a:srgbClr val="CDE5FE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3F0FE"/>
        </a:accent5>
        <a:accent6>
          <a:srgbClr val="E7B95C"/>
        </a:accent6>
        <a:hlink>
          <a:srgbClr val="273D6F"/>
        </a:hlink>
        <a:folHlink>
          <a:srgbClr val="CCFFCC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3.xml><?xml version="1.0" encoding="utf-8"?>
<a:theme xmlns:a="http://schemas.openxmlformats.org/drawingml/2006/main" name="15_EPS_Custom_print">
  <a:themeElements>
    <a:clrScheme name="BRANDBOOK">
      <a:dk1>
        <a:srgbClr val="00294F"/>
      </a:dk1>
      <a:lt1>
        <a:srgbClr val="FFFFFF"/>
      </a:lt1>
      <a:dk2>
        <a:srgbClr val="007AC2"/>
      </a:dk2>
      <a:lt2>
        <a:srgbClr val="999B9E"/>
      </a:lt2>
      <a:accent1>
        <a:srgbClr val="DEE2E4"/>
      </a:accent1>
      <a:accent2>
        <a:srgbClr val="016EB3"/>
      </a:accent2>
      <a:accent3>
        <a:srgbClr val="92C5EB"/>
      </a:accent3>
      <a:accent4>
        <a:srgbClr val="333132"/>
      </a:accent4>
      <a:accent5>
        <a:srgbClr val="D1D3D4"/>
      </a:accent5>
      <a:accent6>
        <a:srgbClr val="ED1C24"/>
      </a:accent6>
      <a:hlink>
        <a:srgbClr val="47C2FF"/>
      </a:hlink>
      <a:folHlink>
        <a:srgbClr val="0E6ABE"/>
      </a:folHlink>
    </a:clrScheme>
    <a:fontScheme name="Классическая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1" lang="en-US" sz="1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ahoma" pitchFamily="34" charset="0"/>
            <a:ea typeface="PMingLiU" pitchFamily="18" charset="-12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1" lang="en-US" sz="1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ahoma" pitchFamily="34" charset="0"/>
            <a:ea typeface="PMingLiU" pitchFamily="18" charset="-120"/>
          </a:defRPr>
        </a:defPPr>
      </a:lstStyle>
    </a:lnDef>
  </a:objectDefaults>
  <a:extraClrSchemeLst>
    <a:extraClrScheme>
      <a:clrScheme name="1_EPS_Custom_print 1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0000"/>
        </a:accent1>
        <a:accent2>
          <a:srgbClr val="000000"/>
        </a:accent2>
        <a:accent3>
          <a:srgbClr val="FFFFFF"/>
        </a:accent3>
        <a:accent4>
          <a:srgbClr val="000000"/>
        </a:accent4>
        <a:accent5>
          <a:srgbClr val="AAAAAA"/>
        </a:accent5>
        <a:accent6>
          <a:srgbClr val="000000"/>
        </a:accent6>
        <a:hlink>
          <a:srgbClr val="000000"/>
        </a:hlink>
        <a:folHlink>
          <a:srgbClr val="00FFC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3">
        <a:dk1>
          <a:srgbClr val="808080"/>
        </a:dk1>
        <a:lt1>
          <a:srgbClr val="FFFFFF"/>
        </a:lt1>
        <a:dk2>
          <a:srgbClr val="000000"/>
        </a:dk2>
        <a:lt2>
          <a:srgbClr val="FFFFFF"/>
        </a:lt2>
        <a:accent1>
          <a:srgbClr val="FF0000"/>
        </a:accent1>
        <a:accent2>
          <a:srgbClr val="FFFF00"/>
        </a:accent2>
        <a:accent3>
          <a:srgbClr val="AAAAAA"/>
        </a:accent3>
        <a:accent4>
          <a:srgbClr val="DADADA"/>
        </a:accent4>
        <a:accent5>
          <a:srgbClr val="FFAAAA"/>
        </a:accent5>
        <a:accent6>
          <a:srgbClr val="E7E700"/>
        </a:accent6>
        <a:hlink>
          <a:srgbClr val="FF0000"/>
        </a:hlink>
        <a:folHlink>
          <a:srgbClr val="0080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EPS_Custom_print 4">
        <a:dk1>
          <a:srgbClr val="000000"/>
        </a:dk1>
        <a:lt1>
          <a:srgbClr val="FFFFFF"/>
        </a:lt1>
        <a:dk2>
          <a:srgbClr val="000000"/>
        </a:dk2>
        <a:lt2>
          <a:srgbClr val="4D4D4D"/>
        </a:lt2>
        <a:accent1>
          <a:srgbClr val="287AC8"/>
        </a:accent1>
        <a:accent2>
          <a:srgbClr val="000000"/>
        </a:accent2>
        <a:accent3>
          <a:srgbClr val="FFFFFF"/>
        </a:accent3>
        <a:accent4>
          <a:srgbClr val="000000"/>
        </a:accent4>
        <a:accent5>
          <a:srgbClr val="ACBEE0"/>
        </a:accent5>
        <a:accent6>
          <a:srgbClr val="000000"/>
        </a:accent6>
        <a:hlink>
          <a:srgbClr val="287AC8"/>
        </a:hlink>
        <a:folHlink>
          <a:srgbClr val="CFFFA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5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287AC8"/>
        </a:accent1>
        <a:accent2>
          <a:srgbClr val="000000"/>
        </a:accent2>
        <a:accent3>
          <a:srgbClr val="FFFFFF"/>
        </a:accent3>
        <a:accent4>
          <a:srgbClr val="000000"/>
        </a:accent4>
        <a:accent5>
          <a:srgbClr val="ACBEE0"/>
        </a:accent5>
        <a:accent6>
          <a:srgbClr val="000000"/>
        </a:accent6>
        <a:hlink>
          <a:srgbClr val="287AC8"/>
        </a:hlink>
        <a:folHlink>
          <a:srgbClr val="CFFFA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6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00A1FA"/>
        </a:accent1>
        <a:accent2>
          <a:srgbClr val="008000"/>
        </a:accent2>
        <a:accent3>
          <a:srgbClr val="FFFFFF"/>
        </a:accent3>
        <a:accent4>
          <a:srgbClr val="000000"/>
        </a:accent4>
        <a:accent5>
          <a:srgbClr val="AACDFC"/>
        </a:accent5>
        <a:accent6>
          <a:srgbClr val="007300"/>
        </a:accent6>
        <a:hlink>
          <a:srgbClr val="E4BE00"/>
        </a:hlink>
        <a:folHlink>
          <a:srgbClr val="AF070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7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4B6EC0"/>
        </a:accent1>
        <a:accent2>
          <a:srgbClr val="C6E2FE"/>
        </a:accent2>
        <a:accent3>
          <a:srgbClr val="FFFFFF"/>
        </a:accent3>
        <a:accent4>
          <a:srgbClr val="000000"/>
        </a:accent4>
        <a:accent5>
          <a:srgbClr val="B1BADC"/>
        </a:accent5>
        <a:accent6>
          <a:srgbClr val="B3CDE6"/>
        </a:accent6>
        <a:hlink>
          <a:srgbClr val="FFCC66"/>
        </a:hlink>
        <a:folHlink>
          <a:srgbClr val="93FF9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8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4B6EC0"/>
        </a:accent1>
        <a:accent2>
          <a:srgbClr val="C6E2FE"/>
        </a:accent2>
        <a:accent3>
          <a:srgbClr val="FFFFFF"/>
        </a:accent3>
        <a:accent4>
          <a:srgbClr val="000000"/>
        </a:accent4>
        <a:accent5>
          <a:srgbClr val="B1BADC"/>
        </a:accent5>
        <a:accent6>
          <a:srgbClr val="B3CDE6"/>
        </a:accent6>
        <a:hlink>
          <a:srgbClr val="FFCC66"/>
        </a:hlink>
        <a:folHlink>
          <a:srgbClr val="0B817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9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4B6EC0"/>
        </a:accent1>
        <a:accent2>
          <a:srgbClr val="C6E2FE"/>
        </a:accent2>
        <a:accent3>
          <a:srgbClr val="FFFFFF"/>
        </a:accent3>
        <a:accent4>
          <a:srgbClr val="000000"/>
        </a:accent4>
        <a:accent5>
          <a:srgbClr val="B1BADC"/>
        </a:accent5>
        <a:accent6>
          <a:srgbClr val="B3CDE6"/>
        </a:accent6>
        <a:hlink>
          <a:srgbClr val="FFCC66"/>
        </a:hlink>
        <a:folHlink>
          <a:srgbClr val="BC002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0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4B6EC0"/>
        </a:accent1>
        <a:accent2>
          <a:srgbClr val="C6E2FE"/>
        </a:accent2>
        <a:accent3>
          <a:srgbClr val="FFFFFF"/>
        </a:accent3>
        <a:accent4>
          <a:srgbClr val="000000"/>
        </a:accent4>
        <a:accent5>
          <a:srgbClr val="B1BADC"/>
        </a:accent5>
        <a:accent6>
          <a:srgbClr val="B3CDE6"/>
        </a:accent6>
        <a:hlink>
          <a:srgbClr val="FFCC66"/>
        </a:hlink>
        <a:folHlink>
          <a:srgbClr val="26267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1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4B6EC0"/>
        </a:accent1>
        <a:accent2>
          <a:srgbClr val="C6E2FE"/>
        </a:accent2>
        <a:accent3>
          <a:srgbClr val="FFFFFF"/>
        </a:accent3>
        <a:accent4>
          <a:srgbClr val="000000"/>
        </a:accent4>
        <a:accent5>
          <a:srgbClr val="B1BADC"/>
        </a:accent5>
        <a:accent6>
          <a:srgbClr val="B3CDE6"/>
        </a:accent6>
        <a:hlink>
          <a:srgbClr val="FFCC66"/>
        </a:hlink>
        <a:folHlink>
          <a:srgbClr val="08406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2">
        <a:dk1>
          <a:srgbClr val="000000"/>
        </a:dk1>
        <a:lt1>
          <a:srgbClr val="FFFFFF"/>
        </a:lt1>
        <a:dk2>
          <a:srgbClr val="4B6EC0"/>
        </a:dk2>
        <a:lt2>
          <a:srgbClr val="4D4D4D"/>
        </a:lt2>
        <a:accent1>
          <a:srgbClr val="CDE5FE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3F0FE"/>
        </a:accent5>
        <a:accent6>
          <a:srgbClr val="E7B95C"/>
        </a:accent6>
        <a:hlink>
          <a:srgbClr val="08406E"/>
        </a:hlink>
        <a:folHlink>
          <a:srgbClr val="08406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3">
        <a:dk1>
          <a:srgbClr val="000000"/>
        </a:dk1>
        <a:lt1>
          <a:srgbClr val="FFFFFF"/>
        </a:lt1>
        <a:dk2>
          <a:srgbClr val="4B6EC0"/>
        </a:dk2>
        <a:lt2>
          <a:srgbClr val="4D4D4D"/>
        </a:lt2>
        <a:accent1>
          <a:srgbClr val="CDE5FE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3F0FE"/>
        </a:accent5>
        <a:accent6>
          <a:srgbClr val="E7B95C"/>
        </a:accent6>
        <a:hlink>
          <a:srgbClr val="104058"/>
        </a:hlink>
        <a:folHlink>
          <a:srgbClr val="08406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4">
        <a:dk1>
          <a:srgbClr val="000000"/>
        </a:dk1>
        <a:lt1>
          <a:srgbClr val="FFFFFF"/>
        </a:lt1>
        <a:dk2>
          <a:srgbClr val="4B6EC0"/>
        </a:dk2>
        <a:lt2>
          <a:srgbClr val="4D4D4D"/>
        </a:lt2>
        <a:accent1>
          <a:srgbClr val="CDE5FE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3F0FE"/>
        </a:accent5>
        <a:accent6>
          <a:srgbClr val="E7B95C"/>
        </a:accent6>
        <a:hlink>
          <a:srgbClr val="364068"/>
        </a:hlink>
        <a:folHlink>
          <a:srgbClr val="08406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5">
        <a:dk1>
          <a:srgbClr val="000000"/>
        </a:dk1>
        <a:lt1>
          <a:srgbClr val="FFFFFF"/>
        </a:lt1>
        <a:dk2>
          <a:srgbClr val="4B6EC0"/>
        </a:dk2>
        <a:lt2>
          <a:srgbClr val="4D4D4D"/>
        </a:lt2>
        <a:accent1>
          <a:srgbClr val="CDE5FE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3F0FE"/>
        </a:accent5>
        <a:accent6>
          <a:srgbClr val="E7B95C"/>
        </a:accent6>
        <a:hlink>
          <a:srgbClr val="273D6F"/>
        </a:hlink>
        <a:folHlink>
          <a:srgbClr val="99FF9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6">
        <a:dk1>
          <a:srgbClr val="000000"/>
        </a:dk1>
        <a:lt1>
          <a:srgbClr val="FFFFFF"/>
        </a:lt1>
        <a:dk2>
          <a:srgbClr val="4B6EC0"/>
        </a:dk2>
        <a:lt2>
          <a:srgbClr val="4D4D4D"/>
        </a:lt2>
        <a:accent1>
          <a:srgbClr val="CDE5FE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3F0FE"/>
        </a:accent5>
        <a:accent6>
          <a:srgbClr val="E7B95C"/>
        </a:accent6>
        <a:hlink>
          <a:srgbClr val="273D6F"/>
        </a:hlink>
        <a:folHlink>
          <a:srgbClr val="CCFFCC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4.xml><?xml version="1.0" encoding="utf-8"?>
<a:theme xmlns:a="http://schemas.openxmlformats.org/drawingml/2006/main" name="16_EPS_Custom_print">
  <a:themeElements>
    <a:clrScheme name="BRANDBOOK">
      <a:dk1>
        <a:srgbClr val="00294F"/>
      </a:dk1>
      <a:lt1>
        <a:srgbClr val="FFFFFF"/>
      </a:lt1>
      <a:dk2>
        <a:srgbClr val="007AC2"/>
      </a:dk2>
      <a:lt2>
        <a:srgbClr val="999B9E"/>
      </a:lt2>
      <a:accent1>
        <a:srgbClr val="DEE2E4"/>
      </a:accent1>
      <a:accent2>
        <a:srgbClr val="016EB3"/>
      </a:accent2>
      <a:accent3>
        <a:srgbClr val="92C5EB"/>
      </a:accent3>
      <a:accent4>
        <a:srgbClr val="333132"/>
      </a:accent4>
      <a:accent5>
        <a:srgbClr val="D1D3D4"/>
      </a:accent5>
      <a:accent6>
        <a:srgbClr val="ED1C24"/>
      </a:accent6>
      <a:hlink>
        <a:srgbClr val="47C2FF"/>
      </a:hlink>
      <a:folHlink>
        <a:srgbClr val="0E6ABE"/>
      </a:folHlink>
    </a:clrScheme>
    <a:fontScheme name="Классическая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1" lang="en-US" sz="1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ahoma" pitchFamily="34" charset="0"/>
            <a:ea typeface="PMingLiU" pitchFamily="18" charset="-12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1" lang="en-US" sz="1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ahoma" pitchFamily="34" charset="0"/>
            <a:ea typeface="PMingLiU" pitchFamily="18" charset="-120"/>
          </a:defRPr>
        </a:defPPr>
      </a:lstStyle>
    </a:lnDef>
  </a:objectDefaults>
  <a:extraClrSchemeLst>
    <a:extraClrScheme>
      <a:clrScheme name="1_EPS_Custom_print 1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0000"/>
        </a:accent1>
        <a:accent2>
          <a:srgbClr val="000000"/>
        </a:accent2>
        <a:accent3>
          <a:srgbClr val="FFFFFF"/>
        </a:accent3>
        <a:accent4>
          <a:srgbClr val="000000"/>
        </a:accent4>
        <a:accent5>
          <a:srgbClr val="AAAAAA"/>
        </a:accent5>
        <a:accent6>
          <a:srgbClr val="000000"/>
        </a:accent6>
        <a:hlink>
          <a:srgbClr val="000000"/>
        </a:hlink>
        <a:folHlink>
          <a:srgbClr val="00FFC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3">
        <a:dk1>
          <a:srgbClr val="808080"/>
        </a:dk1>
        <a:lt1>
          <a:srgbClr val="FFFFFF"/>
        </a:lt1>
        <a:dk2>
          <a:srgbClr val="000000"/>
        </a:dk2>
        <a:lt2>
          <a:srgbClr val="FFFFFF"/>
        </a:lt2>
        <a:accent1>
          <a:srgbClr val="FF0000"/>
        </a:accent1>
        <a:accent2>
          <a:srgbClr val="FFFF00"/>
        </a:accent2>
        <a:accent3>
          <a:srgbClr val="AAAAAA"/>
        </a:accent3>
        <a:accent4>
          <a:srgbClr val="DADADA"/>
        </a:accent4>
        <a:accent5>
          <a:srgbClr val="FFAAAA"/>
        </a:accent5>
        <a:accent6>
          <a:srgbClr val="E7E700"/>
        </a:accent6>
        <a:hlink>
          <a:srgbClr val="FF0000"/>
        </a:hlink>
        <a:folHlink>
          <a:srgbClr val="0080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EPS_Custom_print 4">
        <a:dk1>
          <a:srgbClr val="000000"/>
        </a:dk1>
        <a:lt1>
          <a:srgbClr val="FFFFFF"/>
        </a:lt1>
        <a:dk2>
          <a:srgbClr val="000000"/>
        </a:dk2>
        <a:lt2>
          <a:srgbClr val="4D4D4D"/>
        </a:lt2>
        <a:accent1>
          <a:srgbClr val="287AC8"/>
        </a:accent1>
        <a:accent2>
          <a:srgbClr val="000000"/>
        </a:accent2>
        <a:accent3>
          <a:srgbClr val="FFFFFF"/>
        </a:accent3>
        <a:accent4>
          <a:srgbClr val="000000"/>
        </a:accent4>
        <a:accent5>
          <a:srgbClr val="ACBEE0"/>
        </a:accent5>
        <a:accent6>
          <a:srgbClr val="000000"/>
        </a:accent6>
        <a:hlink>
          <a:srgbClr val="287AC8"/>
        </a:hlink>
        <a:folHlink>
          <a:srgbClr val="CFFFA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5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287AC8"/>
        </a:accent1>
        <a:accent2>
          <a:srgbClr val="000000"/>
        </a:accent2>
        <a:accent3>
          <a:srgbClr val="FFFFFF"/>
        </a:accent3>
        <a:accent4>
          <a:srgbClr val="000000"/>
        </a:accent4>
        <a:accent5>
          <a:srgbClr val="ACBEE0"/>
        </a:accent5>
        <a:accent6>
          <a:srgbClr val="000000"/>
        </a:accent6>
        <a:hlink>
          <a:srgbClr val="287AC8"/>
        </a:hlink>
        <a:folHlink>
          <a:srgbClr val="CFFFA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6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00A1FA"/>
        </a:accent1>
        <a:accent2>
          <a:srgbClr val="008000"/>
        </a:accent2>
        <a:accent3>
          <a:srgbClr val="FFFFFF"/>
        </a:accent3>
        <a:accent4>
          <a:srgbClr val="000000"/>
        </a:accent4>
        <a:accent5>
          <a:srgbClr val="AACDFC"/>
        </a:accent5>
        <a:accent6>
          <a:srgbClr val="007300"/>
        </a:accent6>
        <a:hlink>
          <a:srgbClr val="E4BE00"/>
        </a:hlink>
        <a:folHlink>
          <a:srgbClr val="AF070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7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4B6EC0"/>
        </a:accent1>
        <a:accent2>
          <a:srgbClr val="C6E2FE"/>
        </a:accent2>
        <a:accent3>
          <a:srgbClr val="FFFFFF"/>
        </a:accent3>
        <a:accent4>
          <a:srgbClr val="000000"/>
        </a:accent4>
        <a:accent5>
          <a:srgbClr val="B1BADC"/>
        </a:accent5>
        <a:accent6>
          <a:srgbClr val="B3CDE6"/>
        </a:accent6>
        <a:hlink>
          <a:srgbClr val="FFCC66"/>
        </a:hlink>
        <a:folHlink>
          <a:srgbClr val="93FF9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8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4B6EC0"/>
        </a:accent1>
        <a:accent2>
          <a:srgbClr val="C6E2FE"/>
        </a:accent2>
        <a:accent3>
          <a:srgbClr val="FFFFFF"/>
        </a:accent3>
        <a:accent4>
          <a:srgbClr val="000000"/>
        </a:accent4>
        <a:accent5>
          <a:srgbClr val="B1BADC"/>
        </a:accent5>
        <a:accent6>
          <a:srgbClr val="B3CDE6"/>
        </a:accent6>
        <a:hlink>
          <a:srgbClr val="FFCC66"/>
        </a:hlink>
        <a:folHlink>
          <a:srgbClr val="0B817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9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4B6EC0"/>
        </a:accent1>
        <a:accent2>
          <a:srgbClr val="C6E2FE"/>
        </a:accent2>
        <a:accent3>
          <a:srgbClr val="FFFFFF"/>
        </a:accent3>
        <a:accent4>
          <a:srgbClr val="000000"/>
        </a:accent4>
        <a:accent5>
          <a:srgbClr val="B1BADC"/>
        </a:accent5>
        <a:accent6>
          <a:srgbClr val="B3CDE6"/>
        </a:accent6>
        <a:hlink>
          <a:srgbClr val="FFCC66"/>
        </a:hlink>
        <a:folHlink>
          <a:srgbClr val="BC002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0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4B6EC0"/>
        </a:accent1>
        <a:accent2>
          <a:srgbClr val="C6E2FE"/>
        </a:accent2>
        <a:accent3>
          <a:srgbClr val="FFFFFF"/>
        </a:accent3>
        <a:accent4>
          <a:srgbClr val="000000"/>
        </a:accent4>
        <a:accent5>
          <a:srgbClr val="B1BADC"/>
        </a:accent5>
        <a:accent6>
          <a:srgbClr val="B3CDE6"/>
        </a:accent6>
        <a:hlink>
          <a:srgbClr val="FFCC66"/>
        </a:hlink>
        <a:folHlink>
          <a:srgbClr val="26267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1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4B6EC0"/>
        </a:accent1>
        <a:accent2>
          <a:srgbClr val="C6E2FE"/>
        </a:accent2>
        <a:accent3>
          <a:srgbClr val="FFFFFF"/>
        </a:accent3>
        <a:accent4>
          <a:srgbClr val="000000"/>
        </a:accent4>
        <a:accent5>
          <a:srgbClr val="B1BADC"/>
        </a:accent5>
        <a:accent6>
          <a:srgbClr val="B3CDE6"/>
        </a:accent6>
        <a:hlink>
          <a:srgbClr val="FFCC66"/>
        </a:hlink>
        <a:folHlink>
          <a:srgbClr val="08406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2">
        <a:dk1>
          <a:srgbClr val="000000"/>
        </a:dk1>
        <a:lt1>
          <a:srgbClr val="FFFFFF"/>
        </a:lt1>
        <a:dk2>
          <a:srgbClr val="4B6EC0"/>
        </a:dk2>
        <a:lt2>
          <a:srgbClr val="4D4D4D"/>
        </a:lt2>
        <a:accent1>
          <a:srgbClr val="CDE5FE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3F0FE"/>
        </a:accent5>
        <a:accent6>
          <a:srgbClr val="E7B95C"/>
        </a:accent6>
        <a:hlink>
          <a:srgbClr val="08406E"/>
        </a:hlink>
        <a:folHlink>
          <a:srgbClr val="08406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3">
        <a:dk1>
          <a:srgbClr val="000000"/>
        </a:dk1>
        <a:lt1>
          <a:srgbClr val="FFFFFF"/>
        </a:lt1>
        <a:dk2>
          <a:srgbClr val="4B6EC0"/>
        </a:dk2>
        <a:lt2>
          <a:srgbClr val="4D4D4D"/>
        </a:lt2>
        <a:accent1>
          <a:srgbClr val="CDE5FE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3F0FE"/>
        </a:accent5>
        <a:accent6>
          <a:srgbClr val="E7B95C"/>
        </a:accent6>
        <a:hlink>
          <a:srgbClr val="104058"/>
        </a:hlink>
        <a:folHlink>
          <a:srgbClr val="08406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4">
        <a:dk1>
          <a:srgbClr val="000000"/>
        </a:dk1>
        <a:lt1>
          <a:srgbClr val="FFFFFF"/>
        </a:lt1>
        <a:dk2>
          <a:srgbClr val="4B6EC0"/>
        </a:dk2>
        <a:lt2>
          <a:srgbClr val="4D4D4D"/>
        </a:lt2>
        <a:accent1>
          <a:srgbClr val="CDE5FE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3F0FE"/>
        </a:accent5>
        <a:accent6>
          <a:srgbClr val="E7B95C"/>
        </a:accent6>
        <a:hlink>
          <a:srgbClr val="364068"/>
        </a:hlink>
        <a:folHlink>
          <a:srgbClr val="08406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5">
        <a:dk1>
          <a:srgbClr val="000000"/>
        </a:dk1>
        <a:lt1>
          <a:srgbClr val="FFFFFF"/>
        </a:lt1>
        <a:dk2>
          <a:srgbClr val="4B6EC0"/>
        </a:dk2>
        <a:lt2>
          <a:srgbClr val="4D4D4D"/>
        </a:lt2>
        <a:accent1>
          <a:srgbClr val="CDE5FE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3F0FE"/>
        </a:accent5>
        <a:accent6>
          <a:srgbClr val="E7B95C"/>
        </a:accent6>
        <a:hlink>
          <a:srgbClr val="273D6F"/>
        </a:hlink>
        <a:folHlink>
          <a:srgbClr val="99FF9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6">
        <a:dk1>
          <a:srgbClr val="000000"/>
        </a:dk1>
        <a:lt1>
          <a:srgbClr val="FFFFFF"/>
        </a:lt1>
        <a:dk2>
          <a:srgbClr val="4B6EC0"/>
        </a:dk2>
        <a:lt2>
          <a:srgbClr val="4D4D4D"/>
        </a:lt2>
        <a:accent1>
          <a:srgbClr val="CDE5FE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3F0FE"/>
        </a:accent5>
        <a:accent6>
          <a:srgbClr val="E7B95C"/>
        </a:accent6>
        <a:hlink>
          <a:srgbClr val="273D6F"/>
        </a:hlink>
        <a:folHlink>
          <a:srgbClr val="CCFFCC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5.xml><?xml version="1.0" encoding="utf-8"?>
<a:theme xmlns:a="http://schemas.openxmlformats.org/drawingml/2006/main" name="17_EPS_Custom_print">
  <a:themeElements>
    <a:clrScheme name="BRANDBOOK">
      <a:dk1>
        <a:srgbClr val="00294F"/>
      </a:dk1>
      <a:lt1>
        <a:srgbClr val="FFFFFF"/>
      </a:lt1>
      <a:dk2>
        <a:srgbClr val="007AC2"/>
      </a:dk2>
      <a:lt2>
        <a:srgbClr val="999B9E"/>
      </a:lt2>
      <a:accent1>
        <a:srgbClr val="DEE2E4"/>
      </a:accent1>
      <a:accent2>
        <a:srgbClr val="016EB3"/>
      </a:accent2>
      <a:accent3>
        <a:srgbClr val="92C5EB"/>
      </a:accent3>
      <a:accent4>
        <a:srgbClr val="333132"/>
      </a:accent4>
      <a:accent5>
        <a:srgbClr val="D1D3D4"/>
      </a:accent5>
      <a:accent6>
        <a:srgbClr val="ED1C24"/>
      </a:accent6>
      <a:hlink>
        <a:srgbClr val="47C2FF"/>
      </a:hlink>
      <a:folHlink>
        <a:srgbClr val="0E6ABE"/>
      </a:folHlink>
    </a:clrScheme>
    <a:fontScheme name="Классическая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1" lang="en-US" sz="1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ahoma" pitchFamily="34" charset="0"/>
            <a:ea typeface="PMingLiU" pitchFamily="18" charset="-12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1" lang="en-US" sz="1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ahoma" pitchFamily="34" charset="0"/>
            <a:ea typeface="PMingLiU" pitchFamily="18" charset="-120"/>
          </a:defRPr>
        </a:defPPr>
      </a:lstStyle>
    </a:lnDef>
  </a:objectDefaults>
  <a:extraClrSchemeLst>
    <a:extraClrScheme>
      <a:clrScheme name="1_EPS_Custom_print 1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0000"/>
        </a:accent1>
        <a:accent2>
          <a:srgbClr val="000000"/>
        </a:accent2>
        <a:accent3>
          <a:srgbClr val="FFFFFF"/>
        </a:accent3>
        <a:accent4>
          <a:srgbClr val="000000"/>
        </a:accent4>
        <a:accent5>
          <a:srgbClr val="AAAAAA"/>
        </a:accent5>
        <a:accent6>
          <a:srgbClr val="000000"/>
        </a:accent6>
        <a:hlink>
          <a:srgbClr val="000000"/>
        </a:hlink>
        <a:folHlink>
          <a:srgbClr val="00FFC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3">
        <a:dk1>
          <a:srgbClr val="808080"/>
        </a:dk1>
        <a:lt1>
          <a:srgbClr val="FFFFFF"/>
        </a:lt1>
        <a:dk2>
          <a:srgbClr val="000000"/>
        </a:dk2>
        <a:lt2>
          <a:srgbClr val="FFFFFF"/>
        </a:lt2>
        <a:accent1>
          <a:srgbClr val="FF0000"/>
        </a:accent1>
        <a:accent2>
          <a:srgbClr val="FFFF00"/>
        </a:accent2>
        <a:accent3>
          <a:srgbClr val="AAAAAA"/>
        </a:accent3>
        <a:accent4>
          <a:srgbClr val="DADADA"/>
        </a:accent4>
        <a:accent5>
          <a:srgbClr val="FFAAAA"/>
        </a:accent5>
        <a:accent6>
          <a:srgbClr val="E7E700"/>
        </a:accent6>
        <a:hlink>
          <a:srgbClr val="FF0000"/>
        </a:hlink>
        <a:folHlink>
          <a:srgbClr val="0080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EPS_Custom_print 4">
        <a:dk1>
          <a:srgbClr val="000000"/>
        </a:dk1>
        <a:lt1>
          <a:srgbClr val="FFFFFF"/>
        </a:lt1>
        <a:dk2>
          <a:srgbClr val="000000"/>
        </a:dk2>
        <a:lt2>
          <a:srgbClr val="4D4D4D"/>
        </a:lt2>
        <a:accent1>
          <a:srgbClr val="287AC8"/>
        </a:accent1>
        <a:accent2>
          <a:srgbClr val="000000"/>
        </a:accent2>
        <a:accent3>
          <a:srgbClr val="FFFFFF"/>
        </a:accent3>
        <a:accent4>
          <a:srgbClr val="000000"/>
        </a:accent4>
        <a:accent5>
          <a:srgbClr val="ACBEE0"/>
        </a:accent5>
        <a:accent6>
          <a:srgbClr val="000000"/>
        </a:accent6>
        <a:hlink>
          <a:srgbClr val="287AC8"/>
        </a:hlink>
        <a:folHlink>
          <a:srgbClr val="CFFFA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5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287AC8"/>
        </a:accent1>
        <a:accent2>
          <a:srgbClr val="000000"/>
        </a:accent2>
        <a:accent3>
          <a:srgbClr val="FFFFFF"/>
        </a:accent3>
        <a:accent4>
          <a:srgbClr val="000000"/>
        </a:accent4>
        <a:accent5>
          <a:srgbClr val="ACBEE0"/>
        </a:accent5>
        <a:accent6>
          <a:srgbClr val="000000"/>
        </a:accent6>
        <a:hlink>
          <a:srgbClr val="287AC8"/>
        </a:hlink>
        <a:folHlink>
          <a:srgbClr val="CFFFA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6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00A1FA"/>
        </a:accent1>
        <a:accent2>
          <a:srgbClr val="008000"/>
        </a:accent2>
        <a:accent3>
          <a:srgbClr val="FFFFFF"/>
        </a:accent3>
        <a:accent4>
          <a:srgbClr val="000000"/>
        </a:accent4>
        <a:accent5>
          <a:srgbClr val="AACDFC"/>
        </a:accent5>
        <a:accent6>
          <a:srgbClr val="007300"/>
        </a:accent6>
        <a:hlink>
          <a:srgbClr val="E4BE00"/>
        </a:hlink>
        <a:folHlink>
          <a:srgbClr val="AF070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7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4B6EC0"/>
        </a:accent1>
        <a:accent2>
          <a:srgbClr val="C6E2FE"/>
        </a:accent2>
        <a:accent3>
          <a:srgbClr val="FFFFFF"/>
        </a:accent3>
        <a:accent4>
          <a:srgbClr val="000000"/>
        </a:accent4>
        <a:accent5>
          <a:srgbClr val="B1BADC"/>
        </a:accent5>
        <a:accent6>
          <a:srgbClr val="B3CDE6"/>
        </a:accent6>
        <a:hlink>
          <a:srgbClr val="FFCC66"/>
        </a:hlink>
        <a:folHlink>
          <a:srgbClr val="93FF9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8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4B6EC0"/>
        </a:accent1>
        <a:accent2>
          <a:srgbClr val="C6E2FE"/>
        </a:accent2>
        <a:accent3>
          <a:srgbClr val="FFFFFF"/>
        </a:accent3>
        <a:accent4>
          <a:srgbClr val="000000"/>
        </a:accent4>
        <a:accent5>
          <a:srgbClr val="B1BADC"/>
        </a:accent5>
        <a:accent6>
          <a:srgbClr val="B3CDE6"/>
        </a:accent6>
        <a:hlink>
          <a:srgbClr val="FFCC66"/>
        </a:hlink>
        <a:folHlink>
          <a:srgbClr val="0B817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9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4B6EC0"/>
        </a:accent1>
        <a:accent2>
          <a:srgbClr val="C6E2FE"/>
        </a:accent2>
        <a:accent3>
          <a:srgbClr val="FFFFFF"/>
        </a:accent3>
        <a:accent4>
          <a:srgbClr val="000000"/>
        </a:accent4>
        <a:accent5>
          <a:srgbClr val="B1BADC"/>
        </a:accent5>
        <a:accent6>
          <a:srgbClr val="B3CDE6"/>
        </a:accent6>
        <a:hlink>
          <a:srgbClr val="FFCC66"/>
        </a:hlink>
        <a:folHlink>
          <a:srgbClr val="BC002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0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4B6EC0"/>
        </a:accent1>
        <a:accent2>
          <a:srgbClr val="C6E2FE"/>
        </a:accent2>
        <a:accent3>
          <a:srgbClr val="FFFFFF"/>
        </a:accent3>
        <a:accent4>
          <a:srgbClr val="000000"/>
        </a:accent4>
        <a:accent5>
          <a:srgbClr val="B1BADC"/>
        </a:accent5>
        <a:accent6>
          <a:srgbClr val="B3CDE6"/>
        </a:accent6>
        <a:hlink>
          <a:srgbClr val="FFCC66"/>
        </a:hlink>
        <a:folHlink>
          <a:srgbClr val="26267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1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4B6EC0"/>
        </a:accent1>
        <a:accent2>
          <a:srgbClr val="C6E2FE"/>
        </a:accent2>
        <a:accent3>
          <a:srgbClr val="FFFFFF"/>
        </a:accent3>
        <a:accent4>
          <a:srgbClr val="000000"/>
        </a:accent4>
        <a:accent5>
          <a:srgbClr val="B1BADC"/>
        </a:accent5>
        <a:accent6>
          <a:srgbClr val="B3CDE6"/>
        </a:accent6>
        <a:hlink>
          <a:srgbClr val="FFCC66"/>
        </a:hlink>
        <a:folHlink>
          <a:srgbClr val="08406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2">
        <a:dk1>
          <a:srgbClr val="000000"/>
        </a:dk1>
        <a:lt1>
          <a:srgbClr val="FFFFFF"/>
        </a:lt1>
        <a:dk2>
          <a:srgbClr val="4B6EC0"/>
        </a:dk2>
        <a:lt2>
          <a:srgbClr val="4D4D4D"/>
        </a:lt2>
        <a:accent1>
          <a:srgbClr val="CDE5FE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3F0FE"/>
        </a:accent5>
        <a:accent6>
          <a:srgbClr val="E7B95C"/>
        </a:accent6>
        <a:hlink>
          <a:srgbClr val="08406E"/>
        </a:hlink>
        <a:folHlink>
          <a:srgbClr val="08406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3">
        <a:dk1>
          <a:srgbClr val="000000"/>
        </a:dk1>
        <a:lt1>
          <a:srgbClr val="FFFFFF"/>
        </a:lt1>
        <a:dk2>
          <a:srgbClr val="4B6EC0"/>
        </a:dk2>
        <a:lt2>
          <a:srgbClr val="4D4D4D"/>
        </a:lt2>
        <a:accent1>
          <a:srgbClr val="CDE5FE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3F0FE"/>
        </a:accent5>
        <a:accent6>
          <a:srgbClr val="E7B95C"/>
        </a:accent6>
        <a:hlink>
          <a:srgbClr val="104058"/>
        </a:hlink>
        <a:folHlink>
          <a:srgbClr val="08406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4">
        <a:dk1>
          <a:srgbClr val="000000"/>
        </a:dk1>
        <a:lt1>
          <a:srgbClr val="FFFFFF"/>
        </a:lt1>
        <a:dk2>
          <a:srgbClr val="4B6EC0"/>
        </a:dk2>
        <a:lt2>
          <a:srgbClr val="4D4D4D"/>
        </a:lt2>
        <a:accent1>
          <a:srgbClr val="CDE5FE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3F0FE"/>
        </a:accent5>
        <a:accent6>
          <a:srgbClr val="E7B95C"/>
        </a:accent6>
        <a:hlink>
          <a:srgbClr val="364068"/>
        </a:hlink>
        <a:folHlink>
          <a:srgbClr val="08406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5">
        <a:dk1>
          <a:srgbClr val="000000"/>
        </a:dk1>
        <a:lt1>
          <a:srgbClr val="FFFFFF"/>
        </a:lt1>
        <a:dk2>
          <a:srgbClr val="4B6EC0"/>
        </a:dk2>
        <a:lt2>
          <a:srgbClr val="4D4D4D"/>
        </a:lt2>
        <a:accent1>
          <a:srgbClr val="CDE5FE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3F0FE"/>
        </a:accent5>
        <a:accent6>
          <a:srgbClr val="E7B95C"/>
        </a:accent6>
        <a:hlink>
          <a:srgbClr val="273D6F"/>
        </a:hlink>
        <a:folHlink>
          <a:srgbClr val="99FF9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6">
        <a:dk1>
          <a:srgbClr val="000000"/>
        </a:dk1>
        <a:lt1>
          <a:srgbClr val="FFFFFF"/>
        </a:lt1>
        <a:dk2>
          <a:srgbClr val="4B6EC0"/>
        </a:dk2>
        <a:lt2>
          <a:srgbClr val="4D4D4D"/>
        </a:lt2>
        <a:accent1>
          <a:srgbClr val="CDE5FE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3F0FE"/>
        </a:accent5>
        <a:accent6>
          <a:srgbClr val="E7B95C"/>
        </a:accent6>
        <a:hlink>
          <a:srgbClr val="273D6F"/>
        </a:hlink>
        <a:folHlink>
          <a:srgbClr val="CCFFCC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6.xml><?xml version="1.0" encoding="utf-8"?>
<a:theme xmlns:a="http://schemas.openxmlformats.org/drawingml/2006/main" name="18_EPS_Custom_print">
  <a:themeElements>
    <a:clrScheme name="BRANDBOOK">
      <a:dk1>
        <a:srgbClr val="00294F"/>
      </a:dk1>
      <a:lt1>
        <a:srgbClr val="FFFFFF"/>
      </a:lt1>
      <a:dk2>
        <a:srgbClr val="007AC2"/>
      </a:dk2>
      <a:lt2>
        <a:srgbClr val="999B9E"/>
      </a:lt2>
      <a:accent1>
        <a:srgbClr val="DEE2E4"/>
      </a:accent1>
      <a:accent2>
        <a:srgbClr val="016EB3"/>
      </a:accent2>
      <a:accent3>
        <a:srgbClr val="92C5EB"/>
      </a:accent3>
      <a:accent4>
        <a:srgbClr val="333132"/>
      </a:accent4>
      <a:accent5>
        <a:srgbClr val="D1D3D4"/>
      </a:accent5>
      <a:accent6>
        <a:srgbClr val="ED1C24"/>
      </a:accent6>
      <a:hlink>
        <a:srgbClr val="47C2FF"/>
      </a:hlink>
      <a:folHlink>
        <a:srgbClr val="0E6ABE"/>
      </a:folHlink>
    </a:clrScheme>
    <a:fontScheme name="Классическая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1" lang="en-US" sz="1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ahoma" pitchFamily="34" charset="0"/>
            <a:ea typeface="PMingLiU" pitchFamily="18" charset="-12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1" lang="en-US" sz="1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ahoma" pitchFamily="34" charset="0"/>
            <a:ea typeface="PMingLiU" pitchFamily="18" charset="-120"/>
          </a:defRPr>
        </a:defPPr>
      </a:lstStyle>
    </a:lnDef>
  </a:objectDefaults>
  <a:extraClrSchemeLst>
    <a:extraClrScheme>
      <a:clrScheme name="1_EPS_Custom_print 1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0000"/>
        </a:accent1>
        <a:accent2>
          <a:srgbClr val="000000"/>
        </a:accent2>
        <a:accent3>
          <a:srgbClr val="FFFFFF"/>
        </a:accent3>
        <a:accent4>
          <a:srgbClr val="000000"/>
        </a:accent4>
        <a:accent5>
          <a:srgbClr val="AAAAAA"/>
        </a:accent5>
        <a:accent6>
          <a:srgbClr val="000000"/>
        </a:accent6>
        <a:hlink>
          <a:srgbClr val="000000"/>
        </a:hlink>
        <a:folHlink>
          <a:srgbClr val="00FFC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3">
        <a:dk1>
          <a:srgbClr val="808080"/>
        </a:dk1>
        <a:lt1>
          <a:srgbClr val="FFFFFF"/>
        </a:lt1>
        <a:dk2>
          <a:srgbClr val="000000"/>
        </a:dk2>
        <a:lt2>
          <a:srgbClr val="FFFFFF"/>
        </a:lt2>
        <a:accent1>
          <a:srgbClr val="FF0000"/>
        </a:accent1>
        <a:accent2>
          <a:srgbClr val="FFFF00"/>
        </a:accent2>
        <a:accent3>
          <a:srgbClr val="AAAAAA"/>
        </a:accent3>
        <a:accent4>
          <a:srgbClr val="DADADA"/>
        </a:accent4>
        <a:accent5>
          <a:srgbClr val="FFAAAA"/>
        </a:accent5>
        <a:accent6>
          <a:srgbClr val="E7E700"/>
        </a:accent6>
        <a:hlink>
          <a:srgbClr val="FF0000"/>
        </a:hlink>
        <a:folHlink>
          <a:srgbClr val="0080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EPS_Custom_print 4">
        <a:dk1>
          <a:srgbClr val="000000"/>
        </a:dk1>
        <a:lt1>
          <a:srgbClr val="FFFFFF"/>
        </a:lt1>
        <a:dk2>
          <a:srgbClr val="000000"/>
        </a:dk2>
        <a:lt2>
          <a:srgbClr val="4D4D4D"/>
        </a:lt2>
        <a:accent1>
          <a:srgbClr val="287AC8"/>
        </a:accent1>
        <a:accent2>
          <a:srgbClr val="000000"/>
        </a:accent2>
        <a:accent3>
          <a:srgbClr val="FFFFFF"/>
        </a:accent3>
        <a:accent4>
          <a:srgbClr val="000000"/>
        </a:accent4>
        <a:accent5>
          <a:srgbClr val="ACBEE0"/>
        </a:accent5>
        <a:accent6>
          <a:srgbClr val="000000"/>
        </a:accent6>
        <a:hlink>
          <a:srgbClr val="287AC8"/>
        </a:hlink>
        <a:folHlink>
          <a:srgbClr val="CFFFA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5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287AC8"/>
        </a:accent1>
        <a:accent2>
          <a:srgbClr val="000000"/>
        </a:accent2>
        <a:accent3>
          <a:srgbClr val="FFFFFF"/>
        </a:accent3>
        <a:accent4>
          <a:srgbClr val="000000"/>
        </a:accent4>
        <a:accent5>
          <a:srgbClr val="ACBEE0"/>
        </a:accent5>
        <a:accent6>
          <a:srgbClr val="000000"/>
        </a:accent6>
        <a:hlink>
          <a:srgbClr val="287AC8"/>
        </a:hlink>
        <a:folHlink>
          <a:srgbClr val="CFFFA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6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00A1FA"/>
        </a:accent1>
        <a:accent2>
          <a:srgbClr val="008000"/>
        </a:accent2>
        <a:accent3>
          <a:srgbClr val="FFFFFF"/>
        </a:accent3>
        <a:accent4>
          <a:srgbClr val="000000"/>
        </a:accent4>
        <a:accent5>
          <a:srgbClr val="AACDFC"/>
        </a:accent5>
        <a:accent6>
          <a:srgbClr val="007300"/>
        </a:accent6>
        <a:hlink>
          <a:srgbClr val="E4BE00"/>
        </a:hlink>
        <a:folHlink>
          <a:srgbClr val="AF070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7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4B6EC0"/>
        </a:accent1>
        <a:accent2>
          <a:srgbClr val="C6E2FE"/>
        </a:accent2>
        <a:accent3>
          <a:srgbClr val="FFFFFF"/>
        </a:accent3>
        <a:accent4>
          <a:srgbClr val="000000"/>
        </a:accent4>
        <a:accent5>
          <a:srgbClr val="B1BADC"/>
        </a:accent5>
        <a:accent6>
          <a:srgbClr val="B3CDE6"/>
        </a:accent6>
        <a:hlink>
          <a:srgbClr val="FFCC66"/>
        </a:hlink>
        <a:folHlink>
          <a:srgbClr val="93FF9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8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4B6EC0"/>
        </a:accent1>
        <a:accent2>
          <a:srgbClr val="C6E2FE"/>
        </a:accent2>
        <a:accent3>
          <a:srgbClr val="FFFFFF"/>
        </a:accent3>
        <a:accent4>
          <a:srgbClr val="000000"/>
        </a:accent4>
        <a:accent5>
          <a:srgbClr val="B1BADC"/>
        </a:accent5>
        <a:accent6>
          <a:srgbClr val="B3CDE6"/>
        </a:accent6>
        <a:hlink>
          <a:srgbClr val="FFCC66"/>
        </a:hlink>
        <a:folHlink>
          <a:srgbClr val="0B817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9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4B6EC0"/>
        </a:accent1>
        <a:accent2>
          <a:srgbClr val="C6E2FE"/>
        </a:accent2>
        <a:accent3>
          <a:srgbClr val="FFFFFF"/>
        </a:accent3>
        <a:accent4>
          <a:srgbClr val="000000"/>
        </a:accent4>
        <a:accent5>
          <a:srgbClr val="B1BADC"/>
        </a:accent5>
        <a:accent6>
          <a:srgbClr val="B3CDE6"/>
        </a:accent6>
        <a:hlink>
          <a:srgbClr val="FFCC66"/>
        </a:hlink>
        <a:folHlink>
          <a:srgbClr val="BC002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0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4B6EC0"/>
        </a:accent1>
        <a:accent2>
          <a:srgbClr val="C6E2FE"/>
        </a:accent2>
        <a:accent3>
          <a:srgbClr val="FFFFFF"/>
        </a:accent3>
        <a:accent4>
          <a:srgbClr val="000000"/>
        </a:accent4>
        <a:accent5>
          <a:srgbClr val="B1BADC"/>
        </a:accent5>
        <a:accent6>
          <a:srgbClr val="B3CDE6"/>
        </a:accent6>
        <a:hlink>
          <a:srgbClr val="FFCC66"/>
        </a:hlink>
        <a:folHlink>
          <a:srgbClr val="26267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1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4B6EC0"/>
        </a:accent1>
        <a:accent2>
          <a:srgbClr val="C6E2FE"/>
        </a:accent2>
        <a:accent3>
          <a:srgbClr val="FFFFFF"/>
        </a:accent3>
        <a:accent4>
          <a:srgbClr val="000000"/>
        </a:accent4>
        <a:accent5>
          <a:srgbClr val="B1BADC"/>
        </a:accent5>
        <a:accent6>
          <a:srgbClr val="B3CDE6"/>
        </a:accent6>
        <a:hlink>
          <a:srgbClr val="FFCC66"/>
        </a:hlink>
        <a:folHlink>
          <a:srgbClr val="08406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2">
        <a:dk1>
          <a:srgbClr val="000000"/>
        </a:dk1>
        <a:lt1>
          <a:srgbClr val="FFFFFF"/>
        </a:lt1>
        <a:dk2>
          <a:srgbClr val="4B6EC0"/>
        </a:dk2>
        <a:lt2>
          <a:srgbClr val="4D4D4D"/>
        </a:lt2>
        <a:accent1>
          <a:srgbClr val="CDE5FE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3F0FE"/>
        </a:accent5>
        <a:accent6>
          <a:srgbClr val="E7B95C"/>
        </a:accent6>
        <a:hlink>
          <a:srgbClr val="08406E"/>
        </a:hlink>
        <a:folHlink>
          <a:srgbClr val="08406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3">
        <a:dk1>
          <a:srgbClr val="000000"/>
        </a:dk1>
        <a:lt1>
          <a:srgbClr val="FFFFFF"/>
        </a:lt1>
        <a:dk2>
          <a:srgbClr val="4B6EC0"/>
        </a:dk2>
        <a:lt2>
          <a:srgbClr val="4D4D4D"/>
        </a:lt2>
        <a:accent1>
          <a:srgbClr val="CDE5FE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3F0FE"/>
        </a:accent5>
        <a:accent6>
          <a:srgbClr val="E7B95C"/>
        </a:accent6>
        <a:hlink>
          <a:srgbClr val="104058"/>
        </a:hlink>
        <a:folHlink>
          <a:srgbClr val="08406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4">
        <a:dk1>
          <a:srgbClr val="000000"/>
        </a:dk1>
        <a:lt1>
          <a:srgbClr val="FFFFFF"/>
        </a:lt1>
        <a:dk2>
          <a:srgbClr val="4B6EC0"/>
        </a:dk2>
        <a:lt2>
          <a:srgbClr val="4D4D4D"/>
        </a:lt2>
        <a:accent1>
          <a:srgbClr val="CDE5FE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3F0FE"/>
        </a:accent5>
        <a:accent6>
          <a:srgbClr val="E7B95C"/>
        </a:accent6>
        <a:hlink>
          <a:srgbClr val="364068"/>
        </a:hlink>
        <a:folHlink>
          <a:srgbClr val="08406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5">
        <a:dk1>
          <a:srgbClr val="000000"/>
        </a:dk1>
        <a:lt1>
          <a:srgbClr val="FFFFFF"/>
        </a:lt1>
        <a:dk2>
          <a:srgbClr val="4B6EC0"/>
        </a:dk2>
        <a:lt2>
          <a:srgbClr val="4D4D4D"/>
        </a:lt2>
        <a:accent1>
          <a:srgbClr val="CDE5FE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3F0FE"/>
        </a:accent5>
        <a:accent6>
          <a:srgbClr val="E7B95C"/>
        </a:accent6>
        <a:hlink>
          <a:srgbClr val="273D6F"/>
        </a:hlink>
        <a:folHlink>
          <a:srgbClr val="99FF9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6">
        <a:dk1>
          <a:srgbClr val="000000"/>
        </a:dk1>
        <a:lt1>
          <a:srgbClr val="FFFFFF"/>
        </a:lt1>
        <a:dk2>
          <a:srgbClr val="4B6EC0"/>
        </a:dk2>
        <a:lt2>
          <a:srgbClr val="4D4D4D"/>
        </a:lt2>
        <a:accent1>
          <a:srgbClr val="CDE5FE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3F0FE"/>
        </a:accent5>
        <a:accent6>
          <a:srgbClr val="E7B95C"/>
        </a:accent6>
        <a:hlink>
          <a:srgbClr val="273D6F"/>
        </a:hlink>
        <a:folHlink>
          <a:srgbClr val="CCFFCC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7.xml><?xml version="1.0" encoding="utf-8"?>
<a:theme xmlns:a="http://schemas.openxmlformats.org/drawingml/2006/main" name="19_EPS_Custom_print">
  <a:themeElements>
    <a:clrScheme name="BRANDBOOK">
      <a:dk1>
        <a:srgbClr val="00294F"/>
      </a:dk1>
      <a:lt1>
        <a:srgbClr val="FFFFFF"/>
      </a:lt1>
      <a:dk2>
        <a:srgbClr val="007AC2"/>
      </a:dk2>
      <a:lt2>
        <a:srgbClr val="999B9E"/>
      </a:lt2>
      <a:accent1>
        <a:srgbClr val="DEE2E4"/>
      </a:accent1>
      <a:accent2>
        <a:srgbClr val="016EB3"/>
      </a:accent2>
      <a:accent3>
        <a:srgbClr val="92C5EB"/>
      </a:accent3>
      <a:accent4>
        <a:srgbClr val="333132"/>
      </a:accent4>
      <a:accent5>
        <a:srgbClr val="D1D3D4"/>
      </a:accent5>
      <a:accent6>
        <a:srgbClr val="ED1C24"/>
      </a:accent6>
      <a:hlink>
        <a:srgbClr val="47C2FF"/>
      </a:hlink>
      <a:folHlink>
        <a:srgbClr val="0E6ABE"/>
      </a:folHlink>
    </a:clrScheme>
    <a:fontScheme name="Классическая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1" lang="en-US" sz="1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ahoma" pitchFamily="34" charset="0"/>
            <a:ea typeface="PMingLiU" pitchFamily="18" charset="-12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1" lang="en-US" sz="1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ahoma" pitchFamily="34" charset="0"/>
            <a:ea typeface="PMingLiU" pitchFamily="18" charset="-120"/>
          </a:defRPr>
        </a:defPPr>
      </a:lstStyle>
    </a:lnDef>
  </a:objectDefaults>
  <a:extraClrSchemeLst>
    <a:extraClrScheme>
      <a:clrScheme name="1_EPS_Custom_print 1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0000"/>
        </a:accent1>
        <a:accent2>
          <a:srgbClr val="000000"/>
        </a:accent2>
        <a:accent3>
          <a:srgbClr val="FFFFFF"/>
        </a:accent3>
        <a:accent4>
          <a:srgbClr val="000000"/>
        </a:accent4>
        <a:accent5>
          <a:srgbClr val="AAAAAA"/>
        </a:accent5>
        <a:accent6>
          <a:srgbClr val="000000"/>
        </a:accent6>
        <a:hlink>
          <a:srgbClr val="000000"/>
        </a:hlink>
        <a:folHlink>
          <a:srgbClr val="00FFC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3">
        <a:dk1>
          <a:srgbClr val="808080"/>
        </a:dk1>
        <a:lt1>
          <a:srgbClr val="FFFFFF"/>
        </a:lt1>
        <a:dk2>
          <a:srgbClr val="000000"/>
        </a:dk2>
        <a:lt2>
          <a:srgbClr val="FFFFFF"/>
        </a:lt2>
        <a:accent1>
          <a:srgbClr val="FF0000"/>
        </a:accent1>
        <a:accent2>
          <a:srgbClr val="FFFF00"/>
        </a:accent2>
        <a:accent3>
          <a:srgbClr val="AAAAAA"/>
        </a:accent3>
        <a:accent4>
          <a:srgbClr val="DADADA"/>
        </a:accent4>
        <a:accent5>
          <a:srgbClr val="FFAAAA"/>
        </a:accent5>
        <a:accent6>
          <a:srgbClr val="E7E700"/>
        </a:accent6>
        <a:hlink>
          <a:srgbClr val="FF0000"/>
        </a:hlink>
        <a:folHlink>
          <a:srgbClr val="0080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EPS_Custom_print 4">
        <a:dk1>
          <a:srgbClr val="000000"/>
        </a:dk1>
        <a:lt1>
          <a:srgbClr val="FFFFFF"/>
        </a:lt1>
        <a:dk2>
          <a:srgbClr val="000000"/>
        </a:dk2>
        <a:lt2>
          <a:srgbClr val="4D4D4D"/>
        </a:lt2>
        <a:accent1>
          <a:srgbClr val="287AC8"/>
        </a:accent1>
        <a:accent2>
          <a:srgbClr val="000000"/>
        </a:accent2>
        <a:accent3>
          <a:srgbClr val="FFFFFF"/>
        </a:accent3>
        <a:accent4>
          <a:srgbClr val="000000"/>
        </a:accent4>
        <a:accent5>
          <a:srgbClr val="ACBEE0"/>
        </a:accent5>
        <a:accent6>
          <a:srgbClr val="000000"/>
        </a:accent6>
        <a:hlink>
          <a:srgbClr val="287AC8"/>
        </a:hlink>
        <a:folHlink>
          <a:srgbClr val="CFFFA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5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287AC8"/>
        </a:accent1>
        <a:accent2>
          <a:srgbClr val="000000"/>
        </a:accent2>
        <a:accent3>
          <a:srgbClr val="FFFFFF"/>
        </a:accent3>
        <a:accent4>
          <a:srgbClr val="000000"/>
        </a:accent4>
        <a:accent5>
          <a:srgbClr val="ACBEE0"/>
        </a:accent5>
        <a:accent6>
          <a:srgbClr val="000000"/>
        </a:accent6>
        <a:hlink>
          <a:srgbClr val="287AC8"/>
        </a:hlink>
        <a:folHlink>
          <a:srgbClr val="CFFFA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6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00A1FA"/>
        </a:accent1>
        <a:accent2>
          <a:srgbClr val="008000"/>
        </a:accent2>
        <a:accent3>
          <a:srgbClr val="FFFFFF"/>
        </a:accent3>
        <a:accent4>
          <a:srgbClr val="000000"/>
        </a:accent4>
        <a:accent5>
          <a:srgbClr val="AACDFC"/>
        </a:accent5>
        <a:accent6>
          <a:srgbClr val="007300"/>
        </a:accent6>
        <a:hlink>
          <a:srgbClr val="E4BE00"/>
        </a:hlink>
        <a:folHlink>
          <a:srgbClr val="AF070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7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4B6EC0"/>
        </a:accent1>
        <a:accent2>
          <a:srgbClr val="C6E2FE"/>
        </a:accent2>
        <a:accent3>
          <a:srgbClr val="FFFFFF"/>
        </a:accent3>
        <a:accent4>
          <a:srgbClr val="000000"/>
        </a:accent4>
        <a:accent5>
          <a:srgbClr val="B1BADC"/>
        </a:accent5>
        <a:accent6>
          <a:srgbClr val="B3CDE6"/>
        </a:accent6>
        <a:hlink>
          <a:srgbClr val="FFCC66"/>
        </a:hlink>
        <a:folHlink>
          <a:srgbClr val="93FF9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8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4B6EC0"/>
        </a:accent1>
        <a:accent2>
          <a:srgbClr val="C6E2FE"/>
        </a:accent2>
        <a:accent3>
          <a:srgbClr val="FFFFFF"/>
        </a:accent3>
        <a:accent4>
          <a:srgbClr val="000000"/>
        </a:accent4>
        <a:accent5>
          <a:srgbClr val="B1BADC"/>
        </a:accent5>
        <a:accent6>
          <a:srgbClr val="B3CDE6"/>
        </a:accent6>
        <a:hlink>
          <a:srgbClr val="FFCC66"/>
        </a:hlink>
        <a:folHlink>
          <a:srgbClr val="0B817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9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4B6EC0"/>
        </a:accent1>
        <a:accent2>
          <a:srgbClr val="C6E2FE"/>
        </a:accent2>
        <a:accent3>
          <a:srgbClr val="FFFFFF"/>
        </a:accent3>
        <a:accent4>
          <a:srgbClr val="000000"/>
        </a:accent4>
        <a:accent5>
          <a:srgbClr val="B1BADC"/>
        </a:accent5>
        <a:accent6>
          <a:srgbClr val="B3CDE6"/>
        </a:accent6>
        <a:hlink>
          <a:srgbClr val="FFCC66"/>
        </a:hlink>
        <a:folHlink>
          <a:srgbClr val="BC002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0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4B6EC0"/>
        </a:accent1>
        <a:accent2>
          <a:srgbClr val="C6E2FE"/>
        </a:accent2>
        <a:accent3>
          <a:srgbClr val="FFFFFF"/>
        </a:accent3>
        <a:accent4>
          <a:srgbClr val="000000"/>
        </a:accent4>
        <a:accent5>
          <a:srgbClr val="B1BADC"/>
        </a:accent5>
        <a:accent6>
          <a:srgbClr val="B3CDE6"/>
        </a:accent6>
        <a:hlink>
          <a:srgbClr val="FFCC66"/>
        </a:hlink>
        <a:folHlink>
          <a:srgbClr val="26267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1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4B6EC0"/>
        </a:accent1>
        <a:accent2>
          <a:srgbClr val="C6E2FE"/>
        </a:accent2>
        <a:accent3>
          <a:srgbClr val="FFFFFF"/>
        </a:accent3>
        <a:accent4>
          <a:srgbClr val="000000"/>
        </a:accent4>
        <a:accent5>
          <a:srgbClr val="B1BADC"/>
        </a:accent5>
        <a:accent6>
          <a:srgbClr val="B3CDE6"/>
        </a:accent6>
        <a:hlink>
          <a:srgbClr val="FFCC66"/>
        </a:hlink>
        <a:folHlink>
          <a:srgbClr val="08406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2">
        <a:dk1>
          <a:srgbClr val="000000"/>
        </a:dk1>
        <a:lt1>
          <a:srgbClr val="FFFFFF"/>
        </a:lt1>
        <a:dk2>
          <a:srgbClr val="4B6EC0"/>
        </a:dk2>
        <a:lt2>
          <a:srgbClr val="4D4D4D"/>
        </a:lt2>
        <a:accent1>
          <a:srgbClr val="CDE5FE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3F0FE"/>
        </a:accent5>
        <a:accent6>
          <a:srgbClr val="E7B95C"/>
        </a:accent6>
        <a:hlink>
          <a:srgbClr val="08406E"/>
        </a:hlink>
        <a:folHlink>
          <a:srgbClr val="08406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3">
        <a:dk1>
          <a:srgbClr val="000000"/>
        </a:dk1>
        <a:lt1>
          <a:srgbClr val="FFFFFF"/>
        </a:lt1>
        <a:dk2>
          <a:srgbClr val="4B6EC0"/>
        </a:dk2>
        <a:lt2>
          <a:srgbClr val="4D4D4D"/>
        </a:lt2>
        <a:accent1>
          <a:srgbClr val="CDE5FE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3F0FE"/>
        </a:accent5>
        <a:accent6>
          <a:srgbClr val="E7B95C"/>
        </a:accent6>
        <a:hlink>
          <a:srgbClr val="104058"/>
        </a:hlink>
        <a:folHlink>
          <a:srgbClr val="08406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4">
        <a:dk1>
          <a:srgbClr val="000000"/>
        </a:dk1>
        <a:lt1>
          <a:srgbClr val="FFFFFF"/>
        </a:lt1>
        <a:dk2>
          <a:srgbClr val="4B6EC0"/>
        </a:dk2>
        <a:lt2>
          <a:srgbClr val="4D4D4D"/>
        </a:lt2>
        <a:accent1>
          <a:srgbClr val="CDE5FE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3F0FE"/>
        </a:accent5>
        <a:accent6>
          <a:srgbClr val="E7B95C"/>
        </a:accent6>
        <a:hlink>
          <a:srgbClr val="364068"/>
        </a:hlink>
        <a:folHlink>
          <a:srgbClr val="08406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5">
        <a:dk1>
          <a:srgbClr val="000000"/>
        </a:dk1>
        <a:lt1>
          <a:srgbClr val="FFFFFF"/>
        </a:lt1>
        <a:dk2>
          <a:srgbClr val="4B6EC0"/>
        </a:dk2>
        <a:lt2>
          <a:srgbClr val="4D4D4D"/>
        </a:lt2>
        <a:accent1>
          <a:srgbClr val="CDE5FE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3F0FE"/>
        </a:accent5>
        <a:accent6>
          <a:srgbClr val="E7B95C"/>
        </a:accent6>
        <a:hlink>
          <a:srgbClr val="273D6F"/>
        </a:hlink>
        <a:folHlink>
          <a:srgbClr val="99FF9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6">
        <a:dk1>
          <a:srgbClr val="000000"/>
        </a:dk1>
        <a:lt1>
          <a:srgbClr val="FFFFFF"/>
        </a:lt1>
        <a:dk2>
          <a:srgbClr val="4B6EC0"/>
        </a:dk2>
        <a:lt2>
          <a:srgbClr val="4D4D4D"/>
        </a:lt2>
        <a:accent1>
          <a:srgbClr val="CDE5FE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3F0FE"/>
        </a:accent5>
        <a:accent6>
          <a:srgbClr val="E7B95C"/>
        </a:accent6>
        <a:hlink>
          <a:srgbClr val="273D6F"/>
        </a:hlink>
        <a:folHlink>
          <a:srgbClr val="CCFFCC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8.xml><?xml version="1.0" encoding="utf-8"?>
<a:theme xmlns:a="http://schemas.openxmlformats.org/drawingml/2006/main" name="20_EPS_Custom_print">
  <a:themeElements>
    <a:clrScheme name="BRANDBOOK">
      <a:dk1>
        <a:srgbClr val="00294F"/>
      </a:dk1>
      <a:lt1>
        <a:srgbClr val="FFFFFF"/>
      </a:lt1>
      <a:dk2>
        <a:srgbClr val="007AC2"/>
      </a:dk2>
      <a:lt2>
        <a:srgbClr val="999B9E"/>
      </a:lt2>
      <a:accent1>
        <a:srgbClr val="DEE2E4"/>
      </a:accent1>
      <a:accent2>
        <a:srgbClr val="016EB3"/>
      </a:accent2>
      <a:accent3>
        <a:srgbClr val="92C5EB"/>
      </a:accent3>
      <a:accent4>
        <a:srgbClr val="333132"/>
      </a:accent4>
      <a:accent5>
        <a:srgbClr val="D1D3D4"/>
      </a:accent5>
      <a:accent6>
        <a:srgbClr val="ED1C24"/>
      </a:accent6>
      <a:hlink>
        <a:srgbClr val="47C2FF"/>
      </a:hlink>
      <a:folHlink>
        <a:srgbClr val="0E6ABE"/>
      </a:folHlink>
    </a:clrScheme>
    <a:fontScheme name="Классическая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1" lang="en-US" sz="1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ahoma" pitchFamily="34" charset="0"/>
            <a:ea typeface="PMingLiU" pitchFamily="18" charset="-12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1" lang="en-US" sz="1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ahoma" pitchFamily="34" charset="0"/>
            <a:ea typeface="PMingLiU" pitchFamily="18" charset="-120"/>
          </a:defRPr>
        </a:defPPr>
      </a:lstStyle>
    </a:lnDef>
  </a:objectDefaults>
  <a:extraClrSchemeLst>
    <a:extraClrScheme>
      <a:clrScheme name="1_EPS_Custom_print 1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0000"/>
        </a:accent1>
        <a:accent2>
          <a:srgbClr val="000000"/>
        </a:accent2>
        <a:accent3>
          <a:srgbClr val="FFFFFF"/>
        </a:accent3>
        <a:accent4>
          <a:srgbClr val="000000"/>
        </a:accent4>
        <a:accent5>
          <a:srgbClr val="AAAAAA"/>
        </a:accent5>
        <a:accent6>
          <a:srgbClr val="000000"/>
        </a:accent6>
        <a:hlink>
          <a:srgbClr val="000000"/>
        </a:hlink>
        <a:folHlink>
          <a:srgbClr val="00FFC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3">
        <a:dk1>
          <a:srgbClr val="808080"/>
        </a:dk1>
        <a:lt1>
          <a:srgbClr val="FFFFFF"/>
        </a:lt1>
        <a:dk2>
          <a:srgbClr val="000000"/>
        </a:dk2>
        <a:lt2>
          <a:srgbClr val="FFFFFF"/>
        </a:lt2>
        <a:accent1>
          <a:srgbClr val="FF0000"/>
        </a:accent1>
        <a:accent2>
          <a:srgbClr val="FFFF00"/>
        </a:accent2>
        <a:accent3>
          <a:srgbClr val="AAAAAA"/>
        </a:accent3>
        <a:accent4>
          <a:srgbClr val="DADADA"/>
        </a:accent4>
        <a:accent5>
          <a:srgbClr val="FFAAAA"/>
        </a:accent5>
        <a:accent6>
          <a:srgbClr val="E7E700"/>
        </a:accent6>
        <a:hlink>
          <a:srgbClr val="FF0000"/>
        </a:hlink>
        <a:folHlink>
          <a:srgbClr val="0080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EPS_Custom_print 4">
        <a:dk1>
          <a:srgbClr val="000000"/>
        </a:dk1>
        <a:lt1>
          <a:srgbClr val="FFFFFF"/>
        </a:lt1>
        <a:dk2>
          <a:srgbClr val="000000"/>
        </a:dk2>
        <a:lt2>
          <a:srgbClr val="4D4D4D"/>
        </a:lt2>
        <a:accent1>
          <a:srgbClr val="287AC8"/>
        </a:accent1>
        <a:accent2>
          <a:srgbClr val="000000"/>
        </a:accent2>
        <a:accent3>
          <a:srgbClr val="FFFFFF"/>
        </a:accent3>
        <a:accent4>
          <a:srgbClr val="000000"/>
        </a:accent4>
        <a:accent5>
          <a:srgbClr val="ACBEE0"/>
        </a:accent5>
        <a:accent6>
          <a:srgbClr val="000000"/>
        </a:accent6>
        <a:hlink>
          <a:srgbClr val="287AC8"/>
        </a:hlink>
        <a:folHlink>
          <a:srgbClr val="CFFFA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5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287AC8"/>
        </a:accent1>
        <a:accent2>
          <a:srgbClr val="000000"/>
        </a:accent2>
        <a:accent3>
          <a:srgbClr val="FFFFFF"/>
        </a:accent3>
        <a:accent4>
          <a:srgbClr val="000000"/>
        </a:accent4>
        <a:accent5>
          <a:srgbClr val="ACBEE0"/>
        </a:accent5>
        <a:accent6>
          <a:srgbClr val="000000"/>
        </a:accent6>
        <a:hlink>
          <a:srgbClr val="287AC8"/>
        </a:hlink>
        <a:folHlink>
          <a:srgbClr val="CFFFA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6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00A1FA"/>
        </a:accent1>
        <a:accent2>
          <a:srgbClr val="008000"/>
        </a:accent2>
        <a:accent3>
          <a:srgbClr val="FFFFFF"/>
        </a:accent3>
        <a:accent4>
          <a:srgbClr val="000000"/>
        </a:accent4>
        <a:accent5>
          <a:srgbClr val="AACDFC"/>
        </a:accent5>
        <a:accent6>
          <a:srgbClr val="007300"/>
        </a:accent6>
        <a:hlink>
          <a:srgbClr val="E4BE00"/>
        </a:hlink>
        <a:folHlink>
          <a:srgbClr val="AF070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7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4B6EC0"/>
        </a:accent1>
        <a:accent2>
          <a:srgbClr val="C6E2FE"/>
        </a:accent2>
        <a:accent3>
          <a:srgbClr val="FFFFFF"/>
        </a:accent3>
        <a:accent4>
          <a:srgbClr val="000000"/>
        </a:accent4>
        <a:accent5>
          <a:srgbClr val="B1BADC"/>
        </a:accent5>
        <a:accent6>
          <a:srgbClr val="B3CDE6"/>
        </a:accent6>
        <a:hlink>
          <a:srgbClr val="FFCC66"/>
        </a:hlink>
        <a:folHlink>
          <a:srgbClr val="93FF9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8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4B6EC0"/>
        </a:accent1>
        <a:accent2>
          <a:srgbClr val="C6E2FE"/>
        </a:accent2>
        <a:accent3>
          <a:srgbClr val="FFFFFF"/>
        </a:accent3>
        <a:accent4>
          <a:srgbClr val="000000"/>
        </a:accent4>
        <a:accent5>
          <a:srgbClr val="B1BADC"/>
        </a:accent5>
        <a:accent6>
          <a:srgbClr val="B3CDE6"/>
        </a:accent6>
        <a:hlink>
          <a:srgbClr val="FFCC66"/>
        </a:hlink>
        <a:folHlink>
          <a:srgbClr val="0B817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9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4B6EC0"/>
        </a:accent1>
        <a:accent2>
          <a:srgbClr val="C6E2FE"/>
        </a:accent2>
        <a:accent3>
          <a:srgbClr val="FFFFFF"/>
        </a:accent3>
        <a:accent4>
          <a:srgbClr val="000000"/>
        </a:accent4>
        <a:accent5>
          <a:srgbClr val="B1BADC"/>
        </a:accent5>
        <a:accent6>
          <a:srgbClr val="B3CDE6"/>
        </a:accent6>
        <a:hlink>
          <a:srgbClr val="FFCC66"/>
        </a:hlink>
        <a:folHlink>
          <a:srgbClr val="BC002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0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4B6EC0"/>
        </a:accent1>
        <a:accent2>
          <a:srgbClr val="C6E2FE"/>
        </a:accent2>
        <a:accent3>
          <a:srgbClr val="FFFFFF"/>
        </a:accent3>
        <a:accent4>
          <a:srgbClr val="000000"/>
        </a:accent4>
        <a:accent5>
          <a:srgbClr val="B1BADC"/>
        </a:accent5>
        <a:accent6>
          <a:srgbClr val="B3CDE6"/>
        </a:accent6>
        <a:hlink>
          <a:srgbClr val="FFCC66"/>
        </a:hlink>
        <a:folHlink>
          <a:srgbClr val="26267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1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4B6EC0"/>
        </a:accent1>
        <a:accent2>
          <a:srgbClr val="C6E2FE"/>
        </a:accent2>
        <a:accent3>
          <a:srgbClr val="FFFFFF"/>
        </a:accent3>
        <a:accent4>
          <a:srgbClr val="000000"/>
        </a:accent4>
        <a:accent5>
          <a:srgbClr val="B1BADC"/>
        </a:accent5>
        <a:accent6>
          <a:srgbClr val="B3CDE6"/>
        </a:accent6>
        <a:hlink>
          <a:srgbClr val="FFCC66"/>
        </a:hlink>
        <a:folHlink>
          <a:srgbClr val="08406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2">
        <a:dk1>
          <a:srgbClr val="000000"/>
        </a:dk1>
        <a:lt1>
          <a:srgbClr val="FFFFFF"/>
        </a:lt1>
        <a:dk2>
          <a:srgbClr val="4B6EC0"/>
        </a:dk2>
        <a:lt2>
          <a:srgbClr val="4D4D4D"/>
        </a:lt2>
        <a:accent1>
          <a:srgbClr val="CDE5FE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3F0FE"/>
        </a:accent5>
        <a:accent6>
          <a:srgbClr val="E7B95C"/>
        </a:accent6>
        <a:hlink>
          <a:srgbClr val="08406E"/>
        </a:hlink>
        <a:folHlink>
          <a:srgbClr val="08406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3">
        <a:dk1>
          <a:srgbClr val="000000"/>
        </a:dk1>
        <a:lt1>
          <a:srgbClr val="FFFFFF"/>
        </a:lt1>
        <a:dk2>
          <a:srgbClr val="4B6EC0"/>
        </a:dk2>
        <a:lt2>
          <a:srgbClr val="4D4D4D"/>
        </a:lt2>
        <a:accent1>
          <a:srgbClr val="CDE5FE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3F0FE"/>
        </a:accent5>
        <a:accent6>
          <a:srgbClr val="E7B95C"/>
        </a:accent6>
        <a:hlink>
          <a:srgbClr val="104058"/>
        </a:hlink>
        <a:folHlink>
          <a:srgbClr val="08406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4">
        <a:dk1>
          <a:srgbClr val="000000"/>
        </a:dk1>
        <a:lt1>
          <a:srgbClr val="FFFFFF"/>
        </a:lt1>
        <a:dk2>
          <a:srgbClr val="4B6EC0"/>
        </a:dk2>
        <a:lt2>
          <a:srgbClr val="4D4D4D"/>
        </a:lt2>
        <a:accent1>
          <a:srgbClr val="CDE5FE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3F0FE"/>
        </a:accent5>
        <a:accent6>
          <a:srgbClr val="E7B95C"/>
        </a:accent6>
        <a:hlink>
          <a:srgbClr val="364068"/>
        </a:hlink>
        <a:folHlink>
          <a:srgbClr val="08406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5">
        <a:dk1>
          <a:srgbClr val="000000"/>
        </a:dk1>
        <a:lt1>
          <a:srgbClr val="FFFFFF"/>
        </a:lt1>
        <a:dk2>
          <a:srgbClr val="4B6EC0"/>
        </a:dk2>
        <a:lt2>
          <a:srgbClr val="4D4D4D"/>
        </a:lt2>
        <a:accent1>
          <a:srgbClr val="CDE5FE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3F0FE"/>
        </a:accent5>
        <a:accent6>
          <a:srgbClr val="E7B95C"/>
        </a:accent6>
        <a:hlink>
          <a:srgbClr val="273D6F"/>
        </a:hlink>
        <a:folHlink>
          <a:srgbClr val="99FF9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6">
        <a:dk1>
          <a:srgbClr val="000000"/>
        </a:dk1>
        <a:lt1>
          <a:srgbClr val="FFFFFF"/>
        </a:lt1>
        <a:dk2>
          <a:srgbClr val="4B6EC0"/>
        </a:dk2>
        <a:lt2>
          <a:srgbClr val="4D4D4D"/>
        </a:lt2>
        <a:accent1>
          <a:srgbClr val="CDE5FE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3F0FE"/>
        </a:accent5>
        <a:accent6>
          <a:srgbClr val="E7B95C"/>
        </a:accent6>
        <a:hlink>
          <a:srgbClr val="273D6F"/>
        </a:hlink>
        <a:folHlink>
          <a:srgbClr val="CCFFCC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9.xml><?xml version="1.0" encoding="utf-8"?>
<a:theme xmlns:a="http://schemas.openxmlformats.org/drawingml/2006/main" name="Bain A4 Alrosa">
  <a:themeElements>
    <a:clrScheme name="Custom 1">
      <a:dk1>
        <a:srgbClr val="003149"/>
      </a:dk1>
      <a:lt1>
        <a:srgbClr val="FFFFFF"/>
      </a:lt1>
      <a:dk2>
        <a:srgbClr val="000000"/>
      </a:dk2>
      <a:lt2>
        <a:srgbClr val="A0A1A6"/>
      </a:lt2>
      <a:accent1>
        <a:srgbClr val="006393"/>
      </a:accent1>
      <a:accent2>
        <a:srgbClr val="0091BF"/>
      </a:accent2>
      <a:accent3>
        <a:srgbClr val="61A48D"/>
      </a:accent3>
      <a:accent4>
        <a:srgbClr val="2FBFE2"/>
      </a:accent4>
      <a:accent5>
        <a:srgbClr val="39CEA6"/>
      </a:accent5>
      <a:accent6>
        <a:srgbClr val="799FFF"/>
      </a:accent6>
      <a:hlink>
        <a:srgbClr val="000000"/>
      </a:hlink>
      <a:folHlink>
        <a:srgbClr val="CC0000"/>
      </a:folHlink>
    </a:clrScheme>
    <a:fontScheme name="Bain A4 Alrosa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>
            <a:lumMod val="95000"/>
          </a:schemeClr>
        </a:solidFill>
        <a:ln w="19050">
          <a:noFill/>
        </a:ln>
      </a:spPr>
      <a:bodyPr lIns="36000" tIns="36000" rIns="36000" bIns="36000" rtlCol="0" anchor="ctr"/>
      <a:lstStyle>
        <a:defPPr algn="ctr">
          <a:defRPr sz="16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36000" tIns="36000" rIns="36000" bIns="36000" rtlCol="0">
        <a:spAutoFit/>
      </a:bodyPr>
      <a:lstStyle>
        <a:defPPr>
          <a:defRPr sz="2000" dirty="0" err="1" smtClean="0"/>
        </a:defPPr>
      </a:lstStyle>
    </a:txDef>
  </a:objectDefaults>
  <a:extraClrSchemeLst/>
</a:theme>
</file>

<file path=ppt/theme/theme2.xml><?xml version="1.0" encoding="utf-8"?>
<a:theme xmlns:a="http://schemas.openxmlformats.org/drawingml/2006/main" name="4_EPS_Custom_print">
  <a:themeElements>
    <a:clrScheme name="BRANDBOOK">
      <a:dk1>
        <a:srgbClr val="00294F"/>
      </a:dk1>
      <a:lt1>
        <a:srgbClr val="FFFFFF"/>
      </a:lt1>
      <a:dk2>
        <a:srgbClr val="007AC2"/>
      </a:dk2>
      <a:lt2>
        <a:srgbClr val="999B9E"/>
      </a:lt2>
      <a:accent1>
        <a:srgbClr val="DEE2E4"/>
      </a:accent1>
      <a:accent2>
        <a:srgbClr val="016EB3"/>
      </a:accent2>
      <a:accent3>
        <a:srgbClr val="92C5EB"/>
      </a:accent3>
      <a:accent4>
        <a:srgbClr val="333132"/>
      </a:accent4>
      <a:accent5>
        <a:srgbClr val="D1D3D4"/>
      </a:accent5>
      <a:accent6>
        <a:srgbClr val="ED1C24"/>
      </a:accent6>
      <a:hlink>
        <a:srgbClr val="47C2FF"/>
      </a:hlink>
      <a:folHlink>
        <a:srgbClr val="0E6ABE"/>
      </a:folHlink>
    </a:clrScheme>
    <a:fontScheme name="Классическая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1" lang="en-US" sz="1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ahoma" pitchFamily="34" charset="0"/>
            <a:ea typeface="PMingLiU" pitchFamily="18" charset="-12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1" lang="en-US" sz="1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ahoma" pitchFamily="34" charset="0"/>
            <a:ea typeface="PMingLiU" pitchFamily="18" charset="-120"/>
          </a:defRPr>
        </a:defPPr>
      </a:lstStyle>
    </a:lnDef>
  </a:objectDefaults>
  <a:extraClrSchemeLst>
    <a:extraClrScheme>
      <a:clrScheme name="1_EPS_Custom_print 1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0000"/>
        </a:accent1>
        <a:accent2>
          <a:srgbClr val="000000"/>
        </a:accent2>
        <a:accent3>
          <a:srgbClr val="FFFFFF"/>
        </a:accent3>
        <a:accent4>
          <a:srgbClr val="000000"/>
        </a:accent4>
        <a:accent5>
          <a:srgbClr val="AAAAAA"/>
        </a:accent5>
        <a:accent6>
          <a:srgbClr val="000000"/>
        </a:accent6>
        <a:hlink>
          <a:srgbClr val="000000"/>
        </a:hlink>
        <a:folHlink>
          <a:srgbClr val="00FFC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3">
        <a:dk1>
          <a:srgbClr val="808080"/>
        </a:dk1>
        <a:lt1>
          <a:srgbClr val="FFFFFF"/>
        </a:lt1>
        <a:dk2>
          <a:srgbClr val="000000"/>
        </a:dk2>
        <a:lt2>
          <a:srgbClr val="FFFFFF"/>
        </a:lt2>
        <a:accent1>
          <a:srgbClr val="FF0000"/>
        </a:accent1>
        <a:accent2>
          <a:srgbClr val="FFFF00"/>
        </a:accent2>
        <a:accent3>
          <a:srgbClr val="AAAAAA"/>
        </a:accent3>
        <a:accent4>
          <a:srgbClr val="DADADA"/>
        </a:accent4>
        <a:accent5>
          <a:srgbClr val="FFAAAA"/>
        </a:accent5>
        <a:accent6>
          <a:srgbClr val="E7E700"/>
        </a:accent6>
        <a:hlink>
          <a:srgbClr val="FF0000"/>
        </a:hlink>
        <a:folHlink>
          <a:srgbClr val="0080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EPS_Custom_print 4">
        <a:dk1>
          <a:srgbClr val="000000"/>
        </a:dk1>
        <a:lt1>
          <a:srgbClr val="FFFFFF"/>
        </a:lt1>
        <a:dk2>
          <a:srgbClr val="000000"/>
        </a:dk2>
        <a:lt2>
          <a:srgbClr val="4D4D4D"/>
        </a:lt2>
        <a:accent1>
          <a:srgbClr val="287AC8"/>
        </a:accent1>
        <a:accent2>
          <a:srgbClr val="000000"/>
        </a:accent2>
        <a:accent3>
          <a:srgbClr val="FFFFFF"/>
        </a:accent3>
        <a:accent4>
          <a:srgbClr val="000000"/>
        </a:accent4>
        <a:accent5>
          <a:srgbClr val="ACBEE0"/>
        </a:accent5>
        <a:accent6>
          <a:srgbClr val="000000"/>
        </a:accent6>
        <a:hlink>
          <a:srgbClr val="287AC8"/>
        </a:hlink>
        <a:folHlink>
          <a:srgbClr val="CFFFA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5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287AC8"/>
        </a:accent1>
        <a:accent2>
          <a:srgbClr val="000000"/>
        </a:accent2>
        <a:accent3>
          <a:srgbClr val="FFFFFF"/>
        </a:accent3>
        <a:accent4>
          <a:srgbClr val="000000"/>
        </a:accent4>
        <a:accent5>
          <a:srgbClr val="ACBEE0"/>
        </a:accent5>
        <a:accent6>
          <a:srgbClr val="000000"/>
        </a:accent6>
        <a:hlink>
          <a:srgbClr val="287AC8"/>
        </a:hlink>
        <a:folHlink>
          <a:srgbClr val="CFFFA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6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00A1FA"/>
        </a:accent1>
        <a:accent2>
          <a:srgbClr val="008000"/>
        </a:accent2>
        <a:accent3>
          <a:srgbClr val="FFFFFF"/>
        </a:accent3>
        <a:accent4>
          <a:srgbClr val="000000"/>
        </a:accent4>
        <a:accent5>
          <a:srgbClr val="AACDFC"/>
        </a:accent5>
        <a:accent6>
          <a:srgbClr val="007300"/>
        </a:accent6>
        <a:hlink>
          <a:srgbClr val="E4BE00"/>
        </a:hlink>
        <a:folHlink>
          <a:srgbClr val="AF070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7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4B6EC0"/>
        </a:accent1>
        <a:accent2>
          <a:srgbClr val="C6E2FE"/>
        </a:accent2>
        <a:accent3>
          <a:srgbClr val="FFFFFF"/>
        </a:accent3>
        <a:accent4>
          <a:srgbClr val="000000"/>
        </a:accent4>
        <a:accent5>
          <a:srgbClr val="B1BADC"/>
        </a:accent5>
        <a:accent6>
          <a:srgbClr val="B3CDE6"/>
        </a:accent6>
        <a:hlink>
          <a:srgbClr val="FFCC66"/>
        </a:hlink>
        <a:folHlink>
          <a:srgbClr val="93FF9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8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4B6EC0"/>
        </a:accent1>
        <a:accent2>
          <a:srgbClr val="C6E2FE"/>
        </a:accent2>
        <a:accent3>
          <a:srgbClr val="FFFFFF"/>
        </a:accent3>
        <a:accent4>
          <a:srgbClr val="000000"/>
        </a:accent4>
        <a:accent5>
          <a:srgbClr val="B1BADC"/>
        </a:accent5>
        <a:accent6>
          <a:srgbClr val="B3CDE6"/>
        </a:accent6>
        <a:hlink>
          <a:srgbClr val="FFCC66"/>
        </a:hlink>
        <a:folHlink>
          <a:srgbClr val="0B817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9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4B6EC0"/>
        </a:accent1>
        <a:accent2>
          <a:srgbClr val="C6E2FE"/>
        </a:accent2>
        <a:accent3>
          <a:srgbClr val="FFFFFF"/>
        </a:accent3>
        <a:accent4>
          <a:srgbClr val="000000"/>
        </a:accent4>
        <a:accent5>
          <a:srgbClr val="B1BADC"/>
        </a:accent5>
        <a:accent6>
          <a:srgbClr val="B3CDE6"/>
        </a:accent6>
        <a:hlink>
          <a:srgbClr val="FFCC66"/>
        </a:hlink>
        <a:folHlink>
          <a:srgbClr val="BC002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0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4B6EC0"/>
        </a:accent1>
        <a:accent2>
          <a:srgbClr val="C6E2FE"/>
        </a:accent2>
        <a:accent3>
          <a:srgbClr val="FFFFFF"/>
        </a:accent3>
        <a:accent4>
          <a:srgbClr val="000000"/>
        </a:accent4>
        <a:accent5>
          <a:srgbClr val="B1BADC"/>
        </a:accent5>
        <a:accent6>
          <a:srgbClr val="B3CDE6"/>
        </a:accent6>
        <a:hlink>
          <a:srgbClr val="FFCC66"/>
        </a:hlink>
        <a:folHlink>
          <a:srgbClr val="26267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1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4B6EC0"/>
        </a:accent1>
        <a:accent2>
          <a:srgbClr val="C6E2FE"/>
        </a:accent2>
        <a:accent3>
          <a:srgbClr val="FFFFFF"/>
        </a:accent3>
        <a:accent4>
          <a:srgbClr val="000000"/>
        </a:accent4>
        <a:accent5>
          <a:srgbClr val="B1BADC"/>
        </a:accent5>
        <a:accent6>
          <a:srgbClr val="B3CDE6"/>
        </a:accent6>
        <a:hlink>
          <a:srgbClr val="FFCC66"/>
        </a:hlink>
        <a:folHlink>
          <a:srgbClr val="08406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2">
        <a:dk1>
          <a:srgbClr val="000000"/>
        </a:dk1>
        <a:lt1>
          <a:srgbClr val="FFFFFF"/>
        </a:lt1>
        <a:dk2>
          <a:srgbClr val="4B6EC0"/>
        </a:dk2>
        <a:lt2>
          <a:srgbClr val="4D4D4D"/>
        </a:lt2>
        <a:accent1>
          <a:srgbClr val="CDE5FE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3F0FE"/>
        </a:accent5>
        <a:accent6>
          <a:srgbClr val="E7B95C"/>
        </a:accent6>
        <a:hlink>
          <a:srgbClr val="08406E"/>
        </a:hlink>
        <a:folHlink>
          <a:srgbClr val="08406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3">
        <a:dk1>
          <a:srgbClr val="000000"/>
        </a:dk1>
        <a:lt1>
          <a:srgbClr val="FFFFFF"/>
        </a:lt1>
        <a:dk2>
          <a:srgbClr val="4B6EC0"/>
        </a:dk2>
        <a:lt2>
          <a:srgbClr val="4D4D4D"/>
        </a:lt2>
        <a:accent1>
          <a:srgbClr val="CDE5FE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3F0FE"/>
        </a:accent5>
        <a:accent6>
          <a:srgbClr val="E7B95C"/>
        </a:accent6>
        <a:hlink>
          <a:srgbClr val="104058"/>
        </a:hlink>
        <a:folHlink>
          <a:srgbClr val="08406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4">
        <a:dk1>
          <a:srgbClr val="000000"/>
        </a:dk1>
        <a:lt1>
          <a:srgbClr val="FFFFFF"/>
        </a:lt1>
        <a:dk2>
          <a:srgbClr val="4B6EC0"/>
        </a:dk2>
        <a:lt2>
          <a:srgbClr val="4D4D4D"/>
        </a:lt2>
        <a:accent1>
          <a:srgbClr val="CDE5FE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3F0FE"/>
        </a:accent5>
        <a:accent6>
          <a:srgbClr val="E7B95C"/>
        </a:accent6>
        <a:hlink>
          <a:srgbClr val="364068"/>
        </a:hlink>
        <a:folHlink>
          <a:srgbClr val="08406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5">
        <a:dk1>
          <a:srgbClr val="000000"/>
        </a:dk1>
        <a:lt1>
          <a:srgbClr val="FFFFFF"/>
        </a:lt1>
        <a:dk2>
          <a:srgbClr val="4B6EC0"/>
        </a:dk2>
        <a:lt2>
          <a:srgbClr val="4D4D4D"/>
        </a:lt2>
        <a:accent1>
          <a:srgbClr val="CDE5FE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3F0FE"/>
        </a:accent5>
        <a:accent6>
          <a:srgbClr val="E7B95C"/>
        </a:accent6>
        <a:hlink>
          <a:srgbClr val="273D6F"/>
        </a:hlink>
        <a:folHlink>
          <a:srgbClr val="99FF9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6">
        <a:dk1>
          <a:srgbClr val="000000"/>
        </a:dk1>
        <a:lt1>
          <a:srgbClr val="FFFFFF"/>
        </a:lt1>
        <a:dk2>
          <a:srgbClr val="4B6EC0"/>
        </a:dk2>
        <a:lt2>
          <a:srgbClr val="4D4D4D"/>
        </a:lt2>
        <a:accent1>
          <a:srgbClr val="CDE5FE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3F0FE"/>
        </a:accent5>
        <a:accent6>
          <a:srgbClr val="E7B95C"/>
        </a:accent6>
        <a:hlink>
          <a:srgbClr val="273D6F"/>
        </a:hlink>
        <a:folHlink>
          <a:srgbClr val="CCFFCC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0.xml><?xml version="1.0" encoding="utf-8"?>
<a:theme xmlns:a="http://schemas.openxmlformats.org/drawingml/2006/main" name="21_EPS_Custom_print">
  <a:themeElements>
    <a:clrScheme name="BRANDBOOK">
      <a:dk1>
        <a:srgbClr val="00294F"/>
      </a:dk1>
      <a:lt1>
        <a:srgbClr val="FFFFFF"/>
      </a:lt1>
      <a:dk2>
        <a:srgbClr val="007AC2"/>
      </a:dk2>
      <a:lt2>
        <a:srgbClr val="999B9E"/>
      </a:lt2>
      <a:accent1>
        <a:srgbClr val="DEE2E4"/>
      </a:accent1>
      <a:accent2>
        <a:srgbClr val="016EB3"/>
      </a:accent2>
      <a:accent3>
        <a:srgbClr val="92C5EB"/>
      </a:accent3>
      <a:accent4>
        <a:srgbClr val="333132"/>
      </a:accent4>
      <a:accent5>
        <a:srgbClr val="D1D3D4"/>
      </a:accent5>
      <a:accent6>
        <a:srgbClr val="ED1C24"/>
      </a:accent6>
      <a:hlink>
        <a:srgbClr val="47C2FF"/>
      </a:hlink>
      <a:folHlink>
        <a:srgbClr val="0E6ABE"/>
      </a:folHlink>
    </a:clrScheme>
    <a:fontScheme name="Классическая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1" lang="en-US" sz="1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ahoma" pitchFamily="34" charset="0"/>
            <a:ea typeface="PMingLiU" pitchFamily="18" charset="-12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1" lang="en-US" sz="1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ahoma" pitchFamily="34" charset="0"/>
            <a:ea typeface="PMingLiU" pitchFamily="18" charset="-120"/>
          </a:defRPr>
        </a:defPPr>
      </a:lstStyle>
    </a:lnDef>
  </a:objectDefaults>
  <a:extraClrSchemeLst>
    <a:extraClrScheme>
      <a:clrScheme name="1_EPS_Custom_print 1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0000"/>
        </a:accent1>
        <a:accent2>
          <a:srgbClr val="000000"/>
        </a:accent2>
        <a:accent3>
          <a:srgbClr val="FFFFFF"/>
        </a:accent3>
        <a:accent4>
          <a:srgbClr val="000000"/>
        </a:accent4>
        <a:accent5>
          <a:srgbClr val="AAAAAA"/>
        </a:accent5>
        <a:accent6>
          <a:srgbClr val="000000"/>
        </a:accent6>
        <a:hlink>
          <a:srgbClr val="000000"/>
        </a:hlink>
        <a:folHlink>
          <a:srgbClr val="00FFC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3">
        <a:dk1>
          <a:srgbClr val="808080"/>
        </a:dk1>
        <a:lt1>
          <a:srgbClr val="FFFFFF"/>
        </a:lt1>
        <a:dk2>
          <a:srgbClr val="000000"/>
        </a:dk2>
        <a:lt2>
          <a:srgbClr val="FFFFFF"/>
        </a:lt2>
        <a:accent1>
          <a:srgbClr val="FF0000"/>
        </a:accent1>
        <a:accent2>
          <a:srgbClr val="FFFF00"/>
        </a:accent2>
        <a:accent3>
          <a:srgbClr val="AAAAAA"/>
        </a:accent3>
        <a:accent4>
          <a:srgbClr val="DADADA"/>
        </a:accent4>
        <a:accent5>
          <a:srgbClr val="FFAAAA"/>
        </a:accent5>
        <a:accent6>
          <a:srgbClr val="E7E700"/>
        </a:accent6>
        <a:hlink>
          <a:srgbClr val="FF0000"/>
        </a:hlink>
        <a:folHlink>
          <a:srgbClr val="0080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EPS_Custom_print 4">
        <a:dk1>
          <a:srgbClr val="000000"/>
        </a:dk1>
        <a:lt1>
          <a:srgbClr val="FFFFFF"/>
        </a:lt1>
        <a:dk2>
          <a:srgbClr val="000000"/>
        </a:dk2>
        <a:lt2>
          <a:srgbClr val="4D4D4D"/>
        </a:lt2>
        <a:accent1>
          <a:srgbClr val="287AC8"/>
        </a:accent1>
        <a:accent2>
          <a:srgbClr val="000000"/>
        </a:accent2>
        <a:accent3>
          <a:srgbClr val="FFFFFF"/>
        </a:accent3>
        <a:accent4>
          <a:srgbClr val="000000"/>
        </a:accent4>
        <a:accent5>
          <a:srgbClr val="ACBEE0"/>
        </a:accent5>
        <a:accent6>
          <a:srgbClr val="000000"/>
        </a:accent6>
        <a:hlink>
          <a:srgbClr val="287AC8"/>
        </a:hlink>
        <a:folHlink>
          <a:srgbClr val="CFFFA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5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287AC8"/>
        </a:accent1>
        <a:accent2>
          <a:srgbClr val="000000"/>
        </a:accent2>
        <a:accent3>
          <a:srgbClr val="FFFFFF"/>
        </a:accent3>
        <a:accent4>
          <a:srgbClr val="000000"/>
        </a:accent4>
        <a:accent5>
          <a:srgbClr val="ACBEE0"/>
        </a:accent5>
        <a:accent6>
          <a:srgbClr val="000000"/>
        </a:accent6>
        <a:hlink>
          <a:srgbClr val="287AC8"/>
        </a:hlink>
        <a:folHlink>
          <a:srgbClr val="CFFFA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6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00A1FA"/>
        </a:accent1>
        <a:accent2>
          <a:srgbClr val="008000"/>
        </a:accent2>
        <a:accent3>
          <a:srgbClr val="FFFFFF"/>
        </a:accent3>
        <a:accent4>
          <a:srgbClr val="000000"/>
        </a:accent4>
        <a:accent5>
          <a:srgbClr val="AACDFC"/>
        </a:accent5>
        <a:accent6>
          <a:srgbClr val="007300"/>
        </a:accent6>
        <a:hlink>
          <a:srgbClr val="E4BE00"/>
        </a:hlink>
        <a:folHlink>
          <a:srgbClr val="AF070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7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4B6EC0"/>
        </a:accent1>
        <a:accent2>
          <a:srgbClr val="C6E2FE"/>
        </a:accent2>
        <a:accent3>
          <a:srgbClr val="FFFFFF"/>
        </a:accent3>
        <a:accent4>
          <a:srgbClr val="000000"/>
        </a:accent4>
        <a:accent5>
          <a:srgbClr val="B1BADC"/>
        </a:accent5>
        <a:accent6>
          <a:srgbClr val="B3CDE6"/>
        </a:accent6>
        <a:hlink>
          <a:srgbClr val="FFCC66"/>
        </a:hlink>
        <a:folHlink>
          <a:srgbClr val="93FF9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8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4B6EC0"/>
        </a:accent1>
        <a:accent2>
          <a:srgbClr val="C6E2FE"/>
        </a:accent2>
        <a:accent3>
          <a:srgbClr val="FFFFFF"/>
        </a:accent3>
        <a:accent4>
          <a:srgbClr val="000000"/>
        </a:accent4>
        <a:accent5>
          <a:srgbClr val="B1BADC"/>
        </a:accent5>
        <a:accent6>
          <a:srgbClr val="B3CDE6"/>
        </a:accent6>
        <a:hlink>
          <a:srgbClr val="FFCC66"/>
        </a:hlink>
        <a:folHlink>
          <a:srgbClr val="0B817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9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4B6EC0"/>
        </a:accent1>
        <a:accent2>
          <a:srgbClr val="C6E2FE"/>
        </a:accent2>
        <a:accent3>
          <a:srgbClr val="FFFFFF"/>
        </a:accent3>
        <a:accent4>
          <a:srgbClr val="000000"/>
        </a:accent4>
        <a:accent5>
          <a:srgbClr val="B1BADC"/>
        </a:accent5>
        <a:accent6>
          <a:srgbClr val="B3CDE6"/>
        </a:accent6>
        <a:hlink>
          <a:srgbClr val="FFCC66"/>
        </a:hlink>
        <a:folHlink>
          <a:srgbClr val="BC002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0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4B6EC0"/>
        </a:accent1>
        <a:accent2>
          <a:srgbClr val="C6E2FE"/>
        </a:accent2>
        <a:accent3>
          <a:srgbClr val="FFFFFF"/>
        </a:accent3>
        <a:accent4>
          <a:srgbClr val="000000"/>
        </a:accent4>
        <a:accent5>
          <a:srgbClr val="B1BADC"/>
        </a:accent5>
        <a:accent6>
          <a:srgbClr val="B3CDE6"/>
        </a:accent6>
        <a:hlink>
          <a:srgbClr val="FFCC66"/>
        </a:hlink>
        <a:folHlink>
          <a:srgbClr val="26267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1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4B6EC0"/>
        </a:accent1>
        <a:accent2>
          <a:srgbClr val="C6E2FE"/>
        </a:accent2>
        <a:accent3>
          <a:srgbClr val="FFFFFF"/>
        </a:accent3>
        <a:accent4>
          <a:srgbClr val="000000"/>
        </a:accent4>
        <a:accent5>
          <a:srgbClr val="B1BADC"/>
        </a:accent5>
        <a:accent6>
          <a:srgbClr val="B3CDE6"/>
        </a:accent6>
        <a:hlink>
          <a:srgbClr val="FFCC66"/>
        </a:hlink>
        <a:folHlink>
          <a:srgbClr val="08406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2">
        <a:dk1>
          <a:srgbClr val="000000"/>
        </a:dk1>
        <a:lt1>
          <a:srgbClr val="FFFFFF"/>
        </a:lt1>
        <a:dk2>
          <a:srgbClr val="4B6EC0"/>
        </a:dk2>
        <a:lt2>
          <a:srgbClr val="4D4D4D"/>
        </a:lt2>
        <a:accent1>
          <a:srgbClr val="CDE5FE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3F0FE"/>
        </a:accent5>
        <a:accent6>
          <a:srgbClr val="E7B95C"/>
        </a:accent6>
        <a:hlink>
          <a:srgbClr val="08406E"/>
        </a:hlink>
        <a:folHlink>
          <a:srgbClr val="08406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3">
        <a:dk1>
          <a:srgbClr val="000000"/>
        </a:dk1>
        <a:lt1>
          <a:srgbClr val="FFFFFF"/>
        </a:lt1>
        <a:dk2>
          <a:srgbClr val="4B6EC0"/>
        </a:dk2>
        <a:lt2>
          <a:srgbClr val="4D4D4D"/>
        </a:lt2>
        <a:accent1>
          <a:srgbClr val="CDE5FE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3F0FE"/>
        </a:accent5>
        <a:accent6>
          <a:srgbClr val="E7B95C"/>
        </a:accent6>
        <a:hlink>
          <a:srgbClr val="104058"/>
        </a:hlink>
        <a:folHlink>
          <a:srgbClr val="08406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4">
        <a:dk1>
          <a:srgbClr val="000000"/>
        </a:dk1>
        <a:lt1>
          <a:srgbClr val="FFFFFF"/>
        </a:lt1>
        <a:dk2>
          <a:srgbClr val="4B6EC0"/>
        </a:dk2>
        <a:lt2>
          <a:srgbClr val="4D4D4D"/>
        </a:lt2>
        <a:accent1>
          <a:srgbClr val="CDE5FE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3F0FE"/>
        </a:accent5>
        <a:accent6>
          <a:srgbClr val="E7B95C"/>
        </a:accent6>
        <a:hlink>
          <a:srgbClr val="364068"/>
        </a:hlink>
        <a:folHlink>
          <a:srgbClr val="08406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5">
        <a:dk1>
          <a:srgbClr val="000000"/>
        </a:dk1>
        <a:lt1>
          <a:srgbClr val="FFFFFF"/>
        </a:lt1>
        <a:dk2>
          <a:srgbClr val="4B6EC0"/>
        </a:dk2>
        <a:lt2>
          <a:srgbClr val="4D4D4D"/>
        </a:lt2>
        <a:accent1>
          <a:srgbClr val="CDE5FE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3F0FE"/>
        </a:accent5>
        <a:accent6>
          <a:srgbClr val="E7B95C"/>
        </a:accent6>
        <a:hlink>
          <a:srgbClr val="273D6F"/>
        </a:hlink>
        <a:folHlink>
          <a:srgbClr val="99FF9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6">
        <a:dk1>
          <a:srgbClr val="000000"/>
        </a:dk1>
        <a:lt1>
          <a:srgbClr val="FFFFFF"/>
        </a:lt1>
        <a:dk2>
          <a:srgbClr val="4B6EC0"/>
        </a:dk2>
        <a:lt2>
          <a:srgbClr val="4D4D4D"/>
        </a:lt2>
        <a:accent1>
          <a:srgbClr val="CDE5FE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3F0FE"/>
        </a:accent5>
        <a:accent6>
          <a:srgbClr val="E7B95C"/>
        </a:accent6>
        <a:hlink>
          <a:srgbClr val="273D6F"/>
        </a:hlink>
        <a:folHlink>
          <a:srgbClr val="CCFFCC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1.xml><?xml version="1.0" encoding="utf-8"?>
<a:theme xmlns:a="http://schemas.openxmlformats.org/drawingml/2006/main" name="22_EPS_Custom_print">
  <a:themeElements>
    <a:clrScheme name="BRANDBOOK">
      <a:dk1>
        <a:srgbClr val="00294F"/>
      </a:dk1>
      <a:lt1>
        <a:srgbClr val="FFFFFF"/>
      </a:lt1>
      <a:dk2>
        <a:srgbClr val="007AC2"/>
      </a:dk2>
      <a:lt2>
        <a:srgbClr val="999B9E"/>
      </a:lt2>
      <a:accent1>
        <a:srgbClr val="DEE2E4"/>
      </a:accent1>
      <a:accent2>
        <a:srgbClr val="016EB3"/>
      </a:accent2>
      <a:accent3>
        <a:srgbClr val="92C5EB"/>
      </a:accent3>
      <a:accent4>
        <a:srgbClr val="333132"/>
      </a:accent4>
      <a:accent5>
        <a:srgbClr val="D1D3D4"/>
      </a:accent5>
      <a:accent6>
        <a:srgbClr val="ED1C24"/>
      </a:accent6>
      <a:hlink>
        <a:srgbClr val="47C2FF"/>
      </a:hlink>
      <a:folHlink>
        <a:srgbClr val="0E6ABE"/>
      </a:folHlink>
    </a:clrScheme>
    <a:fontScheme name="Классическая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1" lang="en-US" sz="1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ahoma" pitchFamily="34" charset="0"/>
            <a:ea typeface="PMingLiU" pitchFamily="18" charset="-12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1" lang="en-US" sz="1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ahoma" pitchFamily="34" charset="0"/>
            <a:ea typeface="PMingLiU" pitchFamily="18" charset="-120"/>
          </a:defRPr>
        </a:defPPr>
      </a:lstStyle>
    </a:lnDef>
  </a:objectDefaults>
  <a:extraClrSchemeLst>
    <a:extraClrScheme>
      <a:clrScheme name="1_EPS_Custom_print 1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0000"/>
        </a:accent1>
        <a:accent2>
          <a:srgbClr val="000000"/>
        </a:accent2>
        <a:accent3>
          <a:srgbClr val="FFFFFF"/>
        </a:accent3>
        <a:accent4>
          <a:srgbClr val="000000"/>
        </a:accent4>
        <a:accent5>
          <a:srgbClr val="AAAAAA"/>
        </a:accent5>
        <a:accent6>
          <a:srgbClr val="000000"/>
        </a:accent6>
        <a:hlink>
          <a:srgbClr val="000000"/>
        </a:hlink>
        <a:folHlink>
          <a:srgbClr val="00FFC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3">
        <a:dk1>
          <a:srgbClr val="808080"/>
        </a:dk1>
        <a:lt1>
          <a:srgbClr val="FFFFFF"/>
        </a:lt1>
        <a:dk2>
          <a:srgbClr val="000000"/>
        </a:dk2>
        <a:lt2>
          <a:srgbClr val="FFFFFF"/>
        </a:lt2>
        <a:accent1>
          <a:srgbClr val="FF0000"/>
        </a:accent1>
        <a:accent2>
          <a:srgbClr val="FFFF00"/>
        </a:accent2>
        <a:accent3>
          <a:srgbClr val="AAAAAA"/>
        </a:accent3>
        <a:accent4>
          <a:srgbClr val="DADADA"/>
        </a:accent4>
        <a:accent5>
          <a:srgbClr val="FFAAAA"/>
        </a:accent5>
        <a:accent6>
          <a:srgbClr val="E7E700"/>
        </a:accent6>
        <a:hlink>
          <a:srgbClr val="FF0000"/>
        </a:hlink>
        <a:folHlink>
          <a:srgbClr val="0080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EPS_Custom_print 4">
        <a:dk1>
          <a:srgbClr val="000000"/>
        </a:dk1>
        <a:lt1>
          <a:srgbClr val="FFFFFF"/>
        </a:lt1>
        <a:dk2>
          <a:srgbClr val="000000"/>
        </a:dk2>
        <a:lt2>
          <a:srgbClr val="4D4D4D"/>
        </a:lt2>
        <a:accent1>
          <a:srgbClr val="287AC8"/>
        </a:accent1>
        <a:accent2>
          <a:srgbClr val="000000"/>
        </a:accent2>
        <a:accent3>
          <a:srgbClr val="FFFFFF"/>
        </a:accent3>
        <a:accent4>
          <a:srgbClr val="000000"/>
        </a:accent4>
        <a:accent5>
          <a:srgbClr val="ACBEE0"/>
        </a:accent5>
        <a:accent6>
          <a:srgbClr val="000000"/>
        </a:accent6>
        <a:hlink>
          <a:srgbClr val="287AC8"/>
        </a:hlink>
        <a:folHlink>
          <a:srgbClr val="CFFFA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5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287AC8"/>
        </a:accent1>
        <a:accent2>
          <a:srgbClr val="000000"/>
        </a:accent2>
        <a:accent3>
          <a:srgbClr val="FFFFFF"/>
        </a:accent3>
        <a:accent4>
          <a:srgbClr val="000000"/>
        </a:accent4>
        <a:accent5>
          <a:srgbClr val="ACBEE0"/>
        </a:accent5>
        <a:accent6>
          <a:srgbClr val="000000"/>
        </a:accent6>
        <a:hlink>
          <a:srgbClr val="287AC8"/>
        </a:hlink>
        <a:folHlink>
          <a:srgbClr val="CFFFA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6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00A1FA"/>
        </a:accent1>
        <a:accent2>
          <a:srgbClr val="008000"/>
        </a:accent2>
        <a:accent3>
          <a:srgbClr val="FFFFFF"/>
        </a:accent3>
        <a:accent4>
          <a:srgbClr val="000000"/>
        </a:accent4>
        <a:accent5>
          <a:srgbClr val="AACDFC"/>
        </a:accent5>
        <a:accent6>
          <a:srgbClr val="007300"/>
        </a:accent6>
        <a:hlink>
          <a:srgbClr val="E4BE00"/>
        </a:hlink>
        <a:folHlink>
          <a:srgbClr val="AF070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7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4B6EC0"/>
        </a:accent1>
        <a:accent2>
          <a:srgbClr val="C6E2FE"/>
        </a:accent2>
        <a:accent3>
          <a:srgbClr val="FFFFFF"/>
        </a:accent3>
        <a:accent4>
          <a:srgbClr val="000000"/>
        </a:accent4>
        <a:accent5>
          <a:srgbClr val="B1BADC"/>
        </a:accent5>
        <a:accent6>
          <a:srgbClr val="B3CDE6"/>
        </a:accent6>
        <a:hlink>
          <a:srgbClr val="FFCC66"/>
        </a:hlink>
        <a:folHlink>
          <a:srgbClr val="93FF9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8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4B6EC0"/>
        </a:accent1>
        <a:accent2>
          <a:srgbClr val="C6E2FE"/>
        </a:accent2>
        <a:accent3>
          <a:srgbClr val="FFFFFF"/>
        </a:accent3>
        <a:accent4>
          <a:srgbClr val="000000"/>
        </a:accent4>
        <a:accent5>
          <a:srgbClr val="B1BADC"/>
        </a:accent5>
        <a:accent6>
          <a:srgbClr val="B3CDE6"/>
        </a:accent6>
        <a:hlink>
          <a:srgbClr val="FFCC66"/>
        </a:hlink>
        <a:folHlink>
          <a:srgbClr val="0B817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9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4B6EC0"/>
        </a:accent1>
        <a:accent2>
          <a:srgbClr val="C6E2FE"/>
        </a:accent2>
        <a:accent3>
          <a:srgbClr val="FFFFFF"/>
        </a:accent3>
        <a:accent4>
          <a:srgbClr val="000000"/>
        </a:accent4>
        <a:accent5>
          <a:srgbClr val="B1BADC"/>
        </a:accent5>
        <a:accent6>
          <a:srgbClr val="B3CDE6"/>
        </a:accent6>
        <a:hlink>
          <a:srgbClr val="FFCC66"/>
        </a:hlink>
        <a:folHlink>
          <a:srgbClr val="BC002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0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4B6EC0"/>
        </a:accent1>
        <a:accent2>
          <a:srgbClr val="C6E2FE"/>
        </a:accent2>
        <a:accent3>
          <a:srgbClr val="FFFFFF"/>
        </a:accent3>
        <a:accent4>
          <a:srgbClr val="000000"/>
        </a:accent4>
        <a:accent5>
          <a:srgbClr val="B1BADC"/>
        </a:accent5>
        <a:accent6>
          <a:srgbClr val="B3CDE6"/>
        </a:accent6>
        <a:hlink>
          <a:srgbClr val="FFCC66"/>
        </a:hlink>
        <a:folHlink>
          <a:srgbClr val="26267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1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4B6EC0"/>
        </a:accent1>
        <a:accent2>
          <a:srgbClr val="C6E2FE"/>
        </a:accent2>
        <a:accent3>
          <a:srgbClr val="FFFFFF"/>
        </a:accent3>
        <a:accent4>
          <a:srgbClr val="000000"/>
        </a:accent4>
        <a:accent5>
          <a:srgbClr val="B1BADC"/>
        </a:accent5>
        <a:accent6>
          <a:srgbClr val="B3CDE6"/>
        </a:accent6>
        <a:hlink>
          <a:srgbClr val="FFCC66"/>
        </a:hlink>
        <a:folHlink>
          <a:srgbClr val="08406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2">
        <a:dk1>
          <a:srgbClr val="000000"/>
        </a:dk1>
        <a:lt1>
          <a:srgbClr val="FFFFFF"/>
        </a:lt1>
        <a:dk2>
          <a:srgbClr val="4B6EC0"/>
        </a:dk2>
        <a:lt2>
          <a:srgbClr val="4D4D4D"/>
        </a:lt2>
        <a:accent1>
          <a:srgbClr val="CDE5FE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3F0FE"/>
        </a:accent5>
        <a:accent6>
          <a:srgbClr val="E7B95C"/>
        </a:accent6>
        <a:hlink>
          <a:srgbClr val="08406E"/>
        </a:hlink>
        <a:folHlink>
          <a:srgbClr val="08406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3">
        <a:dk1>
          <a:srgbClr val="000000"/>
        </a:dk1>
        <a:lt1>
          <a:srgbClr val="FFFFFF"/>
        </a:lt1>
        <a:dk2>
          <a:srgbClr val="4B6EC0"/>
        </a:dk2>
        <a:lt2>
          <a:srgbClr val="4D4D4D"/>
        </a:lt2>
        <a:accent1>
          <a:srgbClr val="CDE5FE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3F0FE"/>
        </a:accent5>
        <a:accent6>
          <a:srgbClr val="E7B95C"/>
        </a:accent6>
        <a:hlink>
          <a:srgbClr val="104058"/>
        </a:hlink>
        <a:folHlink>
          <a:srgbClr val="08406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4">
        <a:dk1>
          <a:srgbClr val="000000"/>
        </a:dk1>
        <a:lt1>
          <a:srgbClr val="FFFFFF"/>
        </a:lt1>
        <a:dk2>
          <a:srgbClr val="4B6EC0"/>
        </a:dk2>
        <a:lt2>
          <a:srgbClr val="4D4D4D"/>
        </a:lt2>
        <a:accent1>
          <a:srgbClr val="CDE5FE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3F0FE"/>
        </a:accent5>
        <a:accent6>
          <a:srgbClr val="E7B95C"/>
        </a:accent6>
        <a:hlink>
          <a:srgbClr val="364068"/>
        </a:hlink>
        <a:folHlink>
          <a:srgbClr val="08406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5">
        <a:dk1>
          <a:srgbClr val="000000"/>
        </a:dk1>
        <a:lt1>
          <a:srgbClr val="FFFFFF"/>
        </a:lt1>
        <a:dk2>
          <a:srgbClr val="4B6EC0"/>
        </a:dk2>
        <a:lt2>
          <a:srgbClr val="4D4D4D"/>
        </a:lt2>
        <a:accent1>
          <a:srgbClr val="CDE5FE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3F0FE"/>
        </a:accent5>
        <a:accent6>
          <a:srgbClr val="E7B95C"/>
        </a:accent6>
        <a:hlink>
          <a:srgbClr val="273D6F"/>
        </a:hlink>
        <a:folHlink>
          <a:srgbClr val="99FF9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6">
        <a:dk1>
          <a:srgbClr val="000000"/>
        </a:dk1>
        <a:lt1>
          <a:srgbClr val="FFFFFF"/>
        </a:lt1>
        <a:dk2>
          <a:srgbClr val="4B6EC0"/>
        </a:dk2>
        <a:lt2>
          <a:srgbClr val="4D4D4D"/>
        </a:lt2>
        <a:accent1>
          <a:srgbClr val="CDE5FE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3F0FE"/>
        </a:accent5>
        <a:accent6>
          <a:srgbClr val="E7B95C"/>
        </a:accent6>
        <a:hlink>
          <a:srgbClr val="273D6F"/>
        </a:hlink>
        <a:folHlink>
          <a:srgbClr val="CCFFCC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2.xml><?xml version="1.0" encoding="utf-8"?>
<a:theme xmlns:a="http://schemas.openxmlformats.org/drawingml/2006/main" name="1_Bain A4 Alrosa">
  <a:themeElements>
    <a:clrScheme name="Custom 1">
      <a:dk1>
        <a:srgbClr val="003149"/>
      </a:dk1>
      <a:lt1>
        <a:srgbClr val="FFFFFF"/>
      </a:lt1>
      <a:dk2>
        <a:srgbClr val="000000"/>
      </a:dk2>
      <a:lt2>
        <a:srgbClr val="A0A1A6"/>
      </a:lt2>
      <a:accent1>
        <a:srgbClr val="006393"/>
      </a:accent1>
      <a:accent2>
        <a:srgbClr val="0091BF"/>
      </a:accent2>
      <a:accent3>
        <a:srgbClr val="61A48D"/>
      </a:accent3>
      <a:accent4>
        <a:srgbClr val="2FBFE2"/>
      </a:accent4>
      <a:accent5>
        <a:srgbClr val="39CEA6"/>
      </a:accent5>
      <a:accent6>
        <a:srgbClr val="799FFF"/>
      </a:accent6>
      <a:hlink>
        <a:srgbClr val="000000"/>
      </a:hlink>
      <a:folHlink>
        <a:srgbClr val="CC0000"/>
      </a:folHlink>
    </a:clrScheme>
    <a:fontScheme name="Bain A4 Alrosa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>
            <a:lumMod val="95000"/>
          </a:schemeClr>
        </a:solidFill>
        <a:ln w="19050">
          <a:noFill/>
        </a:ln>
      </a:spPr>
      <a:bodyPr lIns="36000" tIns="36000" rIns="36000" bIns="36000" rtlCol="0" anchor="ctr"/>
      <a:lstStyle>
        <a:defPPr algn="ctr">
          <a:defRPr sz="16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36000" tIns="36000" rIns="36000" bIns="36000" rtlCol="0">
        <a:spAutoFit/>
      </a:bodyPr>
      <a:lstStyle>
        <a:defPPr>
          <a:defRPr sz="2000" dirty="0" err="1" smtClean="0"/>
        </a:defPPr>
      </a:lstStyle>
    </a:txDef>
  </a:objectDefaults>
  <a:extraClrSchemeLst/>
</a:theme>
</file>

<file path=ppt/theme/theme23.xml><?xml version="1.0" encoding="utf-8"?>
<a:theme xmlns:a="http://schemas.openxmlformats.org/drawingml/2006/main" name="3_Bain A4 Alrosa">
  <a:themeElements>
    <a:clrScheme name="Custom 1">
      <a:dk1>
        <a:srgbClr val="003149"/>
      </a:dk1>
      <a:lt1>
        <a:srgbClr val="FFFFFF"/>
      </a:lt1>
      <a:dk2>
        <a:srgbClr val="000000"/>
      </a:dk2>
      <a:lt2>
        <a:srgbClr val="A0A1A6"/>
      </a:lt2>
      <a:accent1>
        <a:srgbClr val="006393"/>
      </a:accent1>
      <a:accent2>
        <a:srgbClr val="0091BF"/>
      </a:accent2>
      <a:accent3>
        <a:srgbClr val="61A48D"/>
      </a:accent3>
      <a:accent4>
        <a:srgbClr val="2FBFE2"/>
      </a:accent4>
      <a:accent5>
        <a:srgbClr val="39CEA6"/>
      </a:accent5>
      <a:accent6>
        <a:srgbClr val="799FFF"/>
      </a:accent6>
      <a:hlink>
        <a:srgbClr val="000000"/>
      </a:hlink>
      <a:folHlink>
        <a:srgbClr val="CC0000"/>
      </a:folHlink>
    </a:clrScheme>
    <a:fontScheme name="Bain A4 Alrosa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>
            <a:lumMod val="95000"/>
          </a:schemeClr>
        </a:solidFill>
        <a:ln w="19050">
          <a:noFill/>
        </a:ln>
      </a:spPr>
      <a:bodyPr lIns="36000" tIns="36000" rIns="36000" bIns="36000" rtlCol="0" anchor="ctr"/>
      <a:lstStyle>
        <a:defPPr algn="ctr">
          <a:defRPr sz="16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36000" tIns="36000" rIns="36000" bIns="36000" rtlCol="0">
        <a:spAutoFit/>
      </a:bodyPr>
      <a:lstStyle>
        <a:defPPr>
          <a:defRPr sz="2000" dirty="0" err="1" smtClean="0"/>
        </a:defPPr>
      </a:lstStyle>
    </a:txDef>
  </a:objectDefaults>
  <a:extraClrSchemeLst/>
</a:theme>
</file>

<file path=ppt/theme/theme24.xml><?xml version="1.0" encoding="utf-8"?>
<a:theme xmlns:a="http://schemas.openxmlformats.org/drawingml/2006/main" name="23_EPS_Custom_print">
  <a:themeElements>
    <a:clrScheme name="BRANDBOOK">
      <a:dk1>
        <a:srgbClr val="00294F"/>
      </a:dk1>
      <a:lt1>
        <a:srgbClr val="FFFFFF"/>
      </a:lt1>
      <a:dk2>
        <a:srgbClr val="007AC2"/>
      </a:dk2>
      <a:lt2>
        <a:srgbClr val="999B9E"/>
      </a:lt2>
      <a:accent1>
        <a:srgbClr val="DEE2E4"/>
      </a:accent1>
      <a:accent2>
        <a:srgbClr val="016EB3"/>
      </a:accent2>
      <a:accent3>
        <a:srgbClr val="92C5EB"/>
      </a:accent3>
      <a:accent4>
        <a:srgbClr val="333132"/>
      </a:accent4>
      <a:accent5>
        <a:srgbClr val="D1D3D4"/>
      </a:accent5>
      <a:accent6>
        <a:srgbClr val="ED1C24"/>
      </a:accent6>
      <a:hlink>
        <a:srgbClr val="47C2FF"/>
      </a:hlink>
      <a:folHlink>
        <a:srgbClr val="0E6ABE"/>
      </a:folHlink>
    </a:clrScheme>
    <a:fontScheme name="Классическая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1" lang="en-US" sz="1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ahoma" pitchFamily="34" charset="0"/>
            <a:ea typeface="PMingLiU" pitchFamily="18" charset="-12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1" lang="en-US" sz="1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ahoma" pitchFamily="34" charset="0"/>
            <a:ea typeface="PMingLiU" pitchFamily="18" charset="-120"/>
          </a:defRPr>
        </a:defPPr>
      </a:lstStyle>
    </a:lnDef>
  </a:objectDefaults>
  <a:extraClrSchemeLst>
    <a:extraClrScheme>
      <a:clrScheme name="1_EPS_Custom_print 1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0000"/>
        </a:accent1>
        <a:accent2>
          <a:srgbClr val="000000"/>
        </a:accent2>
        <a:accent3>
          <a:srgbClr val="FFFFFF"/>
        </a:accent3>
        <a:accent4>
          <a:srgbClr val="000000"/>
        </a:accent4>
        <a:accent5>
          <a:srgbClr val="AAAAAA"/>
        </a:accent5>
        <a:accent6>
          <a:srgbClr val="000000"/>
        </a:accent6>
        <a:hlink>
          <a:srgbClr val="000000"/>
        </a:hlink>
        <a:folHlink>
          <a:srgbClr val="00FFC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3">
        <a:dk1>
          <a:srgbClr val="808080"/>
        </a:dk1>
        <a:lt1>
          <a:srgbClr val="FFFFFF"/>
        </a:lt1>
        <a:dk2>
          <a:srgbClr val="000000"/>
        </a:dk2>
        <a:lt2>
          <a:srgbClr val="FFFFFF"/>
        </a:lt2>
        <a:accent1>
          <a:srgbClr val="FF0000"/>
        </a:accent1>
        <a:accent2>
          <a:srgbClr val="FFFF00"/>
        </a:accent2>
        <a:accent3>
          <a:srgbClr val="AAAAAA"/>
        </a:accent3>
        <a:accent4>
          <a:srgbClr val="DADADA"/>
        </a:accent4>
        <a:accent5>
          <a:srgbClr val="FFAAAA"/>
        </a:accent5>
        <a:accent6>
          <a:srgbClr val="E7E700"/>
        </a:accent6>
        <a:hlink>
          <a:srgbClr val="FF0000"/>
        </a:hlink>
        <a:folHlink>
          <a:srgbClr val="0080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EPS_Custom_print 4">
        <a:dk1>
          <a:srgbClr val="000000"/>
        </a:dk1>
        <a:lt1>
          <a:srgbClr val="FFFFFF"/>
        </a:lt1>
        <a:dk2>
          <a:srgbClr val="000000"/>
        </a:dk2>
        <a:lt2>
          <a:srgbClr val="4D4D4D"/>
        </a:lt2>
        <a:accent1>
          <a:srgbClr val="287AC8"/>
        </a:accent1>
        <a:accent2>
          <a:srgbClr val="000000"/>
        </a:accent2>
        <a:accent3>
          <a:srgbClr val="FFFFFF"/>
        </a:accent3>
        <a:accent4>
          <a:srgbClr val="000000"/>
        </a:accent4>
        <a:accent5>
          <a:srgbClr val="ACBEE0"/>
        </a:accent5>
        <a:accent6>
          <a:srgbClr val="000000"/>
        </a:accent6>
        <a:hlink>
          <a:srgbClr val="287AC8"/>
        </a:hlink>
        <a:folHlink>
          <a:srgbClr val="CFFFA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5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287AC8"/>
        </a:accent1>
        <a:accent2>
          <a:srgbClr val="000000"/>
        </a:accent2>
        <a:accent3>
          <a:srgbClr val="FFFFFF"/>
        </a:accent3>
        <a:accent4>
          <a:srgbClr val="000000"/>
        </a:accent4>
        <a:accent5>
          <a:srgbClr val="ACBEE0"/>
        </a:accent5>
        <a:accent6>
          <a:srgbClr val="000000"/>
        </a:accent6>
        <a:hlink>
          <a:srgbClr val="287AC8"/>
        </a:hlink>
        <a:folHlink>
          <a:srgbClr val="CFFFA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6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00A1FA"/>
        </a:accent1>
        <a:accent2>
          <a:srgbClr val="008000"/>
        </a:accent2>
        <a:accent3>
          <a:srgbClr val="FFFFFF"/>
        </a:accent3>
        <a:accent4>
          <a:srgbClr val="000000"/>
        </a:accent4>
        <a:accent5>
          <a:srgbClr val="AACDFC"/>
        </a:accent5>
        <a:accent6>
          <a:srgbClr val="007300"/>
        </a:accent6>
        <a:hlink>
          <a:srgbClr val="E4BE00"/>
        </a:hlink>
        <a:folHlink>
          <a:srgbClr val="AF070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7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4B6EC0"/>
        </a:accent1>
        <a:accent2>
          <a:srgbClr val="C6E2FE"/>
        </a:accent2>
        <a:accent3>
          <a:srgbClr val="FFFFFF"/>
        </a:accent3>
        <a:accent4>
          <a:srgbClr val="000000"/>
        </a:accent4>
        <a:accent5>
          <a:srgbClr val="B1BADC"/>
        </a:accent5>
        <a:accent6>
          <a:srgbClr val="B3CDE6"/>
        </a:accent6>
        <a:hlink>
          <a:srgbClr val="FFCC66"/>
        </a:hlink>
        <a:folHlink>
          <a:srgbClr val="93FF9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8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4B6EC0"/>
        </a:accent1>
        <a:accent2>
          <a:srgbClr val="C6E2FE"/>
        </a:accent2>
        <a:accent3>
          <a:srgbClr val="FFFFFF"/>
        </a:accent3>
        <a:accent4>
          <a:srgbClr val="000000"/>
        </a:accent4>
        <a:accent5>
          <a:srgbClr val="B1BADC"/>
        </a:accent5>
        <a:accent6>
          <a:srgbClr val="B3CDE6"/>
        </a:accent6>
        <a:hlink>
          <a:srgbClr val="FFCC66"/>
        </a:hlink>
        <a:folHlink>
          <a:srgbClr val="0B817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9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4B6EC0"/>
        </a:accent1>
        <a:accent2>
          <a:srgbClr val="C6E2FE"/>
        </a:accent2>
        <a:accent3>
          <a:srgbClr val="FFFFFF"/>
        </a:accent3>
        <a:accent4>
          <a:srgbClr val="000000"/>
        </a:accent4>
        <a:accent5>
          <a:srgbClr val="B1BADC"/>
        </a:accent5>
        <a:accent6>
          <a:srgbClr val="B3CDE6"/>
        </a:accent6>
        <a:hlink>
          <a:srgbClr val="FFCC66"/>
        </a:hlink>
        <a:folHlink>
          <a:srgbClr val="BC002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0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4B6EC0"/>
        </a:accent1>
        <a:accent2>
          <a:srgbClr val="C6E2FE"/>
        </a:accent2>
        <a:accent3>
          <a:srgbClr val="FFFFFF"/>
        </a:accent3>
        <a:accent4>
          <a:srgbClr val="000000"/>
        </a:accent4>
        <a:accent5>
          <a:srgbClr val="B1BADC"/>
        </a:accent5>
        <a:accent6>
          <a:srgbClr val="B3CDE6"/>
        </a:accent6>
        <a:hlink>
          <a:srgbClr val="FFCC66"/>
        </a:hlink>
        <a:folHlink>
          <a:srgbClr val="26267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1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4B6EC0"/>
        </a:accent1>
        <a:accent2>
          <a:srgbClr val="C6E2FE"/>
        </a:accent2>
        <a:accent3>
          <a:srgbClr val="FFFFFF"/>
        </a:accent3>
        <a:accent4>
          <a:srgbClr val="000000"/>
        </a:accent4>
        <a:accent5>
          <a:srgbClr val="B1BADC"/>
        </a:accent5>
        <a:accent6>
          <a:srgbClr val="B3CDE6"/>
        </a:accent6>
        <a:hlink>
          <a:srgbClr val="FFCC66"/>
        </a:hlink>
        <a:folHlink>
          <a:srgbClr val="08406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2">
        <a:dk1>
          <a:srgbClr val="000000"/>
        </a:dk1>
        <a:lt1>
          <a:srgbClr val="FFFFFF"/>
        </a:lt1>
        <a:dk2>
          <a:srgbClr val="4B6EC0"/>
        </a:dk2>
        <a:lt2>
          <a:srgbClr val="4D4D4D"/>
        </a:lt2>
        <a:accent1>
          <a:srgbClr val="CDE5FE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3F0FE"/>
        </a:accent5>
        <a:accent6>
          <a:srgbClr val="E7B95C"/>
        </a:accent6>
        <a:hlink>
          <a:srgbClr val="08406E"/>
        </a:hlink>
        <a:folHlink>
          <a:srgbClr val="08406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3">
        <a:dk1>
          <a:srgbClr val="000000"/>
        </a:dk1>
        <a:lt1>
          <a:srgbClr val="FFFFFF"/>
        </a:lt1>
        <a:dk2>
          <a:srgbClr val="4B6EC0"/>
        </a:dk2>
        <a:lt2>
          <a:srgbClr val="4D4D4D"/>
        </a:lt2>
        <a:accent1>
          <a:srgbClr val="CDE5FE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3F0FE"/>
        </a:accent5>
        <a:accent6>
          <a:srgbClr val="E7B95C"/>
        </a:accent6>
        <a:hlink>
          <a:srgbClr val="104058"/>
        </a:hlink>
        <a:folHlink>
          <a:srgbClr val="08406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4">
        <a:dk1>
          <a:srgbClr val="000000"/>
        </a:dk1>
        <a:lt1>
          <a:srgbClr val="FFFFFF"/>
        </a:lt1>
        <a:dk2>
          <a:srgbClr val="4B6EC0"/>
        </a:dk2>
        <a:lt2>
          <a:srgbClr val="4D4D4D"/>
        </a:lt2>
        <a:accent1>
          <a:srgbClr val="CDE5FE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3F0FE"/>
        </a:accent5>
        <a:accent6>
          <a:srgbClr val="E7B95C"/>
        </a:accent6>
        <a:hlink>
          <a:srgbClr val="364068"/>
        </a:hlink>
        <a:folHlink>
          <a:srgbClr val="08406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5">
        <a:dk1>
          <a:srgbClr val="000000"/>
        </a:dk1>
        <a:lt1>
          <a:srgbClr val="FFFFFF"/>
        </a:lt1>
        <a:dk2>
          <a:srgbClr val="4B6EC0"/>
        </a:dk2>
        <a:lt2>
          <a:srgbClr val="4D4D4D"/>
        </a:lt2>
        <a:accent1>
          <a:srgbClr val="CDE5FE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3F0FE"/>
        </a:accent5>
        <a:accent6>
          <a:srgbClr val="E7B95C"/>
        </a:accent6>
        <a:hlink>
          <a:srgbClr val="273D6F"/>
        </a:hlink>
        <a:folHlink>
          <a:srgbClr val="99FF9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6">
        <a:dk1>
          <a:srgbClr val="000000"/>
        </a:dk1>
        <a:lt1>
          <a:srgbClr val="FFFFFF"/>
        </a:lt1>
        <a:dk2>
          <a:srgbClr val="4B6EC0"/>
        </a:dk2>
        <a:lt2>
          <a:srgbClr val="4D4D4D"/>
        </a:lt2>
        <a:accent1>
          <a:srgbClr val="CDE5FE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3F0FE"/>
        </a:accent5>
        <a:accent6>
          <a:srgbClr val="E7B95C"/>
        </a:accent6>
        <a:hlink>
          <a:srgbClr val="273D6F"/>
        </a:hlink>
        <a:folHlink>
          <a:srgbClr val="CCFFCC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5.xml><?xml version="1.0" encoding="utf-8"?>
<a:theme xmlns:a="http://schemas.openxmlformats.org/drawingml/2006/main" name="24_EPS_Custom_print">
  <a:themeElements>
    <a:clrScheme name="BRANDBOOK">
      <a:dk1>
        <a:srgbClr val="00294F"/>
      </a:dk1>
      <a:lt1>
        <a:srgbClr val="FFFFFF"/>
      </a:lt1>
      <a:dk2>
        <a:srgbClr val="007AC2"/>
      </a:dk2>
      <a:lt2>
        <a:srgbClr val="999B9E"/>
      </a:lt2>
      <a:accent1>
        <a:srgbClr val="DEE2E4"/>
      </a:accent1>
      <a:accent2>
        <a:srgbClr val="016EB3"/>
      </a:accent2>
      <a:accent3>
        <a:srgbClr val="92C5EB"/>
      </a:accent3>
      <a:accent4>
        <a:srgbClr val="333132"/>
      </a:accent4>
      <a:accent5>
        <a:srgbClr val="D1D3D4"/>
      </a:accent5>
      <a:accent6>
        <a:srgbClr val="ED1C24"/>
      </a:accent6>
      <a:hlink>
        <a:srgbClr val="47C2FF"/>
      </a:hlink>
      <a:folHlink>
        <a:srgbClr val="0E6ABE"/>
      </a:folHlink>
    </a:clrScheme>
    <a:fontScheme name="Классическая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1" lang="en-US" sz="1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ahoma" pitchFamily="34" charset="0"/>
            <a:ea typeface="PMingLiU" pitchFamily="18" charset="-12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1" lang="en-US" sz="1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ahoma" pitchFamily="34" charset="0"/>
            <a:ea typeface="PMingLiU" pitchFamily="18" charset="-120"/>
          </a:defRPr>
        </a:defPPr>
      </a:lstStyle>
    </a:lnDef>
  </a:objectDefaults>
  <a:extraClrSchemeLst>
    <a:extraClrScheme>
      <a:clrScheme name="1_EPS_Custom_print 1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0000"/>
        </a:accent1>
        <a:accent2>
          <a:srgbClr val="000000"/>
        </a:accent2>
        <a:accent3>
          <a:srgbClr val="FFFFFF"/>
        </a:accent3>
        <a:accent4>
          <a:srgbClr val="000000"/>
        </a:accent4>
        <a:accent5>
          <a:srgbClr val="AAAAAA"/>
        </a:accent5>
        <a:accent6>
          <a:srgbClr val="000000"/>
        </a:accent6>
        <a:hlink>
          <a:srgbClr val="000000"/>
        </a:hlink>
        <a:folHlink>
          <a:srgbClr val="00FFC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3">
        <a:dk1>
          <a:srgbClr val="808080"/>
        </a:dk1>
        <a:lt1>
          <a:srgbClr val="FFFFFF"/>
        </a:lt1>
        <a:dk2>
          <a:srgbClr val="000000"/>
        </a:dk2>
        <a:lt2>
          <a:srgbClr val="FFFFFF"/>
        </a:lt2>
        <a:accent1>
          <a:srgbClr val="FF0000"/>
        </a:accent1>
        <a:accent2>
          <a:srgbClr val="FFFF00"/>
        </a:accent2>
        <a:accent3>
          <a:srgbClr val="AAAAAA"/>
        </a:accent3>
        <a:accent4>
          <a:srgbClr val="DADADA"/>
        </a:accent4>
        <a:accent5>
          <a:srgbClr val="FFAAAA"/>
        </a:accent5>
        <a:accent6>
          <a:srgbClr val="E7E700"/>
        </a:accent6>
        <a:hlink>
          <a:srgbClr val="FF0000"/>
        </a:hlink>
        <a:folHlink>
          <a:srgbClr val="0080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EPS_Custom_print 4">
        <a:dk1>
          <a:srgbClr val="000000"/>
        </a:dk1>
        <a:lt1>
          <a:srgbClr val="FFFFFF"/>
        </a:lt1>
        <a:dk2>
          <a:srgbClr val="000000"/>
        </a:dk2>
        <a:lt2>
          <a:srgbClr val="4D4D4D"/>
        </a:lt2>
        <a:accent1>
          <a:srgbClr val="287AC8"/>
        </a:accent1>
        <a:accent2>
          <a:srgbClr val="000000"/>
        </a:accent2>
        <a:accent3>
          <a:srgbClr val="FFFFFF"/>
        </a:accent3>
        <a:accent4>
          <a:srgbClr val="000000"/>
        </a:accent4>
        <a:accent5>
          <a:srgbClr val="ACBEE0"/>
        </a:accent5>
        <a:accent6>
          <a:srgbClr val="000000"/>
        </a:accent6>
        <a:hlink>
          <a:srgbClr val="287AC8"/>
        </a:hlink>
        <a:folHlink>
          <a:srgbClr val="CFFFA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5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287AC8"/>
        </a:accent1>
        <a:accent2>
          <a:srgbClr val="000000"/>
        </a:accent2>
        <a:accent3>
          <a:srgbClr val="FFFFFF"/>
        </a:accent3>
        <a:accent4>
          <a:srgbClr val="000000"/>
        </a:accent4>
        <a:accent5>
          <a:srgbClr val="ACBEE0"/>
        </a:accent5>
        <a:accent6>
          <a:srgbClr val="000000"/>
        </a:accent6>
        <a:hlink>
          <a:srgbClr val="287AC8"/>
        </a:hlink>
        <a:folHlink>
          <a:srgbClr val="CFFFA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6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00A1FA"/>
        </a:accent1>
        <a:accent2>
          <a:srgbClr val="008000"/>
        </a:accent2>
        <a:accent3>
          <a:srgbClr val="FFFFFF"/>
        </a:accent3>
        <a:accent4>
          <a:srgbClr val="000000"/>
        </a:accent4>
        <a:accent5>
          <a:srgbClr val="AACDFC"/>
        </a:accent5>
        <a:accent6>
          <a:srgbClr val="007300"/>
        </a:accent6>
        <a:hlink>
          <a:srgbClr val="E4BE00"/>
        </a:hlink>
        <a:folHlink>
          <a:srgbClr val="AF070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7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4B6EC0"/>
        </a:accent1>
        <a:accent2>
          <a:srgbClr val="C6E2FE"/>
        </a:accent2>
        <a:accent3>
          <a:srgbClr val="FFFFFF"/>
        </a:accent3>
        <a:accent4>
          <a:srgbClr val="000000"/>
        </a:accent4>
        <a:accent5>
          <a:srgbClr val="B1BADC"/>
        </a:accent5>
        <a:accent6>
          <a:srgbClr val="B3CDE6"/>
        </a:accent6>
        <a:hlink>
          <a:srgbClr val="FFCC66"/>
        </a:hlink>
        <a:folHlink>
          <a:srgbClr val="93FF9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8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4B6EC0"/>
        </a:accent1>
        <a:accent2>
          <a:srgbClr val="C6E2FE"/>
        </a:accent2>
        <a:accent3>
          <a:srgbClr val="FFFFFF"/>
        </a:accent3>
        <a:accent4>
          <a:srgbClr val="000000"/>
        </a:accent4>
        <a:accent5>
          <a:srgbClr val="B1BADC"/>
        </a:accent5>
        <a:accent6>
          <a:srgbClr val="B3CDE6"/>
        </a:accent6>
        <a:hlink>
          <a:srgbClr val="FFCC66"/>
        </a:hlink>
        <a:folHlink>
          <a:srgbClr val="0B817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9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4B6EC0"/>
        </a:accent1>
        <a:accent2>
          <a:srgbClr val="C6E2FE"/>
        </a:accent2>
        <a:accent3>
          <a:srgbClr val="FFFFFF"/>
        </a:accent3>
        <a:accent4>
          <a:srgbClr val="000000"/>
        </a:accent4>
        <a:accent5>
          <a:srgbClr val="B1BADC"/>
        </a:accent5>
        <a:accent6>
          <a:srgbClr val="B3CDE6"/>
        </a:accent6>
        <a:hlink>
          <a:srgbClr val="FFCC66"/>
        </a:hlink>
        <a:folHlink>
          <a:srgbClr val="BC002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0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4B6EC0"/>
        </a:accent1>
        <a:accent2>
          <a:srgbClr val="C6E2FE"/>
        </a:accent2>
        <a:accent3>
          <a:srgbClr val="FFFFFF"/>
        </a:accent3>
        <a:accent4>
          <a:srgbClr val="000000"/>
        </a:accent4>
        <a:accent5>
          <a:srgbClr val="B1BADC"/>
        </a:accent5>
        <a:accent6>
          <a:srgbClr val="B3CDE6"/>
        </a:accent6>
        <a:hlink>
          <a:srgbClr val="FFCC66"/>
        </a:hlink>
        <a:folHlink>
          <a:srgbClr val="26267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1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4B6EC0"/>
        </a:accent1>
        <a:accent2>
          <a:srgbClr val="C6E2FE"/>
        </a:accent2>
        <a:accent3>
          <a:srgbClr val="FFFFFF"/>
        </a:accent3>
        <a:accent4>
          <a:srgbClr val="000000"/>
        </a:accent4>
        <a:accent5>
          <a:srgbClr val="B1BADC"/>
        </a:accent5>
        <a:accent6>
          <a:srgbClr val="B3CDE6"/>
        </a:accent6>
        <a:hlink>
          <a:srgbClr val="FFCC66"/>
        </a:hlink>
        <a:folHlink>
          <a:srgbClr val="08406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2">
        <a:dk1>
          <a:srgbClr val="000000"/>
        </a:dk1>
        <a:lt1>
          <a:srgbClr val="FFFFFF"/>
        </a:lt1>
        <a:dk2>
          <a:srgbClr val="4B6EC0"/>
        </a:dk2>
        <a:lt2>
          <a:srgbClr val="4D4D4D"/>
        </a:lt2>
        <a:accent1>
          <a:srgbClr val="CDE5FE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3F0FE"/>
        </a:accent5>
        <a:accent6>
          <a:srgbClr val="E7B95C"/>
        </a:accent6>
        <a:hlink>
          <a:srgbClr val="08406E"/>
        </a:hlink>
        <a:folHlink>
          <a:srgbClr val="08406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3">
        <a:dk1>
          <a:srgbClr val="000000"/>
        </a:dk1>
        <a:lt1>
          <a:srgbClr val="FFFFFF"/>
        </a:lt1>
        <a:dk2>
          <a:srgbClr val="4B6EC0"/>
        </a:dk2>
        <a:lt2>
          <a:srgbClr val="4D4D4D"/>
        </a:lt2>
        <a:accent1>
          <a:srgbClr val="CDE5FE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3F0FE"/>
        </a:accent5>
        <a:accent6>
          <a:srgbClr val="E7B95C"/>
        </a:accent6>
        <a:hlink>
          <a:srgbClr val="104058"/>
        </a:hlink>
        <a:folHlink>
          <a:srgbClr val="08406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4">
        <a:dk1>
          <a:srgbClr val="000000"/>
        </a:dk1>
        <a:lt1>
          <a:srgbClr val="FFFFFF"/>
        </a:lt1>
        <a:dk2>
          <a:srgbClr val="4B6EC0"/>
        </a:dk2>
        <a:lt2>
          <a:srgbClr val="4D4D4D"/>
        </a:lt2>
        <a:accent1>
          <a:srgbClr val="CDE5FE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3F0FE"/>
        </a:accent5>
        <a:accent6>
          <a:srgbClr val="E7B95C"/>
        </a:accent6>
        <a:hlink>
          <a:srgbClr val="364068"/>
        </a:hlink>
        <a:folHlink>
          <a:srgbClr val="08406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5">
        <a:dk1>
          <a:srgbClr val="000000"/>
        </a:dk1>
        <a:lt1>
          <a:srgbClr val="FFFFFF"/>
        </a:lt1>
        <a:dk2>
          <a:srgbClr val="4B6EC0"/>
        </a:dk2>
        <a:lt2>
          <a:srgbClr val="4D4D4D"/>
        </a:lt2>
        <a:accent1>
          <a:srgbClr val="CDE5FE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3F0FE"/>
        </a:accent5>
        <a:accent6>
          <a:srgbClr val="E7B95C"/>
        </a:accent6>
        <a:hlink>
          <a:srgbClr val="273D6F"/>
        </a:hlink>
        <a:folHlink>
          <a:srgbClr val="99FF9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6">
        <a:dk1>
          <a:srgbClr val="000000"/>
        </a:dk1>
        <a:lt1>
          <a:srgbClr val="FFFFFF"/>
        </a:lt1>
        <a:dk2>
          <a:srgbClr val="4B6EC0"/>
        </a:dk2>
        <a:lt2>
          <a:srgbClr val="4D4D4D"/>
        </a:lt2>
        <a:accent1>
          <a:srgbClr val="CDE5FE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3F0FE"/>
        </a:accent5>
        <a:accent6>
          <a:srgbClr val="E7B95C"/>
        </a:accent6>
        <a:hlink>
          <a:srgbClr val="273D6F"/>
        </a:hlink>
        <a:folHlink>
          <a:srgbClr val="CCFFCC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6.xml><?xml version="1.0" encoding="utf-8"?>
<a:theme xmlns:a="http://schemas.openxmlformats.org/drawingml/2006/main" name="5_Bain A4 Alrosa">
  <a:themeElements>
    <a:clrScheme name="Custom 1">
      <a:dk1>
        <a:srgbClr val="003149"/>
      </a:dk1>
      <a:lt1>
        <a:srgbClr val="FFFFFF"/>
      </a:lt1>
      <a:dk2>
        <a:srgbClr val="000000"/>
      </a:dk2>
      <a:lt2>
        <a:srgbClr val="A0A1A6"/>
      </a:lt2>
      <a:accent1>
        <a:srgbClr val="006393"/>
      </a:accent1>
      <a:accent2>
        <a:srgbClr val="0091BF"/>
      </a:accent2>
      <a:accent3>
        <a:srgbClr val="61A48D"/>
      </a:accent3>
      <a:accent4>
        <a:srgbClr val="2FBFE2"/>
      </a:accent4>
      <a:accent5>
        <a:srgbClr val="39CEA6"/>
      </a:accent5>
      <a:accent6>
        <a:srgbClr val="799FFF"/>
      </a:accent6>
      <a:hlink>
        <a:srgbClr val="000000"/>
      </a:hlink>
      <a:folHlink>
        <a:srgbClr val="CC0000"/>
      </a:folHlink>
    </a:clrScheme>
    <a:fontScheme name="Bain A4 Alrosa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>
            <a:lumMod val="95000"/>
          </a:schemeClr>
        </a:solidFill>
        <a:ln w="19050">
          <a:noFill/>
        </a:ln>
      </a:spPr>
      <a:bodyPr lIns="36000" tIns="36000" rIns="36000" bIns="36000" rtlCol="0" anchor="ctr"/>
      <a:lstStyle>
        <a:defPPr algn="ctr">
          <a:defRPr sz="16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36000" tIns="36000" rIns="36000" bIns="36000" rtlCol="0">
        <a:spAutoFit/>
      </a:bodyPr>
      <a:lstStyle>
        <a:defPPr>
          <a:defRPr sz="2000" dirty="0" err="1" smtClean="0"/>
        </a:defPPr>
      </a:lstStyle>
    </a:txDef>
  </a:objectDefaults>
  <a:extraClrSchemeLst/>
</a:theme>
</file>

<file path=ppt/theme/theme27.xml><?xml version="1.0" encoding="utf-8"?>
<a:theme xmlns:a="http://schemas.openxmlformats.org/drawingml/2006/main" name="6_Bain A4 Alrosa">
  <a:themeElements>
    <a:clrScheme name="Custom 1">
      <a:dk1>
        <a:srgbClr val="003149"/>
      </a:dk1>
      <a:lt1>
        <a:srgbClr val="FFFFFF"/>
      </a:lt1>
      <a:dk2>
        <a:srgbClr val="000000"/>
      </a:dk2>
      <a:lt2>
        <a:srgbClr val="A0A1A6"/>
      </a:lt2>
      <a:accent1>
        <a:srgbClr val="006393"/>
      </a:accent1>
      <a:accent2>
        <a:srgbClr val="0091BF"/>
      </a:accent2>
      <a:accent3>
        <a:srgbClr val="61A48D"/>
      </a:accent3>
      <a:accent4>
        <a:srgbClr val="2FBFE2"/>
      </a:accent4>
      <a:accent5>
        <a:srgbClr val="39CEA6"/>
      </a:accent5>
      <a:accent6>
        <a:srgbClr val="799FFF"/>
      </a:accent6>
      <a:hlink>
        <a:srgbClr val="000000"/>
      </a:hlink>
      <a:folHlink>
        <a:srgbClr val="CC0000"/>
      </a:folHlink>
    </a:clrScheme>
    <a:fontScheme name="Bain A4 Alrosa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>
            <a:lumMod val="95000"/>
          </a:schemeClr>
        </a:solidFill>
        <a:ln w="19050">
          <a:noFill/>
        </a:ln>
      </a:spPr>
      <a:bodyPr lIns="36000" tIns="36000" rIns="36000" bIns="36000" rtlCol="0" anchor="ctr"/>
      <a:lstStyle>
        <a:defPPr algn="ctr">
          <a:defRPr sz="16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36000" tIns="36000" rIns="36000" bIns="36000" rtlCol="0">
        <a:spAutoFit/>
      </a:bodyPr>
      <a:lstStyle>
        <a:defPPr>
          <a:defRPr sz="2000" dirty="0" err="1" smtClean="0"/>
        </a:defPPr>
      </a:lstStyle>
    </a:txDef>
  </a:objectDefaults>
  <a:extraClrSchemeLst/>
</a:theme>
</file>

<file path=ppt/theme/theme28.xml><?xml version="1.0" encoding="utf-8"?>
<a:theme xmlns:a="http://schemas.openxmlformats.org/drawingml/2006/main" name="25_EPS_Custom_print">
  <a:themeElements>
    <a:clrScheme name="BRANDBOOK">
      <a:dk1>
        <a:srgbClr val="00294F"/>
      </a:dk1>
      <a:lt1>
        <a:srgbClr val="FFFFFF"/>
      </a:lt1>
      <a:dk2>
        <a:srgbClr val="007AC2"/>
      </a:dk2>
      <a:lt2>
        <a:srgbClr val="999B9E"/>
      </a:lt2>
      <a:accent1>
        <a:srgbClr val="DEE2E4"/>
      </a:accent1>
      <a:accent2>
        <a:srgbClr val="016EB3"/>
      </a:accent2>
      <a:accent3>
        <a:srgbClr val="92C5EB"/>
      </a:accent3>
      <a:accent4>
        <a:srgbClr val="333132"/>
      </a:accent4>
      <a:accent5>
        <a:srgbClr val="D1D3D4"/>
      </a:accent5>
      <a:accent6>
        <a:srgbClr val="ED1C24"/>
      </a:accent6>
      <a:hlink>
        <a:srgbClr val="47C2FF"/>
      </a:hlink>
      <a:folHlink>
        <a:srgbClr val="0E6ABE"/>
      </a:folHlink>
    </a:clrScheme>
    <a:fontScheme name="Классическая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1" lang="en-US" sz="1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ahoma" pitchFamily="34" charset="0"/>
            <a:ea typeface="PMingLiU" pitchFamily="18" charset="-12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1" lang="en-US" sz="1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ahoma" pitchFamily="34" charset="0"/>
            <a:ea typeface="PMingLiU" pitchFamily="18" charset="-120"/>
          </a:defRPr>
        </a:defPPr>
      </a:lstStyle>
    </a:lnDef>
  </a:objectDefaults>
  <a:extraClrSchemeLst>
    <a:extraClrScheme>
      <a:clrScheme name="1_EPS_Custom_print 1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0000"/>
        </a:accent1>
        <a:accent2>
          <a:srgbClr val="000000"/>
        </a:accent2>
        <a:accent3>
          <a:srgbClr val="FFFFFF"/>
        </a:accent3>
        <a:accent4>
          <a:srgbClr val="000000"/>
        </a:accent4>
        <a:accent5>
          <a:srgbClr val="AAAAAA"/>
        </a:accent5>
        <a:accent6>
          <a:srgbClr val="000000"/>
        </a:accent6>
        <a:hlink>
          <a:srgbClr val="000000"/>
        </a:hlink>
        <a:folHlink>
          <a:srgbClr val="00FFC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3">
        <a:dk1>
          <a:srgbClr val="808080"/>
        </a:dk1>
        <a:lt1>
          <a:srgbClr val="FFFFFF"/>
        </a:lt1>
        <a:dk2>
          <a:srgbClr val="000000"/>
        </a:dk2>
        <a:lt2>
          <a:srgbClr val="FFFFFF"/>
        </a:lt2>
        <a:accent1>
          <a:srgbClr val="FF0000"/>
        </a:accent1>
        <a:accent2>
          <a:srgbClr val="FFFF00"/>
        </a:accent2>
        <a:accent3>
          <a:srgbClr val="AAAAAA"/>
        </a:accent3>
        <a:accent4>
          <a:srgbClr val="DADADA"/>
        </a:accent4>
        <a:accent5>
          <a:srgbClr val="FFAAAA"/>
        </a:accent5>
        <a:accent6>
          <a:srgbClr val="E7E700"/>
        </a:accent6>
        <a:hlink>
          <a:srgbClr val="FF0000"/>
        </a:hlink>
        <a:folHlink>
          <a:srgbClr val="0080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EPS_Custom_print 4">
        <a:dk1>
          <a:srgbClr val="000000"/>
        </a:dk1>
        <a:lt1>
          <a:srgbClr val="FFFFFF"/>
        </a:lt1>
        <a:dk2>
          <a:srgbClr val="000000"/>
        </a:dk2>
        <a:lt2>
          <a:srgbClr val="4D4D4D"/>
        </a:lt2>
        <a:accent1>
          <a:srgbClr val="287AC8"/>
        </a:accent1>
        <a:accent2>
          <a:srgbClr val="000000"/>
        </a:accent2>
        <a:accent3>
          <a:srgbClr val="FFFFFF"/>
        </a:accent3>
        <a:accent4>
          <a:srgbClr val="000000"/>
        </a:accent4>
        <a:accent5>
          <a:srgbClr val="ACBEE0"/>
        </a:accent5>
        <a:accent6>
          <a:srgbClr val="000000"/>
        </a:accent6>
        <a:hlink>
          <a:srgbClr val="287AC8"/>
        </a:hlink>
        <a:folHlink>
          <a:srgbClr val="CFFFA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5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287AC8"/>
        </a:accent1>
        <a:accent2>
          <a:srgbClr val="000000"/>
        </a:accent2>
        <a:accent3>
          <a:srgbClr val="FFFFFF"/>
        </a:accent3>
        <a:accent4>
          <a:srgbClr val="000000"/>
        </a:accent4>
        <a:accent5>
          <a:srgbClr val="ACBEE0"/>
        </a:accent5>
        <a:accent6>
          <a:srgbClr val="000000"/>
        </a:accent6>
        <a:hlink>
          <a:srgbClr val="287AC8"/>
        </a:hlink>
        <a:folHlink>
          <a:srgbClr val="CFFFA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6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00A1FA"/>
        </a:accent1>
        <a:accent2>
          <a:srgbClr val="008000"/>
        </a:accent2>
        <a:accent3>
          <a:srgbClr val="FFFFFF"/>
        </a:accent3>
        <a:accent4>
          <a:srgbClr val="000000"/>
        </a:accent4>
        <a:accent5>
          <a:srgbClr val="AACDFC"/>
        </a:accent5>
        <a:accent6>
          <a:srgbClr val="007300"/>
        </a:accent6>
        <a:hlink>
          <a:srgbClr val="E4BE00"/>
        </a:hlink>
        <a:folHlink>
          <a:srgbClr val="AF070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7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4B6EC0"/>
        </a:accent1>
        <a:accent2>
          <a:srgbClr val="C6E2FE"/>
        </a:accent2>
        <a:accent3>
          <a:srgbClr val="FFFFFF"/>
        </a:accent3>
        <a:accent4>
          <a:srgbClr val="000000"/>
        </a:accent4>
        <a:accent5>
          <a:srgbClr val="B1BADC"/>
        </a:accent5>
        <a:accent6>
          <a:srgbClr val="B3CDE6"/>
        </a:accent6>
        <a:hlink>
          <a:srgbClr val="FFCC66"/>
        </a:hlink>
        <a:folHlink>
          <a:srgbClr val="93FF9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8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4B6EC0"/>
        </a:accent1>
        <a:accent2>
          <a:srgbClr val="C6E2FE"/>
        </a:accent2>
        <a:accent3>
          <a:srgbClr val="FFFFFF"/>
        </a:accent3>
        <a:accent4>
          <a:srgbClr val="000000"/>
        </a:accent4>
        <a:accent5>
          <a:srgbClr val="B1BADC"/>
        </a:accent5>
        <a:accent6>
          <a:srgbClr val="B3CDE6"/>
        </a:accent6>
        <a:hlink>
          <a:srgbClr val="FFCC66"/>
        </a:hlink>
        <a:folHlink>
          <a:srgbClr val="0B817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9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4B6EC0"/>
        </a:accent1>
        <a:accent2>
          <a:srgbClr val="C6E2FE"/>
        </a:accent2>
        <a:accent3>
          <a:srgbClr val="FFFFFF"/>
        </a:accent3>
        <a:accent4>
          <a:srgbClr val="000000"/>
        </a:accent4>
        <a:accent5>
          <a:srgbClr val="B1BADC"/>
        </a:accent5>
        <a:accent6>
          <a:srgbClr val="B3CDE6"/>
        </a:accent6>
        <a:hlink>
          <a:srgbClr val="FFCC66"/>
        </a:hlink>
        <a:folHlink>
          <a:srgbClr val="BC002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0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4B6EC0"/>
        </a:accent1>
        <a:accent2>
          <a:srgbClr val="C6E2FE"/>
        </a:accent2>
        <a:accent3>
          <a:srgbClr val="FFFFFF"/>
        </a:accent3>
        <a:accent4>
          <a:srgbClr val="000000"/>
        </a:accent4>
        <a:accent5>
          <a:srgbClr val="B1BADC"/>
        </a:accent5>
        <a:accent6>
          <a:srgbClr val="B3CDE6"/>
        </a:accent6>
        <a:hlink>
          <a:srgbClr val="FFCC66"/>
        </a:hlink>
        <a:folHlink>
          <a:srgbClr val="26267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1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4B6EC0"/>
        </a:accent1>
        <a:accent2>
          <a:srgbClr val="C6E2FE"/>
        </a:accent2>
        <a:accent3>
          <a:srgbClr val="FFFFFF"/>
        </a:accent3>
        <a:accent4>
          <a:srgbClr val="000000"/>
        </a:accent4>
        <a:accent5>
          <a:srgbClr val="B1BADC"/>
        </a:accent5>
        <a:accent6>
          <a:srgbClr val="B3CDE6"/>
        </a:accent6>
        <a:hlink>
          <a:srgbClr val="FFCC66"/>
        </a:hlink>
        <a:folHlink>
          <a:srgbClr val="08406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2">
        <a:dk1>
          <a:srgbClr val="000000"/>
        </a:dk1>
        <a:lt1>
          <a:srgbClr val="FFFFFF"/>
        </a:lt1>
        <a:dk2>
          <a:srgbClr val="4B6EC0"/>
        </a:dk2>
        <a:lt2>
          <a:srgbClr val="4D4D4D"/>
        </a:lt2>
        <a:accent1>
          <a:srgbClr val="CDE5FE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3F0FE"/>
        </a:accent5>
        <a:accent6>
          <a:srgbClr val="E7B95C"/>
        </a:accent6>
        <a:hlink>
          <a:srgbClr val="08406E"/>
        </a:hlink>
        <a:folHlink>
          <a:srgbClr val="08406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3">
        <a:dk1>
          <a:srgbClr val="000000"/>
        </a:dk1>
        <a:lt1>
          <a:srgbClr val="FFFFFF"/>
        </a:lt1>
        <a:dk2>
          <a:srgbClr val="4B6EC0"/>
        </a:dk2>
        <a:lt2>
          <a:srgbClr val="4D4D4D"/>
        </a:lt2>
        <a:accent1>
          <a:srgbClr val="CDE5FE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3F0FE"/>
        </a:accent5>
        <a:accent6>
          <a:srgbClr val="E7B95C"/>
        </a:accent6>
        <a:hlink>
          <a:srgbClr val="104058"/>
        </a:hlink>
        <a:folHlink>
          <a:srgbClr val="08406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4">
        <a:dk1>
          <a:srgbClr val="000000"/>
        </a:dk1>
        <a:lt1>
          <a:srgbClr val="FFFFFF"/>
        </a:lt1>
        <a:dk2>
          <a:srgbClr val="4B6EC0"/>
        </a:dk2>
        <a:lt2>
          <a:srgbClr val="4D4D4D"/>
        </a:lt2>
        <a:accent1>
          <a:srgbClr val="CDE5FE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3F0FE"/>
        </a:accent5>
        <a:accent6>
          <a:srgbClr val="E7B95C"/>
        </a:accent6>
        <a:hlink>
          <a:srgbClr val="364068"/>
        </a:hlink>
        <a:folHlink>
          <a:srgbClr val="08406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5">
        <a:dk1>
          <a:srgbClr val="000000"/>
        </a:dk1>
        <a:lt1>
          <a:srgbClr val="FFFFFF"/>
        </a:lt1>
        <a:dk2>
          <a:srgbClr val="4B6EC0"/>
        </a:dk2>
        <a:lt2>
          <a:srgbClr val="4D4D4D"/>
        </a:lt2>
        <a:accent1>
          <a:srgbClr val="CDE5FE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3F0FE"/>
        </a:accent5>
        <a:accent6>
          <a:srgbClr val="E7B95C"/>
        </a:accent6>
        <a:hlink>
          <a:srgbClr val="273D6F"/>
        </a:hlink>
        <a:folHlink>
          <a:srgbClr val="99FF9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6">
        <a:dk1>
          <a:srgbClr val="000000"/>
        </a:dk1>
        <a:lt1>
          <a:srgbClr val="FFFFFF"/>
        </a:lt1>
        <a:dk2>
          <a:srgbClr val="4B6EC0"/>
        </a:dk2>
        <a:lt2>
          <a:srgbClr val="4D4D4D"/>
        </a:lt2>
        <a:accent1>
          <a:srgbClr val="CDE5FE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3F0FE"/>
        </a:accent5>
        <a:accent6>
          <a:srgbClr val="E7B95C"/>
        </a:accent6>
        <a:hlink>
          <a:srgbClr val="273D6F"/>
        </a:hlink>
        <a:folHlink>
          <a:srgbClr val="CCFFCC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9.xml><?xml version="1.0" encoding="utf-8"?>
<a:theme xmlns:a="http://schemas.openxmlformats.org/drawingml/2006/main" name="26_EPS_Custom_print">
  <a:themeElements>
    <a:clrScheme name="BRANDBOOK">
      <a:dk1>
        <a:srgbClr val="00294F"/>
      </a:dk1>
      <a:lt1>
        <a:srgbClr val="FFFFFF"/>
      </a:lt1>
      <a:dk2>
        <a:srgbClr val="007AC2"/>
      </a:dk2>
      <a:lt2>
        <a:srgbClr val="999B9E"/>
      </a:lt2>
      <a:accent1>
        <a:srgbClr val="DEE2E4"/>
      </a:accent1>
      <a:accent2>
        <a:srgbClr val="016EB3"/>
      </a:accent2>
      <a:accent3>
        <a:srgbClr val="92C5EB"/>
      </a:accent3>
      <a:accent4>
        <a:srgbClr val="333132"/>
      </a:accent4>
      <a:accent5>
        <a:srgbClr val="D1D3D4"/>
      </a:accent5>
      <a:accent6>
        <a:srgbClr val="ED1C24"/>
      </a:accent6>
      <a:hlink>
        <a:srgbClr val="47C2FF"/>
      </a:hlink>
      <a:folHlink>
        <a:srgbClr val="0E6ABE"/>
      </a:folHlink>
    </a:clrScheme>
    <a:fontScheme name="Классическая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1" lang="en-US" sz="1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ahoma" pitchFamily="34" charset="0"/>
            <a:ea typeface="PMingLiU" pitchFamily="18" charset="-12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1" lang="en-US" sz="1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ahoma" pitchFamily="34" charset="0"/>
            <a:ea typeface="PMingLiU" pitchFamily="18" charset="-120"/>
          </a:defRPr>
        </a:defPPr>
      </a:lstStyle>
    </a:lnDef>
  </a:objectDefaults>
  <a:extraClrSchemeLst>
    <a:extraClrScheme>
      <a:clrScheme name="1_EPS_Custom_print 1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0000"/>
        </a:accent1>
        <a:accent2>
          <a:srgbClr val="000000"/>
        </a:accent2>
        <a:accent3>
          <a:srgbClr val="FFFFFF"/>
        </a:accent3>
        <a:accent4>
          <a:srgbClr val="000000"/>
        </a:accent4>
        <a:accent5>
          <a:srgbClr val="AAAAAA"/>
        </a:accent5>
        <a:accent6>
          <a:srgbClr val="000000"/>
        </a:accent6>
        <a:hlink>
          <a:srgbClr val="000000"/>
        </a:hlink>
        <a:folHlink>
          <a:srgbClr val="00FFC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3">
        <a:dk1>
          <a:srgbClr val="808080"/>
        </a:dk1>
        <a:lt1>
          <a:srgbClr val="FFFFFF"/>
        </a:lt1>
        <a:dk2>
          <a:srgbClr val="000000"/>
        </a:dk2>
        <a:lt2>
          <a:srgbClr val="FFFFFF"/>
        </a:lt2>
        <a:accent1>
          <a:srgbClr val="FF0000"/>
        </a:accent1>
        <a:accent2>
          <a:srgbClr val="FFFF00"/>
        </a:accent2>
        <a:accent3>
          <a:srgbClr val="AAAAAA"/>
        </a:accent3>
        <a:accent4>
          <a:srgbClr val="DADADA"/>
        </a:accent4>
        <a:accent5>
          <a:srgbClr val="FFAAAA"/>
        </a:accent5>
        <a:accent6>
          <a:srgbClr val="E7E700"/>
        </a:accent6>
        <a:hlink>
          <a:srgbClr val="FF0000"/>
        </a:hlink>
        <a:folHlink>
          <a:srgbClr val="0080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EPS_Custom_print 4">
        <a:dk1>
          <a:srgbClr val="000000"/>
        </a:dk1>
        <a:lt1>
          <a:srgbClr val="FFFFFF"/>
        </a:lt1>
        <a:dk2>
          <a:srgbClr val="000000"/>
        </a:dk2>
        <a:lt2>
          <a:srgbClr val="4D4D4D"/>
        </a:lt2>
        <a:accent1>
          <a:srgbClr val="287AC8"/>
        </a:accent1>
        <a:accent2>
          <a:srgbClr val="000000"/>
        </a:accent2>
        <a:accent3>
          <a:srgbClr val="FFFFFF"/>
        </a:accent3>
        <a:accent4>
          <a:srgbClr val="000000"/>
        </a:accent4>
        <a:accent5>
          <a:srgbClr val="ACBEE0"/>
        </a:accent5>
        <a:accent6>
          <a:srgbClr val="000000"/>
        </a:accent6>
        <a:hlink>
          <a:srgbClr val="287AC8"/>
        </a:hlink>
        <a:folHlink>
          <a:srgbClr val="CFFFA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5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287AC8"/>
        </a:accent1>
        <a:accent2>
          <a:srgbClr val="000000"/>
        </a:accent2>
        <a:accent3>
          <a:srgbClr val="FFFFFF"/>
        </a:accent3>
        <a:accent4>
          <a:srgbClr val="000000"/>
        </a:accent4>
        <a:accent5>
          <a:srgbClr val="ACBEE0"/>
        </a:accent5>
        <a:accent6>
          <a:srgbClr val="000000"/>
        </a:accent6>
        <a:hlink>
          <a:srgbClr val="287AC8"/>
        </a:hlink>
        <a:folHlink>
          <a:srgbClr val="CFFFA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6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00A1FA"/>
        </a:accent1>
        <a:accent2>
          <a:srgbClr val="008000"/>
        </a:accent2>
        <a:accent3>
          <a:srgbClr val="FFFFFF"/>
        </a:accent3>
        <a:accent4>
          <a:srgbClr val="000000"/>
        </a:accent4>
        <a:accent5>
          <a:srgbClr val="AACDFC"/>
        </a:accent5>
        <a:accent6>
          <a:srgbClr val="007300"/>
        </a:accent6>
        <a:hlink>
          <a:srgbClr val="E4BE00"/>
        </a:hlink>
        <a:folHlink>
          <a:srgbClr val="AF070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7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4B6EC0"/>
        </a:accent1>
        <a:accent2>
          <a:srgbClr val="C6E2FE"/>
        </a:accent2>
        <a:accent3>
          <a:srgbClr val="FFFFFF"/>
        </a:accent3>
        <a:accent4>
          <a:srgbClr val="000000"/>
        </a:accent4>
        <a:accent5>
          <a:srgbClr val="B1BADC"/>
        </a:accent5>
        <a:accent6>
          <a:srgbClr val="B3CDE6"/>
        </a:accent6>
        <a:hlink>
          <a:srgbClr val="FFCC66"/>
        </a:hlink>
        <a:folHlink>
          <a:srgbClr val="93FF9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8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4B6EC0"/>
        </a:accent1>
        <a:accent2>
          <a:srgbClr val="C6E2FE"/>
        </a:accent2>
        <a:accent3>
          <a:srgbClr val="FFFFFF"/>
        </a:accent3>
        <a:accent4>
          <a:srgbClr val="000000"/>
        </a:accent4>
        <a:accent5>
          <a:srgbClr val="B1BADC"/>
        </a:accent5>
        <a:accent6>
          <a:srgbClr val="B3CDE6"/>
        </a:accent6>
        <a:hlink>
          <a:srgbClr val="FFCC66"/>
        </a:hlink>
        <a:folHlink>
          <a:srgbClr val="0B817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9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4B6EC0"/>
        </a:accent1>
        <a:accent2>
          <a:srgbClr val="C6E2FE"/>
        </a:accent2>
        <a:accent3>
          <a:srgbClr val="FFFFFF"/>
        </a:accent3>
        <a:accent4>
          <a:srgbClr val="000000"/>
        </a:accent4>
        <a:accent5>
          <a:srgbClr val="B1BADC"/>
        </a:accent5>
        <a:accent6>
          <a:srgbClr val="B3CDE6"/>
        </a:accent6>
        <a:hlink>
          <a:srgbClr val="FFCC66"/>
        </a:hlink>
        <a:folHlink>
          <a:srgbClr val="BC002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0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4B6EC0"/>
        </a:accent1>
        <a:accent2>
          <a:srgbClr val="C6E2FE"/>
        </a:accent2>
        <a:accent3>
          <a:srgbClr val="FFFFFF"/>
        </a:accent3>
        <a:accent4>
          <a:srgbClr val="000000"/>
        </a:accent4>
        <a:accent5>
          <a:srgbClr val="B1BADC"/>
        </a:accent5>
        <a:accent6>
          <a:srgbClr val="B3CDE6"/>
        </a:accent6>
        <a:hlink>
          <a:srgbClr val="FFCC66"/>
        </a:hlink>
        <a:folHlink>
          <a:srgbClr val="26267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1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4B6EC0"/>
        </a:accent1>
        <a:accent2>
          <a:srgbClr val="C6E2FE"/>
        </a:accent2>
        <a:accent3>
          <a:srgbClr val="FFFFFF"/>
        </a:accent3>
        <a:accent4>
          <a:srgbClr val="000000"/>
        </a:accent4>
        <a:accent5>
          <a:srgbClr val="B1BADC"/>
        </a:accent5>
        <a:accent6>
          <a:srgbClr val="B3CDE6"/>
        </a:accent6>
        <a:hlink>
          <a:srgbClr val="FFCC66"/>
        </a:hlink>
        <a:folHlink>
          <a:srgbClr val="08406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2">
        <a:dk1>
          <a:srgbClr val="000000"/>
        </a:dk1>
        <a:lt1>
          <a:srgbClr val="FFFFFF"/>
        </a:lt1>
        <a:dk2>
          <a:srgbClr val="4B6EC0"/>
        </a:dk2>
        <a:lt2>
          <a:srgbClr val="4D4D4D"/>
        </a:lt2>
        <a:accent1>
          <a:srgbClr val="CDE5FE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3F0FE"/>
        </a:accent5>
        <a:accent6>
          <a:srgbClr val="E7B95C"/>
        </a:accent6>
        <a:hlink>
          <a:srgbClr val="08406E"/>
        </a:hlink>
        <a:folHlink>
          <a:srgbClr val="08406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3">
        <a:dk1>
          <a:srgbClr val="000000"/>
        </a:dk1>
        <a:lt1>
          <a:srgbClr val="FFFFFF"/>
        </a:lt1>
        <a:dk2>
          <a:srgbClr val="4B6EC0"/>
        </a:dk2>
        <a:lt2>
          <a:srgbClr val="4D4D4D"/>
        </a:lt2>
        <a:accent1>
          <a:srgbClr val="CDE5FE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3F0FE"/>
        </a:accent5>
        <a:accent6>
          <a:srgbClr val="E7B95C"/>
        </a:accent6>
        <a:hlink>
          <a:srgbClr val="104058"/>
        </a:hlink>
        <a:folHlink>
          <a:srgbClr val="08406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4">
        <a:dk1>
          <a:srgbClr val="000000"/>
        </a:dk1>
        <a:lt1>
          <a:srgbClr val="FFFFFF"/>
        </a:lt1>
        <a:dk2>
          <a:srgbClr val="4B6EC0"/>
        </a:dk2>
        <a:lt2>
          <a:srgbClr val="4D4D4D"/>
        </a:lt2>
        <a:accent1>
          <a:srgbClr val="CDE5FE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3F0FE"/>
        </a:accent5>
        <a:accent6>
          <a:srgbClr val="E7B95C"/>
        </a:accent6>
        <a:hlink>
          <a:srgbClr val="364068"/>
        </a:hlink>
        <a:folHlink>
          <a:srgbClr val="08406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5">
        <a:dk1>
          <a:srgbClr val="000000"/>
        </a:dk1>
        <a:lt1>
          <a:srgbClr val="FFFFFF"/>
        </a:lt1>
        <a:dk2>
          <a:srgbClr val="4B6EC0"/>
        </a:dk2>
        <a:lt2>
          <a:srgbClr val="4D4D4D"/>
        </a:lt2>
        <a:accent1>
          <a:srgbClr val="CDE5FE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3F0FE"/>
        </a:accent5>
        <a:accent6>
          <a:srgbClr val="E7B95C"/>
        </a:accent6>
        <a:hlink>
          <a:srgbClr val="273D6F"/>
        </a:hlink>
        <a:folHlink>
          <a:srgbClr val="99FF9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6">
        <a:dk1>
          <a:srgbClr val="000000"/>
        </a:dk1>
        <a:lt1>
          <a:srgbClr val="FFFFFF"/>
        </a:lt1>
        <a:dk2>
          <a:srgbClr val="4B6EC0"/>
        </a:dk2>
        <a:lt2>
          <a:srgbClr val="4D4D4D"/>
        </a:lt2>
        <a:accent1>
          <a:srgbClr val="CDE5FE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3F0FE"/>
        </a:accent5>
        <a:accent6>
          <a:srgbClr val="E7B95C"/>
        </a:accent6>
        <a:hlink>
          <a:srgbClr val="273D6F"/>
        </a:hlink>
        <a:folHlink>
          <a:srgbClr val="CCFFCC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5_EPS_Custom_print">
  <a:themeElements>
    <a:clrScheme name="BRANDBOOK">
      <a:dk1>
        <a:srgbClr val="00294F"/>
      </a:dk1>
      <a:lt1>
        <a:srgbClr val="FFFFFF"/>
      </a:lt1>
      <a:dk2>
        <a:srgbClr val="007AC2"/>
      </a:dk2>
      <a:lt2>
        <a:srgbClr val="999B9E"/>
      </a:lt2>
      <a:accent1>
        <a:srgbClr val="DEE2E4"/>
      </a:accent1>
      <a:accent2>
        <a:srgbClr val="016EB3"/>
      </a:accent2>
      <a:accent3>
        <a:srgbClr val="92C5EB"/>
      </a:accent3>
      <a:accent4>
        <a:srgbClr val="333132"/>
      </a:accent4>
      <a:accent5>
        <a:srgbClr val="D1D3D4"/>
      </a:accent5>
      <a:accent6>
        <a:srgbClr val="ED1C24"/>
      </a:accent6>
      <a:hlink>
        <a:srgbClr val="47C2FF"/>
      </a:hlink>
      <a:folHlink>
        <a:srgbClr val="0E6ABE"/>
      </a:folHlink>
    </a:clrScheme>
    <a:fontScheme name="Классическая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1" lang="en-US" sz="1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ahoma" pitchFamily="34" charset="0"/>
            <a:ea typeface="PMingLiU" pitchFamily="18" charset="-12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1" lang="en-US" sz="1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ahoma" pitchFamily="34" charset="0"/>
            <a:ea typeface="PMingLiU" pitchFamily="18" charset="-120"/>
          </a:defRPr>
        </a:defPPr>
      </a:lstStyle>
    </a:lnDef>
  </a:objectDefaults>
  <a:extraClrSchemeLst>
    <a:extraClrScheme>
      <a:clrScheme name="1_EPS_Custom_print 1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0000"/>
        </a:accent1>
        <a:accent2>
          <a:srgbClr val="000000"/>
        </a:accent2>
        <a:accent3>
          <a:srgbClr val="FFFFFF"/>
        </a:accent3>
        <a:accent4>
          <a:srgbClr val="000000"/>
        </a:accent4>
        <a:accent5>
          <a:srgbClr val="AAAAAA"/>
        </a:accent5>
        <a:accent6>
          <a:srgbClr val="000000"/>
        </a:accent6>
        <a:hlink>
          <a:srgbClr val="000000"/>
        </a:hlink>
        <a:folHlink>
          <a:srgbClr val="00FFC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3">
        <a:dk1>
          <a:srgbClr val="808080"/>
        </a:dk1>
        <a:lt1>
          <a:srgbClr val="FFFFFF"/>
        </a:lt1>
        <a:dk2>
          <a:srgbClr val="000000"/>
        </a:dk2>
        <a:lt2>
          <a:srgbClr val="FFFFFF"/>
        </a:lt2>
        <a:accent1>
          <a:srgbClr val="FF0000"/>
        </a:accent1>
        <a:accent2>
          <a:srgbClr val="FFFF00"/>
        </a:accent2>
        <a:accent3>
          <a:srgbClr val="AAAAAA"/>
        </a:accent3>
        <a:accent4>
          <a:srgbClr val="DADADA"/>
        </a:accent4>
        <a:accent5>
          <a:srgbClr val="FFAAAA"/>
        </a:accent5>
        <a:accent6>
          <a:srgbClr val="E7E700"/>
        </a:accent6>
        <a:hlink>
          <a:srgbClr val="FF0000"/>
        </a:hlink>
        <a:folHlink>
          <a:srgbClr val="0080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EPS_Custom_print 4">
        <a:dk1>
          <a:srgbClr val="000000"/>
        </a:dk1>
        <a:lt1>
          <a:srgbClr val="FFFFFF"/>
        </a:lt1>
        <a:dk2>
          <a:srgbClr val="000000"/>
        </a:dk2>
        <a:lt2>
          <a:srgbClr val="4D4D4D"/>
        </a:lt2>
        <a:accent1>
          <a:srgbClr val="287AC8"/>
        </a:accent1>
        <a:accent2>
          <a:srgbClr val="000000"/>
        </a:accent2>
        <a:accent3>
          <a:srgbClr val="FFFFFF"/>
        </a:accent3>
        <a:accent4>
          <a:srgbClr val="000000"/>
        </a:accent4>
        <a:accent5>
          <a:srgbClr val="ACBEE0"/>
        </a:accent5>
        <a:accent6>
          <a:srgbClr val="000000"/>
        </a:accent6>
        <a:hlink>
          <a:srgbClr val="287AC8"/>
        </a:hlink>
        <a:folHlink>
          <a:srgbClr val="CFFFA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5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287AC8"/>
        </a:accent1>
        <a:accent2>
          <a:srgbClr val="000000"/>
        </a:accent2>
        <a:accent3>
          <a:srgbClr val="FFFFFF"/>
        </a:accent3>
        <a:accent4>
          <a:srgbClr val="000000"/>
        </a:accent4>
        <a:accent5>
          <a:srgbClr val="ACBEE0"/>
        </a:accent5>
        <a:accent6>
          <a:srgbClr val="000000"/>
        </a:accent6>
        <a:hlink>
          <a:srgbClr val="287AC8"/>
        </a:hlink>
        <a:folHlink>
          <a:srgbClr val="CFFFA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6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00A1FA"/>
        </a:accent1>
        <a:accent2>
          <a:srgbClr val="008000"/>
        </a:accent2>
        <a:accent3>
          <a:srgbClr val="FFFFFF"/>
        </a:accent3>
        <a:accent4>
          <a:srgbClr val="000000"/>
        </a:accent4>
        <a:accent5>
          <a:srgbClr val="AACDFC"/>
        </a:accent5>
        <a:accent6>
          <a:srgbClr val="007300"/>
        </a:accent6>
        <a:hlink>
          <a:srgbClr val="E4BE00"/>
        </a:hlink>
        <a:folHlink>
          <a:srgbClr val="AF070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7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4B6EC0"/>
        </a:accent1>
        <a:accent2>
          <a:srgbClr val="C6E2FE"/>
        </a:accent2>
        <a:accent3>
          <a:srgbClr val="FFFFFF"/>
        </a:accent3>
        <a:accent4>
          <a:srgbClr val="000000"/>
        </a:accent4>
        <a:accent5>
          <a:srgbClr val="B1BADC"/>
        </a:accent5>
        <a:accent6>
          <a:srgbClr val="B3CDE6"/>
        </a:accent6>
        <a:hlink>
          <a:srgbClr val="FFCC66"/>
        </a:hlink>
        <a:folHlink>
          <a:srgbClr val="93FF9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8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4B6EC0"/>
        </a:accent1>
        <a:accent2>
          <a:srgbClr val="C6E2FE"/>
        </a:accent2>
        <a:accent3>
          <a:srgbClr val="FFFFFF"/>
        </a:accent3>
        <a:accent4>
          <a:srgbClr val="000000"/>
        </a:accent4>
        <a:accent5>
          <a:srgbClr val="B1BADC"/>
        </a:accent5>
        <a:accent6>
          <a:srgbClr val="B3CDE6"/>
        </a:accent6>
        <a:hlink>
          <a:srgbClr val="FFCC66"/>
        </a:hlink>
        <a:folHlink>
          <a:srgbClr val="0B817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9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4B6EC0"/>
        </a:accent1>
        <a:accent2>
          <a:srgbClr val="C6E2FE"/>
        </a:accent2>
        <a:accent3>
          <a:srgbClr val="FFFFFF"/>
        </a:accent3>
        <a:accent4>
          <a:srgbClr val="000000"/>
        </a:accent4>
        <a:accent5>
          <a:srgbClr val="B1BADC"/>
        </a:accent5>
        <a:accent6>
          <a:srgbClr val="B3CDE6"/>
        </a:accent6>
        <a:hlink>
          <a:srgbClr val="FFCC66"/>
        </a:hlink>
        <a:folHlink>
          <a:srgbClr val="BC002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0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4B6EC0"/>
        </a:accent1>
        <a:accent2>
          <a:srgbClr val="C6E2FE"/>
        </a:accent2>
        <a:accent3>
          <a:srgbClr val="FFFFFF"/>
        </a:accent3>
        <a:accent4>
          <a:srgbClr val="000000"/>
        </a:accent4>
        <a:accent5>
          <a:srgbClr val="B1BADC"/>
        </a:accent5>
        <a:accent6>
          <a:srgbClr val="B3CDE6"/>
        </a:accent6>
        <a:hlink>
          <a:srgbClr val="FFCC66"/>
        </a:hlink>
        <a:folHlink>
          <a:srgbClr val="26267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1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4B6EC0"/>
        </a:accent1>
        <a:accent2>
          <a:srgbClr val="C6E2FE"/>
        </a:accent2>
        <a:accent3>
          <a:srgbClr val="FFFFFF"/>
        </a:accent3>
        <a:accent4>
          <a:srgbClr val="000000"/>
        </a:accent4>
        <a:accent5>
          <a:srgbClr val="B1BADC"/>
        </a:accent5>
        <a:accent6>
          <a:srgbClr val="B3CDE6"/>
        </a:accent6>
        <a:hlink>
          <a:srgbClr val="FFCC66"/>
        </a:hlink>
        <a:folHlink>
          <a:srgbClr val="08406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2">
        <a:dk1>
          <a:srgbClr val="000000"/>
        </a:dk1>
        <a:lt1>
          <a:srgbClr val="FFFFFF"/>
        </a:lt1>
        <a:dk2>
          <a:srgbClr val="4B6EC0"/>
        </a:dk2>
        <a:lt2>
          <a:srgbClr val="4D4D4D"/>
        </a:lt2>
        <a:accent1>
          <a:srgbClr val="CDE5FE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3F0FE"/>
        </a:accent5>
        <a:accent6>
          <a:srgbClr val="E7B95C"/>
        </a:accent6>
        <a:hlink>
          <a:srgbClr val="08406E"/>
        </a:hlink>
        <a:folHlink>
          <a:srgbClr val="08406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3">
        <a:dk1>
          <a:srgbClr val="000000"/>
        </a:dk1>
        <a:lt1>
          <a:srgbClr val="FFFFFF"/>
        </a:lt1>
        <a:dk2>
          <a:srgbClr val="4B6EC0"/>
        </a:dk2>
        <a:lt2>
          <a:srgbClr val="4D4D4D"/>
        </a:lt2>
        <a:accent1>
          <a:srgbClr val="CDE5FE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3F0FE"/>
        </a:accent5>
        <a:accent6>
          <a:srgbClr val="E7B95C"/>
        </a:accent6>
        <a:hlink>
          <a:srgbClr val="104058"/>
        </a:hlink>
        <a:folHlink>
          <a:srgbClr val="08406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4">
        <a:dk1>
          <a:srgbClr val="000000"/>
        </a:dk1>
        <a:lt1>
          <a:srgbClr val="FFFFFF"/>
        </a:lt1>
        <a:dk2>
          <a:srgbClr val="4B6EC0"/>
        </a:dk2>
        <a:lt2>
          <a:srgbClr val="4D4D4D"/>
        </a:lt2>
        <a:accent1>
          <a:srgbClr val="CDE5FE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3F0FE"/>
        </a:accent5>
        <a:accent6>
          <a:srgbClr val="E7B95C"/>
        </a:accent6>
        <a:hlink>
          <a:srgbClr val="364068"/>
        </a:hlink>
        <a:folHlink>
          <a:srgbClr val="08406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5">
        <a:dk1>
          <a:srgbClr val="000000"/>
        </a:dk1>
        <a:lt1>
          <a:srgbClr val="FFFFFF"/>
        </a:lt1>
        <a:dk2>
          <a:srgbClr val="4B6EC0"/>
        </a:dk2>
        <a:lt2>
          <a:srgbClr val="4D4D4D"/>
        </a:lt2>
        <a:accent1>
          <a:srgbClr val="CDE5FE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3F0FE"/>
        </a:accent5>
        <a:accent6>
          <a:srgbClr val="E7B95C"/>
        </a:accent6>
        <a:hlink>
          <a:srgbClr val="273D6F"/>
        </a:hlink>
        <a:folHlink>
          <a:srgbClr val="99FF9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6">
        <a:dk1>
          <a:srgbClr val="000000"/>
        </a:dk1>
        <a:lt1>
          <a:srgbClr val="FFFFFF"/>
        </a:lt1>
        <a:dk2>
          <a:srgbClr val="4B6EC0"/>
        </a:dk2>
        <a:lt2>
          <a:srgbClr val="4D4D4D"/>
        </a:lt2>
        <a:accent1>
          <a:srgbClr val="CDE5FE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3F0FE"/>
        </a:accent5>
        <a:accent6>
          <a:srgbClr val="E7B95C"/>
        </a:accent6>
        <a:hlink>
          <a:srgbClr val="273D6F"/>
        </a:hlink>
        <a:folHlink>
          <a:srgbClr val="CCFFCC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0.xml><?xml version="1.0" encoding="utf-8"?>
<a:theme xmlns:a="http://schemas.openxmlformats.org/drawingml/2006/main" name="28_EPS_Custom_print">
  <a:themeElements>
    <a:clrScheme name="BRANDBOOK">
      <a:dk1>
        <a:srgbClr val="00294F"/>
      </a:dk1>
      <a:lt1>
        <a:srgbClr val="FFFFFF"/>
      </a:lt1>
      <a:dk2>
        <a:srgbClr val="007AC2"/>
      </a:dk2>
      <a:lt2>
        <a:srgbClr val="999B9E"/>
      </a:lt2>
      <a:accent1>
        <a:srgbClr val="DEE2E4"/>
      </a:accent1>
      <a:accent2>
        <a:srgbClr val="016EB3"/>
      </a:accent2>
      <a:accent3>
        <a:srgbClr val="92C5EB"/>
      </a:accent3>
      <a:accent4>
        <a:srgbClr val="333132"/>
      </a:accent4>
      <a:accent5>
        <a:srgbClr val="D1D3D4"/>
      </a:accent5>
      <a:accent6>
        <a:srgbClr val="ED1C24"/>
      </a:accent6>
      <a:hlink>
        <a:srgbClr val="47C2FF"/>
      </a:hlink>
      <a:folHlink>
        <a:srgbClr val="0E6ABE"/>
      </a:folHlink>
    </a:clrScheme>
    <a:fontScheme name="Классическая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1" lang="en-US" sz="1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ahoma" pitchFamily="34" charset="0"/>
            <a:ea typeface="PMingLiU" pitchFamily="18" charset="-12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1" lang="en-US" sz="1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ahoma" pitchFamily="34" charset="0"/>
            <a:ea typeface="PMingLiU" pitchFamily="18" charset="-120"/>
          </a:defRPr>
        </a:defPPr>
      </a:lstStyle>
    </a:lnDef>
  </a:objectDefaults>
  <a:extraClrSchemeLst>
    <a:extraClrScheme>
      <a:clrScheme name="1_EPS_Custom_print 1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0000"/>
        </a:accent1>
        <a:accent2>
          <a:srgbClr val="000000"/>
        </a:accent2>
        <a:accent3>
          <a:srgbClr val="FFFFFF"/>
        </a:accent3>
        <a:accent4>
          <a:srgbClr val="000000"/>
        </a:accent4>
        <a:accent5>
          <a:srgbClr val="AAAAAA"/>
        </a:accent5>
        <a:accent6>
          <a:srgbClr val="000000"/>
        </a:accent6>
        <a:hlink>
          <a:srgbClr val="000000"/>
        </a:hlink>
        <a:folHlink>
          <a:srgbClr val="00FFC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3">
        <a:dk1>
          <a:srgbClr val="808080"/>
        </a:dk1>
        <a:lt1>
          <a:srgbClr val="FFFFFF"/>
        </a:lt1>
        <a:dk2>
          <a:srgbClr val="000000"/>
        </a:dk2>
        <a:lt2>
          <a:srgbClr val="FFFFFF"/>
        </a:lt2>
        <a:accent1>
          <a:srgbClr val="FF0000"/>
        </a:accent1>
        <a:accent2>
          <a:srgbClr val="FFFF00"/>
        </a:accent2>
        <a:accent3>
          <a:srgbClr val="AAAAAA"/>
        </a:accent3>
        <a:accent4>
          <a:srgbClr val="DADADA"/>
        </a:accent4>
        <a:accent5>
          <a:srgbClr val="FFAAAA"/>
        </a:accent5>
        <a:accent6>
          <a:srgbClr val="E7E700"/>
        </a:accent6>
        <a:hlink>
          <a:srgbClr val="FF0000"/>
        </a:hlink>
        <a:folHlink>
          <a:srgbClr val="0080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EPS_Custom_print 4">
        <a:dk1>
          <a:srgbClr val="000000"/>
        </a:dk1>
        <a:lt1>
          <a:srgbClr val="FFFFFF"/>
        </a:lt1>
        <a:dk2>
          <a:srgbClr val="000000"/>
        </a:dk2>
        <a:lt2>
          <a:srgbClr val="4D4D4D"/>
        </a:lt2>
        <a:accent1>
          <a:srgbClr val="287AC8"/>
        </a:accent1>
        <a:accent2>
          <a:srgbClr val="000000"/>
        </a:accent2>
        <a:accent3>
          <a:srgbClr val="FFFFFF"/>
        </a:accent3>
        <a:accent4>
          <a:srgbClr val="000000"/>
        </a:accent4>
        <a:accent5>
          <a:srgbClr val="ACBEE0"/>
        </a:accent5>
        <a:accent6>
          <a:srgbClr val="000000"/>
        </a:accent6>
        <a:hlink>
          <a:srgbClr val="287AC8"/>
        </a:hlink>
        <a:folHlink>
          <a:srgbClr val="CFFFA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5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287AC8"/>
        </a:accent1>
        <a:accent2>
          <a:srgbClr val="000000"/>
        </a:accent2>
        <a:accent3>
          <a:srgbClr val="FFFFFF"/>
        </a:accent3>
        <a:accent4>
          <a:srgbClr val="000000"/>
        </a:accent4>
        <a:accent5>
          <a:srgbClr val="ACBEE0"/>
        </a:accent5>
        <a:accent6>
          <a:srgbClr val="000000"/>
        </a:accent6>
        <a:hlink>
          <a:srgbClr val="287AC8"/>
        </a:hlink>
        <a:folHlink>
          <a:srgbClr val="CFFFA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6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00A1FA"/>
        </a:accent1>
        <a:accent2>
          <a:srgbClr val="008000"/>
        </a:accent2>
        <a:accent3>
          <a:srgbClr val="FFFFFF"/>
        </a:accent3>
        <a:accent4>
          <a:srgbClr val="000000"/>
        </a:accent4>
        <a:accent5>
          <a:srgbClr val="AACDFC"/>
        </a:accent5>
        <a:accent6>
          <a:srgbClr val="007300"/>
        </a:accent6>
        <a:hlink>
          <a:srgbClr val="E4BE00"/>
        </a:hlink>
        <a:folHlink>
          <a:srgbClr val="AF070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7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4B6EC0"/>
        </a:accent1>
        <a:accent2>
          <a:srgbClr val="C6E2FE"/>
        </a:accent2>
        <a:accent3>
          <a:srgbClr val="FFFFFF"/>
        </a:accent3>
        <a:accent4>
          <a:srgbClr val="000000"/>
        </a:accent4>
        <a:accent5>
          <a:srgbClr val="B1BADC"/>
        </a:accent5>
        <a:accent6>
          <a:srgbClr val="B3CDE6"/>
        </a:accent6>
        <a:hlink>
          <a:srgbClr val="FFCC66"/>
        </a:hlink>
        <a:folHlink>
          <a:srgbClr val="93FF9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8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4B6EC0"/>
        </a:accent1>
        <a:accent2>
          <a:srgbClr val="C6E2FE"/>
        </a:accent2>
        <a:accent3>
          <a:srgbClr val="FFFFFF"/>
        </a:accent3>
        <a:accent4>
          <a:srgbClr val="000000"/>
        </a:accent4>
        <a:accent5>
          <a:srgbClr val="B1BADC"/>
        </a:accent5>
        <a:accent6>
          <a:srgbClr val="B3CDE6"/>
        </a:accent6>
        <a:hlink>
          <a:srgbClr val="FFCC66"/>
        </a:hlink>
        <a:folHlink>
          <a:srgbClr val="0B817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9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4B6EC0"/>
        </a:accent1>
        <a:accent2>
          <a:srgbClr val="C6E2FE"/>
        </a:accent2>
        <a:accent3>
          <a:srgbClr val="FFFFFF"/>
        </a:accent3>
        <a:accent4>
          <a:srgbClr val="000000"/>
        </a:accent4>
        <a:accent5>
          <a:srgbClr val="B1BADC"/>
        </a:accent5>
        <a:accent6>
          <a:srgbClr val="B3CDE6"/>
        </a:accent6>
        <a:hlink>
          <a:srgbClr val="FFCC66"/>
        </a:hlink>
        <a:folHlink>
          <a:srgbClr val="BC002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0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4B6EC0"/>
        </a:accent1>
        <a:accent2>
          <a:srgbClr val="C6E2FE"/>
        </a:accent2>
        <a:accent3>
          <a:srgbClr val="FFFFFF"/>
        </a:accent3>
        <a:accent4>
          <a:srgbClr val="000000"/>
        </a:accent4>
        <a:accent5>
          <a:srgbClr val="B1BADC"/>
        </a:accent5>
        <a:accent6>
          <a:srgbClr val="B3CDE6"/>
        </a:accent6>
        <a:hlink>
          <a:srgbClr val="FFCC66"/>
        </a:hlink>
        <a:folHlink>
          <a:srgbClr val="26267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1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4B6EC0"/>
        </a:accent1>
        <a:accent2>
          <a:srgbClr val="C6E2FE"/>
        </a:accent2>
        <a:accent3>
          <a:srgbClr val="FFFFFF"/>
        </a:accent3>
        <a:accent4>
          <a:srgbClr val="000000"/>
        </a:accent4>
        <a:accent5>
          <a:srgbClr val="B1BADC"/>
        </a:accent5>
        <a:accent6>
          <a:srgbClr val="B3CDE6"/>
        </a:accent6>
        <a:hlink>
          <a:srgbClr val="FFCC66"/>
        </a:hlink>
        <a:folHlink>
          <a:srgbClr val="08406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2">
        <a:dk1>
          <a:srgbClr val="000000"/>
        </a:dk1>
        <a:lt1>
          <a:srgbClr val="FFFFFF"/>
        </a:lt1>
        <a:dk2>
          <a:srgbClr val="4B6EC0"/>
        </a:dk2>
        <a:lt2>
          <a:srgbClr val="4D4D4D"/>
        </a:lt2>
        <a:accent1>
          <a:srgbClr val="CDE5FE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3F0FE"/>
        </a:accent5>
        <a:accent6>
          <a:srgbClr val="E7B95C"/>
        </a:accent6>
        <a:hlink>
          <a:srgbClr val="08406E"/>
        </a:hlink>
        <a:folHlink>
          <a:srgbClr val="08406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3">
        <a:dk1>
          <a:srgbClr val="000000"/>
        </a:dk1>
        <a:lt1>
          <a:srgbClr val="FFFFFF"/>
        </a:lt1>
        <a:dk2>
          <a:srgbClr val="4B6EC0"/>
        </a:dk2>
        <a:lt2>
          <a:srgbClr val="4D4D4D"/>
        </a:lt2>
        <a:accent1>
          <a:srgbClr val="CDE5FE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3F0FE"/>
        </a:accent5>
        <a:accent6>
          <a:srgbClr val="E7B95C"/>
        </a:accent6>
        <a:hlink>
          <a:srgbClr val="104058"/>
        </a:hlink>
        <a:folHlink>
          <a:srgbClr val="08406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4">
        <a:dk1>
          <a:srgbClr val="000000"/>
        </a:dk1>
        <a:lt1>
          <a:srgbClr val="FFFFFF"/>
        </a:lt1>
        <a:dk2>
          <a:srgbClr val="4B6EC0"/>
        </a:dk2>
        <a:lt2>
          <a:srgbClr val="4D4D4D"/>
        </a:lt2>
        <a:accent1>
          <a:srgbClr val="CDE5FE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3F0FE"/>
        </a:accent5>
        <a:accent6>
          <a:srgbClr val="E7B95C"/>
        </a:accent6>
        <a:hlink>
          <a:srgbClr val="364068"/>
        </a:hlink>
        <a:folHlink>
          <a:srgbClr val="08406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5">
        <a:dk1>
          <a:srgbClr val="000000"/>
        </a:dk1>
        <a:lt1>
          <a:srgbClr val="FFFFFF"/>
        </a:lt1>
        <a:dk2>
          <a:srgbClr val="4B6EC0"/>
        </a:dk2>
        <a:lt2>
          <a:srgbClr val="4D4D4D"/>
        </a:lt2>
        <a:accent1>
          <a:srgbClr val="CDE5FE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3F0FE"/>
        </a:accent5>
        <a:accent6>
          <a:srgbClr val="E7B95C"/>
        </a:accent6>
        <a:hlink>
          <a:srgbClr val="273D6F"/>
        </a:hlink>
        <a:folHlink>
          <a:srgbClr val="99FF9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6">
        <a:dk1>
          <a:srgbClr val="000000"/>
        </a:dk1>
        <a:lt1>
          <a:srgbClr val="FFFFFF"/>
        </a:lt1>
        <a:dk2>
          <a:srgbClr val="4B6EC0"/>
        </a:dk2>
        <a:lt2>
          <a:srgbClr val="4D4D4D"/>
        </a:lt2>
        <a:accent1>
          <a:srgbClr val="CDE5FE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3F0FE"/>
        </a:accent5>
        <a:accent6>
          <a:srgbClr val="E7B95C"/>
        </a:accent6>
        <a:hlink>
          <a:srgbClr val="273D6F"/>
        </a:hlink>
        <a:folHlink>
          <a:srgbClr val="CCFFCC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1.xml><?xml version="1.0" encoding="utf-8"?>
<a:theme xmlns:a="http://schemas.openxmlformats.org/drawingml/2006/main" name="27_EPS_Custom_print">
  <a:themeElements>
    <a:clrScheme name="BRANDBOOK">
      <a:dk1>
        <a:srgbClr val="00294F"/>
      </a:dk1>
      <a:lt1>
        <a:srgbClr val="FFFFFF"/>
      </a:lt1>
      <a:dk2>
        <a:srgbClr val="007AC2"/>
      </a:dk2>
      <a:lt2>
        <a:srgbClr val="999B9E"/>
      </a:lt2>
      <a:accent1>
        <a:srgbClr val="DEE2E4"/>
      </a:accent1>
      <a:accent2>
        <a:srgbClr val="016EB3"/>
      </a:accent2>
      <a:accent3>
        <a:srgbClr val="92C5EB"/>
      </a:accent3>
      <a:accent4>
        <a:srgbClr val="333132"/>
      </a:accent4>
      <a:accent5>
        <a:srgbClr val="D1D3D4"/>
      </a:accent5>
      <a:accent6>
        <a:srgbClr val="ED1C24"/>
      </a:accent6>
      <a:hlink>
        <a:srgbClr val="47C2FF"/>
      </a:hlink>
      <a:folHlink>
        <a:srgbClr val="0E6ABE"/>
      </a:folHlink>
    </a:clrScheme>
    <a:fontScheme name="Классическая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1" lang="en-US" sz="1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ahoma" pitchFamily="34" charset="0"/>
            <a:ea typeface="PMingLiU" pitchFamily="18" charset="-12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1" lang="en-US" sz="1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ahoma" pitchFamily="34" charset="0"/>
            <a:ea typeface="PMingLiU" pitchFamily="18" charset="-120"/>
          </a:defRPr>
        </a:defPPr>
      </a:lstStyle>
    </a:lnDef>
  </a:objectDefaults>
  <a:extraClrSchemeLst>
    <a:extraClrScheme>
      <a:clrScheme name="1_EPS_Custom_print 1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0000"/>
        </a:accent1>
        <a:accent2>
          <a:srgbClr val="000000"/>
        </a:accent2>
        <a:accent3>
          <a:srgbClr val="FFFFFF"/>
        </a:accent3>
        <a:accent4>
          <a:srgbClr val="000000"/>
        </a:accent4>
        <a:accent5>
          <a:srgbClr val="AAAAAA"/>
        </a:accent5>
        <a:accent6>
          <a:srgbClr val="000000"/>
        </a:accent6>
        <a:hlink>
          <a:srgbClr val="000000"/>
        </a:hlink>
        <a:folHlink>
          <a:srgbClr val="00FFC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3">
        <a:dk1>
          <a:srgbClr val="808080"/>
        </a:dk1>
        <a:lt1>
          <a:srgbClr val="FFFFFF"/>
        </a:lt1>
        <a:dk2>
          <a:srgbClr val="000000"/>
        </a:dk2>
        <a:lt2>
          <a:srgbClr val="FFFFFF"/>
        </a:lt2>
        <a:accent1>
          <a:srgbClr val="FF0000"/>
        </a:accent1>
        <a:accent2>
          <a:srgbClr val="FFFF00"/>
        </a:accent2>
        <a:accent3>
          <a:srgbClr val="AAAAAA"/>
        </a:accent3>
        <a:accent4>
          <a:srgbClr val="DADADA"/>
        </a:accent4>
        <a:accent5>
          <a:srgbClr val="FFAAAA"/>
        </a:accent5>
        <a:accent6>
          <a:srgbClr val="E7E700"/>
        </a:accent6>
        <a:hlink>
          <a:srgbClr val="FF0000"/>
        </a:hlink>
        <a:folHlink>
          <a:srgbClr val="0080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EPS_Custom_print 4">
        <a:dk1>
          <a:srgbClr val="000000"/>
        </a:dk1>
        <a:lt1>
          <a:srgbClr val="FFFFFF"/>
        </a:lt1>
        <a:dk2>
          <a:srgbClr val="000000"/>
        </a:dk2>
        <a:lt2>
          <a:srgbClr val="4D4D4D"/>
        </a:lt2>
        <a:accent1>
          <a:srgbClr val="287AC8"/>
        </a:accent1>
        <a:accent2>
          <a:srgbClr val="000000"/>
        </a:accent2>
        <a:accent3>
          <a:srgbClr val="FFFFFF"/>
        </a:accent3>
        <a:accent4>
          <a:srgbClr val="000000"/>
        </a:accent4>
        <a:accent5>
          <a:srgbClr val="ACBEE0"/>
        </a:accent5>
        <a:accent6>
          <a:srgbClr val="000000"/>
        </a:accent6>
        <a:hlink>
          <a:srgbClr val="287AC8"/>
        </a:hlink>
        <a:folHlink>
          <a:srgbClr val="CFFFA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5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287AC8"/>
        </a:accent1>
        <a:accent2>
          <a:srgbClr val="000000"/>
        </a:accent2>
        <a:accent3>
          <a:srgbClr val="FFFFFF"/>
        </a:accent3>
        <a:accent4>
          <a:srgbClr val="000000"/>
        </a:accent4>
        <a:accent5>
          <a:srgbClr val="ACBEE0"/>
        </a:accent5>
        <a:accent6>
          <a:srgbClr val="000000"/>
        </a:accent6>
        <a:hlink>
          <a:srgbClr val="287AC8"/>
        </a:hlink>
        <a:folHlink>
          <a:srgbClr val="CFFFA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6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00A1FA"/>
        </a:accent1>
        <a:accent2>
          <a:srgbClr val="008000"/>
        </a:accent2>
        <a:accent3>
          <a:srgbClr val="FFFFFF"/>
        </a:accent3>
        <a:accent4>
          <a:srgbClr val="000000"/>
        </a:accent4>
        <a:accent5>
          <a:srgbClr val="AACDFC"/>
        </a:accent5>
        <a:accent6>
          <a:srgbClr val="007300"/>
        </a:accent6>
        <a:hlink>
          <a:srgbClr val="E4BE00"/>
        </a:hlink>
        <a:folHlink>
          <a:srgbClr val="AF070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7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4B6EC0"/>
        </a:accent1>
        <a:accent2>
          <a:srgbClr val="C6E2FE"/>
        </a:accent2>
        <a:accent3>
          <a:srgbClr val="FFFFFF"/>
        </a:accent3>
        <a:accent4>
          <a:srgbClr val="000000"/>
        </a:accent4>
        <a:accent5>
          <a:srgbClr val="B1BADC"/>
        </a:accent5>
        <a:accent6>
          <a:srgbClr val="B3CDE6"/>
        </a:accent6>
        <a:hlink>
          <a:srgbClr val="FFCC66"/>
        </a:hlink>
        <a:folHlink>
          <a:srgbClr val="93FF9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8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4B6EC0"/>
        </a:accent1>
        <a:accent2>
          <a:srgbClr val="C6E2FE"/>
        </a:accent2>
        <a:accent3>
          <a:srgbClr val="FFFFFF"/>
        </a:accent3>
        <a:accent4>
          <a:srgbClr val="000000"/>
        </a:accent4>
        <a:accent5>
          <a:srgbClr val="B1BADC"/>
        </a:accent5>
        <a:accent6>
          <a:srgbClr val="B3CDE6"/>
        </a:accent6>
        <a:hlink>
          <a:srgbClr val="FFCC66"/>
        </a:hlink>
        <a:folHlink>
          <a:srgbClr val="0B817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9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4B6EC0"/>
        </a:accent1>
        <a:accent2>
          <a:srgbClr val="C6E2FE"/>
        </a:accent2>
        <a:accent3>
          <a:srgbClr val="FFFFFF"/>
        </a:accent3>
        <a:accent4>
          <a:srgbClr val="000000"/>
        </a:accent4>
        <a:accent5>
          <a:srgbClr val="B1BADC"/>
        </a:accent5>
        <a:accent6>
          <a:srgbClr val="B3CDE6"/>
        </a:accent6>
        <a:hlink>
          <a:srgbClr val="FFCC66"/>
        </a:hlink>
        <a:folHlink>
          <a:srgbClr val="BC002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0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4B6EC0"/>
        </a:accent1>
        <a:accent2>
          <a:srgbClr val="C6E2FE"/>
        </a:accent2>
        <a:accent3>
          <a:srgbClr val="FFFFFF"/>
        </a:accent3>
        <a:accent4>
          <a:srgbClr val="000000"/>
        </a:accent4>
        <a:accent5>
          <a:srgbClr val="B1BADC"/>
        </a:accent5>
        <a:accent6>
          <a:srgbClr val="B3CDE6"/>
        </a:accent6>
        <a:hlink>
          <a:srgbClr val="FFCC66"/>
        </a:hlink>
        <a:folHlink>
          <a:srgbClr val="26267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1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4B6EC0"/>
        </a:accent1>
        <a:accent2>
          <a:srgbClr val="C6E2FE"/>
        </a:accent2>
        <a:accent3>
          <a:srgbClr val="FFFFFF"/>
        </a:accent3>
        <a:accent4>
          <a:srgbClr val="000000"/>
        </a:accent4>
        <a:accent5>
          <a:srgbClr val="B1BADC"/>
        </a:accent5>
        <a:accent6>
          <a:srgbClr val="B3CDE6"/>
        </a:accent6>
        <a:hlink>
          <a:srgbClr val="FFCC66"/>
        </a:hlink>
        <a:folHlink>
          <a:srgbClr val="08406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2">
        <a:dk1>
          <a:srgbClr val="000000"/>
        </a:dk1>
        <a:lt1>
          <a:srgbClr val="FFFFFF"/>
        </a:lt1>
        <a:dk2>
          <a:srgbClr val="4B6EC0"/>
        </a:dk2>
        <a:lt2>
          <a:srgbClr val="4D4D4D"/>
        </a:lt2>
        <a:accent1>
          <a:srgbClr val="CDE5FE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3F0FE"/>
        </a:accent5>
        <a:accent6>
          <a:srgbClr val="E7B95C"/>
        </a:accent6>
        <a:hlink>
          <a:srgbClr val="08406E"/>
        </a:hlink>
        <a:folHlink>
          <a:srgbClr val="08406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3">
        <a:dk1>
          <a:srgbClr val="000000"/>
        </a:dk1>
        <a:lt1>
          <a:srgbClr val="FFFFFF"/>
        </a:lt1>
        <a:dk2>
          <a:srgbClr val="4B6EC0"/>
        </a:dk2>
        <a:lt2>
          <a:srgbClr val="4D4D4D"/>
        </a:lt2>
        <a:accent1>
          <a:srgbClr val="CDE5FE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3F0FE"/>
        </a:accent5>
        <a:accent6>
          <a:srgbClr val="E7B95C"/>
        </a:accent6>
        <a:hlink>
          <a:srgbClr val="104058"/>
        </a:hlink>
        <a:folHlink>
          <a:srgbClr val="08406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4">
        <a:dk1>
          <a:srgbClr val="000000"/>
        </a:dk1>
        <a:lt1>
          <a:srgbClr val="FFFFFF"/>
        </a:lt1>
        <a:dk2>
          <a:srgbClr val="4B6EC0"/>
        </a:dk2>
        <a:lt2>
          <a:srgbClr val="4D4D4D"/>
        </a:lt2>
        <a:accent1>
          <a:srgbClr val="CDE5FE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3F0FE"/>
        </a:accent5>
        <a:accent6>
          <a:srgbClr val="E7B95C"/>
        </a:accent6>
        <a:hlink>
          <a:srgbClr val="364068"/>
        </a:hlink>
        <a:folHlink>
          <a:srgbClr val="08406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5">
        <a:dk1>
          <a:srgbClr val="000000"/>
        </a:dk1>
        <a:lt1>
          <a:srgbClr val="FFFFFF"/>
        </a:lt1>
        <a:dk2>
          <a:srgbClr val="4B6EC0"/>
        </a:dk2>
        <a:lt2>
          <a:srgbClr val="4D4D4D"/>
        </a:lt2>
        <a:accent1>
          <a:srgbClr val="CDE5FE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3F0FE"/>
        </a:accent5>
        <a:accent6>
          <a:srgbClr val="E7B95C"/>
        </a:accent6>
        <a:hlink>
          <a:srgbClr val="273D6F"/>
        </a:hlink>
        <a:folHlink>
          <a:srgbClr val="99FF9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6">
        <a:dk1>
          <a:srgbClr val="000000"/>
        </a:dk1>
        <a:lt1>
          <a:srgbClr val="FFFFFF"/>
        </a:lt1>
        <a:dk2>
          <a:srgbClr val="4B6EC0"/>
        </a:dk2>
        <a:lt2>
          <a:srgbClr val="4D4D4D"/>
        </a:lt2>
        <a:accent1>
          <a:srgbClr val="CDE5FE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3F0FE"/>
        </a:accent5>
        <a:accent6>
          <a:srgbClr val="E7B95C"/>
        </a:accent6>
        <a:hlink>
          <a:srgbClr val="273D6F"/>
        </a:hlink>
        <a:folHlink>
          <a:srgbClr val="CCFFCC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6_EPS_Custom_print">
  <a:themeElements>
    <a:clrScheme name="BRANDBOOK">
      <a:dk1>
        <a:srgbClr val="00294F"/>
      </a:dk1>
      <a:lt1>
        <a:srgbClr val="FFFFFF"/>
      </a:lt1>
      <a:dk2>
        <a:srgbClr val="007AC2"/>
      </a:dk2>
      <a:lt2>
        <a:srgbClr val="999B9E"/>
      </a:lt2>
      <a:accent1>
        <a:srgbClr val="DEE2E4"/>
      </a:accent1>
      <a:accent2>
        <a:srgbClr val="016EB3"/>
      </a:accent2>
      <a:accent3>
        <a:srgbClr val="92C5EB"/>
      </a:accent3>
      <a:accent4>
        <a:srgbClr val="333132"/>
      </a:accent4>
      <a:accent5>
        <a:srgbClr val="D1D3D4"/>
      </a:accent5>
      <a:accent6>
        <a:srgbClr val="ED1C24"/>
      </a:accent6>
      <a:hlink>
        <a:srgbClr val="47C2FF"/>
      </a:hlink>
      <a:folHlink>
        <a:srgbClr val="0E6ABE"/>
      </a:folHlink>
    </a:clrScheme>
    <a:fontScheme name="Классическая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1" lang="en-US" sz="1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ahoma" pitchFamily="34" charset="0"/>
            <a:ea typeface="PMingLiU" pitchFamily="18" charset="-12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1" lang="en-US" sz="1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ahoma" pitchFamily="34" charset="0"/>
            <a:ea typeface="PMingLiU" pitchFamily="18" charset="-120"/>
          </a:defRPr>
        </a:defPPr>
      </a:lstStyle>
    </a:lnDef>
  </a:objectDefaults>
  <a:extraClrSchemeLst>
    <a:extraClrScheme>
      <a:clrScheme name="1_EPS_Custom_print 1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0000"/>
        </a:accent1>
        <a:accent2>
          <a:srgbClr val="000000"/>
        </a:accent2>
        <a:accent3>
          <a:srgbClr val="FFFFFF"/>
        </a:accent3>
        <a:accent4>
          <a:srgbClr val="000000"/>
        </a:accent4>
        <a:accent5>
          <a:srgbClr val="AAAAAA"/>
        </a:accent5>
        <a:accent6>
          <a:srgbClr val="000000"/>
        </a:accent6>
        <a:hlink>
          <a:srgbClr val="000000"/>
        </a:hlink>
        <a:folHlink>
          <a:srgbClr val="00FFC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3">
        <a:dk1>
          <a:srgbClr val="808080"/>
        </a:dk1>
        <a:lt1>
          <a:srgbClr val="FFFFFF"/>
        </a:lt1>
        <a:dk2>
          <a:srgbClr val="000000"/>
        </a:dk2>
        <a:lt2>
          <a:srgbClr val="FFFFFF"/>
        </a:lt2>
        <a:accent1>
          <a:srgbClr val="FF0000"/>
        </a:accent1>
        <a:accent2>
          <a:srgbClr val="FFFF00"/>
        </a:accent2>
        <a:accent3>
          <a:srgbClr val="AAAAAA"/>
        </a:accent3>
        <a:accent4>
          <a:srgbClr val="DADADA"/>
        </a:accent4>
        <a:accent5>
          <a:srgbClr val="FFAAAA"/>
        </a:accent5>
        <a:accent6>
          <a:srgbClr val="E7E700"/>
        </a:accent6>
        <a:hlink>
          <a:srgbClr val="FF0000"/>
        </a:hlink>
        <a:folHlink>
          <a:srgbClr val="0080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EPS_Custom_print 4">
        <a:dk1>
          <a:srgbClr val="000000"/>
        </a:dk1>
        <a:lt1>
          <a:srgbClr val="FFFFFF"/>
        </a:lt1>
        <a:dk2>
          <a:srgbClr val="000000"/>
        </a:dk2>
        <a:lt2>
          <a:srgbClr val="4D4D4D"/>
        </a:lt2>
        <a:accent1>
          <a:srgbClr val="287AC8"/>
        </a:accent1>
        <a:accent2>
          <a:srgbClr val="000000"/>
        </a:accent2>
        <a:accent3>
          <a:srgbClr val="FFFFFF"/>
        </a:accent3>
        <a:accent4>
          <a:srgbClr val="000000"/>
        </a:accent4>
        <a:accent5>
          <a:srgbClr val="ACBEE0"/>
        </a:accent5>
        <a:accent6>
          <a:srgbClr val="000000"/>
        </a:accent6>
        <a:hlink>
          <a:srgbClr val="287AC8"/>
        </a:hlink>
        <a:folHlink>
          <a:srgbClr val="CFFFA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5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287AC8"/>
        </a:accent1>
        <a:accent2>
          <a:srgbClr val="000000"/>
        </a:accent2>
        <a:accent3>
          <a:srgbClr val="FFFFFF"/>
        </a:accent3>
        <a:accent4>
          <a:srgbClr val="000000"/>
        </a:accent4>
        <a:accent5>
          <a:srgbClr val="ACBEE0"/>
        </a:accent5>
        <a:accent6>
          <a:srgbClr val="000000"/>
        </a:accent6>
        <a:hlink>
          <a:srgbClr val="287AC8"/>
        </a:hlink>
        <a:folHlink>
          <a:srgbClr val="CFFFA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6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00A1FA"/>
        </a:accent1>
        <a:accent2>
          <a:srgbClr val="008000"/>
        </a:accent2>
        <a:accent3>
          <a:srgbClr val="FFFFFF"/>
        </a:accent3>
        <a:accent4>
          <a:srgbClr val="000000"/>
        </a:accent4>
        <a:accent5>
          <a:srgbClr val="AACDFC"/>
        </a:accent5>
        <a:accent6>
          <a:srgbClr val="007300"/>
        </a:accent6>
        <a:hlink>
          <a:srgbClr val="E4BE00"/>
        </a:hlink>
        <a:folHlink>
          <a:srgbClr val="AF070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7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4B6EC0"/>
        </a:accent1>
        <a:accent2>
          <a:srgbClr val="C6E2FE"/>
        </a:accent2>
        <a:accent3>
          <a:srgbClr val="FFFFFF"/>
        </a:accent3>
        <a:accent4>
          <a:srgbClr val="000000"/>
        </a:accent4>
        <a:accent5>
          <a:srgbClr val="B1BADC"/>
        </a:accent5>
        <a:accent6>
          <a:srgbClr val="B3CDE6"/>
        </a:accent6>
        <a:hlink>
          <a:srgbClr val="FFCC66"/>
        </a:hlink>
        <a:folHlink>
          <a:srgbClr val="93FF9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8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4B6EC0"/>
        </a:accent1>
        <a:accent2>
          <a:srgbClr val="C6E2FE"/>
        </a:accent2>
        <a:accent3>
          <a:srgbClr val="FFFFFF"/>
        </a:accent3>
        <a:accent4>
          <a:srgbClr val="000000"/>
        </a:accent4>
        <a:accent5>
          <a:srgbClr val="B1BADC"/>
        </a:accent5>
        <a:accent6>
          <a:srgbClr val="B3CDE6"/>
        </a:accent6>
        <a:hlink>
          <a:srgbClr val="FFCC66"/>
        </a:hlink>
        <a:folHlink>
          <a:srgbClr val="0B817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9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4B6EC0"/>
        </a:accent1>
        <a:accent2>
          <a:srgbClr val="C6E2FE"/>
        </a:accent2>
        <a:accent3>
          <a:srgbClr val="FFFFFF"/>
        </a:accent3>
        <a:accent4>
          <a:srgbClr val="000000"/>
        </a:accent4>
        <a:accent5>
          <a:srgbClr val="B1BADC"/>
        </a:accent5>
        <a:accent6>
          <a:srgbClr val="B3CDE6"/>
        </a:accent6>
        <a:hlink>
          <a:srgbClr val="FFCC66"/>
        </a:hlink>
        <a:folHlink>
          <a:srgbClr val="BC002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0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4B6EC0"/>
        </a:accent1>
        <a:accent2>
          <a:srgbClr val="C6E2FE"/>
        </a:accent2>
        <a:accent3>
          <a:srgbClr val="FFFFFF"/>
        </a:accent3>
        <a:accent4>
          <a:srgbClr val="000000"/>
        </a:accent4>
        <a:accent5>
          <a:srgbClr val="B1BADC"/>
        </a:accent5>
        <a:accent6>
          <a:srgbClr val="B3CDE6"/>
        </a:accent6>
        <a:hlink>
          <a:srgbClr val="FFCC66"/>
        </a:hlink>
        <a:folHlink>
          <a:srgbClr val="26267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1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4B6EC0"/>
        </a:accent1>
        <a:accent2>
          <a:srgbClr val="C6E2FE"/>
        </a:accent2>
        <a:accent3>
          <a:srgbClr val="FFFFFF"/>
        </a:accent3>
        <a:accent4>
          <a:srgbClr val="000000"/>
        </a:accent4>
        <a:accent5>
          <a:srgbClr val="B1BADC"/>
        </a:accent5>
        <a:accent6>
          <a:srgbClr val="B3CDE6"/>
        </a:accent6>
        <a:hlink>
          <a:srgbClr val="FFCC66"/>
        </a:hlink>
        <a:folHlink>
          <a:srgbClr val="08406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2">
        <a:dk1>
          <a:srgbClr val="000000"/>
        </a:dk1>
        <a:lt1>
          <a:srgbClr val="FFFFFF"/>
        </a:lt1>
        <a:dk2>
          <a:srgbClr val="4B6EC0"/>
        </a:dk2>
        <a:lt2>
          <a:srgbClr val="4D4D4D"/>
        </a:lt2>
        <a:accent1>
          <a:srgbClr val="CDE5FE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3F0FE"/>
        </a:accent5>
        <a:accent6>
          <a:srgbClr val="E7B95C"/>
        </a:accent6>
        <a:hlink>
          <a:srgbClr val="08406E"/>
        </a:hlink>
        <a:folHlink>
          <a:srgbClr val="08406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3">
        <a:dk1>
          <a:srgbClr val="000000"/>
        </a:dk1>
        <a:lt1>
          <a:srgbClr val="FFFFFF"/>
        </a:lt1>
        <a:dk2>
          <a:srgbClr val="4B6EC0"/>
        </a:dk2>
        <a:lt2>
          <a:srgbClr val="4D4D4D"/>
        </a:lt2>
        <a:accent1>
          <a:srgbClr val="CDE5FE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3F0FE"/>
        </a:accent5>
        <a:accent6>
          <a:srgbClr val="E7B95C"/>
        </a:accent6>
        <a:hlink>
          <a:srgbClr val="104058"/>
        </a:hlink>
        <a:folHlink>
          <a:srgbClr val="08406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4">
        <a:dk1>
          <a:srgbClr val="000000"/>
        </a:dk1>
        <a:lt1>
          <a:srgbClr val="FFFFFF"/>
        </a:lt1>
        <a:dk2>
          <a:srgbClr val="4B6EC0"/>
        </a:dk2>
        <a:lt2>
          <a:srgbClr val="4D4D4D"/>
        </a:lt2>
        <a:accent1>
          <a:srgbClr val="CDE5FE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3F0FE"/>
        </a:accent5>
        <a:accent6>
          <a:srgbClr val="E7B95C"/>
        </a:accent6>
        <a:hlink>
          <a:srgbClr val="364068"/>
        </a:hlink>
        <a:folHlink>
          <a:srgbClr val="08406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5">
        <a:dk1>
          <a:srgbClr val="000000"/>
        </a:dk1>
        <a:lt1>
          <a:srgbClr val="FFFFFF"/>
        </a:lt1>
        <a:dk2>
          <a:srgbClr val="4B6EC0"/>
        </a:dk2>
        <a:lt2>
          <a:srgbClr val="4D4D4D"/>
        </a:lt2>
        <a:accent1>
          <a:srgbClr val="CDE5FE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3F0FE"/>
        </a:accent5>
        <a:accent6>
          <a:srgbClr val="E7B95C"/>
        </a:accent6>
        <a:hlink>
          <a:srgbClr val="273D6F"/>
        </a:hlink>
        <a:folHlink>
          <a:srgbClr val="99FF9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6">
        <a:dk1>
          <a:srgbClr val="000000"/>
        </a:dk1>
        <a:lt1>
          <a:srgbClr val="FFFFFF"/>
        </a:lt1>
        <a:dk2>
          <a:srgbClr val="4B6EC0"/>
        </a:dk2>
        <a:lt2>
          <a:srgbClr val="4D4D4D"/>
        </a:lt2>
        <a:accent1>
          <a:srgbClr val="CDE5FE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3F0FE"/>
        </a:accent5>
        <a:accent6>
          <a:srgbClr val="E7B95C"/>
        </a:accent6>
        <a:hlink>
          <a:srgbClr val="273D6F"/>
        </a:hlink>
        <a:folHlink>
          <a:srgbClr val="CCFFCC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7_EPS_Custom_print">
  <a:themeElements>
    <a:clrScheme name="BRANDBOOK">
      <a:dk1>
        <a:srgbClr val="00294F"/>
      </a:dk1>
      <a:lt1>
        <a:srgbClr val="FFFFFF"/>
      </a:lt1>
      <a:dk2>
        <a:srgbClr val="007AC2"/>
      </a:dk2>
      <a:lt2>
        <a:srgbClr val="999B9E"/>
      </a:lt2>
      <a:accent1>
        <a:srgbClr val="DEE2E4"/>
      </a:accent1>
      <a:accent2>
        <a:srgbClr val="016EB3"/>
      </a:accent2>
      <a:accent3>
        <a:srgbClr val="92C5EB"/>
      </a:accent3>
      <a:accent4>
        <a:srgbClr val="333132"/>
      </a:accent4>
      <a:accent5>
        <a:srgbClr val="D1D3D4"/>
      </a:accent5>
      <a:accent6>
        <a:srgbClr val="ED1C24"/>
      </a:accent6>
      <a:hlink>
        <a:srgbClr val="47C2FF"/>
      </a:hlink>
      <a:folHlink>
        <a:srgbClr val="0E6ABE"/>
      </a:folHlink>
    </a:clrScheme>
    <a:fontScheme name="Классическая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1" lang="en-US" sz="1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ahoma" pitchFamily="34" charset="0"/>
            <a:ea typeface="PMingLiU" pitchFamily="18" charset="-12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1" lang="en-US" sz="1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ahoma" pitchFamily="34" charset="0"/>
            <a:ea typeface="PMingLiU" pitchFamily="18" charset="-120"/>
          </a:defRPr>
        </a:defPPr>
      </a:lstStyle>
    </a:lnDef>
  </a:objectDefaults>
  <a:extraClrSchemeLst>
    <a:extraClrScheme>
      <a:clrScheme name="1_EPS_Custom_print 1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0000"/>
        </a:accent1>
        <a:accent2>
          <a:srgbClr val="000000"/>
        </a:accent2>
        <a:accent3>
          <a:srgbClr val="FFFFFF"/>
        </a:accent3>
        <a:accent4>
          <a:srgbClr val="000000"/>
        </a:accent4>
        <a:accent5>
          <a:srgbClr val="AAAAAA"/>
        </a:accent5>
        <a:accent6>
          <a:srgbClr val="000000"/>
        </a:accent6>
        <a:hlink>
          <a:srgbClr val="000000"/>
        </a:hlink>
        <a:folHlink>
          <a:srgbClr val="00FFC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3">
        <a:dk1>
          <a:srgbClr val="808080"/>
        </a:dk1>
        <a:lt1>
          <a:srgbClr val="FFFFFF"/>
        </a:lt1>
        <a:dk2>
          <a:srgbClr val="000000"/>
        </a:dk2>
        <a:lt2>
          <a:srgbClr val="FFFFFF"/>
        </a:lt2>
        <a:accent1>
          <a:srgbClr val="FF0000"/>
        </a:accent1>
        <a:accent2>
          <a:srgbClr val="FFFF00"/>
        </a:accent2>
        <a:accent3>
          <a:srgbClr val="AAAAAA"/>
        </a:accent3>
        <a:accent4>
          <a:srgbClr val="DADADA"/>
        </a:accent4>
        <a:accent5>
          <a:srgbClr val="FFAAAA"/>
        </a:accent5>
        <a:accent6>
          <a:srgbClr val="E7E700"/>
        </a:accent6>
        <a:hlink>
          <a:srgbClr val="FF0000"/>
        </a:hlink>
        <a:folHlink>
          <a:srgbClr val="0080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EPS_Custom_print 4">
        <a:dk1>
          <a:srgbClr val="000000"/>
        </a:dk1>
        <a:lt1>
          <a:srgbClr val="FFFFFF"/>
        </a:lt1>
        <a:dk2>
          <a:srgbClr val="000000"/>
        </a:dk2>
        <a:lt2>
          <a:srgbClr val="4D4D4D"/>
        </a:lt2>
        <a:accent1>
          <a:srgbClr val="287AC8"/>
        </a:accent1>
        <a:accent2>
          <a:srgbClr val="000000"/>
        </a:accent2>
        <a:accent3>
          <a:srgbClr val="FFFFFF"/>
        </a:accent3>
        <a:accent4>
          <a:srgbClr val="000000"/>
        </a:accent4>
        <a:accent5>
          <a:srgbClr val="ACBEE0"/>
        </a:accent5>
        <a:accent6>
          <a:srgbClr val="000000"/>
        </a:accent6>
        <a:hlink>
          <a:srgbClr val="287AC8"/>
        </a:hlink>
        <a:folHlink>
          <a:srgbClr val="CFFFA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5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287AC8"/>
        </a:accent1>
        <a:accent2>
          <a:srgbClr val="000000"/>
        </a:accent2>
        <a:accent3>
          <a:srgbClr val="FFFFFF"/>
        </a:accent3>
        <a:accent4>
          <a:srgbClr val="000000"/>
        </a:accent4>
        <a:accent5>
          <a:srgbClr val="ACBEE0"/>
        </a:accent5>
        <a:accent6>
          <a:srgbClr val="000000"/>
        </a:accent6>
        <a:hlink>
          <a:srgbClr val="287AC8"/>
        </a:hlink>
        <a:folHlink>
          <a:srgbClr val="CFFFA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6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00A1FA"/>
        </a:accent1>
        <a:accent2>
          <a:srgbClr val="008000"/>
        </a:accent2>
        <a:accent3>
          <a:srgbClr val="FFFFFF"/>
        </a:accent3>
        <a:accent4>
          <a:srgbClr val="000000"/>
        </a:accent4>
        <a:accent5>
          <a:srgbClr val="AACDFC"/>
        </a:accent5>
        <a:accent6>
          <a:srgbClr val="007300"/>
        </a:accent6>
        <a:hlink>
          <a:srgbClr val="E4BE00"/>
        </a:hlink>
        <a:folHlink>
          <a:srgbClr val="AF070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7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4B6EC0"/>
        </a:accent1>
        <a:accent2>
          <a:srgbClr val="C6E2FE"/>
        </a:accent2>
        <a:accent3>
          <a:srgbClr val="FFFFFF"/>
        </a:accent3>
        <a:accent4>
          <a:srgbClr val="000000"/>
        </a:accent4>
        <a:accent5>
          <a:srgbClr val="B1BADC"/>
        </a:accent5>
        <a:accent6>
          <a:srgbClr val="B3CDE6"/>
        </a:accent6>
        <a:hlink>
          <a:srgbClr val="FFCC66"/>
        </a:hlink>
        <a:folHlink>
          <a:srgbClr val="93FF9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8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4B6EC0"/>
        </a:accent1>
        <a:accent2>
          <a:srgbClr val="C6E2FE"/>
        </a:accent2>
        <a:accent3>
          <a:srgbClr val="FFFFFF"/>
        </a:accent3>
        <a:accent4>
          <a:srgbClr val="000000"/>
        </a:accent4>
        <a:accent5>
          <a:srgbClr val="B1BADC"/>
        </a:accent5>
        <a:accent6>
          <a:srgbClr val="B3CDE6"/>
        </a:accent6>
        <a:hlink>
          <a:srgbClr val="FFCC66"/>
        </a:hlink>
        <a:folHlink>
          <a:srgbClr val="0B817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9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4B6EC0"/>
        </a:accent1>
        <a:accent2>
          <a:srgbClr val="C6E2FE"/>
        </a:accent2>
        <a:accent3>
          <a:srgbClr val="FFFFFF"/>
        </a:accent3>
        <a:accent4>
          <a:srgbClr val="000000"/>
        </a:accent4>
        <a:accent5>
          <a:srgbClr val="B1BADC"/>
        </a:accent5>
        <a:accent6>
          <a:srgbClr val="B3CDE6"/>
        </a:accent6>
        <a:hlink>
          <a:srgbClr val="FFCC66"/>
        </a:hlink>
        <a:folHlink>
          <a:srgbClr val="BC002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0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4B6EC0"/>
        </a:accent1>
        <a:accent2>
          <a:srgbClr val="C6E2FE"/>
        </a:accent2>
        <a:accent3>
          <a:srgbClr val="FFFFFF"/>
        </a:accent3>
        <a:accent4>
          <a:srgbClr val="000000"/>
        </a:accent4>
        <a:accent5>
          <a:srgbClr val="B1BADC"/>
        </a:accent5>
        <a:accent6>
          <a:srgbClr val="B3CDE6"/>
        </a:accent6>
        <a:hlink>
          <a:srgbClr val="FFCC66"/>
        </a:hlink>
        <a:folHlink>
          <a:srgbClr val="26267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1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4B6EC0"/>
        </a:accent1>
        <a:accent2>
          <a:srgbClr val="C6E2FE"/>
        </a:accent2>
        <a:accent3>
          <a:srgbClr val="FFFFFF"/>
        </a:accent3>
        <a:accent4>
          <a:srgbClr val="000000"/>
        </a:accent4>
        <a:accent5>
          <a:srgbClr val="B1BADC"/>
        </a:accent5>
        <a:accent6>
          <a:srgbClr val="B3CDE6"/>
        </a:accent6>
        <a:hlink>
          <a:srgbClr val="FFCC66"/>
        </a:hlink>
        <a:folHlink>
          <a:srgbClr val="08406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2">
        <a:dk1>
          <a:srgbClr val="000000"/>
        </a:dk1>
        <a:lt1>
          <a:srgbClr val="FFFFFF"/>
        </a:lt1>
        <a:dk2>
          <a:srgbClr val="4B6EC0"/>
        </a:dk2>
        <a:lt2>
          <a:srgbClr val="4D4D4D"/>
        </a:lt2>
        <a:accent1>
          <a:srgbClr val="CDE5FE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3F0FE"/>
        </a:accent5>
        <a:accent6>
          <a:srgbClr val="E7B95C"/>
        </a:accent6>
        <a:hlink>
          <a:srgbClr val="08406E"/>
        </a:hlink>
        <a:folHlink>
          <a:srgbClr val="08406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3">
        <a:dk1>
          <a:srgbClr val="000000"/>
        </a:dk1>
        <a:lt1>
          <a:srgbClr val="FFFFFF"/>
        </a:lt1>
        <a:dk2>
          <a:srgbClr val="4B6EC0"/>
        </a:dk2>
        <a:lt2>
          <a:srgbClr val="4D4D4D"/>
        </a:lt2>
        <a:accent1>
          <a:srgbClr val="CDE5FE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3F0FE"/>
        </a:accent5>
        <a:accent6>
          <a:srgbClr val="E7B95C"/>
        </a:accent6>
        <a:hlink>
          <a:srgbClr val="104058"/>
        </a:hlink>
        <a:folHlink>
          <a:srgbClr val="08406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4">
        <a:dk1>
          <a:srgbClr val="000000"/>
        </a:dk1>
        <a:lt1>
          <a:srgbClr val="FFFFFF"/>
        </a:lt1>
        <a:dk2>
          <a:srgbClr val="4B6EC0"/>
        </a:dk2>
        <a:lt2>
          <a:srgbClr val="4D4D4D"/>
        </a:lt2>
        <a:accent1>
          <a:srgbClr val="CDE5FE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3F0FE"/>
        </a:accent5>
        <a:accent6>
          <a:srgbClr val="E7B95C"/>
        </a:accent6>
        <a:hlink>
          <a:srgbClr val="364068"/>
        </a:hlink>
        <a:folHlink>
          <a:srgbClr val="08406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5">
        <a:dk1>
          <a:srgbClr val="000000"/>
        </a:dk1>
        <a:lt1>
          <a:srgbClr val="FFFFFF"/>
        </a:lt1>
        <a:dk2>
          <a:srgbClr val="4B6EC0"/>
        </a:dk2>
        <a:lt2>
          <a:srgbClr val="4D4D4D"/>
        </a:lt2>
        <a:accent1>
          <a:srgbClr val="CDE5FE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3F0FE"/>
        </a:accent5>
        <a:accent6>
          <a:srgbClr val="E7B95C"/>
        </a:accent6>
        <a:hlink>
          <a:srgbClr val="273D6F"/>
        </a:hlink>
        <a:folHlink>
          <a:srgbClr val="99FF9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6">
        <a:dk1>
          <a:srgbClr val="000000"/>
        </a:dk1>
        <a:lt1>
          <a:srgbClr val="FFFFFF"/>
        </a:lt1>
        <a:dk2>
          <a:srgbClr val="4B6EC0"/>
        </a:dk2>
        <a:lt2>
          <a:srgbClr val="4D4D4D"/>
        </a:lt2>
        <a:accent1>
          <a:srgbClr val="CDE5FE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3F0FE"/>
        </a:accent5>
        <a:accent6>
          <a:srgbClr val="E7B95C"/>
        </a:accent6>
        <a:hlink>
          <a:srgbClr val="273D6F"/>
        </a:hlink>
        <a:folHlink>
          <a:srgbClr val="CCFFCC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6.xml><?xml version="1.0" encoding="utf-8"?>
<a:theme xmlns:a="http://schemas.openxmlformats.org/drawingml/2006/main" name="8_EPS_Custom_print">
  <a:themeElements>
    <a:clrScheme name="BRANDBOOK">
      <a:dk1>
        <a:srgbClr val="00294F"/>
      </a:dk1>
      <a:lt1>
        <a:srgbClr val="FFFFFF"/>
      </a:lt1>
      <a:dk2>
        <a:srgbClr val="007AC2"/>
      </a:dk2>
      <a:lt2>
        <a:srgbClr val="999B9E"/>
      </a:lt2>
      <a:accent1>
        <a:srgbClr val="DEE2E4"/>
      </a:accent1>
      <a:accent2>
        <a:srgbClr val="016EB3"/>
      </a:accent2>
      <a:accent3>
        <a:srgbClr val="92C5EB"/>
      </a:accent3>
      <a:accent4>
        <a:srgbClr val="333132"/>
      </a:accent4>
      <a:accent5>
        <a:srgbClr val="D1D3D4"/>
      </a:accent5>
      <a:accent6>
        <a:srgbClr val="ED1C24"/>
      </a:accent6>
      <a:hlink>
        <a:srgbClr val="47C2FF"/>
      </a:hlink>
      <a:folHlink>
        <a:srgbClr val="0E6ABE"/>
      </a:folHlink>
    </a:clrScheme>
    <a:fontScheme name="Классическая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1" lang="en-US" sz="1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ahoma" pitchFamily="34" charset="0"/>
            <a:ea typeface="PMingLiU" pitchFamily="18" charset="-12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1" lang="en-US" sz="1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ahoma" pitchFamily="34" charset="0"/>
            <a:ea typeface="PMingLiU" pitchFamily="18" charset="-120"/>
          </a:defRPr>
        </a:defPPr>
      </a:lstStyle>
    </a:lnDef>
  </a:objectDefaults>
  <a:extraClrSchemeLst>
    <a:extraClrScheme>
      <a:clrScheme name="1_EPS_Custom_print 1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0000"/>
        </a:accent1>
        <a:accent2>
          <a:srgbClr val="000000"/>
        </a:accent2>
        <a:accent3>
          <a:srgbClr val="FFFFFF"/>
        </a:accent3>
        <a:accent4>
          <a:srgbClr val="000000"/>
        </a:accent4>
        <a:accent5>
          <a:srgbClr val="AAAAAA"/>
        </a:accent5>
        <a:accent6>
          <a:srgbClr val="000000"/>
        </a:accent6>
        <a:hlink>
          <a:srgbClr val="000000"/>
        </a:hlink>
        <a:folHlink>
          <a:srgbClr val="00FFC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3">
        <a:dk1>
          <a:srgbClr val="808080"/>
        </a:dk1>
        <a:lt1>
          <a:srgbClr val="FFFFFF"/>
        </a:lt1>
        <a:dk2>
          <a:srgbClr val="000000"/>
        </a:dk2>
        <a:lt2>
          <a:srgbClr val="FFFFFF"/>
        </a:lt2>
        <a:accent1>
          <a:srgbClr val="FF0000"/>
        </a:accent1>
        <a:accent2>
          <a:srgbClr val="FFFF00"/>
        </a:accent2>
        <a:accent3>
          <a:srgbClr val="AAAAAA"/>
        </a:accent3>
        <a:accent4>
          <a:srgbClr val="DADADA"/>
        </a:accent4>
        <a:accent5>
          <a:srgbClr val="FFAAAA"/>
        </a:accent5>
        <a:accent6>
          <a:srgbClr val="E7E700"/>
        </a:accent6>
        <a:hlink>
          <a:srgbClr val="FF0000"/>
        </a:hlink>
        <a:folHlink>
          <a:srgbClr val="0080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EPS_Custom_print 4">
        <a:dk1>
          <a:srgbClr val="000000"/>
        </a:dk1>
        <a:lt1>
          <a:srgbClr val="FFFFFF"/>
        </a:lt1>
        <a:dk2>
          <a:srgbClr val="000000"/>
        </a:dk2>
        <a:lt2>
          <a:srgbClr val="4D4D4D"/>
        </a:lt2>
        <a:accent1>
          <a:srgbClr val="287AC8"/>
        </a:accent1>
        <a:accent2>
          <a:srgbClr val="000000"/>
        </a:accent2>
        <a:accent3>
          <a:srgbClr val="FFFFFF"/>
        </a:accent3>
        <a:accent4>
          <a:srgbClr val="000000"/>
        </a:accent4>
        <a:accent5>
          <a:srgbClr val="ACBEE0"/>
        </a:accent5>
        <a:accent6>
          <a:srgbClr val="000000"/>
        </a:accent6>
        <a:hlink>
          <a:srgbClr val="287AC8"/>
        </a:hlink>
        <a:folHlink>
          <a:srgbClr val="CFFFA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5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287AC8"/>
        </a:accent1>
        <a:accent2>
          <a:srgbClr val="000000"/>
        </a:accent2>
        <a:accent3>
          <a:srgbClr val="FFFFFF"/>
        </a:accent3>
        <a:accent4>
          <a:srgbClr val="000000"/>
        </a:accent4>
        <a:accent5>
          <a:srgbClr val="ACBEE0"/>
        </a:accent5>
        <a:accent6>
          <a:srgbClr val="000000"/>
        </a:accent6>
        <a:hlink>
          <a:srgbClr val="287AC8"/>
        </a:hlink>
        <a:folHlink>
          <a:srgbClr val="CFFFA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6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00A1FA"/>
        </a:accent1>
        <a:accent2>
          <a:srgbClr val="008000"/>
        </a:accent2>
        <a:accent3>
          <a:srgbClr val="FFFFFF"/>
        </a:accent3>
        <a:accent4>
          <a:srgbClr val="000000"/>
        </a:accent4>
        <a:accent5>
          <a:srgbClr val="AACDFC"/>
        </a:accent5>
        <a:accent6>
          <a:srgbClr val="007300"/>
        </a:accent6>
        <a:hlink>
          <a:srgbClr val="E4BE00"/>
        </a:hlink>
        <a:folHlink>
          <a:srgbClr val="AF070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7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4B6EC0"/>
        </a:accent1>
        <a:accent2>
          <a:srgbClr val="C6E2FE"/>
        </a:accent2>
        <a:accent3>
          <a:srgbClr val="FFFFFF"/>
        </a:accent3>
        <a:accent4>
          <a:srgbClr val="000000"/>
        </a:accent4>
        <a:accent5>
          <a:srgbClr val="B1BADC"/>
        </a:accent5>
        <a:accent6>
          <a:srgbClr val="B3CDE6"/>
        </a:accent6>
        <a:hlink>
          <a:srgbClr val="FFCC66"/>
        </a:hlink>
        <a:folHlink>
          <a:srgbClr val="93FF9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8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4B6EC0"/>
        </a:accent1>
        <a:accent2>
          <a:srgbClr val="C6E2FE"/>
        </a:accent2>
        <a:accent3>
          <a:srgbClr val="FFFFFF"/>
        </a:accent3>
        <a:accent4>
          <a:srgbClr val="000000"/>
        </a:accent4>
        <a:accent5>
          <a:srgbClr val="B1BADC"/>
        </a:accent5>
        <a:accent6>
          <a:srgbClr val="B3CDE6"/>
        </a:accent6>
        <a:hlink>
          <a:srgbClr val="FFCC66"/>
        </a:hlink>
        <a:folHlink>
          <a:srgbClr val="0B817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9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4B6EC0"/>
        </a:accent1>
        <a:accent2>
          <a:srgbClr val="C6E2FE"/>
        </a:accent2>
        <a:accent3>
          <a:srgbClr val="FFFFFF"/>
        </a:accent3>
        <a:accent4>
          <a:srgbClr val="000000"/>
        </a:accent4>
        <a:accent5>
          <a:srgbClr val="B1BADC"/>
        </a:accent5>
        <a:accent6>
          <a:srgbClr val="B3CDE6"/>
        </a:accent6>
        <a:hlink>
          <a:srgbClr val="FFCC66"/>
        </a:hlink>
        <a:folHlink>
          <a:srgbClr val="BC002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0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4B6EC0"/>
        </a:accent1>
        <a:accent2>
          <a:srgbClr val="C6E2FE"/>
        </a:accent2>
        <a:accent3>
          <a:srgbClr val="FFFFFF"/>
        </a:accent3>
        <a:accent4>
          <a:srgbClr val="000000"/>
        </a:accent4>
        <a:accent5>
          <a:srgbClr val="B1BADC"/>
        </a:accent5>
        <a:accent6>
          <a:srgbClr val="B3CDE6"/>
        </a:accent6>
        <a:hlink>
          <a:srgbClr val="FFCC66"/>
        </a:hlink>
        <a:folHlink>
          <a:srgbClr val="26267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1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4B6EC0"/>
        </a:accent1>
        <a:accent2>
          <a:srgbClr val="C6E2FE"/>
        </a:accent2>
        <a:accent3>
          <a:srgbClr val="FFFFFF"/>
        </a:accent3>
        <a:accent4>
          <a:srgbClr val="000000"/>
        </a:accent4>
        <a:accent5>
          <a:srgbClr val="B1BADC"/>
        </a:accent5>
        <a:accent6>
          <a:srgbClr val="B3CDE6"/>
        </a:accent6>
        <a:hlink>
          <a:srgbClr val="FFCC66"/>
        </a:hlink>
        <a:folHlink>
          <a:srgbClr val="08406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2">
        <a:dk1>
          <a:srgbClr val="000000"/>
        </a:dk1>
        <a:lt1>
          <a:srgbClr val="FFFFFF"/>
        </a:lt1>
        <a:dk2>
          <a:srgbClr val="4B6EC0"/>
        </a:dk2>
        <a:lt2>
          <a:srgbClr val="4D4D4D"/>
        </a:lt2>
        <a:accent1>
          <a:srgbClr val="CDE5FE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3F0FE"/>
        </a:accent5>
        <a:accent6>
          <a:srgbClr val="E7B95C"/>
        </a:accent6>
        <a:hlink>
          <a:srgbClr val="08406E"/>
        </a:hlink>
        <a:folHlink>
          <a:srgbClr val="08406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3">
        <a:dk1>
          <a:srgbClr val="000000"/>
        </a:dk1>
        <a:lt1>
          <a:srgbClr val="FFFFFF"/>
        </a:lt1>
        <a:dk2>
          <a:srgbClr val="4B6EC0"/>
        </a:dk2>
        <a:lt2>
          <a:srgbClr val="4D4D4D"/>
        </a:lt2>
        <a:accent1>
          <a:srgbClr val="CDE5FE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3F0FE"/>
        </a:accent5>
        <a:accent6>
          <a:srgbClr val="E7B95C"/>
        </a:accent6>
        <a:hlink>
          <a:srgbClr val="104058"/>
        </a:hlink>
        <a:folHlink>
          <a:srgbClr val="08406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4">
        <a:dk1>
          <a:srgbClr val="000000"/>
        </a:dk1>
        <a:lt1>
          <a:srgbClr val="FFFFFF"/>
        </a:lt1>
        <a:dk2>
          <a:srgbClr val="4B6EC0"/>
        </a:dk2>
        <a:lt2>
          <a:srgbClr val="4D4D4D"/>
        </a:lt2>
        <a:accent1>
          <a:srgbClr val="CDE5FE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3F0FE"/>
        </a:accent5>
        <a:accent6>
          <a:srgbClr val="E7B95C"/>
        </a:accent6>
        <a:hlink>
          <a:srgbClr val="364068"/>
        </a:hlink>
        <a:folHlink>
          <a:srgbClr val="08406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5">
        <a:dk1>
          <a:srgbClr val="000000"/>
        </a:dk1>
        <a:lt1>
          <a:srgbClr val="FFFFFF"/>
        </a:lt1>
        <a:dk2>
          <a:srgbClr val="4B6EC0"/>
        </a:dk2>
        <a:lt2>
          <a:srgbClr val="4D4D4D"/>
        </a:lt2>
        <a:accent1>
          <a:srgbClr val="CDE5FE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3F0FE"/>
        </a:accent5>
        <a:accent6>
          <a:srgbClr val="E7B95C"/>
        </a:accent6>
        <a:hlink>
          <a:srgbClr val="273D6F"/>
        </a:hlink>
        <a:folHlink>
          <a:srgbClr val="99FF9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6">
        <a:dk1>
          <a:srgbClr val="000000"/>
        </a:dk1>
        <a:lt1>
          <a:srgbClr val="FFFFFF"/>
        </a:lt1>
        <a:dk2>
          <a:srgbClr val="4B6EC0"/>
        </a:dk2>
        <a:lt2>
          <a:srgbClr val="4D4D4D"/>
        </a:lt2>
        <a:accent1>
          <a:srgbClr val="CDE5FE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3F0FE"/>
        </a:accent5>
        <a:accent6>
          <a:srgbClr val="E7B95C"/>
        </a:accent6>
        <a:hlink>
          <a:srgbClr val="273D6F"/>
        </a:hlink>
        <a:folHlink>
          <a:srgbClr val="CCFFCC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7.xml><?xml version="1.0" encoding="utf-8"?>
<a:theme xmlns:a="http://schemas.openxmlformats.org/drawingml/2006/main" name="9_EPS_Custom_print">
  <a:themeElements>
    <a:clrScheme name="BRANDBOOK">
      <a:dk1>
        <a:srgbClr val="00294F"/>
      </a:dk1>
      <a:lt1>
        <a:srgbClr val="FFFFFF"/>
      </a:lt1>
      <a:dk2>
        <a:srgbClr val="007AC2"/>
      </a:dk2>
      <a:lt2>
        <a:srgbClr val="999B9E"/>
      </a:lt2>
      <a:accent1>
        <a:srgbClr val="DEE2E4"/>
      </a:accent1>
      <a:accent2>
        <a:srgbClr val="016EB3"/>
      </a:accent2>
      <a:accent3>
        <a:srgbClr val="92C5EB"/>
      </a:accent3>
      <a:accent4>
        <a:srgbClr val="333132"/>
      </a:accent4>
      <a:accent5>
        <a:srgbClr val="D1D3D4"/>
      </a:accent5>
      <a:accent6>
        <a:srgbClr val="ED1C24"/>
      </a:accent6>
      <a:hlink>
        <a:srgbClr val="47C2FF"/>
      </a:hlink>
      <a:folHlink>
        <a:srgbClr val="0E6ABE"/>
      </a:folHlink>
    </a:clrScheme>
    <a:fontScheme name="Классическая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1" lang="en-US" sz="1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ahoma" pitchFamily="34" charset="0"/>
            <a:ea typeface="PMingLiU" pitchFamily="18" charset="-12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1" lang="en-US" sz="1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ahoma" pitchFamily="34" charset="0"/>
            <a:ea typeface="PMingLiU" pitchFamily="18" charset="-120"/>
          </a:defRPr>
        </a:defPPr>
      </a:lstStyle>
    </a:lnDef>
  </a:objectDefaults>
  <a:extraClrSchemeLst>
    <a:extraClrScheme>
      <a:clrScheme name="1_EPS_Custom_print 1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0000"/>
        </a:accent1>
        <a:accent2>
          <a:srgbClr val="000000"/>
        </a:accent2>
        <a:accent3>
          <a:srgbClr val="FFFFFF"/>
        </a:accent3>
        <a:accent4>
          <a:srgbClr val="000000"/>
        </a:accent4>
        <a:accent5>
          <a:srgbClr val="AAAAAA"/>
        </a:accent5>
        <a:accent6>
          <a:srgbClr val="000000"/>
        </a:accent6>
        <a:hlink>
          <a:srgbClr val="000000"/>
        </a:hlink>
        <a:folHlink>
          <a:srgbClr val="00FFC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3">
        <a:dk1>
          <a:srgbClr val="808080"/>
        </a:dk1>
        <a:lt1>
          <a:srgbClr val="FFFFFF"/>
        </a:lt1>
        <a:dk2>
          <a:srgbClr val="000000"/>
        </a:dk2>
        <a:lt2>
          <a:srgbClr val="FFFFFF"/>
        </a:lt2>
        <a:accent1>
          <a:srgbClr val="FF0000"/>
        </a:accent1>
        <a:accent2>
          <a:srgbClr val="FFFF00"/>
        </a:accent2>
        <a:accent3>
          <a:srgbClr val="AAAAAA"/>
        </a:accent3>
        <a:accent4>
          <a:srgbClr val="DADADA"/>
        </a:accent4>
        <a:accent5>
          <a:srgbClr val="FFAAAA"/>
        </a:accent5>
        <a:accent6>
          <a:srgbClr val="E7E700"/>
        </a:accent6>
        <a:hlink>
          <a:srgbClr val="FF0000"/>
        </a:hlink>
        <a:folHlink>
          <a:srgbClr val="0080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EPS_Custom_print 4">
        <a:dk1>
          <a:srgbClr val="000000"/>
        </a:dk1>
        <a:lt1>
          <a:srgbClr val="FFFFFF"/>
        </a:lt1>
        <a:dk2>
          <a:srgbClr val="000000"/>
        </a:dk2>
        <a:lt2>
          <a:srgbClr val="4D4D4D"/>
        </a:lt2>
        <a:accent1>
          <a:srgbClr val="287AC8"/>
        </a:accent1>
        <a:accent2>
          <a:srgbClr val="000000"/>
        </a:accent2>
        <a:accent3>
          <a:srgbClr val="FFFFFF"/>
        </a:accent3>
        <a:accent4>
          <a:srgbClr val="000000"/>
        </a:accent4>
        <a:accent5>
          <a:srgbClr val="ACBEE0"/>
        </a:accent5>
        <a:accent6>
          <a:srgbClr val="000000"/>
        </a:accent6>
        <a:hlink>
          <a:srgbClr val="287AC8"/>
        </a:hlink>
        <a:folHlink>
          <a:srgbClr val="CFFFA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5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287AC8"/>
        </a:accent1>
        <a:accent2>
          <a:srgbClr val="000000"/>
        </a:accent2>
        <a:accent3>
          <a:srgbClr val="FFFFFF"/>
        </a:accent3>
        <a:accent4>
          <a:srgbClr val="000000"/>
        </a:accent4>
        <a:accent5>
          <a:srgbClr val="ACBEE0"/>
        </a:accent5>
        <a:accent6>
          <a:srgbClr val="000000"/>
        </a:accent6>
        <a:hlink>
          <a:srgbClr val="287AC8"/>
        </a:hlink>
        <a:folHlink>
          <a:srgbClr val="CFFFA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6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00A1FA"/>
        </a:accent1>
        <a:accent2>
          <a:srgbClr val="008000"/>
        </a:accent2>
        <a:accent3>
          <a:srgbClr val="FFFFFF"/>
        </a:accent3>
        <a:accent4>
          <a:srgbClr val="000000"/>
        </a:accent4>
        <a:accent5>
          <a:srgbClr val="AACDFC"/>
        </a:accent5>
        <a:accent6>
          <a:srgbClr val="007300"/>
        </a:accent6>
        <a:hlink>
          <a:srgbClr val="E4BE00"/>
        </a:hlink>
        <a:folHlink>
          <a:srgbClr val="AF070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7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4B6EC0"/>
        </a:accent1>
        <a:accent2>
          <a:srgbClr val="C6E2FE"/>
        </a:accent2>
        <a:accent3>
          <a:srgbClr val="FFFFFF"/>
        </a:accent3>
        <a:accent4>
          <a:srgbClr val="000000"/>
        </a:accent4>
        <a:accent5>
          <a:srgbClr val="B1BADC"/>
        </a:accent5>
        <a:accent6>
          <a:srgbClr val="B3CDE6"/>
        </a:accent6>
        <a:hlink>
          <a:srgbClr val="FFCC66"/>
        </a:hlink>
        <a:folHlink>
          <a:srgbClr val="93FF9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8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4B6EC0"/>
        </a:accent1>
        <a:accent2>
          <a:srgbClr val="C6E2FE"/>
        </a:accent2>
        <a:accent3>
          <a:srgbClr val="FFFFFF"/>
        </a:accent3>
        <a:accent4>
          <a:srgbClr val="000000"/>
        </a:accent4>
        <a:accent5>
          <a:srgbClr val="B1BADC"/>
        </a:accent5>
        <a:accent6>
          <a:srgbClr val="B3CDE6"/>
        </a:accent6>
        <a:hlink>
          <a:srgbClr val="FFCC66"/>
        </a:hlink>
        <a:folHlink>
          <a:srgbClr val="0B817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9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4B6EC0"/>
        </a:accent1>
        <a:accent2>
          <a:srgbClr val="C6E2FE"/>
        </a:accent2>
        <a:accent3>
          <a:srgbClr val="FFFFFF"/>
        </a:accent3>
        <a:accent4>
          <a:srgbClr val="000000"/>
        </a:accent4>
        <a:accent5>
          <a:srgbClr val="B1BADC"/>
        </a:accent5>
        <a:accent6>
          <a:srgbClr val="B3CDE6"/>
        </a:accent6>
        <a:hlink>
          <a:srgbClr val="FFCC66"/>
        </a:hlink>
        <a:folHlink>
          <a:srgbClr val="BC002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0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4B6EC0"/>
        </a:accent1>
        <a:accent2>
          <a:srgbClr val="C6E2FE"/>
        </a:accent2>
        <a:accent3>
          <a:srgbClr val="FFFFFF"/>
        </a:accent3>
        <a:accent4>
          <a:srgbClr val="000000"/>
        </a:accent4>
        <a:accent5>
          <a:srgbClr val="B1BADC"/>
        </a:accent5>
        <a:accent6>
          <a:srgbClr val="B3CDE6"/>
        </a:accent6>
        <a:hlink>
          <a:srgbClr val="FFCC66"/>
        </a:hlink>
        <a:folHlink>
          <a:srgbClr val="26267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1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4B6EC0"/>
        </a:accent1>
        <a:accent2>
          <a:srgbClr val="C6E2FE"/>
        </a:accent2>
        <a:accent3>
          <a:srgbClr val="FFFFFF"/>
        </a:accent3>
        <a:accent4>
          <a:srgbClr val="000000"/>
        </a:accent4>
        <a:accent5>
          <a:srgbClr val="B1BADC"/>
        </a:accent5>
        <a:accent6>
          <a:srgbClr val="B3CDE6"/>
        </a:accent6>
        <a:hlink>
          <a:srgbClr val="FFCC66"/>
        </a:hlink>
        <a:folHlink>
          <a:srgbClr val="08406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2">
        <a:dk1>
          <a:srgbClr val="000000"/>
        </a:dk1>
        <a:lt1>
          <a:srgbClr val="FFFFFF"/>
        </a:lt1>
        <a:dk2>
          <a:srgbClr val="4B6EC0"/>
        </a:dk2>
        <a:lt2>
          <a:srgbClr val="4D4D4D"/>
        </a:lt2>
        <a:accent1>
          <a:srgbClr val="CDE5FE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3F0FE"/>
        </a:accent5>
        <a:accent6>
          <a:srgbClr val="E7B95C"/>
        </a:accent6>
        <a:hlink>
          <a:srgbClr val="08406E"/>
        </a:hlink>
        <a:folHlink>
          <a:srgbClr val="08406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3">
        <a:dk1>
          <a:srgbClr val="000000"/>
        </a:dk1>
        <a:lt1>
          <a:srgbClr val="FFFFFF"/>
        </a:lt1>
        <a:dk2>
          <a:srgbClr val="4B6EC0"/>
        </a:dk2>
        <a:lt2>
          <a:srgbClr val="4D4D4D"/>
        </a:lt2>
        <a:accent1>
          <a:srgbClr val="CDE5FE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3F0FE"/>
        </a:accent5>
        <a:accent6>
          <a:srgbClr val="E7B95C"/>
        </a:accent6>
        <a:hlink>
          <a:srgbClr val="104058"/>
        </a:hlink>
        <a:folHlink>
          <a:srgbClr val="08406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4">
        <a:dk1>
          <a:srgbClr val="000000"/>
        </a:dk1>
        <a:lt1>
          <a:srgbClr val="FFFFFF"/>
        </a:lt1>
        <a:dk2>
          <a:srgbClr val="4B6EC0"/>
        </a:dk2>
        <a:lt2>
          <a:srgbClr val="4D4D4D"/>
        </a:lt2>
        <a:accent1>
          <a:srgbClr val="CDE5FE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3F0FE"/>
        </a:accent5>
        <a:accent6>
          <a:srgbClr val="E7B95C"/>
        </a:accent6>
        <a:hlink>
          <a:srgbClr val="364068"/>
        </a:hlink>
        <a:folHlink>
          <a:srgbClr val="08406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5">
        <a:dk1>
          <a:srgbClr val="000000"/>
        </a:dk1>
        <a:lt1>
          <a:srgbClr val="FFFFFF"/>
        </a:lt1>
        <a:dk2>
          <a:srgbClr val="4B6EC0"/>
        </a:dk2>
        <a:lt2>
          <a:srgbClr val="4D4D4D"/>
        </a:lt2>
        <a:accent1>
          <a:srgbClr val="CDE5FE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3F0FE"/>
        </a:accent5>
        <a:accent6>
          <a:srgbClr val="E7B95C"/>
        </a:accent6>
        <a:hlink>
          <a:srgbClr val="273D6F"/>
        </a:hlink>
        <a:folHlink>
          <a:srgbClr val="99FF9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6">
        <a:dk1>
          <a:srgbClr val="000000"/>
        </a:dk1>
        <a:lt1>
          <a:srgbClr val="FFFFFF"/>
        </a:lt1>
        <a:dk2>
          <a:srgbClr val="4B6EC0"/>
        </a:dk2>
        <a:lt2>
          <a:srgbClr val="4D4D4D"/>
        </a:lt2>
        <a:accent1>
          <a:srgbClr val="CDE5FE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3F0FE"/>
        </a:accent5>
        <a:accent6>
          <a:srgbClr val="E7B95C"/>
        </a:accent6>
        <a:hlink>
          <a:srgbClr val="273D6F"/>
        </a:hlink>
        <a:folHlink>
          <a:srgbClr val="CCFFCC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8.xml><?xml version="1.0" encoding="utf-8"?>
<a:theme xmlns:a="http://schemas.openxmlformats.org/drawingml/2006/main" name="10_EPS_Custom_print">
  <a:themeElements>
    <a:clrScheme name="BRANDBOOK">
      <a:dk1>
        <a:srgbClr val="00294F"/>
      </a:dk1>
      <a:lt1>
        <a:srgbClr val="FFFFFF"/>
      </a:lt1>
      <a:dk2>
        <a:srgbClr val="007AC2"/>
      </a:dk2>
      <a:lt2>
        <a:srgbClr val="999B9E"/>
      </a:lt2>
      <a:accent1>
        <a:srgbClr val="DEE2E4"/>
      </a:accent1>
      <a:accent2>
        <a:srgbClr val="016EB3"/>
      </a:accent2>
      <a:accent3>
        <a:srgbClr val="92C5EB"/>
      </a:accent3>
      <a:accent4>
        <a:srgbClr val="333132"/>
      </a:accent4>
      <a:accent5>
        <a:srgbClr val="D1D3D4"/>
      </a:accent5>
      <a:accent6>
        <a:srgbClr val="ED1C24"/>
      </a:accent6>
      <a:hlink>
        <a:srgbClr val="47C2FF"/>
      </a:hlink>
      <a:folHlink>
        <a:srgbClr val="0E6ABE"/>
      </a:folHlink>
    </a:clrScheme>
    <a:fontScheme name="Классическая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1" lang="en-US" sz="1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ahoma" pitchFamily="34" charset="0"/>
            <a:ea typeface="PMingLiU" pitchFamily="18" charset="-12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1" lang="en-US" sz="1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ahoma" pitchFamily="34" charset="0"/>
            <a:ea typeface="PMingLiU" pitchFamily="18" charset="-120"/>
          </a:defRPr>
        </a:defPPr>
      </a:lstStyle>
    </a:lnDef>
  </a:objectDefaults>
  <a:extraClrSchemeLst>
    <a:extraClrScheme>
      <a:clrScheme name="1_EPS_Custom_print 1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0000"/>
        </a:accent1>
        <a:accent2>
          <a:srgbClr val="000000"/>
        </a:accent2>
        <a:accent3>
          <a:srgbClr val="FFFFFF"/>
        </a:accent3>
        <a:accent4>
          <a:srgbClr val="000000"/>
        </a:accent4>
        <a:accent5>
          <a:srgbClr val="AAAAAA"/>
        </a:accent5>
        <a:accent6>
          <a:srgbClr val="000000"/>
        </a:accent6>
        <a:hlink>
          <a:srgbClr val="000000"/>
        </a:hlink>
        <a:folHlink>
          <a:srgbClr val="00FFC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3">
        <a:dk1>
          <a:srgbClr val="808080"/>
        </a:dk1>
        <a:lt1>
          <a:srgbClr val="FFFFFF"/>
        </a:lt1>
        <a:dk2>
          <a:srgbClr val="000000"/>
        </a:dk2>
        <a:lt2>
          <a:srgbClr val="FFFFFF"/>
        </a:lt2>
        <a:accent1>
          <a:srgbClr val="FF0000"/>
        </a:accent1>
        <a:accent2>
          <a:srgbClr val="FFFF00"/>
        </a:accent2>
        <a:accent3>
          <a:srgbClr val="AAAAAA"/>
        </a:accent3>
        <a:accent4>
          <a:srgbClr val="DADADA"/>
        </a:accent4>
        <a:accent5>
          <a:srgbClr val="FFAAAA"/>
        </a:accent5>
        <a:accent6>
          <a:srgbClr val="E7E700"/>
        </a:accent6>
        <a:hlink>
          <a:srgbClr val="FF0000"/>
        </a:hlink>
        <a:folHlink>
          <a:srgbClr val="0080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EPS_Custom_print 4">
        <a:dk1>
          <a:srgbClr val="000000"/>
        </a:dk1>
        <a:lt1>
          <a:srgbClr val="FFFFFF"/>
        </a:lt1>
        <a:dk2>
          <a:srgbClr val="000000"/>
        </a:dk2>
        <a:lt2>
          <a:srgbClr val="4D4D4D"/>
        </a:lt2>
        <a:accent1>
          <a:srgbClr val="287AC8"/>
        </a:accent1>
        <a:accent2>
          <a:srgbClr val="000000"/>
        </a:accent2>
        <a:accent3>
          <a:srgbClr val="FFFFFF"/>
        </a:accent3>
        <a:accent4>
          <a:srgbClr val="000000"/>
        </a:accent4>
        <a:accent5>
          <a:srgbClr val="ACBEE0"/>
        </a:accent5>
        <a:accent6>
          <a:srgbClr val="000000"/>
        </a:accent6>
        <a:hlink>
          <a:srgbClr val="287AC8"/>
        </a:hlink>
        <a:folHlink>
          <a:srgbClr val="CFFFA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5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287AC8"/>
        </a:accent1>
        <a:accent2>
          <a:srgbClr val="000000"/>
        </a:accent2>
        <a:accent3>
          <a:srgbClr val="FFFFFF"/>
        </a:accent3>
        <a:accent4>
          <a:srgbClr val="000000"/>
        </a:accent4>
        <a:accent5>
          <a:srgbClr val="ACBEE0"/>
        </a:accent5>
        <a:accent6>
          <a:srgbClr val="000000"/>
        </a:accent6>
        <a:hlink>
          <a:srgbClr val="287AC8"/>
        </a:hlink>
        <a:folHlink>
          <a:srgbClr val="CFFFA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6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00A1FA"/>
        </a:accent1>
        <a:accent2>
          <a:srgbClr val="008000"/>
        </a:accent2>
        <a:accent3>
          <a:srgbClr val="FFFFFF"/>
        </a:accent3>
        <a:accent4>
          <a:srgbClr val="000000"/>
        </a:accent4>
        <a:accent5>
          <a:srgbClr val="AACDFC"/>
        </a:accent5>
        <a:accent6>
          <a:srgbClr val="007300"/>
        </a:accent6>
        <a:hlink>
          <a:srgbClr val="E4BE00"/>
        </a:hlink>
        <a:folHlink>
          <a:srgbClr val="AF070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7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4B6EC0"/>
        </a:accent1>
        <a:accent2>
          <a:srgbClr val="C6E2FE"/>
        </a:accent2>
        <a:accent3>
          <a:srgbClr val="FFFFFF"/>
        </a:accent3>
        <a:accent4>
          <a:srgbClr val="000000"/>
        </a:accent4>
        <a:accent5>
          <a:srgbClr val="B1BADC"/>
        </a:accent5>
        <a:accent6>
          <a:srgbClr val="B3CDE6"/>
        </a:accent6>
        <a:hlink>
          <a:srgbClr val="FFCC66"/>
        </a:hlink>
        <a:folHlink>
          <a:srgbClr val="93FF9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8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4B6EC0"/>
        </a:accent1>
        <a:accent2>
          <a:srgbClr val="C6E2FE"/>
        </a:accent2>
        <a:accent3>
          <a:srgbClr val="FFFFFF"/>
        </a:accent3>
        <a:accent4>
          <a:srgbClr val="000000"/>
        </a:accent4>
        <a:accent5>
          <a:srgbClr val="B1BADC"/>
        </a:accent5>
        <a:accent6>
          <a:srgbClr val="B3CDE6"/>
        </a:accent6>
        <a:hlink>
          <a:srgbClr val="FFCC66"/>
        </a:hlink>
        <a:folHlink>
          <a:srgbClr val="0B817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9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4B6EC0"/>
        </a:accent1>
        <a:accent2>
          <a:srgbClr val="C6E2FE"/>
        </a:accent2>
        <a:accent3>
          <a:srgbClr val="FFFFFF"/>
        </a:accent3>
        <a:accent4>
          <a:srgbClr val="000000"/>
        </a:accent4>
        <a:accent5>
          <a:srgbClr val="B1BADC"/>
        </a:accent5>
        <a:accent6>
          <a:srgbClr val="B3CDE6"/>
        </a:accent6>
        <a:hlink>
          <a:srgbClr val="FFCC66"/>
        </a:hlink>
        <a:folHlink>
          <a:srgbClr val="BC002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0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4B6EC0"/>
        </a:accent1>
        <a:accent2>
          <a:srgbClr val="C6E2FE"/>
        </a:accent2>
        <a:accent3>
          <a:srgbClr val="FFFFFF"/>
        </a:accent3>
        <a:accent4>
          <a:srgbClr val="000000"/>
        </a:accent4>
        <a:accent5>
          <a:srgbClr val="B1BADC"/>
        </a:accent5>
        <a:accent6>
          <a:srgbClr val="B3CDE6"/>
        </a:accent6>
        <a:hlink>
          <a:srgbClr val="FFCC66"/>
        </a:hlink>
        <a:folHlink>
          <a:srgbClr val="26267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1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4B6EC0"/>
        </a:accent1>
        <a:accent2>
          <a:srgbClr val="C6E2FE"/>
        </a:accent2>
        <a:accent3>
          <a:srgbClr val="FFFFFF"/>
        </a:accent3>
        <a:accent4>
          <a:srgbClr val="000000"/>
        </a:accent4>
        <a:accent5>
          <a:srgbClr val="B1BADC"/>
        </a:accent5>
        <a:accent6>
          <a:srgbClr val="B3CDE6"/>
        </a:accent6>
        <a:hlink>
          <a:srgbClr val="FFCC66"/>
        </a:hlink>
        <a:folHlink>
          <a:srgbClr val="08406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2">
        <a:dk1>
          <a:srgbClr val="000000"/>
        </a:dk1>
        <a:lt1>
          <a:srgbClr val="FFFFFF"/>
        </a:lt1>
        <a:dk2>
          <a:srgbClr val="4B6EC0"/>
        </a:dk2>
        <a:lt2>
          <a:srgbClr val="4D4D4D"/>
        </a:lt2>
        <a:accent1>
          <a:srgbClr val="CDE5FE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3F0FE"/>
        </a:accent5>
        <a:accent6>
          <a:srgbClr val="E7B95C"/>
        </a:accent6>
        <a:hlink>
          <a:srgbClr val="08406E"/>
        </a:hlink>
        <a:folHlink>
          <a:srgbClr val="08406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3">
        <a:dk1>
          <a:srgbClr val="000000"/>
        </a:dk1>
        <a:lt1>
          <a:srgbClr val="FFFFFF"/>
        </a:lt1>
        <a:dk2>
          <a:srgbClr val="4B6EC0"/>
        </a:dk2>
        <a:lt2>
          <a:srgbClr val="4D4D4D"/>
        </a:lt2>
        <a:accent1>
          <a:srgbClr val="CDE5FE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3F0FE"/>
        </a:accent5>
        <a:accent6>
          <a:srgbClr val="E7B95C"/>
        </a:accent6>
        <a:hlink>
          <a:srgbClr val="104058"/>
        </a:hlink>
        <a:folHlink>
          <a:srgbClr val="08406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4">
        <a:dk1>
          <a:srgbClr val="000000"/>
        </a:dk1>
        <a:lt1>
          <a:srgbClr val="FFFFFF"/>
        </a:lt1>
        <a:dk2>
          <a:srgbClr val="4B6EC0"/>
        </a:dk2>
        <a:lt2>
          <a:srgbClr val="4D4D4D"/>
        </a:lt2>
        <a:accent1>
          <a:srgbClr val="CDE5FE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3F0FE"/>
        </a:accent5>
        <a:accent6>
          <a:srgbClr val="E7B95C"/>
        </a:accent6>
        <a:hlink>
          <a:srgbClr val="364068"/>
        </a:hlink>
        <a:folHlink>
          <a:srgbClr val="08406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5">
        <a:dk1>
          <a:srgbClr val="000000"/>
        </a:dk1>
        <a:lt1>
          <a:srgbClr val="FFFFFF"/>
        </a:lt1>
        <a:dk2>
          <a:srgbClr val="4B6EC0"/>
        </a:dk2>
        <a:lt2>
          <a:srgbClr val="4D4D4D"/>
        </a:lt2>
        <a:accent1>
          <a:srgbClr val="CDE5FE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3F0FE"/>
        </a:accent5>
        <a:accent6>
          <a:srgbClr val="E7B95C"/>
        </a:accent6>
        <a:hlink>
          <a:srgbClr val="273D6F"/>
        </a:hlink>
        <a:folHlink>
          <a:srgbClr val="99FF9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6">
        <a:dk1>
          <a:srgbClr val="000000"/>
        </a:dk1>
        <a:lt1>
          <a:srgbClr val="FFFFFF"/>
        </a:lt1>
        <a:dk2>
          <a:srgbClr val="4B6EC0"/>
        </a:dk2>
        <a:lt2>
          <a:srgbClr val="4D4D4D"/>
        </a:lt2>
        <a:accent1>
          <a:srgbClr val="CDE5FE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3F0FE"/>
        </a:accent5>
        <a:accent6>
          <a:srgbClr val="E7B95C"/>
        </a:accent6>
        <a:hlink>
          <a:srgbClr val="273D6F"/>
        </a:hlink>
        <a:folHlink>
          <a:srgbClr val="CCFFCC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9.xml><?xml version="1.0" encoding="utf-8"?>
<a:theme xmlns:a="http://schemas.openxmlformats.org/drawingml/2006/main" name="11_EPS_Custom_print">
  <a:themeElements>
    <a:clrScheme name="BRANDBOOK">
      <a:dk1>
        <a:srgbClr val="00294F"/>
      </a:dk1>
      <a:lt1>
        <a:srgbClr val="FFFFFF"/>
      </a:lt1>
      <a:dk2>
        <a:srgbClr val="007AC2"/>
      </a:dk2>
      <a:lt2>
        <a:srgbClr val="999B9E"/>
      </a:lt2>
      <a:accent1>
        <a:srgbClr val="DEE2E4"/>
      </a:accent1>
      <a:accent2>
        <a:srgbClr val="016EB3"/>
      </a:accent2>
      <a:accent3>
        <a:srgbClr val="92C5EB"/>
      </a:accent3>
      <a:accent4>
        <a:srgbClr val="333132"/>
      </a:accent4>
      <a:accent5>
        <a:srgbClr val="D1D3D4"/>
      </a:accent5>
      <a:accent6>
        <a:srgbClr val="ED1C24"/>
      </a:accent6>
      <a:hlink>
        <a:srgbClr val="47C2FF"/>
      </a:hlink>
      <a:folHlink>
        <a:srgbClr val="0E6ABE"/>
      </a:folHlink>
    </a:clrScheme>
    <a:fontScheme name="Классическая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1" lang="en-US" sz="1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ahoma" pitchFamily="34" charset="0"/>
            <a:ea typeface="PMingLiU" pitchFamily="18" charset="-12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1" lang="en-US" sz="1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ahoma" pitchFamily="34" charset="0"/>
            <a:ea typeface="PMingLiU" pitchFamily="18" charset="-120"/>
          </a:defRPr>
        </a:defPPr>
      </a:lstStyle>
    </a:lnDef>
  </a:objectDefaults>
  <a:extraClrSchemeLst>
    <a:extraClrScheme>
      <a:clrScheme name="1_EPS_Custom_print 1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0000"/>
        </a:accent1>
        <a:accent2>
          <a:srgbClr val="000000"/>
        </a:accent2>
        <a:accent3>
          <a:srgbClr val="FFFFFF"/>
        </a:accent3>
        <a:accent4>
          <a:srgbClr val="000000"/>
        </a:accent4>
        <a:accent5>
          <a:srgbClr val="AAAAAA"/>
        </a:accent5>
        <a:accent6>
          <a:srgbClr val="000000"/>
        </a:accent6>
        <a:hlink>
          <a:srgbClr val="000000"/>
        </a:hlink>
        <a:folHlink>
          <a:srgbClr val="00FFC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3">
        <a:dk1>
          <a:srgbClr val="808080"/>
        </a:dk1>
        <a:lt1>
          <a:srgbClr val="FFFFFF"/>
        </a:lt1>
        <a:dk2>
          <a:srgbClr val="000000"/>
        </a:dk2>
        <a:lt2>
          <a:srgbClr val="FFFFFF"/>
        </a:lt2>
        <a:accent1>
          <a:srgbClr val="FF0000"/>
        </a:accent1>
        <a:accent2>
          <a:srgbClr val="FFFF00"/>
        </a:accent2>
        <a:accent3>
          <a:srgbClr val="AAAAAA"/>
        </a:accent3>
        <a:accent4>
          <a:srgbClr val="DADADA"/>
        </a:accent4>
        <a:accent5>
          <a:srgbClr val="FFAAAA"/>
        </a:accent5>
        <a:accent6>
          <a:srgbClr val="E7E700"/>
        </a:accent6>
        <a:hlink>
          <a:srgbClr val="FF0000"/>
        </a:hlink>
        <a:folHlink>
          <a:srgbClr val="0080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EPS_Custom_print 4">
        <a:dk1>
          <a:srgbClr val="000000"/>
        </a:dk1>
        <a:lt1>
          <a:srgbClr val="FFFFFF"/>
        </a:lt1>
        <a:dk2>
          <a:srgbClr val="000000"/>
        </a:dk2>
        <a:lt2>
          <a:srgbClr val="4D4D4D"/>
        </a:lt2>
        <a:accent1>
          <a:srgbClr val="287AC8"/>
        </a:accent1>
        <a:accent2>
          <a:srgbClr val="000000"/>
        </a:accent2>
        <a:accent3>
          <a:srgbClr val="FFFFFF"/>
        </a:accent3>
        <a:accent4>
          <a:srgbClr val="000000"/>
        </a:accent4>
        <a:accent5>
          <a:srgbClr val="ACBEE0"/>
        </a:accent5>
        <a:accent6>
          <a:srgbClr val="000000"/>
        </a:accent6>
        <a:hlink>
          <a:srgbClr val="287AC8"/>
        </a:hlink>
        <a:folHlink>
          <a:srgbClr val="CFFFA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5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287AC8"/>
        </a:accent1>
        <a:accent2>
          <a:srgbClr val="000000"/>
        </a:accent2>
        <a:accent3>
          <a:srgbClr val="FFFFFF"/>
        </a:accent3>
        <a:accent4>
          <a:srgbClr val="000000"/>
        </a:accent4>
        <a:accent5>
          <a:srgbClr val="ACBEE0"/>
        </a:accent5>
        <a:accent6>
          <a:srgbClr val="000000"/>
        </a:accent6>
        <a:hlink>
          <a:srgbClr val="287AC8"/>
        </a:hlink>
        <a:folHlink>
          <a:srgbClr val="CFFFA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6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00A1FA"/>
        </a:accent1>
        <a:accent2>
          <a:srgbClr val="008000"/>
        </a:accent2>
        <a:accent3>
          <a:srgbClr val="FFFFFF"/>
        </a:accent3>
        <a:accent4>
          <a:srgbClr val="000000"/>
        </a:accent4>
        <a:accent5>
          <a:srgbClr val="AACDFC"/>
        </a:accent5>
        <a:accent6>
          <a:srgbClr val="007300"/>
        </a:accent6>
        <a:hlink>
          <a:srgbClr val="E4BE00"/>
        </a:hlink>
        <a:folHlink>
          <a:srgbClr val="AF070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7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4B6EC0"/>
        </a:accent1>
        <a:accent2>
          <a:srgbClr val="C6E2FE"/>
        </a:accent2>
        <a:accent3>
          <a:srgbClr val="FFFFFF"/>
        </a:accent3>
        <a:accent4>
          <a:srgbClr val="000000"/>
        </a:accent4>
        <a:accent5>
          <a:srgbClr val="B1BADC"/>
        </a:accent5>
        <a:accent6>
          <a:srgbClr val="B3CDE6"/>
        </a:accent6>
        <a:hlink>
          <a:srgbClr val="FFCC66"/>
        </a:hlink>
        <a:folHlink>
          <a:srgbClr val="93FF9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8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4B6EC0"/>
        </a:accent1>
        <a:accent2>
          <a:srgbClr val="C6E2FE"/>
        </a:accent2>
        <a:accent3>
          <a:srgbClr val="FFFFFF"/>
        </a:accent3>
        <a:accent4>
          <a:srgbClr val="000000"/>
        </a:accent4>
        <a:accent5>
          <a:srgbClr val="B1BADC"/>
        </a:accent5>
        <a:accent6>
          <a:srgbClr val="B3CDE6"/>
        </a:accent6>
        <a:hlink>
          <a:srgbClr val="FFCC66"/>
        </a:hlink>
        <a:folHlink>
          <a:srgbClr val="0B817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9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4B6EC0"/>
        </a:accent1>
        <a:accent2>
          <a:srgbClr val="C6E2FE"/>
        </a:accent2>
        <a:accent3>
          <a:srgbClr val="FFFFFF"/>
        </a:accent3>
        <a:accent4>
          <a:srgbClr val="000000"/>
        </a:accent4>
        <a:accent5>
          <a:srgbClr val="B1BADC"/>
        </a:accent5>
        <a:accent6>
          <a:srgbClr val="B3CDE6"/>
        </a:accent6>
        <a:hlink>
          <a:srgbClr val="FFCC66"/>
        </a:hlink>
        <a:folHlink>
          <a:srgbClr val="BC002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0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4B6EC0"/>
        </a:accent1>
        <a:accent2>
          <a:srgbClr val="C6E2FE"/>
        </a:accent2>
        <a:accent3>
          <a:srgbClr val="FFFFFF"/>
        </a:accent3>
        <a:accent4>
          <a:srgbClr val="000000"/>
        </a:accent4>
        <a:accent5>
          <a:srgbClr val="B1BADC"/>
        </a:accent5>
        <a:accent6>
          <a:srgbClr val="B3CDE6"/>
        </a:accent6>
        <a:hlink>
          <a:srgbClr val="FFCC66"/>
        </a:hlink>
        <a:folHlink>
          <a:srgbClr val="26267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1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4B6EC0"/>
        </a:accent1>
        <a:accent2>
          <a:srgbClr val="C6E2FE"/>
        </a:accent2>
        <a:accent3>
          <a:srgbClr val="FFFFFF"/>
        </a:accent3>
        <a:accent4>
          <a:srgbClr val="000000"/>
        </a:accent4>
        <a:accent5>
          <a:srgbClr val="B1BADC"/>
        </a:accent5>
        <a:accent6>
          <a:srgbClr val="B3CDE6"/>
        </a:accent6>
        <a:hlink>
          <a:srgbClr val="FFCC66"/>
        </a:hlink>
        <a:folHlink>
          <a:srgbClr val="08406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2">
        <a:dk1>
          <a:srgbClr val="000000"/>
        </a:dk1>
        <a:lt1>
          <a:srgbClr val="FFFFFF"/>
        </a:lt1>
        <a:dk2>
          <a:srgbClr val="4B6EC0"/>
        </a:dk2>
        <a:lt2>
          <a:srgbClr val="4D4D4D"/>
        </a:lt2>
        <a:accent1>
          <a:srgbClr val="CDE5FE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3F0FE"/>
        </a:accent5>
        <a:accent6>
          <a:srgbClr val="E7B95C"/>
        </a:accent6>
        <a:hlink>
          <a:srgbClr val="08406E"/>
        </a:hlink>
        <a:folHlink>
          <a:srgbClr val="08406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3">
        <a:dk1>
          <a:srgbClr val="000000"/>
        </a:dk1>
        <a:lt1>
          <a:srgbClr val="FFFFFF"/>
        </a:lt1>
        <a:dk2>
          <a:srgbClr val="4B6EC0"/>
        </a:dk2>
        <a:lt2>
          <a:srgbClr val="4D4D4D"/>
        </a:lt2>
        <a:accent1>
          <a:srgbClr val="CDE5FE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3F0FE"/>
        </a:accent5>
        <a:accent6>
          <a:srgbClr val="E7B95C"/>
        </a:accent6>
        <a:hlink>
          <a:srgbClr val="104058"/>
        </a:hlink>
        <a:folHlink>
          <a:srgbClr val="08406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4">
        <a:dk1>
          <a:srgbClr val="000000"/>
        </a:dk1>
        <a:lt1>
          <a:srgbClr val="FFFFFF"/>
        </a:lt1>
        <a:dk2>
          <a:srgbClr val="4B6EC0"/>
        </a:dk2>
        <a:lt2>
          <a:srgbClr val="4D4D4D"/>
        </a:lt2>
        <a:accent1>
          <a:srgbClr val="CDE5FE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3F0FE"/>
        </a:accent5>
        <a:accent6>
          <a:srgbClr val="E7B95C"/>
        </a:accent6>
        <a:hlink>
          <a:srgbClr val="364068"/>
        </a:hlink>
        <a:folHlink>
          <a:srgbClr val="08406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5">
        <a:dk1>
          <a:srgbClr val="000000"/>
        </a:dk1>
        <a:lt1>
          <a:srgbClr val="FFFFFF"/>
        </a:lt1>
        <a:dk2>
          <a:srgbClr val="4B6EC0"/>
        </a:dk2>
        <a:lt2>
          <a:srgbClr val="4D4D4D"/>
        </a:lt2>
        <a:accent1>
          <a:srgbClr val="CDE5FE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3F0FE"/>
        </a:accent5>
        <a:accent6>
          <a:srgbClr val="E7B95C"/>
        </a:accent6>
        <a:hlink>
          <a:srgbClr val="273D6F"/>
        </a:hlink>
        <a:folHlink>
          <a:srgbClr val="99FF9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6">
        <a:dk1>
          <a:srgbClr val="000000"/>
        </a:dk1>
        <a:lt1>
          <a:srgbClr val="FFFFFF"/>
        </a:lt1>
        <a:dk2>
          <a:srgbClr val="4B6EC0"/>
        </a:dk2>
        <a:lt2>
          <a:srgbClr val="4D4D4D"/>
        </a:lt2>
        <a:accent1>
          <a:srgbClr val="CDE5FE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3F0FE"/>
        </a:accent5>
        <a:accent6>
          <a:srgbClr val="E7B95C"/>
        </a:accent6>
        <a:hlink>
          <a:srgbClr val="273D6F"/>
        </a:hlink>
        <a:folHlink>
          <a:srgbClr val="CCFFCC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Override1.xml><?xml version="1.0" encoding="utf-8"?>
<a:themeOverride xmlns:a="http://schemas.openxmlformats.org/drawingml/2006/main">
  <a:clrScheme name="Custom 1">
    <a:dk1>
      <a:srgbClr val="003149"/>
    </a:dk1>
    <a:lt1>
      <a:srgbClr val="FFFFFF"/>
    </a:lt1>
    <a:dk2>
      <a:srgbClr val="000000"/>
    </a:dk2>
    <a:lt2>
      <a:srgbClr val="A0A1A6"/>
    </a:lt2>
    <a:accent1>
      <a:srgbClr val="006393"/>
    </a:accent1>
    <a:accent2>
      <a:srgbClr val="0091BF"/>
    </a:accent2>
    <a:accent3>
      <a:srgbClr val="61A48D"/>
    </a:accent3>
    <a:accent4>
      <a:srgbClr val="2FBFE2"/>
    </a:accent4>
    <a:accent5>
      <a:srgbClr val="39CEA6"/>
    </a:accent5>
    <a:accent6>
      <a:srgbClr val="799FFF"/>
    </a:accent6>
    <a:hlink>
      <a:srgbClr val="000000"/>
    </a:hlink>
    <a:folHlink>
      <a:srgbClr val="CC0000"/>
    </a:folHlink>
  </a:clrScheme>
  <a:fontScheme name="Bain A4 Alrosa">
    <a:majorFont>
      <a:latin typeface="Arial"/>
      <a:ea typeface=""/>
      <a:cs typeface=""/>
    </a:majorFont>
    <a:minorFont>
      <a:latin typeface="Arial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1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.xml"/></Relationships>
</file>

<file path=customXml/_rels/item1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1.xml"/></Relationships>
</file>

<file path=customXml/_rels/item1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2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_rels/item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.xml"/></Relationships>
</file>

<file path=customXml/_rels/item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.xml"/></Relationships>
</file>

<file path=customXml/_rels/item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.xml"/></Relationships>
</file>

<file path=customXml/_rels/item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.xml"/></Relationships>
</file>

<file path=customXml/item1.xml><?xml version="1.0" encoding="utf-8"?>
<Showofficecode>true</Showofficecode>
</file>

<file path=customXml/item10.xml><?xml version="1.0" encoding="utf-8"?>
<Showfilename>true</Showfilename>
</file>

<file path=customXml/item11.xml><?xml version="1.0" encoding="utf-8"?>
<Showofficecode>true</Showofficecode>
</file>

<file path=customXml/item12.xml><?xml version="1.0" encoding="utf-8"?>
<Showfilename>true</Showfilename>
</file>

<file path=customXml/item2.xml><?xml version="1.0" encoding="utf-8"?>
<Showofficecode>true</Showofficecode>
</file>

<file path=customXml/item3.xml><?xml version="1.0" encoding="utf-8"?>
<Showfilename>true</Showfilename>
</file>

<file path=customXml/item4.xml><?xml version="1.0" encoding="utf-8"?>
<Showfilename>true</Showfilename>
</file>

<file path=customXml/item5.xml><?xml version="1.0" encoding="utf-8"?>
<Showfilename>true</Showfilename>
</file>

<file path=customXml/item6.xml><?xml version="1.0" encoding="utf-8"?>
<Showofficecode>true</Showofficecode>
</file>

<file path=customXml/item7.xml><?xml version="1.0" encoding="utf-8"?>
<Showofficecode>true</Showofficecode>
</file>

<file path=customXml/item8.xml><?xml version="1.0" encoding="utf-8"?>
<Showfilename>true</Showfilename>
</file>

<file path=customXml/item9.xml><?xml version="1.0" encoding="utf-8"?>
<Showofficecode>true</Showofficecode>
</file>

<file path=customXml/itemProps1.xml><?xml version="1.0" encoding="utf-8"?>
<ds:datastoreItem xmlns:ds="http://schemas.openxmlformats.org/officeDocument/2006/customXml" ds:itemID="{81469B64-E57C-4A4E-B8F3-478E10139485}">
  <ds:schemaRefs/>
</ds:datastoreItem>
</file>

<file path=customXml/itemProps10.xml><?xml version="1.0" encoding="utf-8"?>
<ds:datastoreItem xmlns:ds="http://schemas.openxmlformats.org/officeDocument/2006/customXml" ds:itemID="{61CF18A8-FFEB-4B31-9726-BB03F1EF9BDB}">
  <ds:schemaRefs/>
</ds:datastoreItem>
</file>

<file path=customXml/itemProps11.xml><?xml version="1.0" encoding="utf-8"?>
<ds:datastoreItem xmlns:ds="http://schemas.openxmlformats.org/officeDocument/2006/customXml" ds:itemID="{D003F29C-61F9-4E81-8399-6BEBF9553509}">
  <ds:schemaRefs/>
</ds:datastoreItem>
</file>

<file path=customXml/itemProps12.xml><?xml version="1.0" encoding="utf-8"?>
<ds:datastoreItem xmlns:ds="http://schemas.openxmlformats.org/officeDocument/2006/customXml" ds:itemID="{E870D9CA-2671-44EF-974B-B775A7DCD293}">
  <ds:schemaRefs/>
</ds:datastoreItem>
</file>

<file path=customXml/itemProps2.xml><?xml version="1.0" encoding="utf-8"?>
<ds:datastoreItem xmlns:ds="http://schemas.openxmlformats.org/officeDocument/2006/customXml" ds:itemID="{C2624380-4A48-4AB2-977F-6F9A61FD2E19}">
  <ds:schemaRefs/>
</ds:datastoreItem>
</file>

<file path=customXml/itemProps3.xml><?xml version="1.0" encoding="utf-8"?>
<ds:datastoreItem xmlns:ds="http://schemas.openxmlformats.org/officeDocument/2006/customXml" ds:itemID="{858A6E55-AA14-4157-B80A-F022D0515BB2}">
  <ds:schemaRefs/>
</ds:datastoreItem>
</file>

<file path=customXml/itemProps4.xml><?xml version="1.0" encoding="utf-8"?>
<ds:datastoreItem xmlns:ds="http://schemas.openxmlformats.org/officeDocument/2006/customXml" ds:itemID="{922909F2-173C-4F18-BCC5-98A9B4CE6031}">
  <ds:schemaRefs/>
</ds:datastoreItem>
</file>

<file path=customXml/itemProps5.xml><?xml version="1.0" encoding="utf-8"?>
<ds:datastoreItem xmlns:ds="http://schemas.openxmlformats.org/officeDocument/2006/customXml" ds:itemID="{930D0D5E-5CF1-47BE-9CE2-02228D87FB89}">
  <ds:schemaRefs/>
</ds:datastoreItem>
</file>

<file path=customXml/itemProps6.xml><?xml version="1.0" encoding="utf-8"?>
<ds:datastoreItem xmlns:ds="http://schemas.openxmlformats.org/officeDocument/2006/customXml" ds:itemID="{CDBC6D64-D701-4D8D-B9A0-96F18D2273AB}">
  <ds:schemaRefs/>
</ds:datastoreItem>
</file>

<file path=customXml/itemProps7.xml><?xml version="1.0" encoding="utf-8"?>
<ds:datastoreItem xmlns:ds="http://schemas.openxmlformats.org/officeDocument/2006/customXml" ds:itemID="{4B2DBC4B-23D2-4ED1-AB6E-05FD7EE69F59}">
  <ds:schemaRefs/>
</ds:datastoreItem>
</file>

<file path=customXml/itemProps8.xml><?xml version="1.0" encoding="utf-8"?>
<ds:datastoreItem xmlns:ds="http://schemas.openxmlformats.org/officeDocument/2006/customXml" ds:itemID="{69D7A8E8-6F8C-459A-97FA-DE0EC3E4BFD4}">
  <ds:schemaRefs/>
</ds:datastoreItem>
</file>

<file path=customXml/itemProps9.xml><?xml version="1.0" encoding="utf-8"?>
<ds:datastoreItem xmlns:ds="http://schemas.openxmlformats.org/officeDocument/2006/customXml" ds:itemID="{FA0D0A92-57CE-43B5-AD9A-D34374506902}">
  <ds:schemaRefs/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Тема19</Template>
  <TotalTime>52970</TotalTime>
  <Words>2037</Words>
  <Application>Microsoft Office PowerPoint</Application>
  <PresentationFormat>Экран (4:3)</PresentationFormat>
  <Paragraphs>523</Paragraphs>
  <Slides>22</Slides>
  <Notes>22</Notes>
  <HiddenSlides>0</HiddenSlides>
  <MMClips>0</MMClips>
  <ScaleCrop>false</ScaleCrop>
  <HeadingPairs>
    <vt:vector size="6" baseType="variant">
      <vt:variant>
        <vt:lpstr>Тема</vt:lpstr>
      </vt:variant>
      <vt:variant>
        <vt:i4>3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22</vt:i4>
      </vt:variant>
    </vt:vector>
  </HeadingPairs>
  <TitlesOfParts>
    <vt:vector size="54" baseType="lpstr">
      <vt:lpstr>Минимализм</vt:lpstr>
      <vt:lpstr>4_EPS_Custom_print</vt:lpstr>
      <vt:lpstr>5_EPS_Custom_print</vt:lpstr>
      <vt:lpstr>6_EPS_Custom_print</vt:lpstr>
      <vt:lpstr>7_EPS_Custom_print</vt:lpstr>
      <vt:lpstr>8_EPS_Custom_print</vt:lpstr>
      <vt:lpstr>9_EPS_Custom_print</vt:lpstr>
      <vt:lpstr>10_EPS_Custom_print</vt:lpstr>
      <vt:lpstr>11_EPS_Custom_print</vt:lpstr>
      <vt:lpstr>12_EPS_Custom_print</vt:lpstr>
      <vt:lpstr>13_EPS_Custom_print</vt:lpstr>
      <vt:lpstr>14_EPS_Custom_print</vt:lpstr>
      <vt:lpstr>15_EPS_Custom_print</vt:lpstr>
      <vt:lpstr>16_EPS_Custom_print</vt:lpstr>
      <vt:lpstr>17_EPS_Custom_print</vt:lpstr>
      <vt:lpstr>18_EPS_Custom_print</vt:lpstr>
      <vt:lpstr>19_EPS_Custom_print</vt:lpstr>
      <vt:lpstr>20_EPS_Custom_print</vt:lpstr>
      <vt:lpstr>Bain A4 Alrosa</vt:lpstr>
      <vt:lpstr>21_EPS_Custom_print</vt:lpstr>
      <vt:lpstr>22_EPS_Custom_print</vt:lpstr>
      <vt:lpstr>1_Bain A4 Alrosa</vt:lpstr>
      <vt:lpstr>3_Bain A4 Alrosa</vt:lpstr>
      <vt:lpstr>23_EPS_Custom_print</vt:lpstr>
      <vt:lpstr>24_EPS_Custom_print</vt:lpstr>
      <vt:lpstr>5_Bain A4 Alrosa</vt:lpstr>
      <vt:lpstr>6_Bain A4 Alrosa</vt:lpstr>
      <vt:lpstr>25_EPS_Custom_print</vt:lpstr>
      <vt:lpstr>26_EPS_Custom_print</vt:lpstr>
      <vt:lpstr>28_EPS_Custom_print</vt:lpstr>
      <vt:lpstr>27_EPS_Custom_print</vt:lpstr>
      <vt:lpstr>think-cell Slide</vt:lpstr>
      <vt:lpstr> Ключевые направления развития геологоразведочных работ в АК «АЛРОСА» (ПАО)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Текущее состояние запасов и ресурсов якутской алмазоносной провинции</vt:lpstr>
      <vt:lpstr>Районирование территории Якутской алмазоносной провинции по условиям ведения поисковых работ</vt:lpstr>
      <vt:lpstr>Направление геологоразведочных работ на поиски коренных месторождений алмазов</vt:lpstr>
      <vt:lpstr>Основные методы применяемые при производстве ГРР</vt:lpstr>
      <vt:lpstr>Геолого-поисковые обстановки </vt:lpstr>
      <vt:lpstr>Инновации в производстве ГРР </vt:lpstr>
      <vt:lpstr>Инновации в производстве ГРР </vt:lpstr>
      <vt:lpstr>Реструктуризация геологоразведочного комплекса</vt:lpstr>
      <vt:lpstr>Научно-методическое и аналитическое сопровождение ГРР</vt:lpstr>
      <vt:lpstr>Спасибо за внимание!</vt:lpstr>
      <vt:lpstr>Внедрение технологии трехмерной высокоразрешающей сейсморазведки при поисках месторождений алмазов</vt:lpstr>
      <vt:lpstr>Комплексная  аэрогеофизическая   съемка  с использованием  системы  VTEM </vt:lpstr>
      <vt:lpstr>Опытно-методические георадарные исследования</vt:lpstr>
      <vt:lpstr>Опытно-методические георадарные исследования</vt:lpstr>
      <vt:lpstr>Внедрение технологии радиоволновой геоинтроскопии (РВГИ)</vt:lpstr>
      <vt:lpstr>Пример изучения трещиноватости пород по стенкам скважин с применением оптического телевьювера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Гурман А.Б.</dc:creator>
  <cp:lastModifiedBy>Захаров Егор Анатольевич</cp:lastModifiedBy>
  <cp:revision>3519</cp:revision>
  <cp:lastPrinted>2017-11-27T07:18:35Z</cp:lastPrinted>
  <dcterms:created xsi:type="dcterms:W3CDTF">2014-03-14T13:28:00Z</dcterms:created>
  <dcterms:modified xsi:type="dcterms:W3CDTF">2018-05-21T00:52:46Z</dcterms:modified>
</cp:coreProperties>
</file>